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4"/>
    <p:sldMasterId id="2147483832" r:id="rId5"/>
  </p:sldMasterIdLst>
  <p:notesMasterIdLst>
    <p:notesMasterId r:id="rId55"/>
  </p:notesMasterIdLst>
  <p:handoutMasterIdLst>
    <p:handoutMasterId r:id="rId56"/>
  </p:handoutMasterIdLst>
  <p:sldIdLst>
    <p:sldId id="2012" r:id="rId6"/>
    <p:sldId id="2014" r:id="rId7"/>
    <p:sldId id="2147469829" r:id="rId8"/>
    <p:sldId id="2147469867" r:id="rId9"/>
    <p:sldId id="2147469831" r:id="rId10"/>
    <p:sldId id="2147469851" r:id="rId11"/>
    <p:sldId id="2147469966" r:id="rId12"/>
    <p:sldId id="2147469804" r:id="rId13"/>
    <p:sldId id="2147469911" r:id="rId14"/>
    <p:sldId id="2142532846" r:id="rId15"/>
    <p:sldId id="2076138044" r:id="rId16"/>
    <p:sldId id="2147469961" r:id="rId17"/>
    <p:sldId id="2147469989" r:id="rId18"/>
    <p:sldId id="2147469990" r:id="rId19"/>
    <p:sldId id="2147470012" r:id="rId20"/>
    <p:sldId id="2147469843" r:id="rId21"/>
    <p:sldId id="2147469853" r:id="rId22"/>
    <p:sldId id="2147469971" r:id="rId23"/>
    <p:sldId id="2147469852" r:id="rId24"/>
    <p:sldId id="2147469968" r:id="rId25"/>
    <p:sldId id="2147469814" r:id="rId26"/>
    <p:sldId id="2147469984" r:id="rId27"/>
    <p:sldId id="2147469982" r:id="rId28"/>
    <p:sldId id="2147469979" r:id="rId29"/>
    <p:sldId id="2147469978" r:id="rId30"/>
    <p:sldId id="2147469996" r:id="rId31"/>
    <p:sldId id="2147470013" r:id="rId32"/>
    <p:sldId id="2147469993" r:id="rId33"/>
    <p:sldId id="2147469969" r:id="rId34"/>
    <p:sldId id="2147470001" r:id="rId35"/>
    <p:sldId id="2147470010" r:id="rId36"/>
    <p:sldId id="2147470011" r:id="rId37"/>
    <p:sldId id="2147469854" r:id="rId38"/>
    <p:sldId id="2147469909" r:id="rId39"/>
    <p:sldId id="2147469983" r:id="rId40"/>
    <p:sldId id="2147469864" r:id="rId41"/>
    <p:sldId id="2142532888" r:id="rId42"/>
    <p:sldId id="2147469994" r:id="rId43"/>
    <p:sldId id="2147469995" r:id="rId44"/>
    <p:sldId id="2147470006" r:id="rId45"/>
    <p:sldId id="2147469997" r:id="rId46"/>
    <p:sldId id="2147469913" r:id="rId47"/>
    <p:sldId id="2147469914" r:id="rId48"/>
    <p:sldId id="2147469861" r:id="rId49"/>
    <p:sldId id="2147469862" r:id="rId50"/>
    <p:sldId id="2147469869" r:id="rId51"/>
    <p:sldId id="2147469915" r:id="rId52"/>
    <p:sldId id="2147469987" r:id="rId53"/>
    <p:sldId id="2147469988" r:id="rId54"/>
  </p:sldIdLst>
  <p:sldSz cx="12192000" cy="6858000"/>
  <p:notesSz cx="6799263" cy="9929813"/>
  <p:embeddedFontLst>
    <p:embeddedFont>
      <p:font typeface="Arial Black" panose="020B0A04020102020204" pitchFamily="34" charset="0"/>
      <p:bold r:id="rId57"/>
    </p:embeddedFont>
    <p:embeddedFont>
      <p:font typeface="Calibri" panose="020F0502020204030204" pitchFamily="34" charset="0"/>
      <p:regular r:id="rId58"/>
      <p:bold r:id="rId59"/>
      <p:italic r:id="rId60"/>
      <p:boldItalic r:id="rId61"/>
    </p:embeddedFont>
    <p:embeddedFont>
      <p:font typeface="Montserrat" panose="00000500000000000000" pitchFamily="2" charset="0"/>
      <p:regular r:id="rId62"/>
      <p:bold r:id="rId63"/>
      <p:italic r:id="rId64"/>
      <p:boldItalic r:id="rId65"/>
    </p:embeddedFont>
    <p:embeddedFont>
      <p:font typeface="Open Sans Light" panose="020B0306030504020204" pitchFamily="34" charset="0"/>
      <p:regular r:id="rId66"/>
      <p:italic r:id="rId67"/>
    </p:embeddedFont>
    <p:embeddedFont>
      <p:font typeface="Wingdings 2" panose="05020102010507070707" pitchFamily="18" charset="2"/>
      <p:regular r:id="rId68"/>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Introduction" id="{C16D0D3C-05CC-4999-99E2-CA03645387C5}">
          <p14:sldIdLst>
            <p14:sldId id="2012"/>
            <p14:sldId id="2014"/>
            <p14:sldId id="2147469829"/>
            <p14:sldId id="2147469867"/>
            <p14:sldId id="2147469831"/>
          </p14:sldIdLst>
        </p14:section>
        <p14:section name="Compréhension du besoin" id="{446B3DB1-B35B-445E-AE3A-64825EC7164A}">
          <p14:sldIdLst>
            <p14:sldId id="2147469851"/>
            <p14:sldId id="2147469966"/>
            <p14:sldId id="2147469804"/>
          </p14:sldIdLst>
        </p14:section>
        <p14:section name="Présentation Talan Consulting" id="{A6AC6A7F-BEE0-40D9-AABB-A7ABD9F1DB10}">
          <p14:sldIdLst>
            <p14:sldId id="2147469911"/>
            <p14:sldId id="2142532846"/>
            <p14:sldId id="2076138044"/>
            <p14:sldId id="2147469961"/>
            <p14:sldId id="2147469989"/>
            <p14:sldId id="2147469990"/>
            <p14:sldId id="2147470012"/>
            <p14:sldId id="2147469843"/>
          </p14:sldIdLst>
        </p14:section>
        <p14:section name="Planning" id="{0B9685F9-9C76-4576-AECF-C1EF6E212FE1}">
          <p14:sldIdLst>
            <p14:sldId id="2147469853"/>
            <p14:sldId id="2147469971"/>
          </p14:sldIdLst>
        </p14:section>
        <p14:section name="Notre proposition de démarche" id="{4AE50A2D-D7AD-4516-8505-9AB6CDC9F4B1}">
          <p14:sldIdLst>
            <p14:sldId id="2147469852"/>
            <p14:sldId id="2147469968"/>
            <p14:sldId id="2147469814"/>
            <p14:sldId id="2147469984"/>
            <p14:sldId id="2147469982"/>
            <p14:sldId id="2147469979"/>
            <p14:sldId id="2147469978"/>
            <p14:sldId id="2147469996"/>
            <p14:sldId id="2147470013"/>
            <p14:sldId id="2147469993"/>
            <p14:sldId id="2147469969"/>
            <p14:sldId id="2147470001"/>
            <p14:sldId id="2147470010"/>
            <p14:sldId id="2147470011"/>
          </p14:sldIdLst>
        </p14:section>
        <p14:section name="Dispositif Talan proposé" id="{01B3FFE7-EB49-44D5-A919-60A777634E38}">
          <p14:sldIdLst>
            <p14:sldId id="2147469854"/>
            <p14:sldId id="2147469909"/>
            <p14:sldId id="2147469983"/>
            <p14:sldId id="2147469864"/>
            <p14:sldId id="2142532888"/>
            <p14:sldId id="2147469994"/>
            <p14:sldId id="2147469995"/>
            <p14:sldId id="2147470006"/>
            <p14:sldId id="2147469997"/>
          </p14:sldIdLst>
        </p14:section>
        <p14:section name="Transfert de compétences" id="{1B75051A-CB96-462C-B21E-9B76F5D51BF0}">
          <p14:sldIdLst>
            <p14:sldId id="2147469913"/>
            <p14:sldId id="2147469914"/>
            <p14:sldId id="2147469861"/>
            <p14:sldId id="2147469862"/>
          </p14:sldIdLst>
        </p14:section>
        <p14:section name="Livrables et indicateurs" id="{F057B7E9-0494-4D1D-B366-3921423E5F67}">
          <p14:sldIdLst>
            <p14:sldId id="2147469869"/>
            <p14:sldId id="2147469915"/>
            <p14:sldId id="2147469987"/>
            <p14:sldId id="214746998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02" userDrawn="1">
          <p15:clr>
            <a:srgbClr val="A4A3A4"/>
          </p15:clr>
        </p15:guide>
        <p15:guide id="4" pos="7378" userDrawn="1">
          <p15:clr>
            <a:srgbClr val="A4A3A4"/>
          </p15:clr>
        </p15:guide>
        <p15:guide id="5" orient="horz" pos="731" userDrawn="1">
          <p15:clr>
            <a:srgbClr val="A4A3A4"/>
          </p15:clr>
        </p15:guide>
        <p15:guide id="6" orient="horz" pos="4020" userDrawn="1">
          <p15:clr>
            <a:srgbClr val="A4A3A4"/>
          </p15:clr>
        </p15:guide>
      </p15:sldGuideLst>
    </p:ext>
    <p:ext uri="{2D200454-40CA-4A62-9FC3-DE9A4176ACB9}">
      <p15:notes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33" roundtripDataSignature="AMtx7miYUjKl31CTliCMED0alpv5yOA/B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138E04-953B-1B10-5499-41A93D4B77E0}" name="Olivier DOUBLET" initials="OD" userId="S::olivier.doublet@talan.com::720f3850-1a28-43eb-a9a3-d4556d3fbe20" providerId="AD"/>
  <p188:author id="{E2776729-7133-68AC-3A00-7D5B2B0BD251}" name="Sylvie ROCHE" initials="SR" userId="S::sylvie.roche@talan.com::60404d4e-bbf6-4ef1-963c-527a8dada0a5" providerId="AD"/>
  <p188:author id="{50C3092D-32AB-4F95-9F6B-882A98B24383}" name="Thomas BEGUIN" initials="TB" userId="Thomas BEGUIN" providerId="None"/>
  <p188:author id="{1237B039-8C43-4B5E-ADC4-7A3A2CA28986}" name="DOUBLET Olivier (EXT TalanConsulting)" initials="ODT" userId="DOUBLET Olivier (EXT TalanConsulting)" providerId="None"/>
  <p188:author id="{F5F14744-E47A-267B-C802-9DB0D4EED317}" name="Pierre CARON" initials="PC" userId="Pierre CARON" providerId="None"/>
  <p188:author id="{151B8C56-E99F-D880-044F-A8EDF95CB34E}" name="Alice DUBREUIL" initials="AD" userId="Alice DUBREUIL" providerId="None"/>
  <p188:author id="{12B6DD5A-41E8-9454-B0E5-CBBE7B2F627A}" name="Simone NERI" initials="SN" userId="S::simone.neri@talan.com::2a00f2ad-68d9-45e6-b604-268bfad9cc5e" providerId="AD"/>
  <p188:author id="{E6A82369-F8DD-F186-D0B6-572B521D2A45}" name="Guillaume LAFARE" initials="GL" userId="S::guillaume.lafare@talan.com::dc3ce3e7-4608-42cf-9c1d-27cb882cdde5" providerId="AD"/>
  <p188:author id="{287DFA8B-A615-9CE1-AFCE-B1DB91614A78}" name="Kawtar SADIQ" initials="KS" userId="Kawtar SADIQ" providerId="None"/>
  <p188:author id="{85526393-7985-AB5F-774C-71911301814E}" name="BEGUIN Thomas (EXT TALAN)" initials="BT(T" userId="S::PTBN07191@commun.ad.sncf.fr::b2b8504b-23f8-49b6-969a-cd80518c6211" providerId="AD"/>
  <p188:author id="{05B6FCAC-5DD8-B1A6-13FF-3074B677F40A}" name="Hissam EL-BARKAOUI" initials="HEB" userId="Hissam EL-BARKAOUI" providerId="None"/>
  <p188:author id="{C4D6A2BB-6FD4-A463-08D3-C61081505F9F}" name="Arnaud CIRILLE" initials="AC" userId="S::arnaud.cirille@talan.com::89ffe87e-978d-42be-bcb3-d9507ff8e0d5" providerId="AD"/>
  <p188:author id="{4EE63CBD-B065-A458-AA4E-B75C55D1129A}" name="Ayodele IKUESAN" initials="AI" userId="S::ayodele.ikuesan@talan.com::59febf41-4328-4f2d-a3b0-b5ea969eeed9" providerId="AD"/>
  <p188:author id="{73120EBF-CA86-AA80-417D-7FD47E4A26AC}" name="Jean GRANDEMANGE" initials="JG" userId="S::jean.grandemange@talan.com::faf07584-8716-430e-b66d-4ceae2fe8450" providerId="AD"/>
  <p188:author id="{5F57D9F5-AA7B-2359-9867-CAD54A01E0D8}" name="Amélie LE LEVREUR" initials="ALL" userId="S::amelie.le-levreur@talan.com::982b180d-1354-44d2-b69c-66806c84185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ucie WOZNIAK" initials="LW" lastIdx="3" clrIdx="0">
    <p:extLst>
      <p:ext uri="{19B8F6BF-5375-455C-9EA6-DF929625EA0E}">
        <p15:presenceInfo xmlns:p15="http://schemas.microsoft.com/office/powerpoint/2012/main" userId="S::lucie.wozniak@talan.com::e87ce118-2b50-48c0-af0d-f4afc4c24365" providerId="AD"/>
      </p:ext>
    </p:extLst>
  </p:cmAuthor>
  <p:cmAuthor id="2" name="DOUBLET Olivier (EXT TalanConsulting)" initials="ODT" lastIdx="1" clrIdx="1">
    <p:extLst>
      <p:ext uri="{19B8F6BF-5375-455C-9EA6-DF929625EA0E}">
        <p15:presenceInfo xmlns:p15="http://schemas.microsoft.com/office/powerpoint/2012/main" userId="DOUBLET Olivier (EXT TalanConsulting)" providerId="None"/>
      </p:ext>
    </p:extLst>
  </p:cmAuthor>
  <p:cmAuthor id="3" name="Dieudonné Richard" initials="DR" lastIdx="9" clrIdx="2">
    <p:extLst>
      <p:ext uri="{19B8F6BF-5375-455C-9EA6-DF929625EA0E}">
        <p15:presenceInfo xmlns:p15="http://schemas.microsoft.com/office/powerpoint/2012/main" userId="Dieudonné Richard" providerId="None"/>
      </p:ext>
    </p:extLst>
  </p:cmAuthor>
  <p:cmAuthor id="4" name="Sonia KDOUS" initials="SK" lastIdx="4" clrIdx="3">
    <p:extLst>
      <p:ext uri="{19B8F6BF-5375-455C-9EA6-DF929625EA0E}">
        <p15:presenceInfo xmlns:p15="http://schemas.microsoft.com/office/powerpoint/2012/main" userId="S::sonia.kdous@talan.com::922c21f9-520b-4b99-b1eb-529f55231251" providerId="AD"/>
      </p:ext>
    </p:extLst>
  </p:cmAuthor>
  <p:cmAuthor id="5" name="Kawtar SADIQ" initials="KS" lastIdx="1" clrIdx="4">
    <p:extLst>
      <p:ext uri="{19B8F6BF-5375-455C-9EA6-DF929625EA0E}">
        <p15:presenceInfo xmlns:p15="http://schemas.microsoft.com/office/powerpoint/2012/main" userId="Kawtar SADIQ" providerId="None"/>
      </p:ext>
    </p:extLst>
  </p:cmAuthor>
  <p:cmAuthor id="6" name="Hissam" initials="H" lastIdx="2" clrIdx="5">
    <p:extLst>
      <p:ext uri="{19B8F6BF-5375-455C-9EA6-DF929625EA0E}">
        <p15:presenceInfo xmlns:p15="http://schemas.microsoft.com/office/powerpoint/2012/main" userId="Hissa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388A"/>
    <a:srgbClr val="8479C8"/>
    <a:srgbClr val="EFEDF5"/>
    <a:srgbClr val="E3E1EE"/>
    <a:srgbClr val="E6E6E6"/>
    <a:srgbClr val="DBDBDB"/>
    <a:srgbClr val="F5F5F5"/>
    <a:srgbClr val="221CD6"/>
    <a:srgbClr val="44398A"/>
    <a:srgbClr val="2C64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961D8B-5F65-474A-B9AA-8E8992AAC765}" v="46" dt="2023-03-20T18:17:03.250"/>
    <p1510:client id="{245D8918-5019-4B16-AF5D-37E7BF53CD56}" v="556" vWet="558" dt="2023-03-20T17:45:30.428"/>
    <p1510:client id="{27DB3D23-E432-4C15-9D91-A09DDDC06AED}" v="1060" dt="2023-03-20T19:40:19.162"/>
    <p1510:client id="{2FF94AD6-1AB7-04FE-8CA9-F0030B1D1E18}" v="2098" dt="2023-03-20T16:14:12.480"/>
    <p1510:client id="{50BDBC0F-387F-410F-83A2-D2F2FE73FB9B}" v="2577" dt="2023-03-20T22:01:34.558"/>
    <p1510:client id="{518567DB-73FA-4DE7-BD25-C50E48AC0DAD}" v="8" vWet="10" dt="2023-03-20T15:41:52.616"/>
    <p1510:client id="{67CFCA93-7906-4E77-A43E-F534C1AF3607}" v="5" dt="2023-03-20T13:52:02.203"/>
    <p1510:client id="{C9FBB8EF-9599-4143-A488-92E9142E8C51}" v="2" dt="2023-03-20T18:09:37.988"/>
    <p1510:client id="{DBBF13CA-5A20-4AAD-B2C5-CF0EFCCF36AB}" v="8" vWet="2067" dt="2023-03-20T13:48:01.568"/>
    <p1510:client id="{EC6F0330-82A9-41CF-B362-FF4D91CC2FB4}" v="947" dt="2023-03-20T20:49:06.491"/>
  </p1510:revLst>
</p1510:revInfo>
</file>

<file path=ppt/tableStyles.xml><?xml version="1.0" encoding="utf-8"?>
<a:tblStyleLst xmlns:a="http://schemas.openxmlformats.org/drawingml/2006/main" def="{793D81CF-94F2-401A-BA57-92F5A7B2D0C5}">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Style moyen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Style moyen 1 - Accentuation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E171933-4619-4E11-9A3F-F7608DF75F80}" styleName="Style moyen 1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Style moyen 1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8034E78-7F5D-4C2E-B375-FC64B27BC917}" styleName="Style foncé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202B0CA-FC54-4496-8BCA-5EF66A818D29}" styleName="Style foncé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8FD4443E-F989-4FC4-A0C8-D5A2AF1F390B}" styleName="Style foncé 1 - Accentuation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E9639D4-E3E2-4D34-9284-5A2195B3D0D7}" styleName="Style clair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AF606853-7671-496A-8E4F-DF71F8EC918B}" styleName="Style foncé 1 - Accentuation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35758FB7-9AC5-4552-8A53-C91805E547FA}" styleName="Style à thème 1 - Accentuation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E929F9F4-4A8F-4326-A1B4-22849713DDAB}" styleName="Style foncé 1 - Accentuation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Style foncé 2 - Accentuation 3/Accentuation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25E5076-3810-47DD-B79F-674D7AD40C01}" styleName="Style foncé 1 - Accentuation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Style foncé 2 - Accentuation 1/Accentuation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Style léger 3 - Accentuation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8B1032C-EA38-4F05-BA0D-38AFFFC7BED3}" styleName="Style léger 3 - Accentuation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240" y="39"/>
      </p:cViewPr>
      <p:guideLst>
        <p:guide orient="horz" pos="2160"/>
        <p:guide pos="3840"/>
        <p:guide pos="302"/>
        <p:guide pos="7378"/>
        <p:guide orient="horz" pos="731"/>
        <p:guide orient="horz" pos="402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font" Target="fonts/font7.fntdata"/><Relationship Id="rId68" Type="http://schemas.openxmlformats.org/officeDocument/2006/relationships/font" Target="fonts/font12.fntdata"/><Relationship Id="rId133" Type="http://customschemas.google.com/relationships/presentationmetadata" Target="metadata"/><Relationship Id="rId138" Type="http://schemas.openxmlformats.org/officeDocument/2006/relationships/tableStyles" Target="tableStyles.xml"/><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font" Target="fonts/font2.fntdata"/><Relationship Id="rId66" Type="http://schemas.openxmlformats.org/officeDocument/2006/relationships/font" Target="fonts/font10.fntdata"/><Relationship Id="rId13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font" Target="fonts/font5.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64" Type="http://schemas.openxmlformats.org/officeDocument/2006/relationships/font" Target="fonts/font8.fntdata"/><Relationship Id="rId134" Type="http://schemas.openxmlformats.org/officeDocument/2006/relationships/commentAuthors" Target="commentAuthors.xml"/><Relationship Id="rId139" Type="http://schemas.microsoft.com/office/2016/11/relationships/changesInfo" Target="changesInfos/changesInfo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3.fntdata"/><Relationship Id="rId67" Type="http://schemas.openxmlformats.org/officeDocument/2006/relationships/font" Target="fonts/font11.fntdata"/><Relationship Id="rId13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font" Target="fonts/font6.fntdata"/><Relationship Id="rId14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1.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4.fntdata"/><Relationship Id="rId65" Type="http://schemas.openxmlformats.org/officeDocument/2006/relationships/font" Target="fonts/font9.fntdata"/><Relationship Id="rId13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notesMaster" Target="notesMasters/notesMaster1.xml"/><Relationship Id="rId141"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29" Type="http://schemas.openxmlformats.org/officeDocument/2006/relationships/slide" Target="slides/slide2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eonore LELEUCH" userId="ae1c9d52-4c76-4b9e-8a12-6863a1dc284c" providerId="ADAL" clId="{943B0E38-EA6B-47B7-BEA5-739850E7DA37}"/>
    <pc:docChg chg="undo redo custSel addSld delSld modSld modSection">
      <pc:chgData name="Eleonore LELEUCH" userId="ae1c9d52-4c76-4b9e-8a12-6863a1dc284c" providerId="ADAL" clId="{943B0E38-EA6B-47B7-BEA5-739850E7DA37}" dt="2022-11-29T18:44:57.656" v="1297" actId="1076"/>
      <pc:docMkLst>
        <pc:docMk/>
      </pc:docMkLst>
      <pc:sldChg chg="modSp mod modShow">
        <pc:chgData name="Eleonore LELEUCH" userId="ae1c9d52-4c76-4b9e-8a12-6863a1dc284c" providerId="ADAL" clId="{943B0E38-EA6B-47B7-BEA5-739850E7DA37}" dt="2022-11-29T07:36:11.045" v="1294" actId="729"/>
        <pc:sldMkLst>
          <pc:docMk/>
          <pc:sldMk cId="2656984134" sldId="2076138005"/>
        </pc:sldMkLst>
        <pc:graphicFrameChg chg="modGraphic">
          <ac:chgData name="Eleonore LELEUCH" userId="ae1c9d52-4c76-4b9e-8a12-6863a1dc284c" providerId="ADAL" clId="{943B0E38-EA6B-47B7-BEA5-739850E7DA37}" dt="2022-11-29T06:56:31.353" v="578" actId="20577"/>
          <ac:graphicFrameMkLst>
            <pc:docMk/>
            <pc:sldMk cId="2656984134" sldId="2076138005"/>
            <ac:graphicFrameMk id="89" creationId="{A19A5F1F-D334-4677-BCCB-AA68FF81AC6E}"/>
          </ac:graphicFrameMkLst>
        </pc:graphicFrameChg>
      </pc:sldChg>
      <pc:sldChg chg="addSp delSp modSp del mod">
        <pc:chgData name="Eleonore LELEUCH" userId="ae1c9d52-4c76-4b9e-8a12-6863a1dc284c" providerId="ADAL" clId="{943B0E38-EA6B-47B7-BEA5-739850E7DA37}" dt="2022-11-23T14:23:35.057" v="571" actId="47"/>
        <pc:sldMkLst>
          <pc:docMk/>
          <pc:sldMk cId="4136788999" sldId="2076138174"/>
        </pc:sldMkLst>
        <pc:spChg chg="add mod">
          <ac:chgData name="Eleonore LELEUCH" userId="ae1c9d52-4c76-4b9e-8a12-6863a1dc284c" providerId="ADAL" clId="{943B0E38-EA6B-47B7-BEA5-739850E7DA37}" dt="2022-11-23T14:20:34.228" v="534" actId="20577"/>
          <ac:spMkLst>
            <pc:docMk/>
            <pc:sldMk cId="4136788999" sldId="2076138174"/>
            <ac:spMk id="2" creationId="{0CBCF615-A8C4-BFB5-C77B-640A8957C545}"/>
          </ac:spMkLst>
        </pc:spChg>
        <pc:spChg chg="add del mod">
          <ac:chgData name="Eleonore LELEUCH" userId="ae1c9d52-4c76-4b9e-8a12-6863a1dc284c" providerId="ADAL" clId="{943B0E38-EA6B-47B7-BEA5-739850E7DA37}" dt="2022-11-23T14:20:50.294" v="553" actId="6549"/>
          <ac:spMkLst>
            <pc:docMk/>
            <pc:sldMk cId="4136788999" sldId="2076138174"/>
            <ac:spMk id="3" creationId="{F705EA14-EAE2-B4AC-AD17-D2AC7A01A7D5}"/>
          </ac:spMkLst>
        </pc:spChg>
        <pc:spChg chg="del mod">
          <ac:chgData name="Eleonore LELEUCH" userId="ae1c9d52-4c76-4b9e-8a12-6863a1dc284c" providerId="ADAL" clId="{943B0E38-EA6B-47B7-BEA5-739850E7DA37}" dt="2022-11-23T14:07:50.774" v="5" actId="478"/>
          <ac:spMkLst>
            <pc:docMk/>
            <pc:sldMk cId="4136788999" sldId="2076138174"/>
            <ac:spMk id="25" creationId="{398E3399-844C-4D8C-8BD8-3AE08AF3015F}"/>
          </ac:spMkLst>
        </pc:spChg>
        <pc:spChg chg="mod">
          <ac:chgData name="Eleonore LELEUCH" userId="ae1c9d52-4c76-4b9e-8a12-6863a1dc284c" providerId="ADAL" clId="{943B0E38-EA6B-47B7-BEA5-739850E7DA37}" dt="2022-11-23T14:13:24.514" v="56" actId="20577"/>
          <ac:spMkLst>
            <pc:docMk/>
            <pc:sldMk cId="4136788999" sldId="2076138174"/>
            <ac:spMk id="31" creationId="{19231133-1ED6-44AA-922E-624F48C1752E}"/>
          </ac:spMkLst>
        </pc:spChg>
        <pc:spChg chg="mod">
          <ac:chgData name="Eleonore LELEUCH" userId="ae1c9d52-4c76-4b9e-8a12-6863a1dc284c" providerId="ADAL" clId="{943B0E38-EA6B-47B7-BEA5-739850E7DA37}" dt="2022-11-23T14:20:06.195" v="412" actId="20577"/>
          <ac:spMkLst>
            <pc:docMk/>
            <pc:sldMk cId="4136788999" sldId="2076138174"/>
            <ac:spMk id="32" creationId="{8AAFC82A-50EB-4CCE-AC23-12B2F564579F}"/>
          </ac:spMkLst>
        </pc:spChg>
        <pc:spChg chg="mod">
          <ac:chgData name="Eleonore LELEUCH" userId="ae1c9d52-4c76-4b9e-8a12-6863a1dc284c" providerId="ADAL" clId="{943B0E38-EA6B-47B7-BEA5-739850E7DA37}" dt="2022-11-23T14:08:06.361" v="10" actId="552"/>
          <ac:spMkLst>
            <pc:docMk/>
            <pc:sldMk cId="4136788999" sldId="2076138174"/>
            <ac:spMk id="33" creationId="{62DF03AA-95ED-46A5-9635-A8A6F1C7883F}"/>
          </ac:spMkLst>
        </pc:spChg>
        <pc:spChg chg="mod">
          <ac:chgData name="Eleonore LELEUCH" userId="ae1c9d52-4c76-4b9e-8a12-6863a1dc284c" providerId="ADAL" clId="{943B0E38-EA6B-47B7-BEA5-739850E7DA37}" dt="2022-11-23T14:08:02.326" v="9" actId="1037"/>
          <ac:spMkLst>
            <pc:docMk/>
            <pc:sldMk cId="4136788999" sldId="2076138174"/>
            <ac:spMk id="35" creationId="{7F080593-97E0-4A54-9C5D-1767AD9EF2C5}"/>
          </ac:spMkLst>
        </pc:spChg>
        <pc:spChg chg="mod">
          <ac:chgData name="Eleonore LELEUCH" userId="ae1c9d52-4c76-4b9e-8a12-6863a1dc284c" providerId="ADAL" clId="{943B0E38-EA6B-47B7-BEA5-739850E7DA37}" dt="2022-11-23T14:20:44.582" v="549" actId="20577"/>
          <ac:spMkLst>
            <pc:docMk/>
            <pc:sldMk cId="4136788999" sldId="2076138174"/>
            <ac:spMk id="36" creationId="{0FC3B1E9-E16E-4D5A-9E58-429FB5DE6E60}"/>
          </ac:spMkLst>
        </pc:spChg>
        <pc:spChg chg="mod">
          <ac:chgData name="Eleonore LELEUCH" userId="ae1c9d52-4c76-4b9e-8a12-6863a1dc284c" providerId="ADAL" clId="{943B0E38-EA6B-47B7-BEA5-739850E7DA37}" dt="2022-11-23T14:08:06.361" v="10" actId="552"/>
          <ac:spMkLst>
            <pc:docMk/>
            <pc:sldMk cId="4136788999" sldId="2076138174"/>
            <ac:spMk id="37" creationId="{B4DD0265-1288-4FB5-BA2B-1867B2EA1A77}"/>
          </ac:spMkLst>
        </pc:spChg>
        <pc:cxnChg chg="mod">
          <ac:chgData name="Eleonore LELEUCH" userId="ae1c9d52-4c76-4b9e-8a12-6863a1dc284c" providerId="ADAL" clId="{943B0E38-EA6B-47B7-BEA5-739850E7DA37}" dt="2022-11-23T14:08:02.326" v="9" actId="1037"/>
          <ac:cxnSpMkLst>
            <pc:docMk/>
            <pc:sldMk cId="4136788999" sldId="2076138174"/>
            <ac:cxnSpMk id="34" creationId="{EE45CCC2-C74B-4A64-B543-714445540C3C}"/>
          </ac:cxnSpMkLst>
        </pc:cxnChg>
      </pc:sldChg>
      <pc:sldChg chg="modSp mod">
        <pc:chgData name="Eleonore LELEUCH" userId="ae1c9d52-4c76-4b9e-8a12-6863a1dc284c" providerId="ADAL" clId="{943B0E38-EA6B-47B7-BEA5-739850E7DA37}" dt="2022-11-23T14:13:16.131" v="51" actId="20577"/>
        <pc:sldMkLst>
          <pc:docMk/>
          <pc:sldMk cId="2512155146" sldId="2076138184"/>
        </pc:sldMkLst>
        <pc:spChg chg="mod">
          <ac:chgData name="Eleonore LELEUCH" userId="ae1c9d52-4c76-4b9e-8a12-6863a1dc284c" providerId="ADAL" clId="{943B0E38-EA6B-47B7-BEA5-739850E7DA37}" dt="2022-11-23T14:13:15.176" v="50" actId="14100"/>
          <ac:spMkLst>
            <pc:docMk/>
            <pc:sldMk cId="2512155146" sldId="2076138184"/>
            <ac:spMk id="8" creationId="{7B69EBAA-6616-2C2D-B43C-E41678D3D65B}"/>
          </ac:spMkLst>
        </pc:spChg>
        <pc:graphicFrameChg chg="mod modGraphic">
          <ac:chgData name="Eleonore LELEUCH" userId="ae1c9d52-4c76-4b9e-8a12-6863a1dc284c" providerId="ADAL" clId="{943B0E38-EA6B-47B7-BEA5-739850E7DA37}" dt="2022-11-23T14:13:16.131" v="51" actId="20577"/>
          <ac:graphicFrameMkLst>
            <pc:docMk/>
            <pc:sldMk cId="2512155146" sldId="2076138184"/>
            <ac:graphicFrameMk id="4" creationId="{BCF0F422-267B-4033-8E84-0913E6A2EF6F}"/>
          </ac:graphicFrameMkLst>
        </pc:graphicFrameChg>
      </pc:sldChg>
      <pc:sldChg chg="modSp mod">
        <pc:chgData name="Eleonore LELEUCH" userId="ae1c9d52-4c76-4b9e-8a12-6863a1dc284c" providerId="ADAL" clId="{943B0E38-EA6B-47B7-BEA5-739850E7DA37}" dt="2022-11-24T16:51:41.055" v="572" actId="1076"/>
        <pc:sldMkLst>
          <pc:docMk/>
          <pc:sldMk cId="3928011031" sldId="2076138189"/>
        </pc:sldMkLst>
        <pc:spChg chg="mod">
          <ac:chgData name="Eleonore LELEUCH" userId="ae1c9d52-4c76-4b9e-8a12-6863a1dc284c" providerId="ADAL" clId="{943B0E38-EA6B-47B7-BEA5-739850E7DA37}" dt="2022-11-24T16:51:41.055" v="572" actId="1076"/>
          <ac:spMkLst>
            <pc:docMk/>
            <pc:sldMk cId="3928011031" sldId="2076138189"/>
            <ac:spMk id="3" creationId="{83773864-D1D2-8480-2478-D6767FCD4FB7}"/>
          </ac:spMkLst>
        </pc:spChg>
      </pc:sldChg>
      <pc:sldChg chg="addSp delSp modSp add mod">
        <pc:chgData name="Eleonore LELEUCH" userId="ae1c9d52-4c76-4b9e-8a12-6863a1dc284c" providerId="ADAL" clId="{943B0E38-EA6B-47B7-BEA5-739850E7DA37}" dt="2022-11-23T14:23:32.868" v="570"/>
        <pc:sldMkLst>
          <pc:docMk/>
          <pc:sldMk cId="4202844115" sldId="2076138192"/>
        </pc:sldMkLst>
        <pc:spChg chg="mod">
          <ac:chgData name="Eleonore LELEUCH" userId="ae1c9d52-4c76-4b9e-8a12-6863a1dc284c" providerId="ADAL" clId="{943B0E38-EA6B-47B7-BEA5-739850E7DA37}" dt="2022-11-23T14:22:39.017" v="556"/>
          <ac:spMkLst>
            <pc:docMk/>
            <pc:sldMk cId="4202844115" sldId="2076138192"/>
            <ac:spMk id="2" creationId="{E11BF5BD-75C4-4E77-9598-7225EFF82CC5}"/>
          </ac:spMkLst>
        </pc:spChg>
        <pc:spChg chg="add mod">
          <ac:chgData name="Eleonore LELEUCH" userId="ae1c9d52-4c76-4b9e-8a12-6863a1dc284c" providerId="ADAL" clId="{943B0E38-EA6B-47B7-BEA5-739850E7DA37}" dt="2022-11-23T14:23:32.868" v="570"/>
          <ac:spMkLst>
            <pc:docMk/>
            <pc:sldMk cId="4202844115" sldId="2076138192"/>
            <ac:spMk id="3" creationId="{1DBF77F6-2EA0-CE5A-4D85-D5F7EA41D843}"/>
          </ac:spMkLst>
        </pc:spChg>
        <pc:spChg chg="mod">
          <ac:chgData name="Eleonore LELEUCH" userId="ae1c9d52-4c76-4b9e-8a12-6863a1dc284c" providerId="ADAL" clId="{943B0E38-EA6B-47B7-BEA5-739850E7DA37}" dt="2022-11-23T14:22:52.931" v="561"/>
          <ac:spMkLst>
            <pc:docMk/>
            <pc:sldMk cId="4202844115" sldId="2076138192"/>
            <ac:spMk id="4" creationId="{DFE4ECB6-193A-41CD-8C1D-5A9AA8C9E006}"/>
          </ac:spMkLst>
        </pc:spChg>
        <pc:spChg chg="add del mod">
          <ac:chgData name="Eleonore LELEUCH" userId="ae1c9d52-4c76-4b9e-8a12-6863a1dc284c" providerId="ADAL" clId="{943B0E38-EA6B-47B7-BEA5-739850E7DA37}" dt="2022-11-23T14:23:09.871" v="566"/>
          <ac:spMkLst>
            <pc:docMk/>
            <pc:sldMk cId="4202844115" sldId="2076138192"/>
            <ac:spMk id="17" creationId="{081C14F2-F0CF-453C-B5E6-3AB28B427042}"/>
          </ac:spMkLst>
        </pc:spChg>
        <pc:spChg chg="mod">
          <ac:chgData name="Eleonore LELEUCH" userId="ae1c9d52-4c76-4b9e-8a12-6863a1dc284c" providerId="ADAL" clId="{943B0E38-EA6B-47B7-BEA5-739850E7DA37}" dt="2022-11-23T14:23:25.895" v="569"/>
          <ac:spMkLst>
            <pc:docMk/>
            <pc:sldMk cId="4202844115" sldId="2076138192"/>
            <ac:spMk id="18" creationId="{59C85CC0-8072-4FC5-A63C-53061F14896F}"/>
          </ac:spMkLst>
        </pc:spChg>
      </pc:sldChg>
      <pc:sldChg chg="modSp add mod">
        <pc:chgData name="Eleonore LELEUCH" userId="ae1c9d52-4c76-4b9e-8a12-6863a1dc284c" providerId="ADAL" clId="{943B0E38-EA6B-47B7-BEA5-739850E7DA37}" dt="2022-11-29T06:59:55.671" v="640" actId="1076"/>
        <pc:sldMkLst>
          <pc:docMk/>
          <pc:sldMk cId="4022477905" sldId="2076138194"/>
        </pc:sldMkLst>
        <pc:spChg chg="mod">
          <ac:chgData name="Eleonore LELEUCH" userId="ae1c9d52-4c76-4b9e-8a12-6863a1dc284c" providerId="ADAL" clId="{943B0E38-EA6B-47B7-BEA5-739850E7DA37}" dt="2022-11-29T06:58:45.627" v="596" actId="1076"/>
          <ac:spMkLst>
            <pc:docMk/>
            <pc:sldMk cId="4022477905" sldId="2076138194"/>
            <ac:spMk id="8" creationId="{0DE5FD32-B9CC-14AF-56A7-59DD309C51A6}"/>
          </ac:spMkLst>
        </pc:spChg>
        <pc:grpChg chg="mod">
          <ac:chgData name="Eleonore LELEUCH" userId="ae1c9d52-4c76-4b9e-8a12-6863a1dc284c" providerId="ADAL" clId="{943B0E38-EA6B-47B7-BEA5-739850E7DA37}" dt="2022-11-29T06:58:45.627" v="596" actId="1076"/>
          <ac:grpSpMkLst>
            <pc:docMk/>
            <pc:sldMk cId="4022477905" sldId="2076138194"/>
            <ac:grpSpMk id="5" creationId="{680223AA-35AA-4F24-9098-0D3D11BE43F2}"/>
          </ac:grpSpMkLst>
        </pc:grpChg>
        <pc:grpChg chg="mod">
          <ac:chgData name="Eleonore LELEUCH" userId="ae1c9d52-4c76-4b9e-8a12-6863a1dc284c" providerId="ADAL" clId="{943B0E38-EA6B-47B7-BEA5-739850E7DA37}" dt="2022-11-29T06:58:45.627" v="596" actId="1076"/>
          <ac:grpSpMkLst>
            <pc:docMk/>
            <pc:sldMk cId="4022477905" sldId="2076138194"/>
            <ac:grpSpMk id="6" creationId="{D9518B8A-E42E-4FC1-9410-B281F9CF5A72}"/>
          </ac:grpSpMkLst>
        </pc:grpChg>
        <pc:grpChg chg="mod">
          <ac:chgData name="Eleonore LELEUCH" userId="ae1c9d52-4c76-4b9e-8a12-6863a1dc284c" providerId="ADAL" clId="{943B0E38-EA6B-47B7-BEA5-739850E7DA37}" dt="2022-11-29T06:58:45.627" v="596" actId="1076"/>
          <ac:grpSpMkLst>
            <pc:docMk/>
            <pc:sldMk cId="4022477905" sldId="2076138194"/>
            <ac:grpSpMk id="7" creationId="{33888B01-730D-49D3-A3A3-0CB01CBEFEE4}"/>
          </ac:grpSpMkLst>
        </pc:grpChg>
        <pc:graphicFrameChg chg="mod modGraphic">
          <ac:chgData name="Eleonore LELEUCH" userId="ae1c9d52-4c76-4b9e-8a12-6863a1dc284c" providerId="ADAL" clId="{943B0E38-EA6B-47B7-BEA5-739850E7DA37}" dt="2022-11-29T06:59:55.671" v="640" actId="1076"/>
          <ac:graphicFrameMkLst>
            <pc:docMk/>
            <pc:sldMk cId="4022477905" sldId="2076138194"/>
            <ac:graphicFrameMk id="89" creationId="{A19A5F1F-D334-4677-BCCB-AA68FF81AC6E}"/>
          </ac:graphicFrameMkLst>
        </pc:graphicFrameChg>
        <pc:picChg chg="mod">
          <ac:chgData name="Eleonore LELEUCH" userId="ae1c9d52-4c76-4b9e-8a12-6863a1dc284c" providerId="ADAL" clId="{943B0E38-EA6B-47B7-BEA5-739850E7DA37}" dt="2022-11-29T06:59:39.430" v="638" actId="1076"/>
          <ac:picMkLst>
            <pc:docMk/>
            <pc:sldMk cId="4022477905" sldId="2076138194"/>
            <ac:picMk id="23" creationId="{C5964ED9-E029-4428-8C57-7EA24226B475}"/>
          </ac:picMkLst>
        </pc:picChg>
        <pc:picChg chg="mod">
          <ac:chgData name="Eleonore LELEUCH" userId="ae1c9d52-4c76-4b9e-8a12-6863a1dc284c" providerId="ADAL" clId="{943B0E38-EA6B-47B7-BEA5-739850E7DA37}" dt="2022-11-29T06:59:39.430" v="638" actId="1076"/>
          <ac:picMkLst>
            <pc:docMk/>
            <pc:sldMk cId="4022477905" sldId="2076138194"/>
            <ac:picMk id="24" creationId="{55175058-B9FB-4916-8484-742E7CD07899}"/>
          </ac:picMkLst>
        </pc:picChg>
        <pc:picChg chg="mod">
          <ac:chgData name="Eleonore LELEUCH" userId="ae1c9d52-4c76-4b9e-8a12-6863a1dc284c" providerId="ADAL" clId="{943B0E38-EA6B-47B7-BEA5-739850E7DA37}" dt="2022-11-29T06:58:45.627" v="596" actId="1076"/>
          <ac:picMkLst>
            <pc:docMk/>
            <pc:sldMk cId="4022477905" sldId="2076138194"/>
            <ac:picMk id="28" creationId="{1AF89714-42FE-C117-41EE-3E89BA9282D1}"/>
          </ac:picMkLst>
        </pc:picChg>
        <pc:picChg chg="mod">
          <ac:chgData name="Eleonore LELEUCH" userId="ae1c9d52-4c76-4b9e-8a12-6863a1dc284c" providerId="ADAL" clId="{943B0E38-EA6B-47B7-BEA5-739850E7DA37}" dt="2022-11-29T06:58:45.627" v="596" actId="1076"/>
          <ac:picMkLst>
            <pc:docMk/>
            <pc:sldMk cId="4022477905" sldId="2076138194"/>
            <ac:picMk id="29" creationId="{910763D7-82E6-636D-2EAD-B8245741846E}"/>
          </ac:picMkLst>
        </pc:picChg>
        <pc:picChg chg="mod">
          <ac:chgData name="Eleonore LELEUCH" userId="ae1c9d52-4c76-4b9e-8a12-6863a1dc284c" providerId="ADAL" clId="{943B0E38-EA6B-47B7-BEA5-739850E7DA37}" dt="2022-11-29T06:58:45.627" v="596" actId="1076"/>
          <ac:picMkLst>
            <pc:docMk/>
            <pc:sldMk cId="4022477905" sldId="2076138194"/>
            <ac:picMk id="30" creationId="{20F6CED8-C559-4C99-34AD-5CEBAC37B08B}"/>
          </ac:picMkLst>
        </pc:picChg>
        <pc:picChg chg="mod">
          <ac:chgData name="Eleonore LELEUCH" userId="ae1c9d52-4c76-4b9e-8a12-6863a1dc284c" providerId="ADAL" clId="{943B0E38-EA6B-47B7-BEA5-739850E7DA37}" dt="2022-11-29T06:59:39.430" v="638" actId="1076"/>
          <ac:picMkLst>
            <pc:docMk/>
            <pc:sldMk cId="4022477905" sldId="2076138194"/>
            <ac:picMk id="37" creationId="{2D24A43C-6C0B-4608-8F10-2F95436809E3}"/>
          </ac:picMkLst>
        </pc:picChg>
        <pc:picChg chg="mod">
          <ac:chgData name="Eleonore LELEUCH" userId="ae1c9d52-4c76-4b9e-8a12-6863a1dc284c" providerId="ADAL" clId="{943B0E38-EA6B-47B7-BEA5-739850E7DA37}" dt="2022-11-29T06:59:39.430" v="638" actId="1076"/>
          <ac:picMkLst>
            <pc:docMk/>
            <pc:sldMk cId="4022477905" sldId="2076138194"/>
            <ac:picMk id="38" creationId="{A1E7A0DB-9C2C-4FB2-8BC4-B798D7E1E5BB}"/>
          </ac:picMkLst>
        </pc:picChg>
        <pc:picChg chg="mod">
          <ac:chgData name="Eleonore LELEUCH" userId="ae1c9d52-4c76-4b9e-8a12-6863a1dc284c" providerId="ADAL" clId="{943B0E38-EA6B-47B7-BEA5-739850E7DA37}" dt="2022-11-29T06:58:45.627" v="596" actId="1076"/>
          <ac:picMkLst>
            <pc:docMk/>
            <pc:sldMk cId="4022477905" sldId="2076138194"/>
            <ac:picMk id="115" creationId="{5B2D01EE-1F5E-4E9C-AB5F-A48F8ADCDEE5}"/>
          </ac:picMkLst>
        </pc:picChg>
        <pc:picChg chg="mod">
          <ac:chgData name="Eleonore LELEUCH" userId="ae1c9d52-4c76-4b9e-8a12-6863a1dc284c" providerId="ADAL" clId="{943B0E38-EA6B-47B7-BEA5-739850E7DA37}" dt="2022-11-29T06:58:45.627" v="596" actId="1076"/>
          <ac:picMkLst>
            <pc:docMk/>
            <pc:sldMk cId="4022477905" sldId="2076138194"/>
            <ac:picMk id="116" creationId="{37DB55C1-3C94-4C30-86A5-C4AA3CFDBC47}"/>
          </ac:picMkLst>
        </pc:picChg>
        <pc:picChg chg="mod">
          <ac:chgData name="Eleonore LELEUCH" userId="ae1c9d52-4c76-4b9e-8a12-6863a1dc284c" providerId="ADAL" clId="{943B0E38-EA6B-47B7-BEA5-739850E7DA37}" dt="2022-11-29T06:58:45.627" v="596" actId="1076"/>
          <ac:picMkLst>
            <pc:docMk/>
            <pc:sldMk cId="4022477905" sldId="2076138194"/>
            <ac:picMk id="118" creationId="{7F7CA06E-089A-47A3-8BA9-A482A05BEC20}"/>
          </ac:picMkLst>
        </pc:picChg>
        <pc:picChg chg="mod">
          <ac:chgData name="Eleonore LELEUCH" userId="ae1c9d52-4c76-4b9e-8a12-6863a1dc284c" providerId="ADAL" clId="{943B0E38-EA6B-47B7-BEA5-739850E7DA37}" dt="2022-11-29T06:58:45.627" v="596" actId="1076"/>
          <ac:picMkLst>
            <pc:docMk/>
            <pc:sldMk cId="4022477905" sldId="2076138194"/>
            <ac:picMk id="119" creationId="{2F3EDDCD-C40B-4968-BA09-A34C66460749}"/>
          </ac:picMkLst>
        </pc:picChg>
        <pc:picChg chg="mod">
          <ac:chgData name="Eleonore LELEUCH" userId="ae1c9d52-4c76-4b9e-8a12-6863a1dc284c" providerId="ADAL" clId="{943B0E38-EA6B-47B7-BEA5-739850E7DA37}" dt="2022-11-29T06:58:45.627" v="596" actId="1076"/>
          <ac:picMkLst>
            <pc:docMk/>
            <pc:sldMk cId="4022477905" sldId="2076138194"/>
            <ac:picMk id="120" creationId="{C0D778E4-5697-4858-B913-1D826151CA01}"/>
          </ac:picMkLst>
        </pc:picChg>
        <pc:picChg chg="mod">
          <ac:chgData name="Eleonore LELEUCH" userId="ae1c9d52-4c76-4b9e-8a12-6863a1dc284c" providerId="ADAL" clId="{943B0E38-EA6B-47B7-BEA5-739850E7DA37}" dt="2022-11-29T06:58:45.627" v="596" actId="1076"/>
          <ac:picMkLst>
            <pc:docMk/>
            <pc:sldMk cId="4022477905" sldId="2076138194"/>
            <ac:picMk id="121" creationId="{CA23E48E-3C87-4B02-AB86-8A55A2311665}"/>
          </ac:picMkLst>
        </pc:picChg>
        <pc:picChg chg="mod">
          <ac:chgData name="Eleonore LELEUCH" userId="ae1c9d52-4c76-4b9e-8a12-6863a1dc284c" providerId="ADAL" clId="{943B0E38-EA6B-47B7-BEA5-739850E7DA37}" dt="2022-11-29T06:58:45.627" v="596" actId="1076"/>
          <ac:picMkLst>
            <pc:docMk/>
            <pc:sldMk cId="4022477905" sldId="2076138194"/>
            <ac:picMk id="1026" creationId="{A5E9C449-3B1A-3FA4-CBC2-A89DC7C12B0A}"/>
          </ac:picMkLst>
        </pc:picChg>
      </pc:sldChg>
      <pc:sldChg chg="addSp modSp mod">
        <pc:chgData name="Eleonore LELEUCH" userId="ae1c9d52-4c76-4b9e-8a12-6863a1dc284c" providerId="ADAL" clId="{943B0E38-EA6B-47B7-BEA5-739850E7DA37}" dt="2022-11-29T18:44:57.656" v="1297" actId="1076"/>
        <pc:sldMkLst>
          <pc:docMk/>
          <pc:sldMk cId="2101430142" sldId="2076138201"/>
        </pc:sldMkLst>
        <pc:picChg chg="add mod">
          <ac:chgData name="Eleonore LELEUCH" userId="ae1c9d52-4c76-4b9e-8a12-6863a1dc284c" providerId="ADAL" clId="{943B0E38-EA6B-47B7-BEA5-739850E7DA37}" dt="2022-11-29T18:44:57.656" v="1297" actId="1076"/>
          <ac:picMkLst>
            <pc:docMk/>
            <pc:sldMk cId="2101430142" sldId="2076138201"/>
            <ac:picMk id="5" creationId="{99FB163C-ACAB-B158-A8D6-B357CE14D754}"/>
          </ac:picMkLst>
        </pc:picChg>
      </pc:sldChg>
      <pc:sldChg chg="addSp delSp modSp mod">
        <pc:chgData name="Eleonore LELEUCH" userId="ae1c9d52-4c76-4b9e-8a12-6863a1dc284c" providerId="ADAL" clId="{943B0E38-EA6B-47B7-BEA5-739850E7DA37}" dt="2022-11-29T07:36:03.261" v="1293" actId="1076"/>
        <pc:sldMkLst>
          <pc:docMk/>
          <pc:sldMk cId="4022477905" sldId="2076138206"/>
        </pc:sldMkLst>
        <pc:spChg chg="mod">
          <ac:chgData name="Eleonore LELEUCH" userId="ae1c9d52-4c76-4b9e-8a12-6863a1dc284c" providerId="ADAL" clId="{943B0E38-EA6B-47B7-BEA5-739850E7DA37}" dt="2022-11-29T07:34:11.099" v="1272" actId="20577"/>
          <ac:spMkLst>
            <pc:docMk/>
            <pc:sldMk cId="4022477905" sldId="2076138206"/>
            <ac:spMk id="4" creationId="{B0F67ADD-ADF4-413C-BA69-93FA23FD255B}"/>
          </ac:spMkLst>
        </pc:spChg>
        <pc:spChg chg="del">
          <ac:chgData name="Eleonore LELEUCH" userId="ae1c9d52-4c76-4b9e-8a12-6863a1dc284c" providerId="ADAL" clId="{943B0E38-EA6B-47B7-BEA5-739850E7DA37}" dt="2022-11-29T07:15:00.472" v="947" actId="478"/>
          <ac:spMkLst>
            <pc:docMk/>
            <pc:sldMk cId="4022477905" sldId="2076138206"/>
            <ac:spMk id="8" creationId="{0DE5FD32-B9CC-14AF-56A7-59DD309C51A6}"/>
          </ac:spMkLst>
        </pc:spChg>
        <pc:spChg chg="add mod">
          <ac:chgData name="Eleonore LELEUCH" userId="ae1c9d52-4c76-4b9e-8a12-6863a1dc284c" providerId="ADAL" clId="{943B0E38-EA6B-47B7-BEA5-739850E7DA37}" dt="2022-11-29T07:36:03.261" v="1293" actId="1076"/>
          <ac:spMkLst>
            <pc:docMk/>
            <pc:sldMk cId="4022477905" sldId="2076138206"/>
            <ac:spMk id="10" creationId="{0C28ED4A-BA17-0BE5-06B9-970BC609DB0C}"/>
          </ac:spMkLst>
        </pc:spChg>
        <pc:spChg chg="del">
          <ac:chgData name="Eleonore LELEUCH" userId="ae1c9d52-4c76-4b9e-8a12-6863a1dc284c" providerId="ADAL" clId="{943B0E38-EA6B-47B7-BEA5-739850E7DA37}" dt="2022-11-29T07:02:46.457" v="644" actId="478"/>
          <ac:spMkLst>
            <pc:docMk/>
            <pc:sldMk cId="4022477905" sldId="2076138206"/>
            <ac:spMk id="11" creationId="{2A94AC24-8D58-009E-FC5C-59DDCE5D5CFD}"/>
          </ac:spMkLst>
        </pc:spChg>
        <pc:spChg chg="add del mod">
          <ac:chgData name="Eleonore LELEUCH" userId="ae1c9d52-4c76-4b9e-8a12-6863a1dc284c" providerId="ADAL" clId="{943B0E38-EA6B-47B7-BEA5-739850E7DA37}" dt="2022-11-29T07:26:27.778" v="1162" actId="478"/>
          <ac:spMkLst>
            <pc:docMk/>
            <pc:sldMk cId="4022477905" sldId="2076138206"/>
            <ac:spMk id="40" creationId="{486CC09A-0683-E454-35E9-566331C6945F}"/>
          </ac:spMkLst>
        </pc:spChg>
        <pc:spChg chg="add del mod">
          <ac:chgData name="Eleonore LELEUCH" userId="ae1c9d52-4c76-4b9e-8a12-6863a1dc284c" providerId="ADAL" clId="{943B0E38-EA6B-47B7-BEA5-739850E7DA37}" dt="2022-11-29T07:19:41.783" v="1022" actId="478"/>
          <ac:spMkLst>
            <pc:docMk/>
            <pc:sldMk cId="4022477905" sldId="2076138206"/>
            <ac:spMk id="41" creationId="{03150CDA-DADB-44AE-8FD4-5F63557D3312}"/>
          </ac:spMkLst>
        </pc:spChg>
        <pc:spChg chg="add del mod">
          <ac:chgData name="Eleonore LELEUCH" userId="ae1c9d52-4c76-4b9e-8a12-6863a1dc284c" providerId="ADAL" clId="{943B0E38-EA6B-47B7-BEA5-739850E7DA37}" dt="2022-11-29T07:21:14.354" v="1050" actId="478"/>
          <ac:spMkLst>
            <pc:docMk/>
            <pc:sldMk cId="4022477905" sldId="2076138206"/>
            <ac:spMk id="42" creationId="{CF9B2DB1-A460-0C08-84C7-FEEC7C8F9CBC}"/>
          </ac:spMkLst>
        </pc:spChg>
        <pc:spChg chg="mod">
          <ac:chgData name="Eleonore LELEUCH" userId="ae1c9d52-4c76-4b9e-8a12-6863a1dc284c" providerId="ADAL" clId="{943B0E38-EA6B-47B7-BEA5-739850E7DA37}" dt="2022-11-29T07:20:33.797" v="1038"/>
          <ac:spMkLst>
            <pc:docMk/>
            <pc:sldMk cId="4022477905" sldId="2076138206"/>
            <ac:spMk id="43" creationId="{A8B9BB36-00AA-2BEE-28B0-4D1112C9400F}"/>
          </ac:spMkLst>
        </pc:spChg>
        <pc:spChg chg="mod">
          <ac:chgData name="Eleonore LELEUCH" userId="ae1c9d52-4c76-4b9e-8a12-6863a1dc284c" providerId="ADAL" clId="{943B0E38-EA6B-47B7-BEA5-739850E7DA37}" dt="2022-11-29T07:20:33.797" v="1038"/>
          <ac:spMkLst>
            <pc:docMk/>
            <pc:sldMk cId="4022477905" sldId="2076138206"/>
            <ac:spMk id="44" creationId="{E0C1BF75-C6FC-D296-E2CF-ED84F6A4039E}"/>
          </ac:spMkLst>
        </pc:spChg>
        <pc:spChg chg="mod">
          <ac:chgData name="Eleonore LELEUCH" userId="ae1c9d52-4c76-4b9e-8a12-6863a1dc284c" providerId="ADAL" clId="{943B0E38-EA6B-47B7-BEA5-739850E7DA37}" dt="2022-11-29T07:20:33.797" v="1038"/>
          <ac:spMkLst>
            <pc:docMk/>
            <pc:sldMk cId="4022477905" sldId="2076138206"/>
            <ac:spMk id="45" creationId="{350964EA-68D8-9A02-B798-B00A65E9AC7C}"/>
          </ac:spMkLst>
        </pc:spChg>
        <pc:spChg chg="mod">
          <ac:chgData name="Eleonore LELEUCH" userId="ae1c9d52-4c76-4b9e-8a12-6863a1dc284c" providerId="ADAL" clId="{943B0E38-EA6B-47B7-BEA5-739850E7DA37}" dt="2022-11-29T07:20:33.797" v="1038"/>
          <ac:spMkLst>
            <pc:docMk/>
            <pc:sldMk cId="4022477905" sldId="2076138206"/>
            <ac:spMk id="46" creationId="{027AEAEF-B78A-7EC6-3435-F8F104F4A65F}"/>
          </ac:spMkLst>
        </pc:spChg>
        <pc:spChg chg="mod">
          <ac:chgData name="Eleonore LELEUCH" userId="ae1c9d52-4c76-4b9e-8a12-6863a1dc284c" providerId="ADAL" clId="{943B0E38-EA6B-47B7-BEA5-739850E7DA37}" dt="2022-11-29T07:20:33.797" v="1038"/>
          <ac:spMkLst>
            <pc:docMk/>
            <pc:sldMk cId="4022477905" sldId="2076138206"/>
            <ac:spMk id="47" creationId="{4B038A2F-8389-7FDC-140E-E8DE28BCEA1C}"/>
          </ac:spMkLst>
        </pc:spChg>
        <pc:spChg chg="mod">
          <ac:chgData name="Eleonore LELEUCH" userId="ae1c9d52-4c76-4b9e-8a12-6863a1dc284c" providerId="ADAL" clId="{943B0E38-EA6B-47B7-BEA5-739850E7DA37}" dt="2022-11-29T07:20:33.797" v="1038"/>
          <ac:spMkLst>
            <pc:docMk/>
            <pc:sldMk cId="4022477905" sldId="2076138206"/>
            <ac:spMk id="48" creationId="{D1A7CE5C-B04E-4C5F-7637-BF486A0F88A2}"/>
          </ac:spMkLst>
        </pc:spChg>
        <pc:spChg chg="mod">
          <ac:chgData name="Eleonore LELEUCH" userId="ae1c9d52-4c76-4b9e-8a12-6863a1dc284c" providerId="ADAL" clId="{943B0E38-EA6B-47B7-BEA5-739850E7DA37}" dt="2022-11-29T07:20:33.797" v="1038"/>
          <ac:spMkLst>
            <pc:docMk/>
            <pc:sldMk cId="4022477905" sldId="2076138206"/>
            <ac:spMk id="49" creationId="{A948266F-E0F5-5D8F-3572-6747C3775BF5}"/>
          </ac:spMkLst>
        </pc:spChg>
        <pc:spChg chg="mod">
          <ac:chgData name="Eleonore LELEUCH" userId="ae1c9d52-4c76-4b9e-8a12-6863a1dc284c" providerId="ADAL" clId="{943B0E38-EA6B-47B7-BEA5-739850E7DA37}" dt="2022-11-29T07:20:33.797" v="1038"/>
          <ac:spMkLst>
            <pc:docMk/>
            <pc:sldMk cId="4022477905" sldId="2076138206"/>
            <ac:spMk id="50" creationId="{9E720842-2A9F-CA6E-1F3B-25610ED21322}"/>
          </ac:spMkLst>
        </pc:spChg>
        <pc:spChg chg="mod">
          <ac:chgData name="Eleonore LELEUCH" userId="ae1c9d52-4c76-4b9e-8a12-6863a1dc284c" providerId="ADAL" clId="{943B0E38-EA6B-47B7-BEA5-739850E7DA37}" dt="2022-11-29T07:20:33.797" v="1038"/>
          <ac:spMkLst>
            <pc:docMk/>
            <pc:sldMk cId="4022477905" sldId="2076138206"/>
            <ac:spMk id="51" creationId="{13CD9759-A392-B782-9BF9-5472933F0D53}"/>
          </ac:spMkLst>
        </pc:spChg>
        <pc:spChg chg="mod">
          <ac:chgData name="Eleonore LELEUCH" userId="ae1c9d52-4c76-4b9e-8a12-6863a1dc284c" providerId="ADAL" clId="{943B0E38-EA6B-47B7-BEA5-739850E7DA37}" dt="2022-11-29T07:20:33.797" v="1038"/>
          <ac:spMkLst>
            <pc:docMk/>
            <pc:sldMk cId="4022477905" sldId="2076138206"/>
            <ac:spMk id="52" creationId="{51D8E138-6794-5AD8-7F4C-607D822710CF}"/>
          </ac:spMkLst>
        </pc:spChg>
        <pc:spChg chg="mod">
          <ac:chgData name="Eleonore LELEUCH" userId="ae1c9d52-4c76-4b9e-8a12-6863a1dc284c" providerId="ADAL" clId="{943B0E38-EA6B-47B7-BEA5-739850E7DA37}" dt="2022-11-29T07:20:33.797" v="1038"/>
          <ac:spMkLst>
            <pc:docMk/>
            <pc:sldMk cId="4022477905" sldId="2076138206"/>
            <ac:spMk id="53" creationId="{8E89ED6A-4D90-5E0F-3609-40466189FB18}"/>
          </ac:spMkLst>
        </pc:spChg>
        <pc:spChg chg="add del mod">
          <ac:chgData name="Eleonore LELEUCH" userId="ae1c9d52-4c76-4b9e-8a12-6863a1dc284c" providerId="ADAL" clId="{943B0E38-EA6B-47B7-BEA5-739850E7DA37}" dt="2022-11-29T07:20:33.797" v="1038"/>
          <ac:spMkLst>
            <pc:docMk/>
            <pc:sldMk cId="4022477905" sldId="2076138206"/>
            <ac:spMk id="54" creationId="{B57571E7-DB3A-A347-FB8C-DCA76611B13F}"/>
          </ac:spMkLst>
        </pc:spChg>
        <pc:spChg chg="mod">
          <ac:chgData name="Eleonore LELEUCH" userId="ae1c9d52-4c76-4b9e-8a12-6863a1dc284c" providerId="ADAL" clId="{943B0E38-EA6B-47B7-BEA5-739850E7DA37}" dt="2022-11-29T07:20:33.797" v="1038"/>
          <ac:spMkLst>
            <pc:docMk/>
            <pc:sldMk cId="4022477905" sldId="2076138206"/>
            <ac:spMk id="55" creationId="{D5084CE4-8014-924A-D34A-73D7C563493F}"/>
          </ac:spMkLst>
        </pc:spChg>
        <pc:spChg chg="mod">
          <ac:chgData name="Eleonore LELEUCH" userId="ae1c9d52-4c76-4b9e-8a12-6863a1dc284c" providerId="ADAL" clId="{943B0E38-EA6B-47B7-BEA5-739850E7DA37}" dt="2022-11-29T07:20:33.797" v="1038"/>
          <ac:spMkLst>
            <pc:docMk/>
            <pc:sldMk cId="4022477905" sldId="2076138206"/>
            <ac:spMk id="56" creationId="{8EB4A5C2-6678-0064-53EB-2C4970217028}"/>
          </ac:spMkLst>
        </pc:spChg>
        <pc:spChg chg="mod">
          <ac:chgData name="Eleonore LELEUCH" userId="ae1c9d52-4c76-4b9e-8a12-6863a1dc284c" providerId="ADAL" clId="{943B0E38-EA6B-47B7-BEA5-739850E7DA37}" dt="2022-11-29T07:20:33.797" v="1038"/>
          <ac:spMkLst>
            <pc:docMk/>
            <pc:sldMk cId="4022477905" sldId="2076138206"/>
            <ac:spMk id="57" creationId="{F7D713C9-6877-86B2-A138-ADFDD38F334C}"/>
          </ac:spMkLst>
        </pc:spChg>
        <pc:spChg chg="mod">
          <ac:chgData name="Eleonore LELEUCH" userId="ae1c9d52-4c76-4b9e-8a12-6863a1dc284c" providerId="ADAL" clId="{943B0E38-EA6B-47B7-BEA5-739850E7DA37}" dt="2022-11-29T07:20:33.797" v="1038"/>
          <ac:spMkLst>
            <pc:docMk/>
            <pc:sldMk cId="4022477905" sldId="2076138206"/>
            <ac:spMk id="58" creationId="{ECD89C63-CAF1-28FA-F769-D48F47504ED7}"/>
          </ac:spMkLst>
        </pc:spChg>
        <pc:spChg chg="mod">
          <ac:chgData name="Eleonore LELEUCH" userId="ae1c9d52-4c76-4b9e-8a12-6863a1dc284c" providerId="ADAL" clId="{943B0E38-EA6B-47B7-BEA5-739850E7DA37}" dt="2022-11-29T07:20:33.797" v="1038"/>
          <ac:spMkLst>
            <pc:docMk/>
            <pc:sldMk cId="4022477905" sldId="2076138206"/>
            <ac:spMk id="59" creationId="{D4F26E73-9D8F-B8DC-1DC4-2588310A594B}"/>
          </ac:spMkLst>
        </pc:spChg>
        <pc:spChg chg="mod">
          <ac:chgData name="Eleonore LELEUCH" userId="ae1c9d52-4c76-4b9e-8a12-6863a1dc284c" providerId="ADAL" clId="{943B0E38-EA6B-47B7-BEA5-739850E7DA37}" dt="2022-11-29T07:20:33.797" v="1038"/>
          <ac:spMkLst>
            <pc:docMk/>
            <pc:sldMk cId="4022477905" sldId="2076138206"/>
            <ac:spMk id="60" creationId="{756FD96F-6CA6-AF59-DA80-AF1BEAFB3100}"/>
          </ac:spMkLst>
        </pc:spChg>
        <pc:spChg chg="mod">
          <ac:chgData name="Eleonore LELEUCH" userId="ae1c9d52-4c76-4b9e-8a12-6863a1dc284c" providerId="ADAL" clId="{943B0E38-EA6B-47B7-BEA5-739850E7DA37}" dt="2022-11-29T07:20:33.797" v="1038"/>
          <ac:spMkLst>
            <pc:docMk/>
            <pc:sldMk cId="4022477905" sldId="2076138206"/>
            <ac:spMk id="61" creationId="{76D5FB47-67FA-A4E6-1CAD-5B18CF29D6A9}"/>
          </ac:spMkLst>
        </pc:spChg>
        <pc:spChg chg="mod">
          <ac:chgData name="Eleonore LELEUCH" userId="ae1c9d52-4c76-4b9e-8a12-6863a1dc284c" providerId="ADAL" clId="{943B0E38-EA6B-47B7-BEA5-739850E7DA37}" dt="2022-11-29T07:20:33.797" v="1038"/>
          <ac:spMkLst>
            <pc:docMk/>
            <pc:sldMk cId="4022477905" sldId="2076138206"/>
            <ac:spMk id="62" creationId="{2F70D9D2-C982-7B81-4CDE-46984E644AA0}"/>
          </ac:spMkLst>
        </pc:spChg>
        <pc:spChg chg="mod">
          <ac:chgData name="Eleonore LELEUCH" userId="ae1c9d52-4c76-4b9e-8a12-6863a1dc284c" providerId="ADAL" clId="{943B0E38-EA6B-47B7-BEA5-739850E7DA37}" dt="2022-11-29T07:20:33.797" v="1038"/>
          <ac:spMkLst>
            <pc:docMk/>
            <pc:sldMk cId="4022477905" sldId="2076138206"/>
            <ac:spMk id="63" creationId="{238B82C4-5EB4-3823-184F-FDF7D97510CC}"/>
          </ac:spMkLst>
        </pc:spChg>
        <pc:spChg chg="mod">
          <ac:chgData name="Eleonore LELEUCH" userId="ae1c9d52-4c76-4b9e-8a12-6863a1dc284c" providerId="ADAL" clId="{943B0E38-EA6B-47B7-BEA5-739850E7DA37}" dt="2022-11-29T07:20:33.797" v="1038"/>
          <ac:spMkLst>
            <pc:docMk/>
            <pc:sldMk cId="4022477905" sldId="2076138206"/>
            <ac:spMk id="64" creationId="{A03DD84D-C91E-138B-CAC5-5E2ADA71356F}"/>
          </ac:spMkLst>
        </pc:spChg>
        <pc:spChg chg="mod">
          <ac:chgData name="Eleonore LELEUCH" userId="ae1c9d52-4c76-4b9e-8a12-6863a1dc284c" providerId="ADAL" clId="{943B0E38-EA6B-47B7-BEA5-739850E7DA37}" dt="2022-11-29T07:20:33.797" v="1038"/>
          <ac:spMkLst>
            <pc:docMk/>
            <pc:sldMk cId="4022477905" sldId="2076138206"/>
            <ac:spMk id="65" creationId="{1B3B5790-A742-881E-1A42-69F76386ED63}"/>
          </ac:spMkLst>
        </pc:spChg>
        <pc:spChg chg="mod">
          <ac:chgData name="Eleonore LELEUCH" userId="ae1c9d52-4c76-4b9e-8a12-6863a1dc284c" providerId="ADAL" clId="{943B0E38-EA6B-47B7-BEA5-739850E7DA37}" dt="2022-11-29T07:20:33.797" v="1038"/>
          <ac:spMkLst>
            <pc:docMk/>
            <pc:sldMk cId="4022477905" sldId="2076138206"/>
            <ac:spMk id="66" creationId="{299E90DC-1764-820A-D8A6-A8B74A5D15D6}"/>
          </ac:spMkLst>
        </pc:spChg>
        <pc:spChg chg="mod">
          <ac:chgData name="Eleonore LELEUCH" userId="ae1c9d52-4c76-4b9e-8a12-6863a1dc284c" providerId="ADAL" clId="{943B0E38-EA6B-47B7-BEA5-739850E7DA37}" dt="2022-11-29T07:20:33.797" v="1038"/>
          <ac:spMkLst>
            <pc:docMk/>
            <pc:sldMk cId="4022477905" sldId="2076138206"/>
            <ac:spMk id="67" creationId="{73748FCD-39A0-E171-5BD9-135487177359}"/>
          </ac:spMkLst>
        </pc:spChg>
        <pc:spChg chg="mod">
          <ac:chgData name="Eleonore LELEUCH" userId="ae1c9d52-4c76-4b9e-8a12-6863a1dc284c" providerId="ADAL" clId="{943B0E38-EA6B-47B7-BEA5-739850E7DA37}" dt="2022-11-29T07:20:33.797" v="1038"/>
          <ac:spMkLst>
            <pc:docMk/>
            <pc:sldMk cId="4022477905" sldId="2076138206"/>
            <ac:spMk id="68" creationId="{B422F5E0-3E5D-6772-236A-9430F4ADEFC8}"/>
          </ac:spMkLst>
        </pc:spChg>
        <pc:spChg chg="mod">
          <ac:chgData name="Eleonore LELEUCH" userId="ae1c9d52-4c76-4b9e-8a12-6863a1dc284c" providerId="ADAL" clId="{943B0E38-EA6B-47B7-BEA5-739850E7DA37}" dt="2022-11-29T07:20:33.797" v="1038"/>
          <ac:spMkLst>
            <pc:docMk/>
            <pc:sldMk cId="4022477905" sldId="2076138206"/>
            <ac:spMk id="69" creationId="{157F84EF-A32B-DD8F-86D1-464F30F07A16}"/>
          </ac:spMkLst>
        </pc:spChg>
        <pc:spChg chg="mod">
          <ac:chgData name="Eleonore LELEUCH" userId="ae1c9d52-4c76-4b9e-8a12-6863a1dc284c" providerId="ADAL" clId="{943B0E38-EA6B-47B7-BEA5-739850E7DA37}" dt="2022-11-29T07:20:33.797" v="1038"/>
          <ac:spMkLst>
            <pc:docMk/>
            <pc:sldMk cId="4022477905" sldId="2076138206"/>
            <ac:spMk id="70" creationId="{0E5B374A-EAB6-E882-BAD0-26529CED9D94}"/>
          </ac:spMkLst>
        </pc:spChg>
        <pc:spChg chg="mod">
          <ac:chgData name="Eleonore LELEUCH" userId="ae1c9d52-4c76-4b9e-8a12-6863a1dc284c" providerId="ADAL" clId="{943B0E38-EA6B-47B7-BEA5-739850E7DA37}" dt="2022-11-29T07:20:33.797" v="1038"/>
          <ac:spMkLst>
            <pc:docMk/>
            <pc:sldMk cId="4022477905" sldId="2076138206"/>
            <ac:spMk id="71" creationId="{0C47C981-C113-C7AF-2745-66240CC4C355}"/>
          </ac:spMkLst>
        </pc:spChg>
        <pc:spChg chg="mod">
          <ac:chgData name="Eleonore LELEUCH" userId="ae1c9d52-4c76-4b9e-8a12-6863a1dc284c" providerId="ADAL" clId="{943B0E38-EA6B-47B7-BEA5-739850E7DA37}" dt="2022-11-29T07:20:33.797" v="1038"/>
          <ac:spMkLst>
            <pc:docMk/>
            <pc:sldMk cId="4022477905" sldId="2076138206"/>
            <ac:spMk id="72" creationId="{DF9B6810-8188-3F9B-211E-5B303576415A}"/>
          </ac:spMkLst>
        </pc:spChg>
        <pc:spChg chg="mod">
          <ac:chgData name="Eleonore LELEUCH" userId="ae1c9d52-4c76-4b9e-8a12-6863a1dc284c" providerId="ADAL" clId="{943B0E38-EA6B-47B7-BEA5-739850E7DA37}" dt="2022-11-29T07:20:33.797" v="1038"/>
          <ac:spMkLst>
            <pc:docMk/>
            <pc:sldMk cId="4022477905" sldId="2076138206"/>
            <ac:spMk id="73" creationId="{AD11AEFD-B132-D5EE-F1FF-A67499A2DEAC}"/>
          </ac:spMkLst>
        </pc:spChg>
        <pc:spChg chg="mod">
          <ac:chgData name="Eleonore LELEUCH" userId="ae1c9d52-4c76-4b9e-8a12-6863a1dc284c" providerId="ADAL" clId="{943B0E38-EA6B-47B7-BEA5-739850E7DA37}" dt="2022-11-29T07:20:33.797" v="1038"/>
          <ac:spMkLst>
            <pc:docMk/>
            <pc:sldMk cId="4022477905" sldId="2076138206"/>
            <ac:spMk id="74" creationId="{860665D9-8766-2386-6066-00ACA8A7EFD6}"/>
          </ac:spMkLst>
        </pc:spChg>
        <pc:spChg chg="add del mod">
          <ac:chgData name="Eleonore LELEUCH" userId="ae1c9d52-4c76-4b9e-8a12-6863a1dc284c" providerId="ADAL" clId="{943B0E38-EA6B-47B7-BEA5-739850E7DA37}" dt="2022-11-29T07:20:33.797" v="1038"/>
          <ac:spMkLst>
            <pc:docMk/>
            <pc:sldMk cId="4022477905" sldId="2076138206"/>
            <ac:spMk id="75" creationId="{933EA20E-AD23-48E5-8BB8-A389E5280D85}"/>
          </ac:spMkLst>
        </pc:spChg>
        <pc:spChg chg="add del mod">
          <ac:chgData name="Eleonore LELEUCH" userId="ae1c9d52-4c76-4b9e-8a12-6863a1dc284c" providerId="ADAL" clId="{943B0E38-EA6B-47B7-BEA5-739850E7DA37}" dt="2022-11-29T07:20:40.865" v="1041"/>
          <ac:spMkLst>
            <pc:docMk/>
            <pc:sldMk cId="4022477905" sldId="2076138206"/>
            <ac:spMk id="76" creationId="{0A33B11D-A22B-5934-B4F6-096B36B70867}"/>
          </ac:spMkLst>
        </pc:spChg>
        <pc:spChg chg="add del mod">
          <ac:chgData name="Eleonore LELEUCH" userId="ae1c9d52-4c76-4b9e-8a12-6863a1dc284c" providerId="ADAL" clId="{943B0E38-EA6B-47B7-BEA5-739850E7DA37}" dt="2022-11-29T07:20:40.865" v="1041"/>
          <ac:spMkLst>
            <pc:docMk/>
            <pc:sldMk cId="4022477905" sldId="2076138206"/>
            <ac:spMk id="77" creationId="{BA96F570-7B8E-340E-38B8-E8D8B46B5BBD}"/>
          </ac:spMkLst>
        </pc:spChg>
        <pc:spChg chg="del mod">
          <ac:chgData name="Eleonore LELEUCH" userId="ae1c9d52-4c76-4b9e-8a12-6863a1dc284c" providerId="ADAL" clId="{943B0E38-EA6B-47B7-BEA5-739850E7DA37}" dt="2022-11-29T07:21:54.788" v="1058" actId="478"/>
          <ac:spMkLst>
            <pc:docMk/>
            <pc:sldMk cId="4022477905" sldId="2076138206"/>
            <ac:spMk id="78" creationId="{30D91275-6389-78AC-2329-B556E5793E31}"/>
          </ac:spMkLst>
        </pc:spChg>
        <pc:spChg chg="del mod">
          <ac:chgData name="Eleonore LELEUCH" userId="ae1c9d52-4c76-4b9e-8a12-6863a1dc284c" providerId="ADAL" clId="{943B0E38-EA6B-47B7-BEA5-739850E7DA37}" dt="2022-11-29T07:21:54.788" v="1058" actId="478"/>
          <ac:spMkLst>
            <pc:docMk/>
            <pc:sldMk cId="4022477905" sldId="2076138206"/>
            <ac:spMk id="79" creationId="{A70F5F88-7E6D-4E06-BB0C-EE0B287CA542}"/>
          </ac:spMkLst>
        </pc:spChg>
        <pc:spChg chg="del mod">
          <ac:chgData name="Eleonore LELEUCH" userId="ae1c9d52-4c76-4b9e-8a12-6863a1dc284c" providerId="ADAL" clId="{943B0E38-EA6B-47B7-BEA5-739850E7DA37}" dt="2022-11-29T07:21:54.788" v="1058" actId="478"/>
          <ac:spMkLst>
            <pc:docMk/>
            <pc:sldMk cId="4022477905" sldId="2076138206"/>
            <ac:spMk id="80" creationId="{27ED72CF-B03D-A449-0B90-704EE00B1CBB}"/>
          </ac:spMkLst>
        </pc:spChg>
        <pc:spChg chg="del mod">
          <ac:chgData name="Eleonore LELEUCH" userId="ae1c9d52-4c76-4b9e-8a12-6863a1dc284c" providerId="ADAL" clId="{943B0E38-EA6B-47B7-BEA5-739850E7DA37}" dt="2022-11-29T07:21:54.788" v="1058" actId="478"/>
          <ac:spMkLst>
            <pc:docMk/>
            <pc:sldMk cId="4022477905" sldId="2076138206"/>
            <ac:spMk id="81" creationId="{C44CBCBB-423B-AD86-7AC2-B318EEB81294}"/>
          </ac:spMkLst>
        </pc:spChg>
        <pc:spChg chg="del mod">
          <ac:chgData name="Eleonore LELEUCH" userId="ae1c9d52-4c76-4b9e-8a12-6863a1dc284c" providerId="ADAL" clId="{943B0E38-EA6B-47B7-BEA5-739850E7DA37}" dt="2022-11-29T07:21:54.788" v="1058" actId="478"/>
          <ac:spMkLst>
            <pc:docMk/>
            <pc:sldMk cId="4022477905" sldId="2076138206"/>
            <ac:spMk id="82" creationId="{73C9B4A2-D491-AB53-4DB2-C04C1444BB74}"/>
          </ac:spMkLst>
        </pc:spChg>
        <pc:spChg chg="del mod">
          <ac:chgData name="Eleonore LELEUCH" userId="ae1c9d52-4c76-4b9e-8a12-6863a1dc284c" providerId="ADAL" clId="{943B0E38-EA6B-47B7-BEA5-739850E7DA37}" dt="2022-11-29T07:21:54.788" v="1058" actId="478"/>
          <ac:spMkLst>
            <pc:docMk/>
            <pc:sldMk cId="4022477905" sldId="2076138206"/>
            <ac:spMk id="83" creationId="{4F7C3A2B-C538-CC57-0212-850A4A0382A1}"/>
          </ac:spMkLst>
        </pc:spChg>
        <pc:spChg chg="del mod">
          <ac:chgData name="Eleonore LELEUCH" userId="ae1c9d52-4c76-4b9e-8a12-6863a1dc284c" providerId="ADAL" clId="{943B0E38-EA6B-47B7-BEA5-739850E7DA37}" dt="2022-11-29T07:21:54.788" v="1058" actId="478"/>
          <ac:spMkLst>
            <pc:docMk/>
            <pc:sldMk cId="4022477905" sldId="2076138206"/>
            <ac:spMk id="84" creationId="{11F51F1E-214E-23D6-9992-869776A4B099}"/>
          </ac:spMkLst>
        </pc:spChg>
        <pc:spChg chg="del mod">
          <ac:chgData name="Eleonore LELEUCH" userId="ae1c9d52-4c76-4b9e-8a12-6863a1dc284c" providerId="ADAL" clId="{943B0E38-EA6B-47B7-BEA5-739850E7DA37}" dt="2022-11-29T07:21:54.788" v="1058" actId="478"/>
          <ac:spMkLst>
            <pc:docMk/>
            <pc:sldMk cId="4022477905" sldId="2076138206"/>
            <ac:spMk id="85" creationId="{A8B4AA39-383A-685C-7364-E2CD41CF7FBD}"/>
          </ac:spMkLst>
        </pc:spChg>
        <pc:spChg chg="del mod">
          <ac:chgData name="Eleonore LELEUCH" userId="ae1c9d52-4c76-4b9e-8a12-6863a1dc284c" providerId="ADAL" clId="{943B0E38-EA6B-47B7-BEA5-739850E7DA37}" dt="2022-11-29T07:21:54.788" v="1058" actId="478"/>
          <ac:spMkLst>
            <pc:docMk/>
            <pc:sldMk cId="4022477905" sldId="2076138206"/>
            <ac:spMk id="86" creationId="{12309473-27A8-0036-BBFD-818C9BA62DFD}"/>
          </ac:spMkLst>
        </pc:spChg>
        <pc:spChg chg="del mod">
          <ac:chgData name="Eleonore LELEUCH" userId="ae1c9d52-4c76-4b9e-8a12-6863a1dc284c" providerId="ADAL" clId="{943B0E38-EA6B-47B7-BEA5-739850E7DA37}" dt="2022-11-29T07:21:54.788" v="1058" actId="478"/>
          <ac:spMkLst>
            <pc:docMk/>
            <pc:sldMk cId="4022477905" sldId="2076138206"/>
            <ac:spMk id="87" creationId="{51B289C2-2B5A-AEAD-0767-95B1FB974881}"/>
          </ac:spMkLst>
        </pc:spChg>
        <pc:spChg chg="del mod">
          <ac:chgData name="Eleonore LELEUCH" userId="ae1c9d52-4c76-4b9e-8a12-6863a1dc284c" providerId="ADAL" clId="{943B0E38-EA6B-47B7-BEA5-739850E7DA37}" dt="2022-11-29T07:21:54.788" v="1058" actId="478"/>
          <ac:spMkLst>
            <pc:docMk/>
            <pc:sldMk cId="4022477905" sldId="2076138206"/>
            <ac:spMk id="88" creationId="{5EBD210D-A3D6-57B2-B792-51AA15CA8DA8}"/>
          </ac:spMkLst>
        </pc:spChg>
        <pc:spChg chg="del mod">
          <ac:chgData name="Eleonore LELEUCH" userId="ae1c9d52-4c76-4b9e-8a12-6863a1dc284c" providerId="ADAL" clId="{943B0E38-EA6B-47B7-BEA5-739850E7DA37}" dt="2022-11-29T07:21:54.788" v="1058" actId="478"/>
          <ac:spMkLst>
            <pc:docMk/>
            <pc:sldMk cId="4022477905" sldId="2076138206"/>
            <ac:spMk id="90" creationId="{190E8104-2CB8-20DA-3CFB-A9721C774989}"/>
          </ac:spMkLst>
        </pc:spChg>
        <pc:spChg chg="del mod">
          <ac:chgData name="Eleonore LELEUCH" userId="ae1c9d52-4c76-4b9e-8a12-6863a1dc284c" providerId="ADAL" clId="{943B0E38-EA6B-47B7-BEA5-739850E7DA37}" dt="2022-11-29T07:21:54.788" v="1058" actId="478"/>
          <ac:spMkLst>
            <pc:docMk/>
            <pc:sldMk cId="4022477905" sldId="2076138206"/>
            <ac:spMk id="91" creationId="{B2D8B5C9-D5A7-E6A6-2B5D-E3F0F584E59A}"/>
          </ac:spMkLst>
        </pc:spChg>
        <pc:spChg chg="add del mod">
          <ac:chgData name="Eleonore LELEUCH" userId="ae1c9d52-4c76-4b9e-8a12-6863a1dc284c" providerId="ADAL" clId="{943B0E38-EA6B-47B7-BEA5-739850E7DA37}" dt="2022-11-29T07:26:25.375" v="1160" actId="478"/>
          <ac:spMkLst>
            <pc:docMk/>
            <pc:sldMk cId="4022477905" sldId="2076138206"/>
            <ac:spMk id="92" creationId="{6652E600-74A5-4019-D23C-9CAD9F16F58B}"/>
          </ac:spMkLst>
        </pc:spChg>
        <pc:spChg chg="del mod">
          <ac:chgData name="Eleonore LELEUCH" userId="ae1c9d52-4c76-4b9e-8a12-6863a1dc284c" providerId="ADAL" clId="{943B0E38-EA6B-47B7-BEA5-739850E7DA37}" dt="2022-11-29T07:21:54.788" v="1058" actId="478"/>
          <ac:spMkLst>
            <pc:docMk/>
            <pc:sldMk cId="4022477905" sldId="2076138206"/>
            <ac:spMk id="93" creationId="{4C4BCE12-A778-DC9A-98C9-C011FD043C98}"/>
          </ac:spMkLst>
        </pc:spChg>
        <pc:spChg chg="del mod">
          <ac:chgData name="Eleonore LELEUCH" userId="ae1c9d52-4c76-4b9e-8a12-6863a1dc284c" providerId="ADAL" clId="{943B0E38-EA6B-47B7-BEA5-739850E7DA37}" dt="2022-11-29T07:21:54.788" v="1058" actId="478"/>
          <ac:spMkLst>
            <pc:docMk/>
            <pc:sldMk cId="4022477905" sldId="2076138206"/>
            <ac:spMk id="94" creationId="{B6B24254-D38C-D116-3B73-2E041FD06F06}"/>
          </ac:spMkLst>
        </pc:spChg>
        <pc:spChg chg="del mod">
          <ac:chgData name="Eleonore LELEUCH" userId="ae1c9d52-4c76-4b9e-8a12-6863a1dc284c" providerId="ADAL" clId="{943B0E38-EA6B-47B7-BEA5-739850E7DA37}" dt="2022-11-29T07:21:54.788" v="1058" actId="478"/>
          <ac:spMkLst>
            <pc:docMk/>
            <pc:sldMk cId="4022477905" sldId="2076138206"/>
            <ac:spMk id="95" creationId="{B4B81101-DA1E-56C8-F728-94747B096BC7}"/>
          </ac:spMkLst>
        </pc:spChg>
        <pc:spChg chg="del mod">
          <ac:chgData name="Eleonore LELEUCH" userId="ae1c9d52-4c76-4b9e-8a12-6863a1dc284c" providerId="ADAL" clId="{943B0E38-EA6B-47B7-BEA5-739850E7DA37}" dt="2022-11-29T07:21:54.788" v="1058" actId="478"/>
          <ac:spMkLst>
            <pc:docMk/>
            <pc:sldMk cId="4022477905" sldId="2076138206"/>
            <ac:spMk id="96" creationId="{5214BEA3-A83D-3921-0BC2-40A9354F6C7D}"/>
          </ac:spMkLst>
        </pc:spChg>
        <pc:spChg chg="del mod">
          <ac:chgData name="Eleonore LELEUCH" userId="ae1c9d52-4c76-4b9e-8a12-6863a1dc284c" providerId="ADAL" clId="{943B0E38-EA6B-47B7-BEA5-739850E7DA37}" dt="2022-11-29T07:21:46.939" v="1057" actId="478"/>
          <ac:spMkLst>
            <pc:docMk/>
            <pc:sldMk cId="4022477905" sldId="2076138206"/>
            <ac:spMk id="97" creationId="{2AD0D17B-3B30-5B92-1F4B-94F0C01864B7}"/>
          </ac:spMkLst>
        </pc:spChg>
        <pc:spChg chg="del mod">
          <ac:chgData name="Eleonore LELEUCH" userId="ae1c9d52-4c76-4b9e-8a12-6863a1dc284c" providerId="ADAL" clId="{943B0E38-EA6B-47B7-BEA5-739850E7DA37}" dt="2022-11-29T07:21:54.788" v="1058" actId="478"/>
          <ac:spMkLst>
            <pc:docMk/>
            <pc:sldMk cId="4022477905" sldId="2076138206"/>
            <ac:spMk id="98" creationId="{0F823B5D-F6FE-496F-A1A6-E48523FA4A1F}"/>
          </ac:spMkLst>
        </pc:spChg>
        <pc:spChg chg="del mod">
          <ac:chgData name="Eleonore LELEUCH" userId="ae1c9d52-4c76-4b9e-8a12-6863a1dc284c" providerId="ADAL" clId="{943B0E38-EA6B-47B7-BEA5-739850E7DA37}" dt="2022-11-29T07:21:54.788" v="1058" actId="478"/>
          <ac:spMkLst>
            <pc:docMk/>
            <pc:sldMk cId="4022477905" sldId="2076138206"/>
            <ac:spMk id="99" creationId="{83C0D9F7-DE05-AC7E-188B-47A3F5A7944D}"/>
          </ac:spMkLst>
        </pc:spChg>
        <pc:spChg chg="del mod">
          <ac:chgData name="Eleonore LELEUCH" userId="ae1c9d52-4c76-4b9e-8a12-6863a1dc284c" providerId="ADAL" clId="{943B0E38-EA6B-47B7-BEA5-739850E7DA37}" dt="2022-11-29T07:21:54.788" v="1058" actId="478"/>
          <ac:spMkLst>
            <pc:docMk/>
            <pc:sldMk cId="4022477905" sldId="2076138206"/>
            <ac:spMk id="100" creationId="{89B50DC0-5DC0-EEB1-D5D2-5C061D709C4C}"/>
          </ac:spMkLst>
        </pc:spChg>
        <pc:spChg chg="del mod">
          <ac:chgData name="Eleonore LELEUCH" userId="ae1c9d52-4c76-4b9e-8a12-6863a1dc284c" providerId="ADAL" clId="{943B0E38-EA6B-47B7-BEA5-739850E7DA37}" dt="2022-11-29T07:21:54.788" v="1058" actId="478"/>
          <ac:spMkLst>
            <pc:docMk/>
            <pc:sldMk cId="4022477905" sldId="2076138206"/>
            <ac:spMk id="101" creationId="{B95A281A-7B1C-49F4-7967-9051AA1B8DAC}"/>
          </ac:spMkLst>
        </pc:spChg>
        <pc:spChg chg="del mod">
          <ac:chgData name="Eleonore LELEUCH" userId="ae1c9d52-4c76-4b9e-8a12-6863a1dc284c" providerId="ADAL" clId="{943B0E38-EA6B-47B7-BEA5-739850E7DA37}" dt="2022-11-29T07:21:44.919" v="1056" actId="478"/>
          <ac:spMkLst>
            <pc:docMk/>
            <pc:sldMk cId="4022477905" sldId="2076138206"/>
            <ac:spMk id="102" creationId="{877CB60A-3A62-43A1-B596-C315CF7D22ED}"/>
          </ac:spMkLst>
        </pc:spChg>
        <pc:spChg chg="del mod">
          <ac:chgData name="Eleonore LELEUCH" userId="ae1c9d52-4c76-4b9e-8a12-6863a1dc284c" providerId="ADAL" clId="{943B0E38-EA6B-47B7-BEA5-739850E7DA37}" dt="2022-11-29T07:21:54.788" v="1058" actId="478"/>
          <ac:spMkLst>
            <pc:docMk/>
            <pc:sldMk cId="4022477905" sldId="2076138206"/>
            <ac:spMk id="103" creationId="{5D035858-6F4F-83FB-0B4C-EDAA45E54599}"/>
          </ac:spMkLst>
        </pc:spChg>
        <pc:spChg chg="del mod">
          <ac:chgData name="Eleonore LELEUCH" userId="ae1c9d52-4c76-4b9e-8a12-6863a1dc284c" providerId="ADAL" clId="{943B0E38-EA6B-47B7-BEA5-739850E7DA37}" dt="2022-11-29T07:21:54.788" v="1058" actId="478"/>
          <ac:spMkLst>
            <pc:docMk/>
            <pc:sldMk cId="4022477905" sldId="2076138206"/>
            <ac:spMk id="104" creationId="{73CAAC38-1DEC-8C89-DE51-E8C052CC1F35}"/>
          </ac:spMkLst>
        </pc:spChg>
        <pc:spChg chg="del mod">
          <ac:chgData name="Eleonore LELEUCH" userId="ae1c9d52-4c76-4b9e-8a12-6863a1dc284c" providerId="ADAL" clId="{943B0E38-EA6B-47B7-BEA5-739850E7DA37}" dt="2022-11-29T07:21:54.788" v="1058" actId="478"/>
          <ac:spMkLst>
            <pc:docMk/>
            <pc:sldMk cId="4022477905" sldId="2076138206"/>
            <ac:spMk id="105" creationId="{4D16FAB5-E000-CEB3-E98A-63A8707836ED}"/>
          </ac:spMkLst>
        </pc:spChg>
        <pc:spChg chg="del mod">
          <ac:chgData name="Eleonore LELEUCH" userId="ae1c9d52-4c76-4b9e-8a12-6863a1dc284c" providerId="ADAL" clId="{943B0E38-EA6B-47B7-BEA5-739850E7DA37}" dt="2022-11-29T07:21:54.788" v="1058" actId="478"/>
          <ac:spMkLst>
            <pc:docMk/>
            <pc:sldMk cId="4022477905" sldId="2076138206"/>
            <ac:spMk id="106" creationId="{94C5B93F-2752-8037-9075-635E7814A2AA}"/>
          </ac:spMkLst>
        </pc:spChg>
        <pc:spChg chg="del mod">
          <ac:chgData name="Eleonore LELEUCH" userId="ae1c9d52-4c76-4b9e-8a12-6863a1dc284c" providerId="ADAL" clId="{943B0E38-EA6B-47B7-BEA5-739850E7DA37}" dt="2022-11-29T07:21:54.788" v="1058" actId="478"/>
          <ac:spMkLst>
            <pc:docMk/>
            <pc:sldMk cId="4022477905" sldId="2076138206"/>
            <ac:spMk id="107" creationId="{5CC0D563-7292-79D1-904E-1419C5224359}"/>
          </ac:spMkLst>
        </pc:spChg>
        <pc:spChg chg="del mod">
          <ac:chgData name="Eleonore LELEUCH" userId="ae1c9d52-4c76-4b9e-8a12-6863a1dc284c" providerId="ADAL" clId="{943B0E38-EA6B-47B7-BEA5-739850E7DA37}" dt="2022-11-29T07:21:54.788" v="1058" actId="478"/>
          <ac:spMkLst>
            <pc:docMk/>
            <pc:sldMk cId="4022477905" sldId="2076138206"/>
            <ac:spMk id="108" creationId="{698DA2AC-AE4A-3F10-5E01-E441D5E16A6D}"/>
          </ac:spMkLst>
        </pc:spChg>
        <pc:spChg chg="del mod">
          <ac:chgData name="Eleonore LELEUCH" userId="ae1c9d52-4c76-4b9e-8a12-6863a1dc284c" providerId="ADAL" clId="{943B0E38-EA6B-47B7-BEA5-739850E7DA37}" dt="2022-11-29T07:21:54.788" v="1058" actId="478"/>
          <ac:spMkLst>
            <pc:docMk/>
            <pc:sldMk cId="4022477905" sldId="2076138206"/>
            <ac:spMk id="109" creationId="{689291C4-02EE-8235-5791-8B086F310625}"/>
          </ac:spMkLst>
        </pc:spChg>
        <pc:spChg chg="del mod">
          <ac:chgData name="Eleonore LELEUCH" userId="ae1c9d52-4c76-4b9e-8a12-6863a1dc284c" providerId="ADAL" clId="{943B0E38-EA6B-47B7-BEA5-739850E7DA37}" dt="2022-11-29T07:21:54.788" v="1058" actId="478"/>
          <ac:spMkLst>
            <pc:docMk/>
            <pc:sldMk cId="4022477905" sldId="2076138206"/>
            <ac:spMk id="110" creationId="{D7B18161-51E0-DBB5-29FF-61CA8537E9AC}"/>
          </ac:spMkLst>
        </pc:spChg>
        <pc:spChg chg="del mod">
          <ac:chgData name="Eleonore LELEUCH" userId="ae1c9d52-4c76-4b9e-8a12-6863a1dc284c" providerId="ADAL" clId="{943B0E38-EA6B-47B7-BEA5-739850E7DA37}" dt="2022-11-29T07:21:34.114" v="1053" actId="478"/>
          <ac:spMkLst>
            <pc:docMk/>
            <pc:sldMk cId="4022477905" sldId="2076138206"/>
            <ac:spMk id="111" creationId="{F6E2DC2A-DCC6-3A77-7B04-B5E01D5BA217}"/>
          </ac:spMkLst>
        </pc:spChg>
        <pc:spChg chg="add del mod">
          <ac:chgData name="Eleonore LELEUCH" userId="ae1c9d52-4c76-4b9e-8a12-6863a1dc284c" providerId="ADAL" clId="{943B0E38-EA6B-47B7-BEA5-739850E7DA37}" dt="2022-11-29T07:26:26.961" v="1161" actId="478"/>
          <ac:spMkLst>
            <pc:docMk/>
            <pc:sldMk cId="4022477905" sldId="2076138206"/>
            <ac:spMk id="112" creationId="{5842E3E6-D2AC-8D85-FE36-73D48139BC31}"/>
          </ac:spMkLst>
        </pc:spChg>
        <pc:spChg chg="add del mod">
          <ac:chgData name="Eleonore LELEUCH" userId="ae1c9d52-4c76-4b9e-8a12-6863a1dc284c" providerId="ADAL" clId="{943B0E38-EA6B-47B7-BEA5-739850E7DA37}" dt="2022-11-29T07:26:23.802" v="1159" actId="478"/>
          <ac:spMkLst>
            <pc:docMk/>
            <pc:sldMk cId="4022477905" sldId="2076138206"/>
            <ac:spMk id="113" creationId="{BB47BD97-0B08-1D8B-C18F-EE0AF50E3901}"/>
          </ac:spMkLst>
        </pc:spChg>
        <pc:spChg chg="add mod">
          <ac:chgData name="Eleonore LELEUCH" userId="ae1c9d52-4c76-4b9e-8a12-6863a1dc284c" providerId="ADAL" clId="{943B0E38-EA6B-47B7-BEA5-739850E7DA37}" dt="2022-11-29T07:26:05.392" v="1156" actId="571"/>
          <ac:spMkLst>
            <pc:docMk/>
            <pc:sldMk cId="4022477905" sldId="2076138206"/>
            <ac:spMk id="114" creationId="{ED6DB580-1A47-384D-DDC3-D1382EFDC7AC}"/>
          </ac:spMkLst>
        </pc:spChg>
        <pc:spChg chg="add mod">
          <ac:chgData name="Eleonore LELEUCH" userId="ae1c9d52-4c76-4b9e-8a12-6863a1dc284c" providerId="ADAL" clId="{943B0E38-EA6B-47B7-BEA5-739850E7DA37}" dt="2022-11-29T07:26:05.392" v="1156" actId="571"/>
          <ac:spMkLst>
            <pc:docMk/>
            <pc:sldMk cId="4022477905" sldId="2076138206"/>
            <ac:spMk id="117" creationId="{54232942-5859-87E2-599A-C97830D48EE6}"/>
          </ac:spMkLst>
        </pc:spChg>
        <pc:spChg chg="add mod">
          <ac:chgData name="Eleonore LELEUCH" userId="ae1c9d52-4c76-4b9e-8a12-6863a1dc284c" providerId="ADAL" clId="{943B0E38-EA6B-47B7-BEA5-739850E7DA37}" dt="2022-11-29T07:26:05.392" v="1156" actId="571"/>
          <ac:spMkLst>
            <pc:docMk/>
            <pc:sldMk cId="4022477905" sldId="2076138206"/>
            <ac:spMk id="122" creationId="{7353588E-D364-7EB5-E19C-08D9C7F2D92B}"/>
          </ac:spMkLst>
        </pc:spChg>
        <pc:spChg chg="add mod">
          <ac:chgData name="Eleonore LELEUCH" userId="ae1c9d52-4c76-4b9e-8a12-6863a1dc284c" providerId="ADAL" clId="{943B0E38-EA6B-47B7-BEA5-739850E7DA37}" dt="2022-11-29T07:26:05.392" v="1156" actId="571"/>
          <ac:spMkLst>
            <pc:docMk/>
            <pc:sldMk cId="4022477905" sldId="2076138206"/>
            <ac:spMk id="123" creationId="{ACE63B2F-09F9-9A6E-CD7F-4DFA344C46B2}"/>
          </ac:spMkLst>
        </pc:spChg>
        <pc:spChg chg="mod">
          <ac:chgData name="Eleonore LELEUCH" userId="ae1c9d52-4c76-4b9e-8a12-6863a1dc284c" providerId="ADAL" clId="{943B0E38-EA6B-47B7-BEA5-739850E7DA37}" dt="2022-11-29T07:25:28.297" v="1150"/>
          <ac:spMkLst>
            <pc:docMk/>
            <pc:sldMk cId="4022477905" sldId="2076138206"/>
            <ac:spMk id="126" creationId="{F99DA3C0-D714-A03F-CA7E-64AD75107CD8}"/>
          </ac:spMkLst>
        </pc:spChg>
        <pc:spChg chg="mod">
          <ac:chgData name="Eleonore LELEUCH" userId="ae1c9d52-4c76-4b9e-8a12-6863a1dc284c" providerId="ADAL" clId="{943B0E38-EA6B-47B7-BEA5-739850E7DA37}" dt="2022-11-29T07:25:28.297" v="1150"/>
          <ac:spMkLst>
            <pc:docMk/>
            <pc:sldMk cId="4022477905" sldId="2076138206"/>
            <ac:spMk id="127" creationId="{1CA8689B-4A3C-654B-59B1-91404EE981E8}"/>
          </ac:spMkLst>
        </pc:spChg>
        <pc:spChg chg="mod">
          <ac:chgData name="Eleonore LELEUCH" userId="ae1c9d52-4c76-4b9e-8a12-6863a1dc284c" providerId="ADAL" clId="{943B0E38-EA6B-47B7-BEA5-739850E7DA37}" dt="2022-11-29T07:25:28.297" v="1150"/>
          <ac:spMkLst>
            <pc:docMk/>
            <pc:sldMk cId="4022477905" sldId="2076138206"/>
            <ac:spMk id="1024" creationId="{AD74C5AA-EB8C-7A43-3793-F80D919B3384}"/>
          </ac:spMkLst>
        </pc:spChg>
        <pc:spChg chg="mod">
          <ac:chgData name="Eleonore LELEUCH" userId="ae1c9d52-4c76-4b9e-8a12-6863a1dc284c" providerId="ADAL" clId="{943B0E38-EA6B-47B7-BEA5-739850E7DA37}" dt="2022-11-29T07:25:28.297" v="1150"/>
          <ac:spMkLst>
            <pc:docMk/>
            <pc:sldMk cId="4022477905" sldId="2076138206"/>
            <ac:spMk id="1025" creationId="{03A6B9B2-24D4-D0ED-8599-7296F25D61EB}"/>
          </ac:spMkLst>
        </pc:spChg>
        <pc:spChg chg="add mod">
          <ac:chgData name="Eleonore LELEUCH" userId="ae1c9d52-4c76-4b9e-8a12-6863a1dc284c" providerId="ADAL" clId="{943B0E38-EA6B-47B7-BEA5-739850E7DA37}" dt="2022-11-29T07:26:09.316" v="1158" actId="688"/>
          <ac:spMkLst>
            <pc:docMk/>
            <pc:sldMk cId="4022477905" sldId="2076138206"/>
            <ac:spMk id="1027" creationId="{5357C575-20C8-20A9-7726-1BE429C0118C}"/>
          </ac:spMkLst>
        </pc:spChg>
        <pc:spChg chg="add mod">
          <ac:chgData name="Eleonore LELEUCH" userId="ae1c9d52-4c76-4b9e-8a12-6863a1dc284c" providerId="ADAL" clId="{943B0E38-EA6B-47B7-BEA5-739850E7DA37}" dt="2022-11-29T07:26:09.316" v="1158" actId="688"/>
          <ac:spMkLst>
            <pc:docMk/>
            <pc:sldMk cId="4022477905" sldId="2076138206"/>
            <ac:spMk id="1028" creationId="{C08E593D-FFDF-A7FA-84A1-5409D90501EA}"/>
          </ac:spMkLst>
        </pc:spChg>
        <pc:spChg chg="add mod">
          <ac:chgData name="Eleonore LELEUCH" userId="ae1c9d52-4c76-4b9e-8a12-6863a1dc284c" providerId="ADAL" clId="{943B0E38-EA6B-47B7-BEA5-739850E7DA37}" dt="2022-11-29T07:31:16.193" v="1208" actId="1076"/>
          <ac:spMkLst>
            <pc:docMk/>
            <pc:sldMk cId="4022477905" sldId="2076138206"/>
            <ac:spMk id="1029" creationId="{33152F17-830F-16AE-61E0-542D600188B4}"/>
          </ac:spMkLst>
        </pc:spChg>
        <pc:spChg chg="add mod">
          <ac:chgData name="Eleonore LELEUCH" userId="ae1c9d52-4c76-4b9e-8a12-6863a1dc284c" providerId="ADAL" clId="{943B0E38-EA6B-47B7-BEA5-739850E7DA37}" dt="2022-11-29T07:31:27.203" v="1210" actId="1076"/>
          <ac:spMkLst>
            <pc:docMk/>
            <pc:sldMk cId="4022477905" sldId="2076138206"/>
            <ac:spMk id="1030" creationId="{E8018841-CF22-6446-97EF-61E412ED5CA8}"/>
          </ac:spMkLst>
        </pc:spChg>
        <pc:spChg chg="mod">
          <ac:chgData name="Eleonore LELEUCH" userId="ae1c9d52-4c76-4b9e-8a12-6863a1dc284c" providerId="ADAL" clId="{943B0E38-EA6B-47B7-BEA5-739850E7DA37}" dt="2022-11-29T07:29:09.136" v="1196"/>
          <ac:spMkLst>
            <pc:docMk/>
            <pc:sldMk cId="4022477905" sldId="2076138206"/>
            <ac:spMk id="1034" creationId="{306A657D-3786-FCEA-D5DF-9D600414850B}"/>
          </ac:spMkLst>
        </pc:spChg>
        <pc:spChg chg="mod">
          <ac:chgData name="Eleonore LELEUCH" userId="ae1c9d52-4c76-4b9e-8a12-6863a1dc284c" providerId="ADAL" clId="{943B0E38-EA6B-47B7-BEA5-739850E7DA37}" dt="2022-11-29T07:29:09.136" v="1196"/>
          <ac:spMkLst>
            <pc:docMk/>
            <pc:sldMk cId="4022477905" sldId="2076138206"/>
            <ac:spMk id="1035" creationId="{7A8BE225-971F-A390-8F6E-0322C3E1D357}"/>
          </ac:spMkLst>
        </pc:spChg>
        <pc:spChg chg="mod">
          <ac:chgData name="Eleonore LELEUCH" userId="ae1c9d52-4c76-4b9e-8a12-6863a1dc284c" providerId="ADAL" clId="{943B0E38-EA6B-47B7-BEA5-739850E7DA37}" dt="2022-11-29T07:29:09.136" v="1196"/>
          <ac:spMkLst>
            <pc:docMk/>
            <pc:sldMk cId="4022477905" sldId="2076138206"/>
            <ac:spMk id="1036" creationId="{180763F2-E3A7-8685-1068-7025CBC2E5D8}"/>
          </ac:spMkLst>
        </pc:spChg>
        <pc:spChg chg="mod">
          <ac:chgData name="Eleonore LELEUCH" userId="ae1c9d52-4c76-4b9e-8a12-6863a1dc284c" providerId="ADAL" clId="{943B0E38-EA6B-47B7-BEA5-739850E7DA37}" dt="2022-11-29T07:29:09.136" v="1196"/>
          <ac:spMkLst>
            <pc:docMk/>
            <pc:sldMk cId="4022477905" sldId="2076138206"/>
            <ac:spMk id="1037" creationId="{66A18808-4DF4-D587-29FD-177829AFF8AF}"/>
          </ac:spMkLst>
        </pc:spChg>
        <pc:spChg chg="mod">
          <ac:chgData name="Eleonore LELEUCH" userId="ae1c9d52-4c76-4b9e-8a12-6863a1dc284c" providerId="ADAL" clId="{943B0E38-EA6B-47B7-BEA5-739850E7DA37}" dt="2022-11-29T07:29:09.136" v="1196"/>
          <ac:spMkLst>
            <pc:docMk/>
            <pc:sldMk cId="4022477905" sldId="2076138206"/>
            <ac:spMk id="1038" creationId="{1A970500-1CFB-AA63-7136-EDBC50A58CA9}"/>
          </ac:spMkLst>
        </pc:spChg>
        <pc:spChg chg="mod">
          <ac:chgData name="Eleonore LELEUCH" userId="ae1c9d52-4c76-4b9e-8a12-6863a1dc284c" providerId="ADAL" clId="{943B0E38-EA6B-47B7-BEA5-739850E7DA37}" dt="2022-11-29T07:29:09.136" v="1196"/>
          <ac:spMkLst>
            <pc:docMk/>
            <pc:sldMk cId="4022477905" sldId="2076138206"/>
            <ac:spMk id="1039" creationId="{A65FA8CF-AA2E-06E8-5D8C-282EADCDF743}"/>
          </ac:spMkLst>
        </pc:spChg>
        <pc:spChg chg="mod">
          <ac:chgData name="Eleonore LELEUCH" userId="ae1c9d52-4c76-4b9e-8a12-6863a1dc284c" providerId="ADAL" clId="{943B0E38-EA6B-47B7-BEA5-739850E7DA37}" dt="2022-11-29T07:31:37.080" v="1212"/>
          <ac:spMkLst>
            <pc:docMk/>
            <pc:sldMk cId="4022477905" sldId="2076138206"/>
            <ac:spMk id="1042" creationId="{6DF6BB45-9867-2E7D-1D5B-A4ED490F8257}"/>
          </ac:spMkLst>
        </pc:spChg>
        <pc:spChg chg="mod">
          <ac:chgData name="Eleonore LELEUCH" userId="ae1c9d52-4c76-4b9e-8a12-6863a1dc284c" providerId="ADAL" clId="{943B0E38-EA6B-47B7-BEA5-739850E7DA37}" dt="2022-11-29T07:35:00.295" v="1279" actId="1076"/>
          <ac:spMkLst>
            <pc:docMk/>
            <pc:sldMk cId="4022477905" sldId="2076138206"/>
            <ac:spMk id="1043" creationId="{BF320652-F532-FD66-ED40-B3FF58A19E48}"/>
          </ac:spMkLst>
        </pc:spChg>
        <pc:spChg chg="mod">
          <ac:chgData name="Eleonore LELEUCH" userId="ae1c9d52-4c76-4b9e-8a12-6863a1dc284c" providerId="ADAL" clId="{943B0E38-EA6B-47B7-BEA5-739850E7DA37}" dt="2022-11-29T07:31:37.080" v="1212"/>
          <ac:spMkLst>
            <pc:docMk/>
            <pc:sldMk cId="4022477905" sldId="2076138206"/>
            <ac:spMk id="1044" creationId="{1A89911A-83A5-C549-E29F-94BF6AF4B546}"/>
          </ac:spMkLst>
        </pc:spChg>
        <pc:spChg chg="mod">
          <ac:chgData name="Eleonore LELEUCH" userId="ae1c9d52-4c76-4b9e-8a12-6863a1dc284c" providerId="ADAL" clId="{943B0E38-EA6B-47B7-BEA5-739850E7DA37}" dt="2022-11-29T07:31:37.080" v="1212"/>
          <ac:spMkLst>
            <pc:docMk/>
            <pc:sldMk cId="4022477905" sldId="2076138206"/>
            <ac:spMk id="1045" creationId="{3BC49087-7EAC-C76A-84DB-CDC176C1F4C8}"/>
          </ac:spMkLst>
        </pc:spChg>
        <pc:spChg chg="mod">
          <ac:chgData name="Eleonore LELEUCH" userId="ae1c9d52-4c76-4b9e-8a12-6863a1dc284c" providerId="ADAL" clId="{943B0E38-EA6B-47B7-BEA5-739850E7DA37}" dt="2022-11-29T07:31:37.080" v="1212"/>
          <ac:spMkLst>
            <pc:docMk/>
            <pc:sldMk cId="4022477905" sldId="2076138206"/>
            <ac:spMk id="1046" creationId="{82F97DB5-7E38-44D6-4ACD-7505A7EA21A4}"/>
          </ac:spMkLst>
        </pc:spChg>
        <pc:spChg chg="mod">
          <ac:chgData name="Eleonore LELEUCH" userId="ae1c9d52-4c76-4b9e-8a12-6863a1dc284c" providerId="ADAL" clId="{943B0E38-EA6B-47B7-BEA5-739850E7DA37}" dt="2022-11-29T07:31:37.080" v="1212"/>
          <ac:spMkLst>
            <pc:docMk/>
            <pc:sldMk cId="4022477905" sldId="2076138206"/>
            <ac:spMk id="1047" creationId="{0EA30EEA-462D-2CF4-038E-7E78C43C2CE6}"/>
          </ac:spMkLst>
        </pc:spChg>
        <pc:spChg chg="add mod">
          <ac:chgData name="Eleonore LELEUCH" userId="ae1c9d52-4c76-4b9e-8a12-6863a1dc284c" providerId="ADAL" clId="{943B0E38-EA6B-47B7-BEA5-739850E7DA37}" dt="2022-11-29T07:35:40.113" v="1288" actId="1035"/>
          <ac:spMkLst>
            <pc:docMk/>
            <pc:sldMk cId="4022477905" sldId="2076138206"/>
            <ac:spMk id="1048" creationId="{BA0F20FB-4D8D-E750-6B16-27ACE4C1D326}"/>
          </ac:spMkLst>
        </pc:spChg>
        <pc:spChg chg="add mod">
          <ac:chgData name="Eleonore LELEUCH" userId="ae1c9d52-4c76-4b9e-8a12-6863a1dc284c" providerId="ADAL" clId="{943B0E38-EA6B-47B7-BEA5-739850E7DA37}" dt="2022-11-29T07:35:40.113" v="1288" actId="1035"/>
          <ac:spMkLst>
            <pc:docMk/>
            <pc:sldMk cId="4022477905" sldId="2076138206"/>
            <ac:spMk id="1049" creationId="{C2895775-A64C-E131-264B-B296576D2544}"/>
          </ac:spMkLst>
        </pc:spChg>
        <pc:spChg chg="add mod">
          <ac:chgData name="Eleonore LELEUCH" userId="ae1c9d52-4c76-4b9e-8a12-6863a1dc284c" providerId="ADAL" clId="{943B0E38-EA6B-47B7-BEA5-739850E7DA37}" dt="2022-11-29T07:35:40.113" v="1288" actId="1035"/>
          <ac:spMkLst>
            <pc:docMk/>
            <pc:sldMk cId="4022477905" sldId="2076138206"/>
            <ac:spMk id="1050" creationId="{86D53CB0-0FC9-C5B8-ECF3-61CEFF83DF85}"/>
          </ac:spMkLst>
        </pc:spChg>
        <pc:spChg chg="add mod">
          <ac:chgData name="Eleonore LELEUCH" userId="ae1c9d52-4c76-4b9e-8a12-6863a1dc284c" providerId="ADAL" clId="{943B0E38-EA6B-47B7-BEA5-739850E7DA37}" dt="2022-11-29T07:35:40.113" v="1288" actId="1035"/>
          <ac:spMkLst>
            <pc:docMk/>
            <pc:sldMk cId="4022477905" sldId="2076138206"/>
            <ac:spMk id="1051" creationId="{DD1FF4B9-0CE1-93F9-F276-3661D9C8441E}"/>
          </ac:spMkLst>
        </pc:spChg>
        <pc:grpChg chg="del mod">
          <ac:chgData name="Eleonore LELEUCH" userId="ae1c9d52-4c76-4b9e-8a12-6863a1dc284c" providerId="ADAL" clId="{943B0E38-EA6B-47B7-BEA5-739850E7DA37}" dt="2022-11-29T07:08:14.838" v="818" actId="165"/>
          <ac:grpSpMkLst>
            <pc:docMk/>
            <pc:sldMk cId="4022477905" sldId="2076138206"/>
            <ac:grpSpMk id="5" creationId="{680223AA-35AA-4F24-9098-0D3D11BE43F2}"/>
          </ac:grpSpMkLst>
        </pc:grpChg>
        <pc:grpChg chg="del">
          <ac:chgData name="Eleonore LELEUCH" userId="ae1c9d52-4c76-4b9e-8a12-6863a1dc284c" providerId="ADAL" clId="{943B0E38-EA6B-47B7-BEA5-739850E7DA37}" dt="2022-11-29T07:15:00.472" v="947" actId="478"/>
          <ac:grpSpMkLst>
            <pc:docMk/>
            <pc:sldMk cId="4022477905" sldId="2076138206"/>
            <ac:grpSpMk id="6" creationId="{D9518B8A-E42E-4FC1-9410-B281F9CF5A72}"/>
          </ac:grpSpMkLst>
        </pc:grpChg>
        <pc:grpChg chg="del">
          <ac:chgData name="Eleonore LELEUCH" userId="ae1c9d52-4c76-4b9e-8a12-6863a1dc284c" providerId="ADAL" clId="{943B0E38-EA6B-47B7-BEA5-739850E7DA37}" dt="2022-11-29T07:15:00.472" v="947" actId="478"/>
          <ac:grpSpMkLst>
            <pc:docMk/>
            <pc:sldMk cId="4022477905" sldId="2076138206"/>
            <ac:grpSpMk id="7" creationId="{33888B01-730D-49D3-A3A3-0CB01CBEFEE4}"/>
          </ac:grpSpMkLst>
        </pc:grpChg>
        <pc:grpChg chg="add del mod">
          <ac:chgData name="Eleonore LELEUCH" userId="ae1c9d52-4c76-4b9e-8a12-6863a1dc284c" providerId="ADAL" clId="{943B0E38-EA6B-47B7-BEA5-739850E7DA37}" dt="2022-11-29T07:28:35.283" v="1193" actId="478"/>
          <ac:grpSpMkLst>
            <pc:docMk/>
            <pc:sldMk cId="4022477905" sldId="2076138206"/>
            <ac:grpSpMk id="124" creationId="{9A8FE2D6-3531-B7ED-A4D7-F0E3EDA021C1}"/>
          </ac:grpSpMkLst>
        </pc:grpChg>
        <pc:grpChg chg="add mod">
          <ac:chgData name="Eleonore LELEUCH" userId="ae1c9d52-4c76-4b9e-8a12-6863a1dc284c" providerId="ADAL" clId="{943B0E38-EA6B-47B7-BEA5-739850E7DA37}" dt="2022-11-29T07:28:57.801" v="1195" actId="164"/>
          <ac:grpSpMkLst>
            <pc:docMk/>
            <pc:sldMk cId="4022477905" sldId="2076138206"/>
            <ac:grpSpMk id="125" creationId="{560C0571-D307-8F3D-55D7-0BA0DCFF4B57}"/>
          </ac:grpSpMkLst>
        </pc:grpChg>
        <pc:grpChg chg="add mod">
          <ac:chgData name="Eleonore LELEUCH" userId="ae1c9d52-4c76-4b9e-8a12-6863a1dc284c" providerId="ADAL" clId="{943B0E38-EA6B-47B7-BEA5-739850E7DA37}" dt="2022-11-29T07:35:40.113" v="1288" actId="1035"/>
          <ac:grpSpMkLst>
            <pc:docMk/>
            <pc:sldMk cId="4022477905" sldId="2076138206"/>
            <ac:grpSpMk id="1031" creationId="{695C9B41-F41D-92C3-A44D-AAC09B732857}"/>
          </ac:grpSpMkLst>
        </pc:grpChg>
        <pc:grpChg chg="add del mod">
          <ac:chgData name="Eleonore LELEUCH" userId="ae1c9d52-4c76-4b9e-8a12-6863a1dc284c" providerId="ADAL" clId="{943B0E38-EA6B-47B7-BEA5-739850E7DA37}" dt="2022-11-29T07:31:33.935" v="1211" actId="478"/>
          <ac:grpSpMkLst>
            <pc:docMk/>
            <pc:sldMk cId="4022477905" sldId="2076138206"/>
            <ac:grpSpMk id="1032" creationId="{7733A1CD-AB27-0ADC-1C92-D8597D0DCC56}"/>
          </ac:grpSpMkLst>
        </pc:grpChg>
        <pc:grpChg chg="mod">
          <ac:chgData name="Eleonore LELEUCH" userId="ae1c9d52-4c76-4b9e-8a12-6863a1dc284c" providerId="ADAL" clId="{943B0E38-EA6B-47B7-BEA5-739850E7DA37}" dt="2022-11-29T07:29:09.136" v="1196"/>
          <ac:grpSpMkLst>
            <pc:docMk/>
            <pc:sldMk cId="4022477905" sldId="2076138206"/>
            <ac:grpSpMk id="1033" creationId="{46E40A80-3532-D2B3-499A-BAF3988784B2}"/>
          </ac:grpSpMkLst>
        </pc:grpChg>
        <pc:grpChg chg="add mod">
          <ac:chgData name="Eleonore LELEUCH" userId="ae1c9d52-4c76-4b9e-8a12-6863a1dc284c" providerId="ADAL" clId="{943B0E38-EA6B-47B7-BEA5-739850E7DA37}" dt="2022-11-29T07:35:40.113" v="1288" actId="1035"/>
          <ac:grpSpMkLst>
            <pc:docMk/>
            <pc:sldMk cId="4022477905" sldId="2076138206"/>
            <ac:grpSpMk id="1040" creationId="{0549763D-1FCF-854E-6D96-510A1F6A1558}"/>
          </ac:grpSpMkLst>
        </pc:grpChg>
        <pc:grpChg chg="mod">
          <ac:chgData name="Eleonore LELEUCH" userId="ae1c9d52-4c76-4b9e-8a12-6863a1dc284c" providerId="ADAL" clId="{943B0E38-EA6B-47B7-BEA5-739850E7DA37}" dt="2022-11-29T07:31:37.080" v="1212"/>
          <ac:grpSpMkLst>
            <pc:docMk/>
            <pc:sldMk cId="4022477905" sldId="2076138206"/>
            <ac:grpSpMk id="1041" creationId="{9579C02C-4868-7FAA-EC9A-226A556E7FE9}"/>
          </ac:grpSpMkLst>
        </pc:grpChg>
        <pc:graphicFrameChg chg="mod modGraphic">
          <ac:chgData name="Eleonore LELEUCH" userId="ae1c9d52-4c76-4b9e-8a12-6863a1dc284c" providerId="ADAL" clId="{943B0E38-EA6B-47B7-BEA5-739850E7DA37}" dt="2022-11-29T07:35:40.113" v="1288" actId="1035"/>
          <ac:graphicFrameMkLst>
            <pc:docMk/>
            <pc:sldMk cId="4022477905" sldId="2076138206"/>
            <ac:graphicFrameMk id="89" creationId="{A19A5F1F-D334-4677-BCCB-AA68FF81AC6E}"/>
          </ac:graphicFrameMkLst>
        </pc:graphicFrameChg>
        <pc:picChg chg="add mod">
          <ac:chgData name="Eleonore LELEUCH" userId="ae1c9d52-4c76-4b9e-8a12-6863a1dc284c" providerId="ADAL" clId="{943B0E38-EA6B-47B7-BEA5-739850E7DA37}" dt="2022-11-29T07:35:40.113" v="1288" actId="1035"/>
          <ac:picMkLst>
            <pc:docMk/>
            <pc:sldMk cId="4022477905" sldId="2076138206"/>
            <ac:picMk id="2" creationId="{81E9B435-9A3A-0901-61FC-BB5337331113}"/>
          </ac:picMkLst>
        </pc:picChg>
        <pc:picChg chg="add del mod">
          <ac:chgData name="Eleonore LELEUCH" userId="ae1c9d52-4c76-4b9e-8a12-6863a1dc284c" providerId="ADAL" clId="{943B0E38-EA6B-47B7-BEA5-739850E7DA37}" dt="2022-11-29T07:15:00.472" v="947" actId="478"/>
          <ac:picMkLst>
            <pc:docMk/>
            <pc:sldMk cId="4022477905" sldId="2076138206"/>
            <ac:picMk id="9" creationId="{D477FD15-C12F-7825-4101-94AC3E80D4F1}"/>
          </ac:picMkLst>
        </pc:picChg>
        <pc:picChg chg="add del">
          <ac:chgData name="Eleonore LELEUCH" userId="ae1c9d52-4c76-4b9e-8a12-6863a1dc284c" providerId="ADAL" clId="{943B0E38-EA6B-47B7-BEA5-739850E7DA37}" dt="2022-11-29T07:06:49.540" v="806" actId="478"/>
          <ac:picMkLst>
            <pc:docMk/>
            <pc:sldMk cId="4022477905" sldId="2076138206"/>
            <ac:picMk id="12" creationId="{EBE4DE7D-7F96-3B72-CE6A-4B0F95C4B1E3}"/>
          </ac:picMkLst>
        </pc:picChg>
        <pc:picChg chg="add mod">
          <ac:chgData name="Eleonore LELEUCH" userId="ae1c9d52-4c76-4b9e-8a12-6863a1dc284c" providerId="ADAL" clId="{943B0E38-EA6B-47B7-BEA5-739850E7DA37}" dt="2022-11-29T07:35:40.113" v="1288" actId="1035"/>
          <ac:picMkLst>
            <pc:docMk/>
            <pc:sldMk cId="4022477905" sldId="2076138206"/>
            <ac:picMk id="14" creationId="{AEB85525-D886-2A7B-B486-29795F9E9F15}"/>
          </ac:picMkLst>
        </pc:picChg>
        <pc:picChg chg="add mod">
          <ac:chgData name="Eleonore LELEUCH" userId="ae1c9d52-4c76-4b9e-8a12-6863a1dc284c" providerId="ADAL" clId="{943B0E38-EA6B-47B7-BEA5-739850E7DA37}" dt="2022-11-29T07:35:40.113" v="1288" actId="1035"/>
          <ac:picMkLst>
            <pc:docMk/>
            <pc:sldMk cId="4022477905" sldId="2076138206"/>
            <ac:picMk id="15" creationId="{78CC3C79-FDE2-0A67-45AA-01791065F5E3}"/>
          </ac:picMkLst>
        </pc:picChg>
        <pc:picChg chg="add mod">
          <ac:chgData name="Eleonore LELEUCH" userId="ae1c9d52-4c76-4b9e-8a12-6863a1dc284c" providerId="ADAL" clId="{943B0E38-EA6B-47B7-BEA5-739850E7DA37}" dt="2022-11-29T07:35:40.113" v="1288" actId="1035"/>
          <ac:picMkLst>
            <pc:docMk/>
            <pc:sldMk cId="4022477905" sldId="2076138206"/>
            <ac:picMk id="16" creationId="{89482BD0-CDCC-5E0B-6B5D-1B8563A0016D}"/>
          </ac:picMkLst>
        </pc:picChg>
        <pc:picChg chg="add del mod">
          <ac:chgData name="Eleonore LELEUCH" userId="ae1c9d52-4c76-4b9e-8a12-6863a1dc284c" providerId="ADAL" clId="{943B0E38-EA6B-47B7-BEA5-739850E7DA37}" dt="2022-11-29T07:10:05.784" v="837" actId="478"/>
          <ac:picMkLst>
            <pc:docMk/>
            <pc:sldMk cId="4022477905" sldId="2076138206"/>
            <ac:picMk id="17" creationId="{FC94E3F9-E1A0-E0B1-0B2D-D1324C44AB4E}"/>
          </ac:picMkLst>
        </pc:picChg>
        <pc:picChg chg="add del mod">
          <ac:chgData name="Eleonore LELEUCH" userId="ae1c9d52-4c76-4b9e-8a12-6863a1dc284c" providerId="ADAL" clId="{943B0E38-EA6B-47B7-BEA5-739850E7DA37}" dt="2022-11-29T07:10:04.384" v="836" actId="478"/>
          <ac:picMkLst>
            <pc:docMk/>
            <pc:sldMk cId="4022477905" sldId="2076138206"/>
            <ac:picMk id="18" creationId="{5F261D7F-7D46-4B96-1D3A-29EE2A42F9CC}"/>
          </ac:picMkLst>
        </pc:picChg>
        <pc:picChg chg="add mod">
          <ac:chgData name="Eleonore LELEUCH" userId="ae1c9d52-4c76-4b9e-8a12-6863a1dc284c" providerId="ADAL" clId="{943B0E38-EA6B-47B7-BEA5-739850E7DA37}" dt="2022-11-29T07:35:40.113" v="1288" actId="1035"/>
          <ac:picMkLst>
            <pc:docMk/>
            <pc:sldMk cId="4022477905" sldId="2076138206"/>
            <ac:picMk id="19" creationId="{21DF9BF8-2AF4-8538-55C1-F966A42F7D56}"/>
          </ac:picMkLst>
        </pc:picChg>
        <pc:picChg chg="add mod">
          <ac:chgData name="Eleonore LELEUCH" userId="ae1c9d52-4c76-4b9e-8a12-6863a1dc284c" providerId="ADAL" clId="{943B0E38-EA6B-47B7-BEA5-739850E7DA37}" dt="2022-11-29T07:35:40.113" v="1288" actId="1035"/>
          <ac:picMkLst>
            <pc:docMk/>
            <pc:sldMk cId="4022477905" sldId="2076138206"/>
            <ac:picMk id="20" creationId="{BB7461B6-1FCF-10EF-6358-3FB7C8D84FAC}"/>
          </ac:picMkLst>
        </pc:picChg>
        <pc:picChg chg="add mod">
          <ac:chgData name="Eleonore LELEUCH" userId="ae1c9d52-4c76-4b9e-8a12-6863a1dc284c" providerId="ADAL" clId="{943B0E38-EA6B-47B7-BEA5-739850E7DA37}" dt="2022-11-29T07:35:40.113" v="1288" actId="1035"/>
          <ac:picMkLst>
            <pc:docMk/>
            <pc:sldMk cId="4022477905" sldId="2076138206"/>
            <ac:picMk id="21" creationId="{CACDFA4B-FB86-31C4-1BBE-7058EA246502}"/>
          </ac:picMkLst>
        </pc:picChg>
        <pc:picChg chg="add mod">
          <ac:chgData name="Eleonore LELEUCH" userId="ae1c9d52-4c76-4b9e-8a12-6863a1dc284c" providerId="ADAL" clId="{943B0E38-EA6B-47B7-BEA5-739850E7DA37}" dt="2022-11-29T07:35:40.113" v="1288" actId="1035"/>
          <ac:picMkLst>
            <pc:docMk/>
            <pc:sldMk cId="4022477905" sldId="2076138206"/>
            <ac:picMk id="22" creationId="{305D8648-8E12-4EB8-10C9-43CDCF56BC3D}"/>
          </ac:picMkLst>
        </pc:picChg>
        <pc:picChg chg="del">
          <ac:chgData name="Eleonore LELEUCH" userId="ae1c9d52-4c76-4b9e-8a12-6863a1dc284c" providerId="ADAL" clId="{943B0E38-EA6B-47B7-BEA5-739850E7DA37}" dt="2022-11-29T07:13:02.916" v="921" actId="478"/>
          <ac:picMkLst>
            <pc:docMk/>
            <pc:sldMk cId="4022477905" sldId="2076138206"/>
            <ac:picMk id="23" creationId="{C5964ED9-E029-4428-8C57-7EA24226B475}"/>
          </ac:picMkLst>
        </pc:picChg>
        <pc:picChg chg="mod">
          <ac:chgData name="Eleonore LELEUCH" userId="ae1c9d52-4c76-4b9e-8a12-6863a1dc284c" providerId="ADAL" clId="{943B0E38-EA6B-47B7-BEA5-739850E7DA37}" dt="2022-11-29T07:35:40.113" v="1288" actId="1035"/>
          <ac:picMkLst>
            <pc:docMk/>
            <pc:sldMk cId="4022477905" sldId="2076138206"/>
            <ac:picMk id="24" creationId="{55175058-B9FB-4916-8484-742E7CD07899}"/>
          </ac:picMkLst>
        </pc:picChg>
        <pc:picChg chg="add mod">
          <ac:chgData name="Eleonore LELEUCH" userId="ae1c9d52-4c76-4b9e-8a12-6863a1dc284c" providerId="ADAL" clId="{943B0E38-EA6B-47B7-BEA5-739850E7DA37}" dt="2022-11-29T07:35:40.113" v="1288" actId="1035"/>
          <ac:picMkLst>
            <pc:docMk/>
            <pc:sldMk cId="4022477905" sldId="2076138206"/>
            <ac:picMk id="25" creationId="{D962BFEB-21D1-08D3-FEBD-DD17F9FC38AE}"/>
          </ac:picMkLst>
        </pc:picChg>
        <pc:picChg chg="add mod">
          <ac:chgData name="Eleonore LELEUCH" userId="ae1c9d52-4c76-4b9e-8a12-6863a1dc284c" providerId="ADAL" clId="{943B0E38-EA6B-47B7-BEA5-739850E7DA37}" dt="2022-11-29T07:35:40.113" v="1288" actId="1035"/>
          <ac:picMkLst>
            <pc:docMk/>
            <pc:sldMk cId="4022477905" sldId="2076138206"/>
            <ac:picMk id="26" creationId="{45761760-7CB5-D089-2B25-4DB97EE8DCF7}"/>
          </ac:picMkLst>
        </pc:picChg>
        <pc:picChg chg="add mod">
          <ac:chgData name="Eleonore LELEUCH" userId="ae1c9d52-4c76-4b9e-8a12-6863a1dc284c" providerId="ADAL" clId="{943B0E38-EA6B-47B7-BEA5-739850E7DA37}" dt="2022-11-29T07:35:40.113" v="1288" actId="1035"/>
          <ac:picMkLst>
            <pc:docMk/>
            <pc:sldMk cId="4022477905" sldId="2076138206"/>
            <ac:picMk id="27" creationId="{605B6B0B-951A-3D9F-F320-E7EAC112D058}"/>
          </ac:picMkLst>
        </pc:picChg>
        <pc:picChg chg="del">
          <ac:chgData name="Eleonore LELEUCH" userId="ae1c9d52-4c76-4b9e-8a12-6863a1dc284c" providerId="ADAL" clId="{943B0E38-EA6B-47B7-BEA5-739850E7DA37}" dt="2022-11-29T07:15:00.472" v="947" actId="478"/>
          <ac:picMkLst>
            <pc:docMk/>
            <pc:sldMk cId="4022477905" sldId="2076138206"/>
            <ac:picMk id="28" creationId="{1AF89714-42FE-C117-41EE-3E89BA9282D1}"/>
          </ac:picMkLst>
        </pc:picChg>
        <pc:picChg chg="del">
          <ac:chgData name="Eleonore LELEUCH" userId="ae1c9d52-4c76-4b9e-8a12-6863a1dc284c" providerId="ADAL" clId="{943B0E38-EA6B-47B7-BEA5-739850E7DA37}" dt="2022-11-29T07:15:00.472" v="947" actId="478"/>
          <ac:picMkLst>
            <pc:docMk/>
            <pc:sldMk cId="4022477905" sldId="2076138206"/>
            <ac:picMk id="29" creationId="{910763D7-82E6-636D-2EAD-B8245741846E}"/>
          </ac:picMkLst>
        </pc:picChg>
        <pc:picChg chg="add mod">
          <ac:chgData name="Eleonore LELEUCH" userId="ae1c9d52-4c76-4b9e-8a12-6863a1dc284c" providerId="ADAL" clId="{943B0E38-EA6B-47B7-BEA5-739850E7DA37}" dt="2022-11-29T07:35:40.113" v="1288" actId="1035"/>
          <ac:picMkLst>
            <pc:docMk/>
            <pc:sldMk cId="4022477905" sldId="2076138206"/>
            <ac:picMk id="31" creationId="{611BC037-0391-9AAC-6A18-99D16579E206}"/>
          </ac:picMkLst>
        </pc:picChg>
        <pc:picChg chg="add mod">
          <ac:chgData name="Eleonore LELEUCH" userId="ae1c9d52-4c76-4b9e-8a12-6863a1dc284c" providerId="ADAL" clId="{943B0E38-EA6B-47B7-BEA5-739850E7DA37}" dt="2022-11-29T07:35:40.113" v="1288" actId="1035"/>
          <ac:picMkLst>
            <pc:docMk/>
            <pc:sldMk cId="4022477905" sldId="2076138206"/>
            <ac:picMk id="32" creationId="{BC7614E1-B095-C3EC-9FBA-388C7789502F}"/>
          </ac:picMkLst>
        </pc:picChg>
        <pc:picChg chg="add mod">
          <ac:chgData name="Eleonore LELEUCH" userId="ae1c9d52-4c76-4b9e-8a12-6863a1dc284c" providerId="ADAL" clId="{943B0E38-EA6B-47B7-BEA5-739850E7DA37}" dt="2022-11-29T07:35:40.113" v="1288" actId="1035"/>
          <ac:picMkLst>
            <pc:docMk/>
            <pc:sldMk cId="4022477905" sldId="2076138206"/>
            <ac:picMk id="33" creationId="{81AE16F7-09C8-584F-E459-621E050CFCE7}"/>
          </ac:picMkLst>
        </pc:picChg>
        <pc:picChg chg="add mod">
          <ac:chgData name="Eleonore LELEUCH" userId="ae1c9d52-4c76-4b9e-8a12-6863a1dc284c" providerId="ADAL" clId="{943B0E38-EA6B-47B7-BEA5-739850E7DA37}" dt="2022-11-29T07:35:40.113" v="1288" actId="1035"/>
          <ac:picMkLst>
            <pc:docMk/>
            <pc:sldMk cId="4022477905" sldId="2076138206"/>
            <ac:picMk id="34" creationId="{ADDDCFBD-A95D-2BD0-BAA7-ACDCD3226D6B}"/>
          </ac:picMkLst>
        </pc:picChg>
        <pc:picChg chg="add mod">
          <ac:chgData name="Eleonore LELEUCH" userId="ae1c9d52-4c76-4b9e-8a12-6863a1dc284c" providerId="ADAL" clId="{943B0E38-EA6B-47B7-BEA5-739850E7DA37}" dt="2022-11-29T07:35:40.113" v="1288" actId="1035"/>
          <ac:picMkLst>
            <pc:docMk/>
            <pc:sldMk cId="4022477905" sldId="2076138206"/>
            <ac:picMk id="35" creationId="{13B5912B-D4A6-15BE-B473-D809723DCBF2}"/>
          </ac:picMkLst>
        </pc:picChg>
        <pc:picChg chg="add mod">
          <ac:chgData name="Eleonore LELEUCH" userId="ae1c9d52-4c76-4b9e-8a12-6863a1dc284c" providerId="ADAL" clId="{943B0E38-EA6B-47B7-BEA5-739850E7DA37}" dt="2022-11-29T07:35:40.113" v="1288" actId="1035"/>
          <ac:picMkLst>
            <pc:docMk/>
            <pc:sldMk cId="4022477905" sldId="2076138206"/>
            <ac:picMk id="36" creationId="{A0E211A8-46B5-2102-33BD-258F3AFF3360}"/>
          </ac:picMkLst>
        </pc:picChg>
        <pc:picChg chg="mod">
          <ac:chgData name="Eleonore LELEUCH" userId="ae1c9d52-4c76-4b9e-8a12-6863a1dc284c" providerId="ADAL" clId="{943B0E38-EA6B-47B7-BEA5-739850E7DA37}" dt="2022-11-29T07:35:40.113" v="1288" actId="1035"/>
          <ac:picMkLst>
            <pc:docMk/>
            <pc:sldMk cId="4022477905" sldId="2076138206"/>
            <ac:picMk id="37" creationId="{2D24A43C-6C0B-4608-8F10-2F95436809E3}"/>
          </ac:picMkLst>
        </pc:picChg>
        <pc:picChg chg="mod">
          <ac:chgData name="Eleonore LELEUCH" userId="ae1c9d52-4c76-4b9e-8a12-6863a1dc284c" providerId="ADAL" clId="{943B0E38-EA6B-47B7-BEA5-739850E7DA37}" dt="2022-11-29T07:35:40.113" v="1288" actId="1035"/>
          <ac:picMkLst>
            <pc:docMk/>
            <pc:sldMk cId="4022477905" sldId="2076138206"/>
            <ac:picMk id="38" creationId="{A1E7A0DB-9C2C-4FB2-8BC4-B798D7E1E5BB}"/>
          </ac:picMkLst>
        </pc:picChg>
        <pc:picChg chg="add mod">
          <ac:chgData name="Eleonore LELEUCH" userId="ae1c9d52-4c76-4b9e-8a12-6863a1dc284c" providerId="ADAL" clId="{943B0E38-EA6B-47B7-BEA5-739850E7DA37}" dt="2022-11-29T07:35:40.113" v="1288" actId="1035"/>
          <ac:picMkLst>
            <pc:docMk/>
            <pc:sldMk cId="4022477905" sldId="2076138206"/>
            <ac:picMk id="39" creationId="{3B539FBD-9EE0-A8A3-4DB2-F96291BAF7C7}"/>
          </ac:picMkLst>
        </pc:picChg>
        <pc:picChg chg="mod topLvl">
          <ac:chgData name="Eleonore LELEUCH" userId="ae1c9d52-4c76-4b9e-8a12-6863a1dc284c" providerId="ADAL" clId="{943B0E38-EA6B-47B7-BEA5-739850E7DA37}" dt="2022-11-29T07:35:40.113" v="1288" actId="1035"/>
          <ac:picMkLst>
            <pc:docMk/>
            <pc:sldMk cId="4022477905" sldId="2076138206"/>
            <ac:picMk id="115" creationId="{5B2D01EE-1F5E-4E9C-AB5F-A48F8ADCDEE5}"/>
          </ac:picMkLst>
        </pc:picChg>
        <pc:picChg chg="mod topLvl">
          <ac:chgData name="Eleonore LELEUCH" userId="ae1c9d52-4c76-4b9e-8a12-6863a1dc284c" providerId="ADAL" clId="{943B0E38-EA6B-47B7-BEA5-739850E7DA37}" dt="2022-11-29T07:35:40.113" v="1288" actId="1035"/>
          <ac:picMkLst>
            <pc:docMk/>
            <pc:sldMk cId="4022477905" sldId="2076138206"/>
            <ac:picMk id="116" creationId="{37DB55C1-3C94-4C30-86A5-C4AA3CFDBC47}"/>
          </ac:picMkLst>
        </pc:picChg>
        <pc:picChg chg="del">
          <ac:chgData name="Eleonore LELEUCH" userId="ae1c9d52-4c76-4b9e-8a12-6863a1dc284c" providerId="ADAL" clId="{943B0E38-EA6B-47B7-BEA5-739850E7DA37}" dt="2022-11-29T07:15:00.472" v="947" actId="478"/>
          <ac:picMkLst>
            <pc:docMk/>
            <pc:sldMk cId="4022477905" sldId="2076138206"/>
            <ac:picMk id="1026" creationId="{A5E9C449-3B1A-3FA4-CBC2-A89DC7C12B0A}"/>
          </ac:picMkLst>
        </pc:picChg>
      </pc:sldChg>
    </pc:docChg>
  </pc:docChgLst>
  <pc:docChgLst>
    <pc:chgData name="Séverine MARTIAL" userId="cd965009-5775-4307-a222-abb2d853a600" providerId="ADAL" clId="{D25FC191-4870-4E5D-BFB9-801BAF693626}"/>
    <pc:docChg chg="undo custSel modSld sldOrd">
      <pc:chgData name="Séverine MARTIAL" userId="cd965009-5775-4307-a222-abb2d853a600" providerId="ADAL" clId="{D25FC191-4870-4E5D-BFB9-801BAF693626}" dt="2023-03-19T11:27:20.572" v="1162" actId="1076"/>
      <pc:docMkLst>
        <pc:docMk/>
      </pc:docMkLst>
      <pc:sldChg chg="addSp delSp modSp mod ord modShow">
        <pc:chgData name="Séverine MARTIAL" userId="cd965009-5775-4307-a222-abb2d853a600" providerId="ADAL" clId="{D25FC191-4870-4E5D-BFB9-801BAF693626}" dt="2023-03-19T10:33:25.208" v="1112" actId="20577"/>
        <pc:sldMkLst>
          <pc:docMk/>
          <pc:sldMk cId="619538722" sldId="2076136401"/>
        </pc:sldMkLst>
        <pc:spChg chg="del mod">
          <ac:chgData name="Séverine MARTIAL" userId="cd965009-5775-4307-a222-abb2d853a600" providerId="ADAL" clId="{D25FC191-4870-4E5D-BFB9-801BAF693626}" dt="2023-03-19T07:21:11.346" v="115" actId="478"/>
          <ac:spMkLst>
            <pc:docMk/>
            <pc:sldMk cId="619538722" sldId="2076136401"/>
            <ac:spMk id="2" creationId="{9FDFCEB1-3623-EFEB-67F9-9E9175933893}"/>
          </ac:spMkLst>
        </pc:spChg>
        <pc:spChg chg="add mod">
          <ac:chgData name="Séverine MARTIAL" userId="cd965009-5775-4307-a222-abb2d853a600" providerId="ADAL" clId="{D25FC191-4870-4E5D-BFB9-801BAF693626}" dt="2023-03-19T10:17:47.351" v="1032" actId="123"/>
          <ac:spMkLst>
            <pc:docMk/>
            <pc:sldMk cId="619538722" sldId="2076136401"/>
            <ac:spMk id="5" creationId="{2BE10B23-745F-CE26-1578-15DC6F39EAA1}"/>
          </ac:spMkLst>
        </pc:spChg>
        <pc:spChg chg="mod">
          <ac:chgData name="Séverine MARTIAL" userId="cd965009-5775-4307-a222-abb2d853a600" providerId="ADAL" clId="{D25FC191-4870-4E5D-BFB9-801BAF693626}" dt="2023-03-19T09:27:43.996" v="986" actId="20577"/>
          <ac:spMkLst>
            <pc:docMk/>
            <pc:sldMk cId="619538722" sldId="2076136401"/>
            <ac:spMk id="6" creationId="{76E64D08-F5DC-40AB-AEDE-96D8C958958D}"/>
          </ac:spMkLst>
        </pc:spChg>
        <pc:spChg chg="add mod">
          <ac:chgData name="Séverine MARTIAL" userId="cd965009-5775-4307-a222-abb2d853a600" providerId="ADAL" clId="{D25FC191-4870-4E5D-BFB9-801BAF693626}" dt="2023-03-19T08:53:07.211" v="930" actId="1076"/>
          <ac:spMkLst>
            <pc:docMk/>
            <pc:sldMk cId="619538722" sldId="2076136401"/>
            <ac:spMk id="8" creationId="{B960C89D-C27C-181F-A1E9-34257C882D05}"/>
          </ac:spMkLst>
        </pc:spChg>
        <pc:spChg chg="add mod ord">
          <ac:chgData name="Séverine MARTIAL" userId="cd965009-5775-4307-a222-abb2d853a600" providerId="ADAL" clId="{D25FC191-4870-4E5D-BFB9-801BAF693626}" dt="2023-03-19T08:53:53.629" v="935" actId="14100"/>
          <ac:spMkLst>
            <pc:docMk/>
            <pc:sldMk cId="619538722" sldId="2076136401"/>
            <ac:spMk id="11" creationId="{E1D21FBD-7F82-AF5A-7C9B-6ECAC2D423CB}"/>
          </ac:spMkLst>
        </pc:spChg>
        <pc:spChg chg="mod">
          <ac:chgData name="Séverine MARTIAL" userId="cd965009-5775-4307-a222-abb2d853a600" providerId="ADAL" clId="{D25FC191-4870-4E5D-BFB9-801BAF693626}" dt="2023-03-19T10:33:25.208" v="1112" actId="20577"/>
          <ac:spMkLst>
            <pc:docMk/>
            <pc:sldMk cId="619538722" sldId="2076136401"/>
            <ac:spMk id="2496" creationId="{00000000-0000-0000-0000-000000000000}"/>
          </ac:spMkLst>
        </pc:spChg>
        <pc:graphicFrameChg chg="add mod modGraphic">
          <ac:chgData name="Séverine MARTIAL" userId="cd965009-5775-4307-a222-abb2d853a600" providerId="ADAL" clId="{D25FC191-4870-4E5D-BFB9-801BAF693626}" dt="2023-03-19T08:50:10.984" v="871"/>
          <ac:graphicFrameMkLst>
            <pc:docMk/>
            <pc:sldMk cId="619538722" sldId="2076136401"/>
            <ac:graphicFrameMk id="3" creationId="{D247CB3F-A459-436B-11F6-47A2AFCDE6FD}"/>
          </ac:graphicFrameMkLst>
        </pc:graphicFrameChg>
        <pc:picChg chg="add mod">
          <ac:chgData name="Séverine MARTIAL" userId="cd965009-5775-4307-a222-abb2d853a600" providerId="ADAL" clId="{D25FC191-4870-4E5D-BFB9-801BAF693626}" dt="2023-03-19T08:53:36.600" v="933" actId="1076"/>
          <ac:picMkLst>
            <pc:docMk/>
            <pc:sldMk cId="619538722" sldId="2076136401"/>
            <ac:picMk id="10" creationId="{6AB21DFB-63DA-1C6F-B04B-DA148CFF24B3}"/>
          </ac:picMkLst>
        </pc:picChg>
        <pc:cxnChg chg="add mod">
          <ac:chgData name="Séverine MARTIAL" userId="cd965009-5775-4307-a222-abb2d853a600" providerId="ADAL" clId="{D25FC191-4870-4E5D-BFB9-801BAF693626}" dt="2023-03-19T08:51:33.895" v="912" actId="1076"/>
          <ac:cxnSpMkLst>
            <pc:docMk/>
            <pc:sldMk cId="619538722" sldId="2076136401"/>
            <ac:cxnSpMk id="7" creationId="{E36E870F-3AC3-16F5-10CD-3CFC7B94983D}"/>
          </ac:cxnSpMkLst>
        </pc:cxnChg>
      </pc:sldChg>
      <pc:sldChg chg="ord">
        <pc:chgData name="Séverine MARTIAL" userId="cd965009-5775-4307-a222-abb2d853a600" providerId="ADAL" clId="{D25FC191-4870-4E5D-BFB9-801BAF693626}" dt="2023-03-19T10:39:17.006" v="1148"/>
        <pc:sldMkLst>
          <pc:docMk/>
          <pc:sldMk cId="2811067635" sldId="2076137077"/>
        </pc:sldMkLst>
      </pc:sldChg>
      <pc:sldChg chg="addSp delSp modSp mod">
        <pc:chgData name="Séverine MARTIAL" userId="cd965009-5775-4307-a222-abb2d853a600" providerId="ADAL" clId="{D25FC191-4870-4E5D-BFB9-801BAF693626}" dt="2023-03-19T11:27:20.572" v="1162" actId="1076"/>
        <pc:sldMkLst>
          <pc:docMk/>
          <pc:sldMk cId="776430139" sldId="2147469999"/>
        </pc:sldMkLst>
        <pc:spChg chg="mod">
          <ac:chgData name="Séverine MARTIAL" userId="cd965009-5775-4307-a222-abb2d853a600" providerId="ADAL" clId="{D25FC191-4870-4E5D-BFB9-801BAF693626}" dt="2023-03-19T11:26:59.939" v="1160" actId="20577"/>
          <ac:spMkLst>
            <pc:docMk/>
            <pc:sldMk cId="776430139" sldId="2147469999"/>
            <ac:spMk id="2" creationId="{E11BF5BD-75C4-4E77-9598-7225EFF82CC5}"/>
          </ac:spMkLst>
        </pc:spChg>
        <pc:spChg chg="mod">
          <ac:chgData name="Séverine MARTIAL" userId="cd965009-5775-4307-a222-abb2d853a600" providerId="ADAL" clId="{D25FC191-4870-4E5D-BFB9-801BAF693626}" dt="2023-03-19T11:27:20.572" v="1162" actId="1076"/>
          <ac:spMkLst>
            <pc:docMk/>
            <pc:sldMk cId="776430139" sldId="2147469999"/>
            <ac:spMk id="3" creationId="{4548B055-ABD9-ACB2-C81F-3ED1876C174A}"/>
          </ac:spMkLst>
        </pc:spChg>
        <pc:spChg chg="del">
          <ac:chgData name="Séverine MARTIAL" userId="cd965009-5775-4307-a222-abb2d853a600" providerId="ADAL" clId="{D25FC191-4870-4E5D-BFB9-801BAF693626}" dt="2023-03-19T10:34:07.192" v="1143" actId="478"/>
          <ac:spMkLst>
            <pc:docMk/>
            <pc:sldMk cId="776430139" sldId="2147469999"/>
            <ac:spMk id="5" creationId="{FAD6C4A5-EEE0-BCA4-4068-4C8445E80E95}"/>
          </ac:spMkLst>
        </pc:spChg>
        <pc:spChg chg="del">
          <ac:chgData name="Séverine MARTIAL" userId="cd965009-5775-4307-a222-abb2d853a600" providerId="ADAL" clId="{D25FC191-4870-4E5D-BFB9-801BAF693626}" dt="2023-03-19T10:34:09.874" v="1144" actId="478"/>
          <ac:spMkLst>
            <pc:docMk/>
            <pc:sldMk cId="776430139" sldId="2147469999"/>
            <ac:spMk id="6" creationId="{5F94E181-E087-586E-A7FC-704FFF321717}"/>
          </ac:spMkLst>
        </pc:spChg>
        <pc:spChg chg="add del mod">
          <ac:chgData name="Séverine MARTIAL" userId="cd965009-5775-4307-a222-abb2d853a600" providerId="ADAL" clId="{D25FC191-4870-4E5D-BFB9-801BAF693626}" dt="2023-03-19T11:26:45.155" v="1150" actId="478"/>
          <ac:spMkLst>
            <pc:docMk/>
            <pc:sldMk cId="776430139" sldId="2147469999"/>
            <ac:spMk id="7" creationId="{5E79B694-0470-9AB7-FEF2-3FE2F0932628}"/>
          </ac:spMkLst>
        </pc:spChg>
        <pc:spChg chg="add mod">
          <ac:chgData name="Séverine MARTIAL" userId="cd965009-5775-4307-a222-abb2d853a600" providerId="ADAL" clId="{D25FC191-4870-4E5D-BFB9-801BAF693626}" dt="2023-03-19T11:26:48.565" v="1152"/>
          <ac:spMkLst>
            <pc:docMk/>
            <pc:sldMk cId="776430139" sldId="2147469999"/>
            <ac:spMk id="10" creationId="{57011D37-D752-81CB-A977-48DE2C05169F}"/>
          </ac:spMkLst>
        </pc:spChg>
        <pc:spChg chg="add mod">
          <ac:chgData name="Séverine MARTIAL" userId="cd965009-5775-4307-a222-abb2d853a600" providerId="ADAL" clId="{D25FC191-4870-4E5D-BFB9-801BAF693626}" dt="2023-03-19T11:27:12.083" v="1161"/>
          <ac:spMkLst>
            <pc:docMk/>
            <pc:sldMk cId="776430139" sldId="2147469999"/>
            <ac:spMk id="11" creationId="{86169627-9224-58D6-A44F-EF526941D417}"/>
          </ac:spMkLst>
        </pc:spChg>
        <pc:picChg chg="add del mod">
          <ac:chgData name="Séverine MARTIAL" userId="cd965009-5775-4307-a222-abb2d853a600" providerId="ADAL" clId="{D25FC191-4870-4E5D-BFB9-801BAF693626}" dt="2023-03-19T11:26:48.064" v="1151" actId="478"/>
          <ac:picMkLst>
            <pc:docMk/>
            <pc:sldMk cId="776430139" sldId="2147469999"/>
            <ac:picMk id="4" creationId="{34CD9038-4ACA-8C01-9E67-329656B9112D}"/>
          </ac:picMkLst>
        </pc:picChg>
        <pc:picChg chg="add mod">
          <ac:chgData name="Séverine MARTIAL" userId="cd965009-5775-4307-a222-abb2d853a600" providerId="ADAL" clId="{D25FC191-4870-4E5D-BFB9-801BAF693626}" dt="2023-03-19T11:26:48.565" v="1152"/>
          <ac:picMkLst>
            <pc:docMk/>
            <pc:sldMk cId="776430139" sldId="2147469999"/>
            <ac:picMk id="8" creationId="{6B5A2D5B-1E73-0387-F80F-E18D3D22C054}"/>
          </ac:picMkLst>
        </pc:picChg>
        <pc:cxnChg chg="add mod">
          <ac:chgData name="Séverine MARTIAL" userId="cd965009-5775-4307-a222-abb2d853a600" providerId="ADAL" clId="{D25FC191-4870-4E5D-BFB9-801BAF693626}" dt="2023-03-19T11:26:48.565" v="1152"/>
          <ac:cxnSpMkLst>
            <pc:docMk/>
            <pc:sldMk cId="776430139" sldId="2147469999"/>
            <ac:cxnSpMk id="9" creationId="{A61A4DA7-80ED-C86D-95D5-D895BB1D3402}"/>
          </ac:cxnSpMkLst>
        </pc:cxnChg>
        <pc:cxnChg chg="del">
          <ac:chgData name="Séverine MARTIAL" userId="cd965009-5775-4307-a222-abb2d853a600" providerId="ADAL" clId="{D25FC191-4870-4E5D-BFB9-801BAF693626}" dt="2023-03-19T10:39:00.787" v="1146" actId="478"/>
          <ac:cxnSpMkLst>
            <pc:docMk/>
            <pc:sldMk cId="776430139" sldId="2147469999"/>
            <ac:cxnSpMk id="12" creationId="{5FBBD91D-8660-43E8-AAAC-8ECF816A7DB7}"/>
          </ac:cxnSpMkLst>
        </pc:cxnChg>
      </pc:sldChg>
      <pc:sldChg chg="modSp mod">
        <pc:chgData name="Séverine MARTIAL" userId="cd965009-5775-4307-a222-abb2d853a600" providerId="ADAL" clId="{D25FC191-4870-4E5D-BFB9-801BAF693626}" dt="2023-03-19T10:27:53.260" v="1078" actId="20577"/>
        <pc:sldMkLst>
          <pc:docMk/>
          <pc:sldMk cId="2776949053" sldId="2147470000"/>
        </pc:sldMkLst>
        <pc:spChg chg="mod">
          <ac:chgData name="Séverine MARTIAL" userId="cd965009-5775-4307-a222-abb2d853a600" providerId="ADAL" clId="{D25FC191-4870-4E5D-BFB9-801BAF693626}" dt="2023-03-19T10:27:53.260" v="1078" actId="20577"/>
          <ac:spMkLst>
            <pc:docMk/>
            <pc:sldMk cId="2776949053" sldId="2147470000"/>
            <ac:spMk id="2" creationId="{E11BF5BD-75C4-4E77-9598-7225EFF82CC5}"/>
          </ac:spMkLst>
        </pc:spChg>
      </pc:sldChg>
    </pc:docChg>
  </pc:docChgLst>
  <pc:docChgLst>
    <pc:chgData name="Frédéric NGUYEN KIM" userId="S::frederic.nguyen-kim@talan.com::91a3dcbd-d60c-40ca-842f-e84e51d3b939" providerId="AD" clId="Web-{9463768D-1BD8-A7A7-E804-85B66BA4909E}"/>
    <pc:docChg chg="modSld">
      <pc:chgData name="Frédéric NGUYEN KIM" userId="S::frederic.nguyen-kim@talan.com::91a3dcbd-d60c-40ca-842f-e84e51d3b939" providerId="AD" clId="Web-{9463768D-1BD8-A7A7-E804-85B66BA4909E}" dt="2023-02-27T21:02:19.794" v="58" actId="1076"/>
      <pc:docMkLst>
        <pc:docMk/>
      </pc:docMkLst>
      <pc:sldChg chg="modSp">
        <pc:chgData name="Frédéric NGUYEN KIM" userId="S::frederic.nguyen-kim@talan.com::91a3dcbd-d60c-40ca-842f-e84e51d3b939" providerId="AD" clId="Web-{9463768D-1BD8-A7A7-E804-85B66BA4909E}" dt="2023-02-27T21:02:19.794" v="58" actId="1076"/>
        <pc:sldMkLst>
          <pc:docMk/>
          <pc:sldMk cId="3144834754" sldId="2147469909"/>
        </pc:sldMkLst>
        <pc:spChg chg="mod">
          <ac:chgData name="Frédéric NGUYEN KIM" userId="S::frederic.nguyen-kim@talan.com::91a3dcbd-d60c-40ca-842f-e84e51d3b939" providerId="AD" clId="Web-{9463768D-1BD8-A7A7-E804-85B66BA4909E}" dt="2023-02-27T21:01:54.480" v="55" actId="1076"/>
          <ac:spMkLst>
            <pc:docMk/>
            <pc:sldMk cId="3144834754" sldId="2147469909"/>
            <ac:spMk id="17" creationId="{DF5BC537-5909-81E7-1776-95A1488B62AB}"/>
          </ac:spMkLst>
        </pc:spChg>
        <pc:spChg chg="mod">
          <ac:chgData name="Frédéric NGUYEN KIM" userId="S::frederic.nguyen-kim@talan.com::91a3dcbd-d60c-40ca-842f-e84e51d3b939" providerId="AD" clId="Web-{9463768D-1BD8-A7A7-E804-85B66BA4909E}" dt="2023-02-27T21:02:13.934" v="57" actId="1076"/>
          <ac:spMkLst>
            <pc:docMk/>
            <pc:sldMk cId="3144834754" sldId="2147469909"/>
            <ac:spMk id="19" creationId="{CBD6D245-BF5B-1DC2-AC45-A423A8E00CBE}"/>
          </ac:spMkLst>
        </pc:spChg>
        <pc:spChg chg="mod">
          <ac:chgData name="Frédéric NGUYEN KIM" userId="S::frederic.nguyen-kim@talan.com::91a3dcbd-d60c-40ca-842f-e84e51d3b939" providerId="AD" clId="Web-{9463768D-1BD8-A7A7-E804-85B66BA4909E}" dt="2023-02-27T21:02:19.794" v="58" actId="1076"/>
          <ac:spMkLst>
            <pc:docMk/>
            <pc:sldMk cId="3144834754" sldId="2147469909"/>
            <ac:spMk id="25" creationId="{ED42A14E-AA65-2244-0FAC-744C00CCE5DB}"/>
          </ac:spMkLst>
        </pc:spChg>
        <pc:spChg chg="mod">
          <ac:chgData name="Frédéric NGUYEN KIM" userId="S::frederic.nguyen-kim@talan.com::91a3dcbd-d60c-40ca-842f-e84e51d3b939" providerId="AD" clId="Web-{9463768D-1BD8-A7A7-E804-85B66BA4909E}" dt="2023-02-27T20:59:26.412" v="37" actId="20577"/>
          <ac:spMkLst>
            <pc:docMk/>
            <pc:sldMk cId="3144834754" sldId="2147469909"/>
            <ac:spMk id="27" creationId="{0BEF3F4B-E618-1494-3421-260AB0EC87CF}"/>
          </ac:spMkLst>
        </pc:spChg>
        <pc:spChg chg="mod">
          <ac:chgData name="Frédéric NGUYEN KIM" userId="S::frederic.nguyen-kim@talan.com::91a3dcbd-d60c-40ca-842f-e84e51d3b939" providerId="AD" clId="Web-{9463768D-1BD8-A7A7-E804-85B66BA4909E}" dt="2023-02-27T21:02:05.434" v="56" actId="1076"/>
          <ac:spMkLst>
            <pc:docMk/>
            <pc:sldMk cId="3144834754" sldId="2147469909"/>
            <ac:spMk id="29" creationId="{B54F31AE-AFB7-514D-4F49-9EB53C412810}"/>
          </ac:spMkLst>
        </pc:spChg>
      </pc:sldChg>
    </pc:docChg>
  </pc:docChgLst>
  <pc:docChgLst>
    <pc:chgData name="Séverine MARTIAL" userId="S::severine.martial@talan.com::cd965009-5775-4307-a222-abb2d853a600" providerId="AD" clId="Web-{7B91BD7C-95B0-B008-EEE6-EC597EE74D17}"/>
    <pc:docChg chg="addSld delSld modSld modSection">
      <pc:chgData name="Séverine MARTIAL" userId="S::severine.martial@talan.com::cd965009-5775-4307-a222-abb2d853a600" providerId="AD" clId="Web-{7B91BD7C-95B0-B008-EEE6-EC597EE74D17}" dt="2023-03-19T21:18:21.242" v="354"/>
      <pc:docMkLst>
        <pc:docMk/>
      </pc:docMkLst>
      <pc:sldChg chg="mod modShow">
        <pc:chgData name="Séverine MARTIAL" userId="S::severine.martial@talan.com::cd965009-5775-4307-a222-abb2d853a600" providerId="AD" clId="Web-{7B91BD7C-95B0-B008-EEE6-EC597EE74D17}" dt="2023-03-19T21:18:21.242" v="354"/>
        <pc:sldMkLst>
          <pc:docMk/>
          <pc:sldMk cId="0" sldId="302"/>
        </pc:sldMkLst>
      </pc:sldChg>
      <pc:sldChg chg="addSp delSp modSp mod modShow">
        <pc:chgData name="Séverine MARTIAL" userId="S::severine.martial@talan.com::cd965009-5775-4307-a222-abb2d853a600" providerId="AD" clId="Web-{7B91BD7C-95B0-B008-EEE6-EC597EE74D17}" dt="2023-03-19T21:18:04.773" v="352" actId="1076"/>
        <pc:sldMkLst>
          <pc:docMk/>
          <pc:sldMk cId="776430139" sldId="2147469999"/>
        </pc:sldMkLst>
        <pc:spChg chg="del">
          <ac:chgData name="Séverine MARTIAL" userId="S::severine.martial@talan.com::cd965009-5775-4307-a222-abb2d853a600" providerId="AD" clId="Web-{7B91BD7C-95B0-B008-EEE6-EC597EE74D17}" dt="2023-03-19T18:48:48.191" v="14"/>
          <ac:spMkLst>
            <pc:docMk/>
            <pc:sldMk cId="776430139" sldId="2147469999"/>
            <ac:spMk id="3" creationId="{4548B055-ABD9-ACB2-C81F-3ED1876C174A}"/>
          </ac:spMkLst>
        </pc:spChg>
        <pc:spChg chg="del mod">
          <ac:chgData name="Séverine MARTIAL" userId="S::severine.martial@talan.com::cd965009-5775-4307-a222-abb2d853a600" providerId="AD" clId="Web-{7B91BD7C-95B0-B008-EEE6-EC597EE74D17}" dt="2023-03-19T18:35:28.286" v="6"/>
          <ac:spMkLst>
            <pc:docMk/>
            <pc:sldMk cId="776430139" sldId="2147469999"/>
            <ac:spMk id="10" creationId="{57011D37-D752-81CB-A977-48DE2C05169F}"/>
          </ac:spMkLst>
        </pc:spChg>
        <pc:spChg chg="del">
          <ac:chgData name="Séverine MARTIAL" userId="S::severine.martial@talan.com::cd965009-5775-4307-a222-abb2d853a600" providerId="AD" clId="Web-{7B91BD7C-95B0-B008-EEE6-EC597EE74D17}" dt="2023-03-19T18:35:38.443" v="8"/>
          <ac:spMkLst>
            <pc:docMk/>
            <pc:sldMk cId="776430139" sldId="2147469999"/>
            <ac:spMk id="11" creationId="{86169627-9224-58D6-A44F-EF526941D417}"/>
          </ac:spMkLst>
        </pc:spChg>
        <pc:spChg chg="add mod">
          <ac:chgData name="Séverine MARTIAL" userId="S::severine.martial@talan.com::cd965009-5775-4307-a222-abb2d853a600" providerId="AD" clId="Web-{7B91BD7C-95B0-B008-EEE6-EC597EE74D17}" dt="2023-03-19T21:18:04.773" v="352" actId="1076"/>
          <ac:spMkLst>
            <pc:docMk/>
            <pc:sldMk cId="776430139" sldId="2147469999"/>
            <ac:spMk id="320" creationId="{2AC84ED5-BB4A-9B1E-207E-3EA75469F92B}"/>
          </ac:spMkLst>
        </pc:spChg>
        <pc:graphicFrameChg chg="add del mod modGraphic">
          <ac:chgData name="Séverine MARTIAL" userId="S::severine.martial@talan.com::cd965009-5775-4307-a222-abb2d853a600" providerId="AD" clId="Web-{7B91BD7C-95B0-B008-EEE6-EC597EE74D17}" dt="2023-03-19T18:52:58.818" v="21"/>
          <ac:graphicFrameMkLst>
            <pc:docMk/>
            <pc:sldMk cId="776430139" sldId="2147469999"/>
            <ac:graphicFrameMk id="5" creationId="{79134552-ABE8-78BB-7D12-D2ADFB923CFA}"/>
          </ac:graphicFrameMkLst>
        </pc:graphicFrameChg>
        <pc:graphicFrameChg chg="add del mod modGraphic">
          <ac:chgData name="Séverine MARTIAL" userId="S::severine.martial@talan.com::cd965009-5775-4307-a222-abb2d853a600" providerId="AD" clId="Web-{7B91BD7C-95B0-B008-EEE6-EC597EE74D17}" dt="2023-03-19T19:03:26.416" v="23"/>
          <ac:graphicFrameMkLst>
            <pc:docMk/>
            <pc:sldMk cId="776430139" sldId="2147469999"/>
            <ac:graphicFrameMk id="61" creationId="{BAE6BFA7-DD9B-0254-07BE-5C4664F64885}"/>
          </ac:graphicFrameMkLst>
        </pc:graphicFrameChg>
        <pc:graphicFrameChg chg="add del mod modGraphic">
          <ac:chgData name="Séverine MARTIAL" userId="S::severine.martial@talan.com::cd965009-5775-4307-a222-abb2d853a600" providerId="AD" clId="Web-{7B91BD7C-95B0-B008-EEE6-EC597EE74D17}" dt="2023-03-19T19:04:19.277" v="38"/>
          <ac:graphicFrameMkLst>
            <pc:docMk/>
            <pc:sldMk cId="776430139" sldId="2147469999"/>
            <ac:graphicFrameMk id="66" creationId="{6A4693C1-36E0-F182-8E0D-64D26C3D4AA3}"/>
          </ac:graphicFrameMkLst>
        </pc:graphicFrameChg>
        <pc:graphicFrameChg chg="add mod modGraphic">
          <ac:chgData name="Séverine MARTIAL" userId="S::severine.martial@talan.com::cd965009-5775-4307-a222-abb2d853a600" providerId="AD" clId="Web-{7B91BD7C-95B0-B008-EEE6-EC597EE74D17}" dt="2023-03-19T20:11:35.492" v="350" actId="20577"/>
          <ac:graphicFrameMkLst>
            <pc:docMk/>
            <pc:sldMk cId="776430139" sldId="2147469999"/>
            <ac:graphicFrameMk id="188" creationId="{50A6DC02-A635-EDE7-E005-8A5511C0D784}"/>
          </ac:graphicFrameMkLst>
        </pc:graphicFrameChg>
        <pc:picChg chg="del">
          <ac:chgData name="Séverine MARTIAL" userId="S::severine.martial@talan.com::cd965009-5775-4307-a222-abb2d853a600" providerId="AD" clId="Web-{7B91BD7C-95B0-B008-EEE6-EC597EE74D17}" dt="2023-03-19T18:35:32.177" v="7"/>
          <ac:picMkLst>
            <pc:docMk/>
            <pc:sldMk cId="776430139" sldId="2147469999"/>
            <ac:picMk id="8" creationId="{6B5A2D5B-1E73-0387-F80F-E18D3D22C054}"/>
          </ac:picMkLst>
        </pc:picChg>
        <pc:cxnChg chg="del">
          <ac:chgData name="Séverine MARTIAL" userId="S::severine.martial@talan.com::cd965009-5775-4307-a222-abb2d853a600" providerId="AD" clId="Web-{7B91BD7C-95B0-B008-EEE6-EC597EE74D17}" dt="2023-03-19T18:35:38.458" v="9"/>
          <ac:cxnSpMkLst>
            <pc:docMk/>
            <pc:sldMk cId="776430139" sldId="2147469999"/>
            <ac:cxnSpMk id="9" creationId="{A61A4DA7-80ED-C86D-95D5-D895BB1D3402}"/>
          </ac:cxnSpMkLst>
        </pc:cxnChg>
      </pc:sldChg>
      <pc:sldChg chg="add del replId">
        <pc:chgData name="Séverine MARTIAL" userId="S::severine.martial@talan.com::cd965009-5775-4307-a222-abb2d853a600" providerId="AD" clId="Web-{7B91BD7C-95B0-B008-EEE6-EC597EE74D17}" dt="2023-03-19T21:18:10.679" v="353"/>
        <pc:sldMkLst>
          <pc:docMk/>
          <pc:sldMk cId="2638205553" sldId="2147470002"/>
        </pc:sldMkLst>
      </pc:sldChg>
    </pc:docChg>
  </pc:docChgLst>
  <pc:docChgLst>
    <pc:chgData name="Séverine MARTIAL" userId="S::severine.martial@talan.com::cd965009-5775-4307-a222-abb2d853a600" providerId="AD" clId="Web-{2FF94AD6-1AB7-04FE-8CA9-F0030B1D1E18}"/>
    <pc:docChg chg="addSld delSld modSld sldOrd modSection">
      <pc:chgData name="Séverine MARTIAL" userId="S::severine.martial@talan.com::cd965009-5775-4307-a222-abb2d853a600" providerId="AD" clId="Web-{2FF94AD6-1AB7-04FE-8CA9-F0030B1D1E18}" dt="2023-03-20T16:14:12.480" v="2416"/>
      <pc:docMkLst>
        <pc:docMk/>
      </pc:docMkLst>
      <pc:sldChg chg="del">
        <pc:chgData name="Séverine MARTIAL" userId="S::severine.martial@talan.com::cd965009-5775-4307-a222-abb2d853a600" providerId="AD" clId="Web-{2FF94AD6-1AB7-04FE-8CA9-F0030B1D1E18}" dt="2023-03-20T15:02:28.014" v="2179"/>
        <pc:sldMkLst>
          <pc:docMk/>
          <pc:sldMk cId="0" sldId="302"/>
        </pc:sldMkLst>
      </pc:sldChg>
      <pc:sldChg chg="modSp">
        <pc:chgData name="Séverine MARTIAL" userId="S::severine.martial@talan.com::cd965009-5775-4307-a222-abb2d853a600" providerId="AD" clId="Web-{2FF94AD6-1AB7-04FE-8CA9-F0030B1D1E18}" dt="2023-03-20T16:14:12.480" v="2416"/>
        <pc:sldMkLst>
          <pc:docMk/>
          <pc:sldMk cId="4107027684" sldId="2014"/>
        </pc:sldMkLst>
        <pc:spChg chg="mod">
          <ac:chgData name="Séverine MARTIAL" userId="S::severine.martial@talan.com::cd965009-5775-4307-a222-abb2d853a600" providerId="AD" clId="Web-{2FF94AD6-1AB7-04FE-8CA9-F0030B1D1E18}" dt="2023-03-20T16:11:01.242" v="2356" actId="1076"/>
          <ac:spMkLst>
            <pc:docMk/>
            <pc:sldMk cId="4107027684" sldId="2014"/>
            <ac:spMk id="4" creationId="{EC588D4C-1ED2-CFBD-1DCB-13D55B5C853C}"/>
          </ac:spMkLst>
        </pc:spChg>
        <pc:graphicFrameChg chg="mod modGraphic">
          <ac:chgData name="Séverine MARTIAL" userId="S::severine.martial@talan.com::cd965009-5775-4307-a222-abb2d853a600" providerId="AD" clId="Web-{2FF94AD6-1AB7-04FE-8CA9-F0030B1D1E18}" dt="2023-03-20T16:14:12.480" v="2416"/>
          <ac:graphicFrameMkLst>
            <pc:docMk/>
            <pc:sldMk cId="4107027684" sldId="2014"/>
            <ac:graphicFrameMk id="36" creationId="{F1C1D90F-95B6-57C8-FFF7-3B8F309684FC}"/>
          </ac:graphicFrameMkLst>
        </pc:graphicFrameChg>
      </pc:sldChg>
      <pc:sldChg chg="modSp">
        <pc:chgData name="Séverine MARTIAL" userId="S::severine.martial@talan.com::cd965009-5775-4307-a222-abb2d853a600" providerId="AD" clId="Web-{2FF94AD6-1AB7-04FE-8CA9-F0030B1D1E18}" dt="2023-03-20T16:06:22.019" v="2312" actId="20577"/>
        <pc:sldMkLst>
          <pc:docMk/>
          <pc:sldMk cId="619538722" sldId="2076136401"/>
        </pc:sldMkLst>
        <pc:spChg chg="mod">
          <ac:chgData name="Séverine MARTIAL" userId="S::severine.martial@talan.com::cd965009-5775-4307-a222-abb2d853a600" providerId="AD" clId="Web-{2FF94AD6-1AB7-04FE-8CA9-F0030B1D1E18}" dt="2023-03-20T16:06:22.019" v="2312" actId="20577"/>
          <ac:spMkLst>
            <pc:docMk/>
            <pc:sldMk cId="619538722" sldId="2076136401"/>
            <ac:spMk id="2496" creationId="{00000000-0000-0000-0000-000000000000}"/>
          </ac:spMkLst>
        </pc:spChg>
      </pc:sldChg>
      <pc:sldChg chg="addSp delSp modSp mod modClrScheme chgLayout">
        <pc:chgData name="Séverine MARTIAL" userId="S::severine.martial@talan.com::cd965009-5775-4307-a222-abb2d853a600" providerId="AD" clId="Web-{2FF94AD6-1AB7-04FE-8CA9-F0030B1D1E18}" dt="2023-03-20T16:07:02.020" v="2323" actId="20577"/>
        <pc:sldMkLst>
          <pc:docMk/>
          <pc:sldMk cId="2811067635" sldId="2076137077"/>
        </pc:sldMkLst>
        <pc:spChg chg="del mod">
          <ac:chgData name="Séverine MARTIAL" userId="S::severine.martial@talan.com::cd965009-5775-4307-a222-abb2d853a600" providerId="AD" clId="Web-{2FF94AD6-1AB7-04FE-8CA9-F0030B1D1E18}" dt="2023-03-20T15:19:54.669" v="2247"/>
          <ac:spMkLst>
            <pc:docMk/>
            <pc:sldMk cId="2811067635" sldId="2076137077"/>
            <ac:spMk id="2" creationId="{10DAC2B0-8C33-74F4-AD3D-96630FEF72F9}"/>
          </ac:spMkLst>
        </pc:spChg>
        <pc:spChg chg="add del mod ord">
          <ac:chgData name="Séverine MARTIAL" userId="S::severine.martial@talan.com::cd965009-5775-4307-a222-abb2d853a600" providerId="AD" clId="Web-{2FF94AD6-1AB7-04FE-8CA9-F0030B1D1E18}" dt="2023-03-20T15:09:46.911" v="2186"/>
          <ac:spMkLst>
            <pc:docMk/>
            <pc:sldMk cId="2811067635" sldId="2076137077"/>
            <ac:spMk id="3" creationId="{7F910AA3-F383-B65D-4316-25A127C65797}"/>
          </ac:spMkLst>
        </pc:spChg>
        <pc:spChg chg="add del mod ord">
          <ac:chgData name="Séverine MARTIAL" userId="S::severine.martial@talan.com::cd965009-5775-4307-a222-abb2d853a600" providerId="AD" clId="Web-{2FF94AD6-1AB7-04FE-8CA9-F0030B1D1E18}" dt="2023-03-20T15:10:58.912" v="2192"/>
          <ac:spMkLst>
            <pc:docMk/>
            <pc:sldMk cId="2811067635" sldId="2076137077"/>
            <ac:spMk id="4" creationId="{709CF82D-205D-1BFB-E3EC-7238B55354BD}"/>
          </ac:spMkLst>
        </pc:spChg>
        <pc:spChg chg="mod">
          <ac:chgData name="Séverine MARTIAL" userId="S::severine.martial@talan.com::cd965009-5775-4307-a222-abb2d853a600" providerId="AD" clId="Web-{2FF94AD6-1AB7-04FE-8CA9-F0030B1D1E18}" dt="2023-03-20T15:15:12.368" v="2214" actId="1076"/>
          <ac:spMkLst>
            <pc:docMk/>
            <pc:sldMk cId="2811067635" sldId="2076137077"/>
            <ac:spMk id="12" creationId="{36535AD5-F10A-4F08-8396-C8855A040406}"/>
          </ac:spMkLst>
        </pc:spChg>
        <pc:spChg chg="mod">
          <ac:chgData name="Séverine MARTIAL" userId="S::severine.martial@talan.com::cd965009-5775-4307-a222-abb2d853a600" providerId="AD" clId="Web-{2FF94AD6-1AB7-04FE-8CA9-F0030B1D1E18}" dt="2023-03-20T15:18:41.761" v="2245"/>
          <ac:spMkLst>
            <pc:docMk/>
            <pc:sldMk cId="2811067635" sldId="2076137077"/>
            <ac:spMk id="13" creationId="{B321D91F-636C-47C6-A19C-8388DF090393}"/>
          </ac:spMkLst>
        </pc:spChg>
        <pc:spChg chg="mod">
          <ac:chgData name="Séverine MARTIAL" userId="S::severine.martial@talan.com::cd965009-5775-4307-a222-abb2d853a600" providerId="AD" clId="Web-{2FF94AD6-1AB7-04FE-8CA9-F0030B1D1E18}" dt="2023-03-20T15:15:12.431" v="2216" actId="1076"/>
          <ac:spMkLst>
            <pc:docMk/>
            <pc:sldMk cId="2811067635" sldId="2076137077"/>
            <ac:spMk id="15" creationId="{4F91012B-EB5F-456C-ABC0-C50FFCCD1094}"/>
          </ac:spMkLst>
        </pc:spChg>
        <pc:spChg chg="mod">
          <ac:chgData name="Séverine MARTIAL" userId="S::severine.martial@talan.com::cd965009-5775-4307-a222-abb2d853a600" providerId="AD" clId="Web-{2FF94AD6-1AB7-04FE-8CA9-F0030B1D1E18}" dt="2023-03-20T15:15:12.446" v="2217" actId="1076"/>
          <ac:spMkLst>
            <pc:docMk/>
            <pc:sldMk cId="2811067635" sldId="2076137077"/>
            <ac:spMk id="16" creationId="{21B0373B-E783-4ECD-8187-F521F84BEC92}"/>
          </ac:spMkLst>
        </pc:spChg>
        <pc:spChg chg="del">
          <ac:chgData name="Séverine MARTIAL" userId="S::severine.martial@talan.com::cd965009-5775-4307-a222-abb2d853a600" providerId="AD" clId="Web-{2FF94AD6-1AB7-04FE-8CA9-F0030B1D1E18}" dt="2023-03-20T15:10:29.521" v="2191"/>
          <ac:spMkLst>
            <pc:docMk/>
            <pc:sldMk cId="2811067635" sldId="2076137077"/>
            <ac:spMk id="17" creationId="{4BFC2AD7-6597-4020-9B92-D9D0C03890DF}"/>
          </ac:spMkLst>
        </pc:spChg>
        <pc:spChg chg="mod">
          <ac:chgData name="Séverine MARTIAL" userId="S::severine.martial@talan.com::cd965009-5775-4307-a222-abb2d853a600" providerId="AD" clId="Web-{2FF94AD6-1AB7-04FE-8CA9-F0030B1D1E18}" dt="2023-03-20T15:15:12.477" v="2218" actId="1076"/>
          <ac:spMkLst>
            <pc:docMk/>
            <pc:sldMk cId="2811067635" sldId="2076137077"/>
            <ac:spMk id="19" creationId="{0F544AC3-788B-4BC0-8208-AA31B4DB62AD}"/>
          </ac:spMkLst>
        </pc:spChg>
        <pc:spChg chg="mod">
          <ac:chgData name="Séverine MARTIAL" userId="S::severine.martial@talan.com::cd965009-5775-4307-a222-abb2d853a600" providerId="AD" clId="Web-{2FF94AD6-1AB7-04FE-8CA9-F0030B1D1E18}" dt="2023-03-20T15:15:12.509" v="2219" actId="1076"/>
          <ac:spMkLst>
            <pc:docMk/>
            <pc:sldMk cId="2811067635" sldId="2076137077"/>
            <ac:spMk id="20" creationId="{B9FB5B8C-EDA7-42E8-AEF3-877B015B8F7F}"/>
          </ac:spMkLst>
        </pc:spChg>
        <pc:spChg chg="mod">
          <ac:chgData name="Séverine MARTIAL" userId="S::severine.martial@talan.com::cd965009-5775-4307-a222-abb2d853a600" providerId="AD" clId="Web-{2FF94AD6-1AB7-04FE-8CA9-F0030B1D1E18}" dt="2023-03-20T15:15:12.524" v="2220" actId="1076"/>
          <ac:spMkLst>
            <pc:docMk/>
            <pc:sldMk cId="2811067635" sldId="2076137077"/>
            <ac:spMk id="21" creationId="{A776A3C6-48C2-43D8-9FEB-EA67B2751754}"/>
          </ac:spMkLst>
        </pc:spChg>
        <pc:spChg chg="mod">
          <ac:chgData name="Séverine MARTIAL" userId="S::severine.martial@talan.com::cd965009-5775-4307-a222-abb2d853a600" providerId="AD" clId="Web-{2FF94AD6-1AB7-04FE-8CA9-F0030B1D1E18}" dt="2023-03-20T15:15:12.556" v="2221" actId="1076"/>
          <ac:spMkLst>
            <pc:docMk/>
            <pc:sldMk cId="2811067635" sldId="2076137077"/>
            <ac:spMk id="23" creationId="{60987FCD-E75B-4BC2-B83F-88A204711489}"/>
          </ac:spMkLst>
        </pc:spChg>
        <pc:spChg chg="del mod">
          <ac:chgData name="Séverine MARTIAL" userId="S::severine.martial@talan.com::cd965009-5775-4307-a222-abb2d853a600" providerId="AD" clId="Web-{2FF94AD6-1AB7-04FE-8CA9-F0030B1D1E18}" dt="2023-03-20T15:15:04.915" v="2213"/>
          <ac:spMkLst>
            <pc:docMk/>
            <pc:sldMk cId="2811067635" sldId="2076137077"/>
            <ac:spMk id="27" creationId="{13D53A09-3F93-4402-8FE0-B8105DF68FF8}"/>
          </ac:spMkLst>
        </pc:spChg>
        <pc:spChg chg="mod">
          <ac:chgData name="Séverine MARTIAL" userId="S::severine.martial@talan.com::cd965009-5775-4307-a222-abb2d853a600" providerId="AD" clId="Web-{2FF94AD6-1AB7-04FE-8CA9-F0030B1D1E18}" dt="2023-03-20T16:07:02.020" v="2323" actId="20577"/>
          <ac:spMkLst>
            <pc:docMk/>
            <pc:sldMk cId="2811067635" sldId="2076137077"/>
            <ac:spMk id="29" creationId="{F6319F58-D7CC-4A1A-AA61-C62EFF18AE8A}"/>
          </ac:spMkLst>
        </pc:spChg>
        <pc:picChg chg="mod">
          <ac:chgData name="Séverine MARTIAL" userId="S::severine.martial@talan.com::cd965009-5775-4307-a222-abb2d853a600" providerId="AD" clId="Web-{2FF94AD6-1AB7-04FE-8CA9-F0030B1D1E18}" dt="2023-03-20T15:15:12.571" v="2222" actId="1076"/>
          <ac:picMkLst>
            <pc:docMk/>
            <pc:sldMk cId="2811067635" sldId="2076137077"/>
            <ac:picMk id="8" creationId="{3008D538-8E4A-4F87-B465-9B0F57FA9DBE}"/>
          </ac:picMkLst>
        </pc:picChg>
        <pc:picChg chg="mod">
          <ac:chgData name="Séverine MARTIAL" userId="S::severine.martial@talan.com::cd965009-5775-4307-a222-abb2d853a600" providerId="AD" clId="Web-{2FF94AD6-1AB7-04FE-8CA9-F0030B1D1E18}" dt="2023-03-20T15:15:12.602" v="2223" actId="1076"/>
          <ac:picMkLst>
            <pc:docMk/>
            <pc:sldMk cId="2811067635" sldId="2076137077"/>
            <ac:picMk id="10" creationId="{BE2F8E91-27C6-4529-9964-B763837D17B6}"/>
          </ac:picMkLst>
        </pc:picChg>
        <pc:cxnChg chg="del">
          <ac:chgData name="Séverine MARTIAL" userId="S::severine.martial@talan.com::cd965009-5775-4307-a222-abb2d853a600" providerId="AD" clId="Web-{2FF94AD6-1AB7-04FE-8CA9-F0030B1D1E18}" dt="2023-03-20T15:09:51.192" v="2187"/>
          <ac:cxnSpMkLst>
            <pc:docMk/>
            <pc:sldMk cId="2811067635" sldId="2076137077"/>
            <ac:cxnSpMk id="18" creationId="{BEE65848-D605-4930-A850-F52E82EBEA86}"/>
          </ac:cxnSpMkLst>
        </pc:cxnChg>
      </pc:sldChg>
      <pc:sldChg chg="modSp">
        <pc:chgData name="Séverine MARTIAL" userId="S::severine.martial@talan.com::cd965009-5775-4307-a222-abb2d853a600" providerId="AD" clId="Web-{2FF94AD6-1AB7-04FE-8CA9-F0030B1D1E18}" dt="2023-03-20T15:53:17.194" v="2251" actId="20577"/>
        <pc:sldMkLst>
          <pc:docMk/>
          <pc:sldMk cId="1679491866" sldId="2147469982"/>
        </pc:sldMkLst>
        <pc:spChg chg="mod">
          <ac:chgData name="Séverine MARTIAL" userId="S::severine.martial@talan.com::cd965009-5775-4307-a222-abb2d853a600" providerId="AD" clId="Web-{2FF94AD6-1AB7-04FE-8CA9-F0030B1D1E18}" dt="2023-03-20T15:53:17.194" v="2251" actId="20577"/>
          <ac:spMkLst>
            <pc:docMk/>
            <pc:sldMk cId="1679491866" sldId="2147469982"/>
            <ac:spMk id="2" creationId="{E11BF5BD-75C4-4E77-9598-7225EFF82CC5}"/>
          </ac:spMkLst>
        </pc:spChg>
      </pc:sldChg>
      <pc:sldChg chg="addSp delSp modSp mod modShow modNotes">
        <pc:chgData name="Séverine MARTIAL" userId="S::severine.martial@talan.com::cd965009-5775-4307-a222-abb2d853a600" providerId="AD" clId="Web-{2FF94AD6-1AB7-04FE-8CA9-F0030B1D1E18}" dt="2023-03-20T16:06:40.113" v="2316" actId="20577"/>
        <pc:sldMkLst>
          <pc:docMk/>
          <pc:sldMk cId="776430139" sldId="2147469999"/>
        </pc:sldMkLst>
        <pc:spChg chg="mod">
          <ac:chgData name="Séverine MARTIAL" userId="S::severine.martial@talan.com::cd965009-5775-4307-a222-abb2d853a600" providerId="AD" clId="Web-{2FF94AD6-1AB7-04FE-8CA9-F0030B1D1E18}" dt="2023-03-20T16:06:40.113" v="2316" actId="20577"/>
          <ac:spMkLst>
            <pc:docMk/>
            <pc:sldMk cId="776430139" sldId="2147469999"/>
            <ac:spMk id="2" creationId="{E11BF5BD-75C4-4E77-9598-7225EFF82CC5}"/>
          </ac:spMkLst>
        </pc:spChg>
        <pc:spChg chg="del mod">
          <ac:chgData name="Séverine MARTIAL" userId="S::severine.martial@talan.com::cd965009-5775-4307-a222-abb2d853a600" providerId="AD" clId="Web-{2FF94AD6-1AB7-04FE-8CA9-F0030B1D1E18}" dt="2023-03-20T09:37:23.416" v="558"/>
          <ac:spMkLst>
            <pc:docMk/>
            <pc:sldMk cId="776430139" sldId="2147469999"/>
            <ac:spMk id="320" creationId="{2AC84ED5-BB4A-9B1E-207E-3EA75469F92B}"/>
          </ac:spMkLst>
        </pc:spChg>
        <pc:spChg chg="add del">
          <ac:chgData name="Séverine MARTIAL" userId="S::severine.martial@talan.com::cd965009-5775-4307-a222-abb2d853a600" providerId="AD" clId="Web-{2FF94AD6-1AB7-04FE-8CA9-F0030B1D1E18}" dt="2023-03-20T09:04:30.046" v="31"/>
          <ac:spMkLst>
            <pc:docMk/>
            <pc:sldMk cId="776430139" sldId="2147469999"/>
            <ac:spMk id="326" creationId="{1D2F1CD9-BABA-CFF8-288A-3347AAD70688}"/>
          </ac:spMkLst>
        </pc:spChg>
        <pc:spChg chg="add del">
          <ac:chgData name="Séverine MARTIAL" userId="S::severine.martial@talan.com::cd965009-5775-4307-a222-abb2d853a600" providerId="AD" clId="Web-{2FF94AD6-1AB7-04FE-8CA9-F0030B1D1E18}" dt="2023-03-20T09:04:11.406" v="26"/>
          <ac:spMkLst>
            <pc:docMk/>
            <pc:sldMk cId="776430139" sldId="2147469999"/>
            <ac:spMk id="330" creationId="{6ED86CB5-16BB-EBA4-B41C-35C1840383B2}"/>
          </ac:spMkLst>
        </pc:spChg>
        <pc:spChg chg="add del">
          <ac:chgData name="Séverine MARTIAL" userId="S::severine.martial@talan.com::cd965009-5775-4307-a222-abb2d853a600" providerId="AD" clId="Web-{2FF94AD6-1AB7-04FE-8CA9-F0030B1D1E18}" dt="2023-03-20T09:04:51.358" v="39"/>
          <ac:spMkLst>
            <pc:docMk/>
            <pc:sldMk cId="776430139" sldId="2147469999"/>
            <ac:spMk id="334" creationId="{23FB33B0-BBB9-6442-B034-D4448BBA0DE8}"/>
          </ac:spMkLst>
        </pc:spChg>
        <pc:spChg chg="add del mod">
          <ac:chgData name="Séverine MARTIAL" userId="S::severine.martial@talan.com::cd965009-5775-4307-a222-abb2d853a600" providerId="AD" clId="Web-{2FF94AD6-1AB7-04FE-8CA9-F0030B1D1E18}" dt="2023-03-20T09:04:11.281" v="25"/>
          <ac:spMkLst>
            <pc:docMk/>
            <pc:sldMk cId="776430139" sldId="2147469999"/>
            <ac:spMk id="338" creationId="{FB91A2DD-8C65-3E3B-DCC5-BC8B04183BEF}"/>
          </ac:spMkLst>
        </pc:spChg>
        <pc:spChg chg="add del">
          <ac:chgData name="Séverine MARTIAL" userId="S::severine.martial@talan.com::cd965009-5775-4307-a222-abb2d853a600" providerId="AD" clId="Web-{2FF94AD6-1AB7-04FE-8CA9-F0030B1D1E18}" dt="2023-03-20T09:04:51.358" v="37"/>
          <ac:spMkLst>
            <pc:docMk/>
            <pc:sldMk cId="776430139" sldId="2147469999"/>
            <ac:spMk id="358" creationId="{BAAD0D7E-DB57-A491-CE2F-9233277FF46A}"/>
          </ac:spMkLst>
        </pc:spChg>
        <pc:spChg chg="add del mod">
          <ac:chgData name="Séverine MARTIAL" userId="S::severine.martial@talan.com::cd965009-5775-4307-a222-abb2d853a600" providerId="AD" clId="Web-{2FF94AD6-1AB7-04FE-8CA9-F0030B1D1E18}" dt="2023-03-20T09:04:51.530" v="40"/>
          <ac:spMkLst>
            <pc:docMk/>
            <pc:sldMk cId="776430139" sldId="2147469999"/>
            <ac:spMk id="362" creationId="{A9201758-C7BE-B1DF-2CAA-84CD508525F5}"/>
          </ac:spMkLst>
        </pc:spChg>
        <pc:spChg chg="add del mod">
          <ac:chgData name="Séverine MARTIAL" userId="S::severine.martial@talan.com::cd965009-5775-4307-a222-abb2d853a600" providerId="AD" clId="Web-{2FF94AD6-1AB7-04FE-8CA9-F0030B1D1E18}" dt="2023-03-20T09:06:31.982" v="66"/>
          <ac:spMkLst>
            <pc:docMk/>
            <pc:sldMk cId="776430139" sldId="2147469999"/>
            <ac:spMk id="398" creationId="{761D4BA1-6674-8E5F-3C42-8D85EA9FE347}"/>
          </ac:spMkLst>
        </pc:spChg>
        <pc:spChg chg="add del mod">
          <ac:chgData name="Séverine MARTIAL" userId="S::severine.martial@talan.com::cd965009-5775-4307-a222-abb2d853a600" providerId="AD" clId="Web-{2FF94AD6-1AB7-04FE-8CA9-F0030B1D1E18}" dt="2023-03-20T09:06:31.982" v="64"/>
          <ac:spMkLst>
            <pc:docMk/>
            <pc:sldMk cId="776430139" sldId="2147469999"/>
            <ac:spMk id="402" creationId="{791CE008-9759-050F-6B88-A72E758D8CC8}"/>
          </ac:spMkLst>
        </pc:spChg>
        <pc:graphicFrameChg chg="mod modGraphic">
          <ac:chgData name="Séverine MARTIAL" userId="S::severine.martial@talan.com::cd965009-5775-4307-a222-abb2d853a600" providerId="AD" clId="Web-{2FF94AD6-1AB7-04FE-8CA9-F0030B1D1E18}" dt="2023-03-20T15:03:13.781" v="2181" actId="1076"/>
          <ac:graphicFrameMkLst>
            <pc:docMk/>
            <pc:sldMk cId="776430139" sldId="2147469999"/>
            <ac:graphicFrameMk id="188" creationId="{50A6DC02-A635-EDE7-E005-8A5511C0D784}"/>
          </ac:graphicFrameMkLst>
        </pc:graphicFrameChg>
        <pc:graphicFrameChg chg="add del mod">
          <ac:chgData name="Séverine MARTIAL" userId="S::severine.martial@talan.com::cd965009-5775-4307-a222-abb2d853a600" providerId="AD" clId="Web-{2FF94AD6-1AB7-04FE-8CA9-F0030B1D1E18}" dt="2023-03-20T09:37:38.791" v="560"/>
          <ac:graphicFrameMkLst>
            <pc:docMk/>
            <pc:sldMk cId="776430139" sldId="2147469999"/>
            <ac:graphicFrameMk id="965" creationId="{CD8068DF-7A26-0794-56BD-FEA9060FF6AC}"/>
          </ac:graphicFrameMkLst>
        </pc:graphicFrameChg>
        <pc:picChg chg="add del">
          <ac:chgData name="Séverine MARTIAL" userId="S::severine.martial@talan.com::cd965009-5775-4307-a222-abb2d853a600" providerId="AD" clId="Web-{2FF94AD6-1AB7-04FE-8CA9-F0030B1D1E18}" dt="2023-03-20T09:04:51.265" v="34"/>
          <ac:picMkLst>
            <pc:docMk/>
            <pc:sldMk cId="776430139" sldId="2147469999"/>
            <ac:picMk id="332" creationId="{AF42B286-87BC-1821-7779-627328CEB4B5}"/>
          </ac:picMkLst>
        </pc:picChg>
        <pc:picChg chg="add del">
          <ac:chgData name="Séverine MARTIAL" userId="S::severine.martial@talan.com::cd965009-5775-4307-a222-abb2d853a600" providerId="AD" clId="Web-{2FF94AD6-1AB7-04FE-8CA9-F0030B1D1E18}" dt="2023-03-20T09:04:45.671" v="33"/>
          <ac:picMkLst>
            <pc:docMk/>
            <pc:sldMk cId="776430139" sldId="2147469999"/>
            <ac:picMk id="340" creationId="{0D9E072A-B127-0E41-5E87-251FB8C97643}"/>
          </ac:picMkLst>
        </pc:picChg>
        <pc:picChg chg="add del">
          <ac:chgData name="Séverine MARTIAL" userId="S::severine.martial@talan.com::cd965009-5775-4307-a222-abb2d853a600" providerId="AD" clId="Web-{2FF94AD6-1AB7-04FE-8CA9-F0030B1D1E18}" dt="2023-03-20T09:04:51.358" v="35"/>
          <ac:picMkLst>
            <pc:docMk/>
            <pc:sldMk cId="776430139" sldId="2147469999"/>
            <ac:picMk id="364" creationId="{DD031E53-1EF0-3C50-9D89-03675C1C5B1B}"/>
          </ac:picMkLst>
        </pc:picChg>
        <pc:picChg chg="add del mod">
          <ac:chgData name="Séverine MARTIAL" userId="S::severine.martial@talan.com::cd965009-5775-4307-a222-abb2d853a600" providerId="AD" clId="Web-{2FF94AD6-1AB7-04FE-8CA9-F0030B1D1E18}" dt="2023-03-20T09:06:31.982" v="63"/>
          <ac:picMkLst>
            <pc:docMk/>
            <pc:sldMk cId="776430139" sldId="2147469999"/>
            <ac:picMk id="404" creationId="{EB67B556-F4CF-8ED3-7A41-37645804F3EC}"/>
          </ac:picMkLst>
        </pc:picChg>
        <pc:cxnChg chg="add del">
          <ac:chgData name="Séverine MARTIAL" userId="S::severine.martial@talan.com::cd965009-5775-4307-a222-abb2d853a600" providerId="AD" clId="Web-{2FF94AD6-1AB7-04FE-8CA9-F0030B1D1E18}" dt="2023-03-20T09:04:39.077" v="32"/>
          <ac:cxnSpMkLst>
            <pc:docMk/>
            <pc:sldMk cId="776430139" sldId="2147469999"/>
            <ac:cxnSpMk id="328" creationId="{D4C3CD23-7DF1-2FA7-9B61-11454478EB26}"/>
          </ac:cxnSpMkLst>
        </pc:cxnChg>
        <pc:cxnChg chg="add del">
          <ac:chgData name="Séverine MARTIAL" userId="S::severine.martial@talan.com::cd965009-5775-4307-a222-abb2d853a600" providerId="AD" clId="Web-{2FF94AD6-1AB7-04FE-8CA9-F0030B1D1E18}" dt="2023-03-20T09:04:51.358" v="38"/>
          <ac:cxnSpMkLst>
            <pc:docMk/>
            <pc:sldMk cId="776430139" sldId="2147469999"/>
            <ac:cxnSpMk id="336" creationId="{13D6BC74-5AB3-A80E-4FCA-9F0111BCFB2B}"/>
          </ac:cxnSpMkLst>
        </pc:cxnChg>
        <pc:cxnChg chg="add del">
          <ac:chgData name="Séverine MARTIAL" userId="S::severine.martial@talan.com::cd965009-5775-4307-a222-abb2d853a600" providerId="AD" clId="Web-{2FF94AD6-1AB7-04FE-8CA9-F0030B1D1E18}" dt="2023-03-20T09:04:51.358" v="36"/>
          <ac:cxnSpMkLst>
            <pc:docMk/>
            <pc:sldMk cId="776430139" sldId="2147469999"/>
            <ac:cxnSpMk id="360" creationId="{BDF4DB8B-230F-B75C-B003-31EABEA027C1}"/>
          </ac:cxnSpMkLst>
        </pc:cxnChg>
        <pc:cxnChg chg="add del mod">
          <ac:chgData name="Séverine MARTIAL" userId="S::severine.martial@talan.com::cd965009-5775-4307-a222-abb2d853a600" providerId="AD" clId="Web-{2FF94AD6-1AB7-04FE-8CA9-F0030B1D1E18}" dt="2023-03-20T09:06:31.982" v="65"/>
          <ac:cxnSpMkLst>
            <pc:docMk/>
            <pc:sldMk cId="776430139" sldId="2147469999"/>
            <ac:cxnSpMk id="400" creationId="{87499DEA-AFB5-2837-9EFF-6A9C9A814D66}"/>
          </ac:cxnSpMkLst>
        </pc:cxnChg>
      </pc:sldChg>
      <pc:sldChg chg="modSp">
        <pc:chgData name="Séverine MARTIAL" userId="S::severine.martial@talan.com::cd965009-5775-4307-a222-abb2d853a600" providerId="AD" clId="Web-{2FF94AD6-1AB7-04FE-8CA9-F0030B1D1E18}" dt="2023-03-20T12:36:07.073" v="1469" actId="20577"/>
        <pc:sldMkLst>
          <pc:docMk/>
          <pc:sldMk cId="2776949053" sldId="2147470000"/>
        </pc:sldMkLst>
        <pc:spChg chg="mod">
          <ac:chgData name="Séverine MARTIAL" userId="S::severine.martial@talan.com::cd965009-5775-4307-a222-abb2d853a600" providerId="AD" clId="Web-{2FF94AD6-1AB7-04FE-8CA9-F0030B1D1E18}" dt="2023-03-20T12:35:58.307" v="1463" actId="20577"/>
          <ac:spMkLst>
            <pc:docMk/>
            <pc:sldMk cId="2776949053" sldId="2147470000"/>
            <ac:spMk id="4" creationId="{640B9571-1430-2118-1E7A-D56A5B69B2A7}"/>
          </ac:spMkLst>
        </pc:spChg>
        <pc:spChg chg="mod">
          <ac:chgData name="Séverine MARTIAL" userId="S::severine.martial@talan.com::cd965009-5775-4307-a222-abb2d853a600" providerId="AD" clId="Web-{2FF94AD6-1AB7-04FE-8CA9-F0030B1D1E18}" dt="2023-03-20T12:36:07.073" v="1469" actId="20577"/>
          <ac:spMkLst>
            <pc:docMk/>
            <pc:sldMk cId="2776949053" sldId="2147470000"/>
            <ac:spMk id="22" creationId="{FCA99AF5-45F4-2B2F-9674-99A37099C105}"/>
          </ac:spMkLst>
        </pc:spChg>
      </pc:sldChg>
      <pc:sldChg chg="addSp delSp modSp mod modShow">
        <pc:chgData name="Séverine MARTIAL" userId="S::severine.martial@talan.com::cd965009-5775-4307-a222-abb2d853a600" providerId="AD" clId="Web-{2FF94AD6-1AB7-04FE-8CA9-F0030B1D1E18}" dt="2023-03-20T16:06:45.441" v="2317" actId="20577"/>
        <pc:sldMkLst>
          <pc:docMk/>
          <pc:sldMk cId="3288950320" sldId="2147470001"/>
        </pc:sldMkLst>
        <pc:spChg chg="add del mod">
          <ac:chgData name="Séverine MARTIAL" userId="S::severine.martial@talan.com::cd965009-5775-4307-a222-abb2d853a600" providerId="AD" clId="Web-{2FF94AD6-1AB7-04FE-8CA9-F0030B1D1E18}" dt="2023-03-20T11:44:52.198" v="724"/>
          <ac:spMkLst>
            <pc:docMk/>
            <pc:sldMk cId="3288950320" sldId="2147470001"/>
            <ac:spMk id="4" creationId="{F5E27F52-1F63-1FFD-BC51-C0A0A8C3C3FE}"/>
          </ac:spMkLst>
        </pc:spChg>
        <pc:spChg chg="del">
          <ac:chgData name="Séverine MARTIAL" userId="S::severine.martial@talan.com::cd965009-5775-4307-a222-abb2d853a600" providerId="AD" clId="Web-{2FF94AD6-1AB7-04FE-8CA9-F0030B1D1E18}" dt="2023-03-20T11:48:33.415" v="746"/>
          <ac:spMkLst>
            <pc:docMk/>
            <pc:sldMk cId="3288950320" sldId="2147470001"/>
            <ac:spMk id="6" creationId="{76E64D08-F5DC-40AB-AEDE-96D8C958958D}"/>
          </ac:spMkLst>
        </pc:spChg>
        <pc:spChg chg="add del mod">
          <ac:chgData name="Séverine MARTIAL" userId="S::severine.martial@talan.com::cd965009-5775-4307-a222-abb2d853a600" providerId="AD" clId="Web-{2FF94AD6-1AB7-04FE-8CA9-F0030B1D1E18}" dt="2023-03-20T11:45:13.604" v="727"/>
          <ac:spMkLst>
            <pc:docMk/>
            <pc:sldMk cId="3288950320" sldId="2147470001"/>
            <ac:spMk id="8" creationId="{2600DD46-2BE4-0BF4-AE4F-89CE7E9449D7}"/>
          </ac:spMkLst>
        </pc:spChg>
        <pc:spChg chg="del mod">
          <ac:chgData name="Séverine MARTIAL" userId="S::severine.martial@talan.com::cd965009-5775-4307-a222-abb2d853a600" providerId="AD" clId="Web-{2FF94AD6-1AB7-04FE-8CA9-F0030B1D1E18}" dt="2023-03-20T11:48:38.493" v="750"/>
          <ac:spMkLst>
            <pc:docMk/>
            <pc:sldMk cId="3288950320" sldId="2147470001"/>
            <ac:spMk id="9" creationId="{2EFF2071-A097-4BAD-AF0D-20E01FD7B7DE}"/>
          </ac:spMkLst>
        </pc:spChg>
        <pc:spChg chg="mod">
          <ac:chgData name="Séverine MARTIAL" userId="S::severine.martial@talan.com::cd965009-5775-4307-a222-abb2d853a600" providerId="AD" clId="Web-{2FF94AD6-1AB7-04FE-8CA9-F0030B1D1E18}" dt="2023-03-20T11:48:45.212" v="751" actId="20577"/>
          <ac:spMkLst>
            <pc:docMk/>
            <pc:sldMk cId="3288950320" sldId="2147470001"/>
            <ac:spMk id="11" creationId="{2B6EE5C5-91A2-427C-A50A-5F63B00E0731}"/>
          </ac:spMkLst>
        </pc:spChg>
        <pc:spChg chg="add mod">
          <ac:chgData name="Séverine MARTIAL" userId="S::severine.martial@talan.com::cd965009-5775-4307-a222-abb2d853a600" providerId="AD" clId="Web-{2FF94AD6-1AB7-04FE-8CA9-F0030B1D1E18}" dt="2023-03-20T14:25:53.189" v="1997" actId="1076"/>
          <ac:spMkLst>
            <pc:docMk/>
            <pc:sldMk cId="3288950320" sldId="2147470001"/>
            <ac:spMk id="12" creationId="{F6FA3F40-789E-9E80-EB7D-40996691B8DF}"/>
          </ac:spMkLst>
        </pc:spChg>
        <pc:spChg chg="add mod">
          <ac:chgData name="Séverine MARTIAL" userId="S::severine.martial@talan.com::cd965009-5775-4307-a222-abb2d853a600" providerId="AD" clId="Web-{2FF94AD6-1AB7-04FE-8CA9-F0030B1D1E18}" dt="2023-03-20T16:06:45.441" v="2317" actId="20577"/>
          <ac:spMkLst>
            <pc:docMk/>
            <pc:sldMk cId="3288950320" sldId="2147470001"/>
            <ac:spMk id="17" creationId="{EEF56FE3-E971-BDE5-FE44-30170D5D643C}"/>
          </ac:spMkLst>
        </pc:spChg>
        <pc:spChg chg="add del mod">
          <ac:chgData name="Séverine MARTIAL" userId="S::severine.martial@talan.com::cd965009-5775-4307-a222-abb2d853a600" providerId="AD" clId="Web-{2FF94AD6-1AB7-04FE-8CA9-F0030B1D1E18}" dt="2023-03-20T11:51:19.272" v="787"/>
          <ac:spMkLst>
            <pc:docMk/>
            <pc:sldMk cId="3288950320" sldId="2147470001"/>
            <ac:spMk id="18" creationId="{3886E358-ACF6-3229-F6DF-3D16584328F6}"/>
          </ac:spMkLst>
        </pc:spChg>
        <pc:spChg chg="add del mod">
          <ac:chgData name="Séverine MARTIAL" userId="S::severine.martial@talan.com::cd965009-5775-4307-a222-abb2d853a600" providerId="AD" clId="Web-{2FF94AD6-1AB7-04FE-8CA9-F0030B1D1E18}" dt="2023-03-20T11:53:09.865" v="840"/>
          <ac:spMkLst>
            <pc:docMk/>
            <pc:sldMk cId="3288950320" sldId="2147470001"/>
            <ac:spMk id="20" creationId="{D4177E38-34A0-3093-81EC-4C3B0345301E}"/>
          </ac:spMkLst>
        </pc:spChg>
        <pc:spChg chg="add del mod">
          <ac:chgData name="Séverine MARTIAL" userId="S::severine.martial@talan.com::cd965009-5775-4307-a222-abb2d853a600" providerId="AD" clId="Web-{2FF94AD6-1AB7-04FE-8CA9-F0030B1D1E18}" dt="2023-03-20T11:52:41.240" v="827"/>
          <ac:spMkLst>
            <pc:docMk/>
            <pc:sldMk cId="3288950320" sldId="2147470001"/>
            <ac:spMk id="24" creationId="{32E3F141-736A-A8A2-3998-30FBB53F0619}"/>
          </ac:spMkLst>
        </pc:spChg>
        <pc:spChg chg="add del mod">
          <ac:chgData name="Séverine MARTIAL" userId="S::severine.martial@talan.com::cd965009-5775-4307-a222-abb2d853a600" providerId="AD" clId="Web-{2FF94AD6-1AB7-04FE-8CA9-F0030B1D1E18}" dt="2023-03-20T12:08:46.824" v="1161"/>
          <ac:spMkLst>
            <pc:docMk/>
            <pc:sldMk cId="3288950320" sldId="2147470001"/>
            <ac:spMk id="27" creationId="{5F6E2FDF-6F42-48E0-D09E-11B32177E8A6}"/>
          </ac:spMkLst>
        </pc:spChg>
        <pc:spChg chg="del">
          <ac:chgData name="Séverine MARTIAL" userId="S::severine.martial@talan.com::cd965009-5775-4307-a222-abb2d853a600" providerId="AD" clId="Web-{2FF94AD6-1AB7-04FE-8CA9-F0030B1D1E18}" dt="2023-03-20T11:44:59.011" v="725"/>
          <ac:spMkLst>
            <pc:docMk/>
            <pc:sldMk cId="3288950320" sldId="2147470001"/>
            <ac:spMk id="2496" creationId="{00000000-0000-0000-0000-000000000000}"/>
          </ac:spMkLst>
        </pc:spChg>
        <pc:spChg chg="add mod">
          <ac:chgData name="Séverine MARTIAL" userId="S::severine.martial@talan.com::cd965009-5775-4307-a222-abb2d853a600" providerId="AD" clId="Web-{2FF94AD6-1AB7-04FE-8CA9-F0030B1D1E18}" dt="2023-03-20T14:25:15.376" v="1989" actId="1076"/>
          <ac:spMkLst>
            <pc:docMk/>
            <pc:sldMk cId="3288950320" sldId="2147470001"/>
            <ac:spMk id="3989" creationId="{69120E86-3C4C-2FAD-F95A-DC3E0EA4D655}"/>
          </ac:spMkLst>
        </pc:spChg>
        <pc:spChg chg="add mod">
          <ac:chgData name="Séverine MARTIAL" userId="S::severine.martial@talan.com::cd965009-5775-4307-a222-abb2d853a600" providerId="AD" clId="Web-{2FF94AD6-1AB7-04FE-8CA9-F0030B1D1E18}" dt="2023-03-20T14:25:15.438" v="1991" actId="1076"/>
          <ac:spMkLst>
            <pc:docMk/>
            <pc:sldMk cId="3288950320" sldId="2147470001"/>
            <ac:spMk id="3993" creationId="{8853F7B2-45E5-AEB3-1450-AA27EE128996}"/>
          </ac:spMkLst>
        </pc:spChg>
        <pc:spChg chg="add del mod">
          <ac:chgData name="Séverine MARTIAL" userId="S::severine.martial@talan.com::cd965009-5775-4307-a222-abb2d853a600" providerId="AD" clId="Web-{2FF94AD6-1AB7-04FE-8CA9-F0030B1D1E18}" dt="2023-03-20T12:16:06.835" v="1255"/>
          <ac:spMkLst>
            <pc:docMk/>
            <pc:sldMk cId="3288950320" sldId="2147470001"/>
            <ac:spMk id="4007" creationId="{D157A2BC-C7FD-B2B4-1266-90E4B869329B}"/>
          </ac:spMkLst>
        </pc:spChg>
        <pc:grpChg chg="del">
          <ac:chgData name="Séverine MARTIAL" userId="S::severine.martial@talan.com::cd965009-5775-4307-a222-abb2d853a600" providerId="AD" clId="Web-{2FF94AD6-1AB7-04FE-8CA9-F0030B1D1E18}" dt="2023-03-20T11:48:48.571" v="752"/>
          <ac:grpSpMkLst>
            <pc:docMk/>
            <pc:sldMk cId="3288950320" sldId="2147470001"/>
            <ac:grpSpMk id="2" creationId="{70863959-9CF7-4816-A4AE-F52535027AC1}"/>
          </ac:grpSpMkLst>
        </pc:grpChg>
        <pc:graphicFrameChg chg="add del mod modGraphic">
          <ac:chgData name="Séverine MARTIAL" userId="S::severine.martial@talan.com::cd965009-5775-4307-a222-abb2d853a600" providerId="AD" clId="Web-{2FF94AD6-1AB7-04FE-8CA9-F0030B1D1E18}" dt="2023-03-20T12:04:52.670" v="1074"/>
          <ac:graphicFrameMkLst>
            <pc:docMk/>
            <pc:sldMk cId="3288950320" sldId="2147470001"/>
            <ac:graphicFrameMk id="29" creationId="{57F6421F-883D-08D4-7F27-012ECB24B383}"/>
          </ac:graphicFrameMkLst>
        </pc:graphicFrameChg>
        <pc:graphicFrameChg chg="add mod modGraphic">
          <ac:chgData name="Séverine MARTIAL" userId="S::severine.martial@talan.com::cd965009-5775-4307-a222-abb2d853a600" providerId="AD" clId="Web-{2FF94AD6-1AB7-04FE-8CA9-F0030B1D1E18}" dt="2023-03-20T14:25:17.329" v="1993" actId="1076"/>
          <ac:graphicFrameMkLst>
            <pc:docMk/>
            <pc:sldMk cId="3288950320" sldId="2147470001"/>
            <ac:graphicFrameMk id="3310" creationId="{09C0683D-98AC-1F47-3599-080A574C7937}"/>
          </ac:graphicFrameMkLst>
        </pc:graphicFrameChg>
        <pc:picChg chg="del">
          <ac:chgData name="Séverine MARTIAL" userId="S::severine.martial@talan.com::cd965009-5775-4307-a222-abb2d853a600" providerId="AD" clId="Web-{2FF94AD6-1AB7-04FE-8CA9-F0030B1D1E18}" dt="2023-03-20T11:48:33.634" v="747"/>
          <ac:picMkLst>
            <pc:docMk/>
            <pc:sldMk cId="3288950320" sldId="2147470001"/>
            <ac:picMk id="7" creationId="{1933BB8E-23C3-40EA-8AD8-0673F4A4F07B}"/>
          </ac:picMkLst>
        </pc:picChg>
        <pc:picChg chg="add del mod">
          <ac:chgData name="Séverine MARTIAL" userId="S::severine.martial@talan.com::cd965009-5775-4307-a222-abb2d853a600" providerId="AD" clId="Web-{2FF94AD6-1AB7-04FE-8CA9-F0030B1D1E18}" dt="2023-03-20T11:52:42.725" v="829"/>
          <ac:picMkLst>
            <pc:docMk/>
            <pc:sldMk cId="3288950320" sldId="2147470001"/>
            <ac:picMk id="26" creationId="{D17B89A7-AED9-0C29-0E82-1DCB00CC7F88}"/>
          </ac:picMkLst>
        </pc:picChg>
        <pc:picChg chg="add del mod">
          <ac:chgData name="Séverine MARTIAL" userId="S::severine.martial@talan.com::cd965009-5775-4307-a222-abb2d853a600" providerId="AD" clId="Web-{2FF94AD6-1AB7-04FE-8CA9-F0030B1D1E18}" dt="2023-03-20T12:00:19.814" v="999"/>
          <ac:picMkLst>
            <pc:docMk/>
            <pc:sldMk cId="3288950320" sldId="2147470001"/>
            <ac:picMk id="28" creationId="{57217D92-20D5-D8FC-ED29-14CAA1EDACFC}"/>
          </ac:picMkLst>
        </pc:picChg>
        <pc:picChg chg="add mod">
          <ac:chgData name="Séverine MARTIAL" userId="S::severine.martial@talan.com::cd965009-5775-4307-a222-abb2d853a600" providerId="AD" clId="Web-{2FF94AD6-1AB7-04FE-8CA9-F0030B1D1E18}" dt="2023-03-20T14:25:15.454" v="1992" actId="1076"/>
          <ac:picMkLst>
            <pc:docMk/>
            <pc:sldMk cId="3288950320" sldId="2147470001"/>
            <ac:picMk id="3995" creationId="{B02622AA-2F08-0BB9-B37A-D024577312BF}"/>
          </ac:picMkLst>
        </pc:picChg>
        <pc:cxnChg chg="add del mod">
          <ac:chgData name="Séverine MARTIAL" userId="S::severine.martial@talan.com::cd965009-5775-4307-a222-abb2d853a600" providerId="AD" clId="Web-{2FF94AD6-1AB7-04FE-8CA9-F0030B1D1E18}" dt="2023-03-20T11:52:41.272" v="828"/>
          <ac:cxnSpMkLst>
            <pc:docMk/>
            <pc:sldMk cId="3288950320" sldId="2147470001"/>
            <ac:cxnSpMk id="22" creationId="{95900D1B-B919-51B5-A67A-0808176F749E}"/>
          </ac:cxnSpMkLst>
        </pc:cxnChg>
        <pc:cxnChg chg="add mod">
          <ac:chgData name="Séverine MARTIAL" userId="S::severine.martial@talan.com::cd965009-5775-4307-a222-abb2d853a600" providerId="AD" clId="Web-{2FF94AD6-1AB7-04FE-8CA9-F0030B1D1E18}" dt="2023-03-20T14:25:15.391" v="1990" actId="1076"/>
          <ac:cxnSpMkLst>
            <pc:docMk/>
            <pc:sldMk cId="3288950320" sldId="2147470001"/>
            <ac:cxnSpMk id="3991" creationId="{23C23B9B-0ADE-B2FE-B726-BF9D809B914E}"/>
          </ac:cxnSpMkLst>
        </pc:cxnChg>
      </pc:sldChg>
      <pc:sldChg chg="delSp modSp add ord replId">
        <pc:chgData name="Séverine MARTIAL" userId="S::severine.martial@talan.com::cd965009-5775-4307-a222-abb2d853a600" providerId="AD" clId="Web-{2FF94AD6-1AB7-04FE-8CA9-F0030B1D1E18}" dt="2023-03-20T16:06:33.113" v="2314" actId="20577"/>
        <pc:sldMkLst>
          <pc:docMk/>
          <pc:sldMk cId="1073377735" sldId="2147470002"/>
        </pc:sldMkLst>
        <pc:spChg chg="mod">
          <ac:chgData name="Séverine MARTIAL" userId="S::severine.martial@talan.com::cd965009-5775-4307-a222-abb2d853a600" providerId="AD" clId="Web-{2FF94AD6-1AB7-04FE-8CA9-F0030B1D1E18}" dt="2023-03-20T16:06:33.113" v="2314" actId="20577"/>
          <ac:spMkLst>
            <pc:docMk/>
            <pc:sldMk cId="1073377735" sldId="2147470002"/>
            <ac:spMk id="2" creationId="{E11BF5BD-75C4-4E77-9598-7225EFF82CC5}"/>
          </ac:spMkLst>
        </pc:spChg>
        <pc:spChg chg="del mod">
          <ac:chgData name="Séverine MARTIAL" userId="S::severine.martial@talan.com::cd965009-5775-4307-a222-abb2d853a600" providerId="AD" clId="Web-{2FF94AD6-1AB7-04FE-8CA9-F0030B1D1E18}" dt="2023-03-20T09:18:04.741" v="300"/>
          <ac:spMkLst>
            <pc:docMk/>
            <pc:sldMk cId="1073377735" sldId="2147470002"/>
            <ac:spMk id="320" creationId="{2AC84ED5-BB4A-9B1E-207E-3EA75469F92B}"/>
          </ac:spMkLst>
        </pc:spChg>
        <pc:graphicFrameChg chg="mod modGraphic">
          <ac:chgData name="Séverine MARTIAL" userId="S::severine.martial@talan.com::cd965009-5775-4307-a222-abb2d853a600" providerId="AD" clId="Web-{2FF94AD6-1AB7-04FE-8CA9-F0030B1D1E18}" dt="2023-03-20T15:03:21.765" v="2184" actId="1076"/>
          <ac:graphicFrameMkLst>
            <pc:docMk/>
            <pc:sldMk cId="1073377735" sldId="2147470002"/>
            <ac:graphicFrameMk id="188" creationId="{50A6DC02-A635-EDE7-E005-8A5511C0D784}"/>
          </ac:graphicFrameMkLst>
        </pc:graphicFrameChg>
        <pc:graphicFrameChg chg="del">
          <ac:chgData name="Séverine MARTIAL" userId="S::severine.martial@talan.com::cd965009-5775-4307-a222-abb2d853a600" providerId="AD" clId="Web-{2FF94AD6-1AB7-04FE-8CA9-F0030B1D1E18}" dt="2023-03-20T09:08:56.622" v="111"/>
          <ac:graphicFrameMkLst>
            <pc:docMk/>
            <pc:sldMk cId="1073377735" sldId="2147470002"/>
            <ac:graphicFrameMk id="965" creationId="{CD8068DF-7A26-0794-56BD-FEA9060FF6AC}"/>
          </ac:graphicFrameMkLst>
        </pc:graphicFrameChg>
      </pc:sldChg>
      <pc:sldChg chg="add del ord replId">
        <pc:chgData name="Séverine MARTIAL" userId="S::severine.martial@talan.com::cd965009-5775-4307-a222-abb2d853a600" providerId="AD" clId="Web-{2FF94AD6-1AB7-04FE-8CA9-F0030B1D1E18}" dt="2023-03-20T15:02:13.483" v="2178"/>
        <pc:sldMkLst>
          <pc:docMk/>
          <pc:sldMk cId="1002960193" sldId="2147470003"/>
        </pc:sldMkLst>
      </pc:sldChg>
      <pc:sldChg chg="addSp delSp modSp add mod replId modShow">
        <pc:chgData name="Séverine MARTIAL" userId="S::severine.martial@talan.com::cd965009-5775-4307-a222-abb2d853a600" providerId="AD" clId="Web-{2FF94AD6-1AB7-04FE-8CA9-F0030B1D1E18}" dt="2023-03-20T16:06:45.660" v="2319" actId="20577"/>
        <pc:sldMkLst>
          <pc:docMk/>
          <pc:sldMk cId="1523717364" sldId="2147470004"/>
        </pc:sldMkLst>
        <pc:spChg chg="add mod">
          <ac:chgData name="Séverine MARTIAL" userId="S::severine.martial@talan.com::cd965009-5775-4307-a222-abb2d853a600" providerId="AD" clId="Web-{2FF94AD6-1AB7-04FE-8CA9-F0030B1D1E18}" dt="2023-03-20T12:49:35.080" v="1638" actId="14100"/>
          <ac:spMkLst>
            <pc:docMk/>
            <pc:sldMk cId="1523717364" sldId="2147470004"/>
            <ac:spMk id="5" creationId="{517399FF-6E7F-1CD0-18D7-974C9DF0A5C9}"/>
          </ac:spMkLst>
        </pc:spChg>
        <pc:spChg chg="mod">
          <ac:chgData name="Séverine MARTIAL" userId="S::severine.martial@talan.com::cd965009-5775-4307-a222-abb2d853a600" providerId="AD" clId="Web-{2FF94AD6-1AB7-04FE-8CA9-F0030B1D1E18}" dt="2023-03-20T15:17:14.416" v="2233" actId="20577"/>
          <ac:spMkLst>
            <pc:docMk/>
            <pc:sldMk cId="1523717364" sldId="2147470004"/>
            <ac:spMk id="6" creationId="{76E64D08-F5DC-40AB-AEDE-96D8C958958D}"/>
          </ac:spMkLst>
        </pc:spChg>
        <pc:spChg chg="add mod">
          <ac:chgData name="Séverine MARTIAL" userId="S::severine.martial@talan.com::cd965009-5775-4307-a222-abb2d853a600" providerId="AD" clId="Web-{2FF94AD6-1AB7-04FE-8CA9-F0030B1D1E18}" dt="2023-03-20T14:51:18.037" v="2132" actId="14100"/>
          <ac:spMkLst>
            <pc:docMk/>
            <pc:sldMk cId="1523717364" sldId="2147470004"/>
            <ac:spMk id="7" creationId="{29981B79-51F7-10E5-04B9-A8A7CA277FAF}"/>
          </ac:spMkLst>
        </pc:spChg>
        <pc:spChg chg="add mod">
          <ac:chgData name="Séverine MARTIAL" userId="S::severine.martial@talan.com::cd965009-5775-4307-a222-abb2d853a600" providerId="AD" clId="Web-{2FF94AD6-1AB7-04FE-8CA9-F0030B1D1E18}" dt="2023-03-20T13:04:16.977" v="1758" actId="14100"/>
          <ac:spMkLst>
            <pc:docMk/>
            <pc:sldMk cId="1523717364" sldId="2147470004"/>
            <ac:spMk id="8" creationId="{0E694C1C-BC37-14DD-4AB1-21D3536E85C6}"/>
          </ac:spMkLst>
        </pc:spChg>
        <pc:spChg chg="del">
          <ac:chgData name="Séverine MARTIAL" userId="S::severine.martial@talan.com::cd965009-5775-4307-a222-abb2d853a600" providerId="AD" clId="Web-{2FF94AD6-1AB7-04FE-8CA9-F0030B1D1E18}" dt="2023-03-20T12:45:12.786" v="1622"/>
          <ac:spMkLst>
            <pc:docMk/>
            <pc:sldMk cId="1523717364" sldId="2147470004"/>
            <ac:spMk id="9" creationId="{2EFF2071-A097-4BAD-AF0D-20E01FD7B7DE}"/>
          </ac:spMkLst>
        </pc:spChg>
        <pc:spChg chg="mod">
          <ac:chgData name="Séverine MARTIAL" userId="S::severine.martial@talan.com::cd965009-5775-4307-a222-abb2d853a600" providerId="AD" clId="Web-{2FF94AD6-1AB7-04FE-8CA9-F0030B1D1E18}" dt="2023-03-20T12:45:19.817" v="1623" actId="20577"/>
          <ac:spMkLst>
            <pc:docMk/>
            <pc:sldMk cId="1523717364" sldId="2147470004"/>
            <ac:spMk id="11" creationId="{2B6EE5C5-91A2-427C-A50A-5F63B00E0731}"/>
          </ac:spMkLst>
        </pc:spChg>
        <pc:spChg chg="add del mod">
          <ac:chgData name="Séverine MARTIAL" userId="S::severine.martial@talan.com::cd965009-5775-4307-a222-abb2d853a600" providerId="AD" clId="Web-{2FF94AD6-1AB7-04FE-8CA9-F0030B1D1E18}" dt="2023-03-20T14:08:07.878" v="1865"/>
          <ac:spMkLst>
            <pc:docMk/>
            <pc:sldMk cId="1523717364" sldId="2147470004"/>
            <ac:spMk id="11" creationId="{DACC4CCD-EE13-220B-024F-2B171E591B1E}"/>
          </ac:spMkLst>
        </pc:spChg>
        <pc:spChg chg="add del mod">
          <ac:chgData name="Séverine MARTIAL" userId="S::severine.martial@talan.com::cd965009-5775-4307-a222-abb2d853a600" providerId="AD" clId="Web-{2FF94AD6-1AB7-04FE-8CA9-F0030B1D1E18}" dt="2023-03-20T14:08:46.816" v="1872"/>
          <ac:spMkLst>
            <pc:docMk/>
            <pc:sldMk cId="1523717364" sldId="2147470004"/>
            <ac:spMk id="13" creationId="{9C62B05E-DE86-8468-125E-E7AC9C717A23}"/>
          </ac:spMkLst>
        </pc:spChg>
        <pc:spChg chg="add del mod">
          <ac:chgData name="Séverine MARTIAL" userId="S::severine.martial@talan.com::cd965009-5775-4307-a222-abb2d853a600" providerId="AD" clId="Web-{2FF94AD6-1AB7-04FE-8CA9-F0030B1D1E18}" dt="2023-03-20T14:32:56.663" v="2000"/>
          <ac:spMkLst>
            <pc:docMk/>
            <pc:sldMk cId="1523717364" sldId="2147470004"/>
            <ac:spMk id="14" creationId="{89AA2D2B-8F17-2456-D421-FB68C8FA8B68}"/>
          </ac:spMkLst>
        </pc:spChg>
        <pc:spChg chg="add del mod">
          <ac:chgData name="Séverine MARTIAL" userId="S::severine.martial@talan.com::cd965009-5775-4307-a222-abb2d853a600" providerId="AD" clId="Web-{2FF94AD6-1AB7-04FE-8CA9-F0030B1D1E18}" dt="2023-03-20T14:33:00.804" v="2001"/>
          <ac:spMkLst>
            <pc:docMk/>
            <pc:sldMk cId="1523717364" sldId="2147470004"/>
            <ac:spMk id="15" creationId="{393820F7-DF83-6978-507B-F7D7B5F883D6}"/>
          </ac:spMkLst>
        </pc:spChg>
        <pc:spChg chg="add del mod">
          <ac:chgData name="Séverine MARTIAL" userId="S::severine.martial@talan.com::cd965009-5775-4307-a222-abb2d853a600" providerId="AD" clId="Web-{2FF94AD6-1AB7-04FE-8CA9-F0030B1D1E18}" dt="2023-03-20T14:13:09.257" v="1946"/>
          <ac:spMkLst>
            <pc:docMk/>
            <pc:sldMk cId="1523717364" sldId="2147470004"/>
            <ac:spMk id="16" creationId="{506B6AA1-592F-9121-5D55-F89980B87534}"/>
          </ac:spMkLst>
        </pc:spChg>
        <pc:spChg chg="add mod">
          <ac:chgData name="Séverine MARTIAL" userId="S::severine.martial@talan.com::cd965009-5775-4307-a222-abb2d853a600" providerId="AD" clId="Web-{2FF94AD6-1AB7-04FE-8CA9-F0030B1D1E18}" dt="2023-03-20T13:08:42.865" v="1780" actId="14100"/>
          <ac:spMkLst>
            <pc:docMk/>
            <pc:sldMk cId="1523717364" sldId="2147470004"/>
            <ac:spMk id="19" creationId="{DCEB84F6-652B-B32D-27BD-D7A8517FA15F}"/>
          </ac:spMkLst>
        </pc:spChg>
        <pc:spChg chg="add del mod">
          <ac:chgData name="Séverine MARTIAL" userId="S::severine.martial@talan.com::cd965009-5775-4307-a222-abb2d853a600" providerId="AD" clId="Web-{2FF94AD6-1AB7-04FE-8CA9-F0030B1D1E18}" dt="2023-03-20T14:39:01.980" v="2043"/>
          <ac:spMkLst>
            <pc:docMk/>
            <pc:sldMk cId="1523717364" sldId="2147470004"/>
            <ac:spMk id="20" creationId="{D7B23D9D-DF67-532E-DE37-B4C08618172F}"/>
          </ac:spMkLst>
        </pc:spChg>
        <pc:spChg chg="add mod">
          <ac:chgData name="Séverine MARTIAL" userId="S::severine.martial@talan.com::cd965009-5775-4307-a222-abb2d853a600" providerId="AD" clId="Web-{2FF94AD6-1AB7-04FE-8CA9-F0030B1D1E18}" dt="2023-03-20T14:45:13.485" v="2091" actId="1076"/>
          <ac:spMkLst>
            <pc:docMk/>
            <pc:sldMk cId="1523717364" sldId="2147470004"/>
            <ac:spMk id="23" creationId="{8155D24B-0752-38BB-F596-1A66D3239C75}"/>
          </ac:spMkLst>
        </pc:spChg>
        <pc:spChg chg="add mod">
          <ac:chgData name="Séverine MARTIAL" userId="S::severine.martial@talan.com::cd965009-5775-4307-a222-abb2d853a600" providerId="AD" clId="Web-{2FF94AD6-1AB7-04FE-8CA9-F0030B1D1E18}" dt="2023-03-20T14:41:25.482" v="2047" actId="1076"/>
          <ac:spMkLst>
            <pc:docMk/>
            <pc:sldMk cId="1523717364" sldId="2147470004"/>
            <ac:spMk id="27" creationId="{085A9504-1FD4-8C63-415D-1736F845476B}"/>
          </ac:spMkLst>
        </pc:spChg>
        <pc:spChg chg="mod">
          <ac:chgData name="Séverine MARTIAL" userId="S::severine.martial@talan.com::cd965009-5775-4307-a222-abb2d853a600" providerId="AD" clId="Web-{2FF94AD6-1AB7-04FE-8CA9-F0030B1D1E18}" dt="2023-03-20T16:06:45.660" v="2319" actId="20577"/>
          <ac:spMkLst>
            <pc:docMk/>
            <pc:sldMk cId="1523717364" sldId="2147470004"/>
            <ac:spMk id="2496" creationId="{00000000-0000-0000-0000-000000000000}"/>
          </ac:spMkLst>
        </pc:spChg>
        <pc:grpChg chg="del">
          <ac:chgData name="Séverine MARTIAL" userId="S::severine.martial@talan.com::cd965009-5775-4307-a222-abb2d853a600" providerId="AD" clId="Web-{2FF94AD6-1AB7-04FE-8CA9-F0030B1D1E18}" dt="2023-03-20T12:45:23.504" v="1624"/>
          <ac:grpSpMkLst>
            <pc:docMk/>
            <pc:sldMk cId="1523717364" sldId="2147470004"/>
            <ac:grpSpMk id="2" creationId="{70863959-9CF7-4816-A4AE-F52535027AC1}"/>
          </ac:grpSpMkLst>
        </pc:grpChg>
        <pc:grpChg chg="add mod">
          <ac:chgData name="Séverine MARTIAL" userId="S::severine.martial@talan.com::cd965009-5775-4307-a222-abb2d853a600" providerId="AD" clId="Web-{2FF94AD6-1AB7-04FE-8CA9-F0030B1D1E18}" dt="2023-03-20T12:56:14.357" v="1678" actId="1076"/>
          <ac:grpSpMkLst>
            <pc:docMk/>
            <pc:sldMk cId="1523717364" sldId="2147470004"/>
            <ac:grpSpMk id="12" creationId="{C3B0014E-97D4-5BB6-4FAA-1B0C5220495C}"/>
          </ac:grpSpMkLst>
        </pc:grpChg>
        <pc:grpChg chg="add mod ord">
          <ac:chgData name="Séverine MARTIAL" userId="S::severine.martial@talan.com::cd965009-5775-4307-a222-abb2d853a600" providerId="AD" clId="Web-{2FF94AD6-1AB7-04FE-8CA9-F0030B1D1E18}" dt="2023-03-20T13:04:02.024" v="1755" actId="14100"/>
          <ac:grpSpMkLst>
            <pc:docMk/>
            <pc:sldMk cId="1523717364" sldId="2147470004"/>
            <ac:grpSpMk id="17" creationId="{687D5A33-5E6F-3EBF-2C4F-080CE21507BB}"/>
          </ac:grpSpMkLst>
        </pc:grpChg>
        <pc:grpChg chg="add del mod">
          <ac:chgData name="Séverine MARTIAL" userId="S::severine.martial@talan.com::cd965009-5775-4307-a222-abb2d853a600" providerId="AD" clId="Web-{2FF94AD6-1AB7-04FE-8CA9-F0030B1D1E18}" dt="2023-03-20T13:06:39.054" v="1769"/>
          <ac:grpSpMkLst>
            <pc:docMk/>
            <pc:sldMk cId="1523717364" sldId="2147470004"/>
            <ac:grpSpMk id="20" creationId="{9C2610EA-9FB2-775B-B875-D9F5770375D5}"/>
          </ac:grpSpMkLst>
        </pc:grpChg>
        <pc:grpChg chg="del">
          <ac:chgData name="Séverine MARTIAL" userId="S::severine.martial@talan.com::cd965009-5775-4307-a222-abb2d853a600" providerId="AD" clId="Web-{2FF94AD6-1AB7-04FE-8CA9-F0030B1D1E18}" dt="2023-03-20T13:06:35.601" v="1768"/>
          <ac:grpSpMkLst>
            <pc:docMk/>
            <pc:sldMk cId="1523717364" sldId="2147470004"/>
            <ac:grpSpMk id="22" creationId="{F6D2E8A9-BDC3-3511-8CBB-748F9FF93CC7}"/>
          </ac:grpSpMkLst>
        </pc:grpChg>
        <pc:grpChg chg="add">
          <ac:chgData name="Séverine MARTIAL" userId="S::severine.martial@talan.com::cd965009-5775-4307-a222-abb2d853a600" providerId="AD" clId="Web-{2FF94AD6-1AB7-04FE-8CA9-F0030B1D1E18}" dt="2023-03-20T14:51:23.553" v="2133"/>
          <ac:grpSpMkLst>
            <pc:docMk/>
            <pc:sldMk cId="1523717364" sldId="2147470004"/>
            <ac:grpSpMk id="24" creationId="{C70B4111-D0D4-8DA6-A619-C1978B286C53}"/>
          </ac:grpSpMkLst>
        </pc:grpChg>
        <pc:grpChg chg="add mod">
          <ac:chgData name="Séverine MARTIAL" userId="S::severine.martial@talan.com::cd965009-5775-4307-a222-abb2d853a600" providerId="AD" clId="Web-{2FF94AD6-1AB7-04FE-8CA9-F0030B1D1E18}" dt="2023-03-20T14:41:55.951" v="2054" actId="1076"/>
          <ac:grpSpMkLst>
            <pc:docMk/>
            <pc:sldMk cId="1523717364" sldId="2147470004"/>
            <ac:grpSpMk id="25" creationId="{83C268B3-EB76-4BC1-5A57-53F294A0252A}"/>
          </ac:grpSpMkLst>
        </pc:grpChg>
        <pc:picChg chg="add mod ord">
          <ac:chgData name="Séverine MARTIAL" userId="S::severine.martial@talan.com::cd965009-5775-4307-a222-abb2d853a600" providerId="AD" clId="Web-{2FF94AD6-1AB7-04FE-8CA9-F0030B1D1E18}" dt="2023-03-20T13:03:51.243" v="1751" actId="14100"/>
          <ac:picMkLst>
            <pc:docMk/>
            <pc:sldMk cId="1523717364" sldId="2147470004"/>
            <ac:picMk id="3" creationId="{208E7961-68BE-758B-D296-0454CC2434A1}"/>
          </ac:picMkLst>
        </pc:picChg>
        <pc:picChg chg="add mod modCrop">
          <ac:chgData name="Séverine MARTIAL" userId="S::severine.martial@talan.com::cd965009-5775-4307-a222-abb2d853a600" providerId="AD" clId="Web-{2FF94AD6-1AB7-04FE-8CA9-F0030B1D1E18}" dt="2023-03-20T14:41:51.576" v="2052" actId="1076"/>
          <ac:picMkLst>
            <pc:docMk/>
            <pc:sldMk cId="1523717364" sldId="2147470004"/>
            <ac:picMk id="4" creationId="{35C2B3FE-FD3A-9F1A-7E2A-3B778D9C718B}"/>
          </ac:picMkLst>
        </pc:picChg>
        <pc:picChg chg="del">
          <ac:chgData name="Séverine MARTIAL" userId="S::severine.martial@talan.com::cd965009-5775-4307-a222-abb2d853a600" providerId="AD" clId="Web-{2FF94AD6-1AB7-04FE-8CA9-F0030B1D1E18}" dt="2023-03-20T12:45:08.583" v="1621"/>
          <ac:picMkLst>
            <pc:docMk/>
            <pc:sldMk cId="1523717364" sldId="2147470004"/>
            <ac:picMk id="7" creationId="{1933BB8E-23C3-40EA-8AD8-0673F4A4F07B}"/>
          </ac:picMkLst>
        </pc:picChg>
        <pc:picChg chg="add del mod">
          <ac:chgData name="Séverine MARTIAL" userId="S::severine.martial@talan.com::cd965009-5775-4307-a222-abb2d853a600" providerId="AD" clId="Web-{2FF94AD6-1AB7-04FE-8CA9-F0030B1D1E18}" dt="2023-03-20T14:42:20.170" v="2060"/>
          <ac:picMkLst>
            <pc:docMk/>
            <pc:sldMk cId="1523717364" sldId="2147470004"/>
            <ac:picMk id="21" creationId="{86EB8410-BBF2-D23B-820B-23BDD1D1BFD5}"/>
          </ac:picMkLst>
        </pc:picChg>
        <pc:picChg chg="add mod">
          <ac:chgData name="Séverine MARTIAL" userId="S::severine.martial@talan.com::cd965009-5775-4307-a222-abb2d853a600" providerId="AD" clId="Web-{2FF94AD6-1AB7-04FE-8CA9-F0030B1D1E18}" dt="2023-03-20T14:44:54.313" v="2087"/>
          <ac:picMkLst>
            <pc:docMk/>
            <pc:sldMk cId="1523717364" sldId="2147470004"/>
            <ac:picMk id="22" creationId="{518104B2-39E9-F061-9C8C-8CFE4D3E7367}"/>
          </ac:picMkLst>
        </pc:picChg>
        <pc:picChg chg="del mod">
          <ac:chgData name="Séverine MARTIAL" userId="S::severine.martial@talan.com::cd965009-5775-4307-a222-abb2d853a600" providerId="AD" clId="Web-{2FF94AD6-1AB7-04FE-8CA9-F0030B1D1E18}" dt="2023-03-20T13:06:35.601" v="1768"/>
          <ac:picMkLst>
            <pc:docMk/>
            <pc:sldMk cId="1523717364" sldId="2147470004"/>
            <ac:picMk id="23" creationId="{1826C1C2-F0B6-2C11-D332-C18B7F9E9B70}"/>
          </ac:picMkLst>
        </pc:picChg>
        <pc:picChg chg="add mod">
          <ac:chgData name="Séverine MARTIAL" userId="S::severine.martial@talan.com::cd965009-5775-4307-a222-abb2d853a600" providerId="AD" clId="Web-{2FF94AD6-1AB7-04FE-8CA9-F0030B1D1E18}" dt="2023-03-20T14:51:09.568" v="2130" actId="1076"/>
          <ac:picMkLst>
            <pc:docMk/>
            <pc:sldMk cId="1523717364" sldId="2147470004"/>
            <ac:picMk id="26" creationId="{7C3A84FE-FFAF-EFAF-18C7-0B67E47F67A1}"/>
          </ac:picMkLst>
        </pc:picChg>
        <pc:cxnChg chg="add del mod">
          <ac:chgData name="Séverine MARTIAL" userId="S::severine.martial@talan.com::cd965009-5775-4307-a222-abb2d853a600" providerId="AD" clId="Web-{2FF94AD6-1AB7-04FE-8CA9-F0030B1D1E18}" dt="2023-03-20T14:07:49.956" v="1860"/>
          <ac:cxnSpMkLst>
            <pc:docMk/>
            <pc:sldMk cId="1523717364" sldId="2147470004"/>
            <ac:cxnSpMk id="10" creationId="{D551EE1C-AA83-0CCD-FB91-C453B0A4A901}"/>
          </ac:cxnSpMkLst>
        </pc:cxnChg>
        <pc:cxnChg chg="add mod">
          <ac:chgData name="Séverine MARTIAL" userId="S::severine.martial@talan.com::cd965009-5775-4307-a222-abb2d853a600" providerId="AD" clId="Web-{2FF94AD6-1AB7-04FE-8CA9-F0030B1D1E18}" dt="2023-03-20T14:42:04.014" v="2056" actId="1076"/>
          <ac:cxnSpMkLst>
            <pc:docMk/>
            <pc:sldMk cId="1523717364" sldId="2147470004"/>
            <ac:cxnSpMk id="18" creationId="{9DE0E29D-BD8C-1762-AB8E-1B7D1BE1537E}"/>
          </ac:cxnSpMkLst>
        </pc:cxnChg>
      </pc:sldChg>
      <pc:sldChg chg="addSp delSp modSp add replId">
        <pc:chgData name="Séverine MARTIAL" userId="S::severine.martial@talan.com::cd965009-5775-4307-a222-abb2d853a600" providerId="AD" clId="Web-{2FF94AD6-1AB7-04FE-8CA9-F0030B1D1E18}" dt="2023-03-20T16:06:53.457" v="2321" actId="20577"/>
        <pc:sldMkLst>
          <pc:docMk/>
          <pc:sldMk cId="2874102614" sldId="2147470007"/>
        </pc:sldMkLst>
        <pc:spChg chg="mod">
          <ac:chgData name="Séverine MARTIAL" userId="S::severine.martial@talan.com::cd965009-5775-4307-a222-abb2d853a600" providerId="AD" clId="Web-{2FF94AD6-1AB7-04FE-8CA9-F0030B1D1E18}" dt="2023-03-20T15:17:46.058" v="2238" actId="20577"/>
          <ac:spMkLst>
            <pc:docMk/>
            <pc:sldMk cId="2874102614" sldId="2147470007"/>
            <ac:spMk id="6" creationId="{76E64D08-F5DC-40AB-AEDE-96D8C958958D}"/>
          </ac:spMkLst>
        </pc:spChg>
        <pc:spChg chg="del">
          <ac:chgData name="Séverine MARTIAL" userId="S::severine.martial@talan.com::cd965009-5775-4307-a222-abb2d853a600" providerId="AD" clId="Web-{2FF94AD6-1AB7-04FE-8CA9-F0030B1D1E18}" dt="2023-03-20T14:46:56.362" v="2095"/>
          <ac:spMkLst>
            <pc:docMk/>
            <pc:sldMk cId="2874102614" sldId="2147470007"/>
            <ac:spMk id="7" creationId="{29981B79-51F7-10E5-04B9-A8A7CA277FAF}"/>
          </ac:spMkLst>
        </pc:spChg>
        <pc:spChg chg="add mod">
          <ac:chgData name="Séverine MARTIAL" userId="S::severine.martial@talan.com::cd965009-5775-4307-a222-abb2d853a600" providerId="AD" clId="Web-{2FF94AD6-1AB7-04FE-8CA9-F0030B1D1E18}" dt="2023-03-20T15:01:36.732" v="2173" actId="14100"/>
          <ac:spMkLst>
            <pc:docMk/>
            <pc:sldMk cId="2874102614" sldId="2147470007"/>
            <ac:spMk id="10" creationId="{47E2D1B7-42D0-196D-4AF3-6446DAE876B3}"/>
          </ac:spMkLst>
        </pc:spChg>
        <pc:spChg chg="add mod">
          <ac:chgData name="Séverine MARTIAL" userId="S::severine.martial@talan.com::cd965009-5775-4307-a222-abb2d853a600" providerId="AD" clId="Web-{2FF94AD6-1AB7-04FE-8CA9-F0030B1D1E18}" dt="2023-03-20T15:01:31.967" v="2172" actId="1076"/>
          <ac:spMkLst>
            <pc:docMk/>
            <pc:sldMk cId="2874102614" sldId="2147470007"/>
            <ac:spMk id="11" creationId="{E0DF48C1-6BD1-5AF7-116A-E67952682A4B}"/>
          </ac:spMkLst>
        </pc:spChg>
        <pc:spChg chg="add mod">
          <ac:chgData name="Séverine MARTIAL" userId="S::severine.martial@talan.com::cd965009-5775-4307-a222-abb2d853a600" providerId="AD" clId="Web-{2FF94AD6-1AB7-04FE-8CA9-F0030B1D1E18}" dt="2023-03-20T14:59:01.090" v="2153" actId="14100"/>
          <ac:spMkLst>
            <pc:docMk/>
            <pc:sldMk cId="2874102614" sldId="2147470007"/>
            <ac:spMk id="13" creationId="{F3E92EA0-93DF-10A3-3E27-01C25F86AEDF}"/>
          </ac:spMkLst>
        </pc:spChg>
        <pc:spChg chg="add mod">
          <ac:chgData name="Séverine MARTIAL" userId="S::severine.martial@talan.com::cd965009-5775-4307-a222-abb2d853a600" providerId="AD" clId="Web-{2FF94AD6-1AB7-04FE-8CA9-F0030B1D1E18}" dt="2023-03-20T15:01:50.826" v="2176"/>
          <ac:spMkLst>
            <pc:docMk/>
            <pc:sldMk cId="2874102614" sldId="2147470007"/>
            <ac:spMk id="15" creationId="{10632FD4-2C88-1492-EA53-010D65760FB7}"/>
          </ac:spMkLst>
        </pc:spChg>
        <pc:spChg chg="mod">
          <ac:chgData name="Séverine MARTIAL" userId="S::severine.martial@talan.com::cd965009-5775-4307-a222-abb2d853a600" providerId="AD" clId="Web-{2FF94AD6-1AB7-04FE-8CA9-F0030B1D1E18}" dt="2023-03-20T14:57:20.776" v="2141" actId="1076"/>
          <ac:spMkLst>
            <pc:docMk/>
            <pc:sldMk cId="2874102614" sldId="2147470007"/>
            <ac:spMk id="19" creationId="{DCEB84F6-652B-B32D-27BD-D7A8517FA15F}"/>
          </ac:spMkLst>
        </pc:spChg>
        <pc:spChg chg="del mod">
          <ac:chgData name="Séverine MARTIAL" userId="S::severine.martial@talan.com::cd965009-5775-4307-a222-abb2d853a600" providerId="AD" clId="Web-{2FF94AD6-1AB7-04FE-8CA9-F0030B1D1E18}" dt="2023-03-20T15:00:28.903" v="2158"/>
          <ac:spMkLst>
            <pc:docMk/>
            <pc:sldMk cId="2874102614" sldId="2147470007"/>
            <ac:spMk id="23" creationId="{8155D24B-0752-38BB-F596-1A66D3239C75}"/>
          </ac:spMkLst>
        </pc:spChg>
        <pc:spChg chg="del mod">
          <ac:chgData name="Séverine MARTIAL" userId="S::severine.martial@talan.com::cd965009-5775-4307-a222-abb2d853a600" providerId="AD" clId="Web-{2FF94AD6-1AB7-04FE-8CA9-F0030B1D1E18}" dt="2023-03-20T14:50:07.348" v="2121"/>
          <ac:spMkLst>
            <pc:docMk/>
            <pc:sldMk cId="2874102614" sldId="2147470007"/>
            <ac:spMk id="27" creationId="{085A9504-1FD4-8C63-415D-1736F845476B}"/>
          </ac:spMkLst>
        </pc:spChg>
        <pc:spChg chg="mod">
          <ac:chgData name="Séverine MARTIAL" userId="S::severine.martial@talan.com::cd965009-5775-4307-a222-abb2d853a600" providerId="AD" clId="Web-{2FF94AD6-1AB7-04FE-8CA9-F0030B1D1E18}" dt="2023-03-20T16:06:53.457" v="2321" actId="20577"/>
          <ac:spMkLst>
            <pc:docMk/>
            <pc:sldMk cId="2874102614" sldId="2147470007"/>
            <ac:spMk id="2496" creationId="{00000000-0000-0000-0000-000000000000}"/>
          </ac:spMkLst>
        </pc:spChg>
        <pc:grpChg chg="add mod">
          <ac:chgData name="Séverine MARTIAL" userId="S::severine.martial@talan.com::cd965009-5775-4307-a222-abb2d853a600" providerId="AD" clId="Web-{2FF94AD6-1AB7-04FE-8CA9-F0030B1D1E18}" dt="2023-03-20T15:01:26.857" v="2171" actId="1076"/>
          <ac:grpSpMkLst>
            <pc:docMk/>
            <pc:sldMk cId="2874102614" sldId="2147470007"/>
            <ac:grpSpMk id="14" creationId="{ED33133C-06C4-609D-80B2-A05BECA679B6}"/>
          </ac:grpSpMkLst>
        </pc:grpChg>
        <pc:grpChg chg="add">
          <ac:chgData name="Séverine MARTIAL" userId="S::severine.martial@talan.com::cd965009-5775-4307-a222-abb2d853a600" providerId="AD" clId="Web-{2FF94AD6-1AB7-04FE-8CA9-F0030B1D1E18}" dt="2023-03-20T15:01:58.123" v="2177"/>
          <ac:grpSpMkLst>
            <pc:docMk/>
            <pc:sldMk cId="2874102614" sldId="2147470007"/>
            <ac:grpSpMk id="16" creationId="{8B95ACE3-C7BE-782B-8392-62D9161ED449}"/>
          </ac:grpSpMkLst>
        </pc:grpChg>
        <pc:grpChg chg="del">
          <ac:chgData name="Séverine MARTIAL" userId="S::severine.martial@talan.com::cd965009-5775-4307-a222-abb2d853a600" providerId="AD" clId="Web-{2FF94AD6-1AB7-04FE-8CA9-F0030B1D1E18}" dt="2023-03-20T14:46:49.127" v="2093"/>
          <ac:grpSpMkLst>
            <pc:docMk/>
            <pc:sldMk cId="2874102614" sldId="2147470007"/>
            <ac:grpSpMk id="25" creationId="{83C268B3-EB76-4BC1-5A57-53F294A0252A}"/>
          </ac:grpSpMkLst>
        </pc:grpChg>
        <pc:picChg chg="add mod">
          <ac:chgData name="Séverine MARTIAL" userId="S::severine.martial@talan.com::cd965009-5775-4307-a222-abb2d853a600" providerId="AD" clId="Web-{2FF94AD6-1AB7-04FE-8CA9-F0030B1D1E18}" dt="2023-03-20T15:00:43.591" v="2161" actId="1076"/>
          <ac:picMkLst>
            <pc:docMk/>
            <pc:sldMk cId="2874102614" sldId="2147470007"/>
            <ac:picMk id="2" creationId="{24664264-99D5-CD3B-2FAA-916E6A13CA65}"/>
          </ac:picMkLst>
        </pc:picChg>
        <pc:picChg chg="add mod">
          <ac:chgData name="Séverine MARTIAL" userId="S::severine.martial@talan.com::cd965009-5775-4307-a222-abb2d853a600" providerId="AD" clId="Web-{2FF94AD6-1AB7-04FE-8CA9-F0030B1D1E18}" dt="2023-03-20T15:00:48.061" v="2162" actId="14100"/>
          <ac:picMkLst>
            <pc:docMk/>
            <pc:sldMk cId="2874102614" sldId="2147470007"/>
            <ac:picMk id="9" creationId="{D57ECD7F-4F2C-E12C-C6E1-E8EE03E4477B}"/>
          </ac:picMkLst>
        </pc:picChg>
        <pc:picChg chg="del">
          <ac:chgData name="Séverine MARTIAL" userId="S::severine.martial@talan.com::cd965009-5775-4307-a222-abb2d853a600" providerId="AD" clId="Web-{2FF94AD6-1AB7-04FE-8CA9-F0030B1D1E18}" dt="2023-03-20T14:47:00.049" v="2096"/>
          <ac:picMkLst>
            <pc:docMk/>
            <pc:sldMk cId="2874102614" sldId="2147470007"/>
            <ac:picMk id="22" creationId="{518104B2-39E9-F061-9C8C-8CFE4D3E7367}"/>
          </ac:picMkLst>
        </pc:picChg>
        <pc:picChg chg="del">
          <ac:chgData name="Séverine MARTIAL" userId="S::severine.martial@talan.com::cd965009-5775-4307-a222-abb2d853a600" providerId="AD" clId="Web-{2FF94AD6-1AB7-04FE-8CA9-F0030B1D1E18}" dt="2023-03-20T14:46:53.002" v="2094"/>
          <ac:picMkLst>
            <pc:docMk/>
            <pc:sldMk cId="2874102614" sldId="2147470007"/>
            <ac:picMk id="26" creationId="{7C3A84FE-FFAF-EFAF-18C7-0B67E47F67A1}"/>
          </ac:picMkLst>
        </pc:picChg>
      </pc:sldChg>
    </pc:docChg>
  </pc:docChgLst>
  <pc:docChgLst>
    <pc:chgData name="Kawtar SADIQ" userId="S::kawtar.sadiq@talan.com::65df04e4-2d23-4bab-afb0-40df8a2c1b9f" providerId="AD" clId="Web-{63004E83-7198-6C40-E4EA-B33B4638B809}"/>
    <pc:docChg chg="modSld">
      <pc:chgData name="Kawtar SADIQ" userId="S::kawtar.sadiq@talan.com::65df04e4-2d23-4bab-afb0-40df8a2c1b9f" providerId="AD" clId="Web-{63004E83-7198-6C40-E4EA-B33B4638B809}" dt="2022-11-23T09:23:35.278" v="8"/>
      <pc:docMkLst>
        <pc:docMk/>
      </pc:docMkLst>
      <pc:sldChg chg="addSp">
        <pc:chgData name="Kawtar SADIQ" userId="S::kawtar.sadiq@talan.com::65df04e4-2d23-4bab-afb0-40df8a2c1b9f" providerId="AD" clId="Web-{63004E83-7198-6C40-E4EA-B33B4638B809}" dt="2022-11-23T09:23:35.278" v="8"/>
        <pc:sldMkLst>
          <pc:docMk/>
          <pc:sldMk cId="3928011031" sldId="2076138189"/>
        </pc:sldMkLst>
        <pc:spChg chg="add">
          <ac:chgData name="Kawtar SADIQ" userId="S::kawtar.sadiq@talan.com::65df04e4-2d23-4bab-afb0-40df8a2c1b9f" providerId="AD" clId="Web-{63004E83-7198-6C40-E4EA-B33B4638B809}" dt="2022-11-23T09:23:35.278" v="8"/>
          <ac:spMkLst>
            <pc:docMk/>
            <pc:sldMk cId="3928011031" sldId="2076138189"/>
            <ac:spMk id="3" creationId="{83773864-D1D2-8480-2478-D6767FCD4FB7}"/>
          </ac:spMkLst>
        </pc:spChg>
      </pc:sldChg>
      <pc:sldChg chg="addSp modSp">
        <pc:chgData name="Kawtar SADIQ" userId="S::kawtar.sadiq@talan.com::65df04e4-2d23-4bab-afb0-40df8a2c1b9f" providerId="AD" clId="Web-{63004E83-7198-6C40-E4EA-B33B4638B809}" dt="2022-11-23T09:23:30.387" v="7"/>
        <pc:sldMkLst>
          <pc:docMk/>
          <pc:sldMk cId="3018744438" sldId="2076138191"/>
        </pc:sldMkLst>
        <pc:spChg chg="add mod">
          <ac:chgData name="Kawtar SADIQ" userId="S::kawtar.sadiq@talan.com::65df04e4-2d23-4bab-afb0-40df8a2c1b9f" providerId="AD" clId="Web-{63004E83-7198-6C40-E4EA-B33B4638B809}" dt="2022-11-23T09:23:30.387" v="7"/>
          <ac:spMkLst>
            <pc:docMk/>
            <pc:sldMk cId="3018744438" sldId="2076138191"/>
            <ac:spMk id="26" creationId="{8644856D-689A-C1B3-7F85-829B912F7C7A}"/>
          </ac:spMkLst>
        </pc:spChg>
      </pc:sldChg>
    </pc:docChg>
  </pc:docChgLst>
  <pc:docChgLst>
    <pc:chgData name="Sylvie ROCHE" userId="S::sylvie.roche@talan.com::60404d4e-bbf6-4ef1-963c-527a8dada0a5" providerId="AD" clId="Web-{84AC64D7-6C1A-BEDC-4D77-139A8172DC7D}"/>
    <pc:docChg chg="modSld">
      <pc:chgData name="Sylvie ROCHE" userId="S::sylvie.roche@talan.com::60404d4e-bbf6-4ef1-963c-527a8dada0a5" providerId="AD" clId="Web-{84AC64D7-6C1A-BEDC-4D77-139A8172DC7D}" dt="2023-03-06T21:25:14.243" v="0" actId="1076"/>
      <pc:docMkLst>
        <pc:docMk/>
      </pc:docMkLst>
      <pc:sldChg chg="modSp">
        <pc:chgData name="Sylvie ROCHE" userId="S::sylvie.roche@talan.com::60404d4e-bbf6-4ef1-963c-527a8dada0a5" providerId="AD" clId="Web-{84AC64D7-6C1A-BEDC-4D77-139A8172DC7D}" dt="2023-03-06T21:25:14.243" v="0" actId="1076"/>
        <pc:sldMkLst>
          <pc:docMk/>
          <pc:sldMk cId="4185517883" sldId="2147469859"/>
        </pc:sldMkLst>
        <pc:picChg chg="mod">
          <ac:chgData name="Sylvie ROCHE" userId="S::sylvie.roche@talan.com::60404d4e-bbf6-4ef1-963c-527a8dada0a5" providerId="AD" clId="Web-{84AC64D7-6C1A-BEDC-4D77-139A8172DC7D}" dt="2023-03-06T21:25:14.243" v="0" actId="1076"/>
          <ac:picMkLst>
            <pc:docMk/>
            <pc:sldMk cId="4185517883" sldId="2147469859"/>
            <ac:picMk id="15" creationId="{749091E9-4563-2C61-3D4D-A728AEB1C79F}"/>
          </ac:picMkLst>
        </pc:picChg>
      </pc:sldChg>
    </pc:docChg>
  </pc:docChgLst>
  <pc:docChgLst>
    <pc:chgData name="Kawtar SADIQ" userId="65df04e4-2d23-4bab-afb0-40df8a2c1b9f" providerId="ADAL" clId="{1FE88A54-802F-4EFE-88F9-E6E876ADF5B1}"/>
    <pc:docChg chg="undo redo custSel addSld delSld modSld sldOrd modMainMaster addSection delSection modSection">
      <pc:chgData name="Kawtar SADIQ" userId="65df04e4-2d23-4bab-afb0-40df8a2c1b9f" providerId="ADAL" clId="{1FE88A54-802F-4EFE-88F9-E6E876ADF5B1}" dt="2022-11-18T14:46:43.938" v="11281" actId="20577"/>
      <pc:docMkLst>
        <pc:docMk/>
      </pc:docMkLst>
      <pc:sldChg chg="del">
        <pc:chgData name="Kawtar SADIQ" userId="65df04e4-2d23-4bab-afb0-40df8a2c1b9f" providerId="ADAL" clId="{1FE88A54-802F-4EFE-88F9-E6E876ADF5B1}" dt="2022-11-14T12:26:28.536" v="2372" actId="47"/>
        <pc:sldMkLst>
          <pc:docMk/>
          <pc:sldMk cId="0" sldId="262"/>
        </pc:sldMkLst>
      </pc:sldChg>
      <pc:sldChg chg="del">
        <pc:chgData name="Kawtar SADIQ" userId="65df04e4-2d23-4bab-afb0-40df8a2c1b9f" providerId="ADAL" clId="{1FE88A54-802F-4EFE-88F9-E6E876ADF5B1}" dt="2022-11-14T15:45:26.235" v="3264" actId="47"/>
        <pc:sldMkLst>
          <pc:docMk/>
          <pc:sldMk cId="4107027684" sldId="2014"/>
        </pc:sldMkLst>
      </pc:sldChg>
      <pc:sldChg chg="modSp mod">
        <pc:chgData name="Kawtar SADIQ" userId="65df04e4-2d23-4bab-afb0-40df8a2c1b9f" providerId="ADAL" clId="{1FE88A54-802F-4EFE-88F9-E6E876ADF5B1}" dt="2022-11-14T15:38:09.836" v="3163" actId="20577"/>
        <pc:sldMkLst>
          <pc:docMk/>
          <pc:sldMk cId="714708708" sldId="2017"/>
        </pc:sldMkLst>
        <pc:spChg chg="mod">
          <ac:chgData name="Kawtar SADIQ" userId="65df04e4-2d23-4bab-afb0-40df8a2c1b9f" providerId="ADAL" clId="{1FE88A54-802F-4EFE-88F9-E6E876ADF5B1}" dt="2022-11-14T15:38:09.836" v="3163" actId="20577"/>
          <ac:spMkLst>
            <pc:docMk/>
            <pc:sldMk cId="714708708" sldId="2017"/>
            <ac:spMk id="2" creationId="{FA2C5545-8338-4291-A762-97439743DD8A}"/>
          </ac:spMkLst>
        </pc:spChg>
      </pc:sldChg>
      <pc:sldChg chg="ord">
        <pc:chgData name="Kawtar SADIQ" userId="65df04e4-2d23-4bab-afb0-40df8a2c1b9f" providerId="ADAL" clId="{1FE88A54-802F-4EFE-88F9-E6E876ADF5B1}" dt="2022-11-14T15:37:06.479" v="3142"/>
        <pc:sldMkLst>
          <pc:docMk/>
          <pc:sldMk cId="3446876227" sldId="2076137991"/>
        </pc:sldMkLst>
      </pc:sldChg>
      <pc:sldChg chg="addSp delSp modSp mod ord">
        <pc:chgData name="Kawtar SADIQ" userId="65df04e4-2d23-4bab-afb0-40df8a2c1b9f" providerId="ADAL" clId="{1FE88A54-802F-4EFE-88F9-E6E876ADF5B1}" dt="2022-11-14T12:54:32.223" v="3055"/>
        <pc:sldMkLst>
          <pc:docMk/>
          <pc:sldMk cId="2656984134" sldId="2076138005"/>
        </pc:sldMkLst>
        <pc:spChg chg="mod">
          <ac:chgData name="Kawtar SADIQ" userId="65df04e4-2d23-4bab-afb0-40df8a2c1b9f" providerId="ADAL" clId="{1FE88A54-802F-4EFE-88F9-E6E876ADF5B1}" dt="2022-11-14T12:52:01.830" v="2996" actId="14100"/>
          <ac:spMkLst>
            <pc:docMk/>
            <pc:sldMk cId="2656984134" sldId="2076138005"/>
            <ac:spMk id="3" creationId="{C4398502-ACAB-4FE4-BFD4-B775F03D1059}"/>
          </ac:spMkLst>
        </pc:spChg>
        <pc:spChg chg="mod">
          <ac:chgData name="Kawtar SADIQ" userId="65df04e4-2d23-4bab-afb0-40df8a2c1b9f" providerId="ADAL" clId="{1FE88A54-802F-4EFE-88F9-E6E876ADF5B1}" dt="2022-11-14T12:52:23.416" v="3014" actId="20577"/>
          <ac:spMkLst>
            <pc:docMk/>
            <pc:sldMk cId="2656984134" sldId="2076138005"/>
            <ac:spMk id="4" creationId="{B0F67ADD-ADF4-413C-BA69-93FA23FD255B}"/>
          </ac:spMkLst>
        </pc:spChg>
        <pc:spChg chg="del">
          <ac:chgData name="Kawtar SADIQ" userId="65df04e4-2d23-4bab-afb0-40df8a2c1b9f" providerId="ADAL" clId="{1FE88A54-802F-4EFE-88F9-E6E876ADF5B1}" dt="2022-11-09T17:23:21.511" v="1595" actId="478"/>
          <ac:spMkLst>
            <pc:docMk/>
            <pc:sldMk cId="2656984134" sldId="2076138005"/>
            <ac:spMk id="8" creationId="{0DE5FD32-B9CC-14AF-56A7-59DD309C51A6}"/>
          </ac:spMkLst>
        </pc:spChg>
        <pc:spChg chg="add mod">
          <ac:chgData name="Kawtar SADIQ" userId="65df04e4-2d23-4bab-afb0-40df8a2c1b9f" providerId="ADAL" clId="{1FE88A54-802F-4EFE-88F9-E6E876ADF5B1}" dt="2022-11-14T12:53:47.584" v="3052" actId="14100"/>
          <ac:spMkLst>
            <pc:docMk/>
            <pc:sldMk cId="2656984134" sldId="2076138005"/>
            <ac:spMk id="13" creationId="{E8EDF5B5-26D4-4A3F-91E1-9A360D5B85DC}"/>
          </ac:spMkLst>
        </pc:spChg>
        <pc:spChg chg="add del mod">
          <ac:chgData name="Kawtar SADIQ" userId="65df04e4-2d23-4bab-afb0-40df8a2c1b9f" providerId="ADAL" clId="{1FE88A54-802F-4EFE-88F9-E6E876ADF5B1}" dt="2022-11-14T12:53:45.182" v="3048" actId="478"/>
          <ac:spMkLst>
            <pc:docMk/>
            <pc:sldMk cId="2656984134" sldId="2076138005"/>
            <ac:spMk id="14" creationId="{C3614589-4E04-4CF1-8513-13C7DD68DF39}"/>
          </ac:spMkLst>
        </pc:spChg>
        <pc:spChg chg="add del mod">
          <ac:chgData name="Kawtar SADIQ" userId="65df04e4-2d23-4bab-afb0-40df8a2c1b9f" providerId="ADAL" clId="{1FE88A54-802F-4EFE-88F9-E6E876ADF5B1}" dt="2022-11-14T12:53:44.337" v="3047" actId="478"/>
          <ac:spMkLst>
            <pc:docMk/>
            <pc:sldMk cId="2656984134" sldId="2076138005"/>
            <ac:spMk id="15" creationId="{AA4FDD7B-1340-4B37-BC4C-C791F33CD964}"/>
          </ac:spMkLst>
        </pc:spChg>
        <pc:spChg chg="add del mod">
          <ac:chgData name="Kawtar SADIQ" userId="65df04e4-2d23-4bab-afb0-40df8a2c1b9f" providerId="ADAL" clId="{1FE88A54-802F-4EFE-88F9-E6E876ADF5B1}" dt="2022-11-14T12:53:42.506" v="3043"/>
          <ac:spMkLst>
            <pc:docMk/>
            <pc:sldMk cId="2656984134" sldId="2076138005"/>
            <ac:spMk id="17" creationId="{DE7BF0E5-DDB5-4578-B052-334915F2BEFD}"/>
          </ac:spMkLst>
        </pc:spChg>
        <pc:spChg chg="add del">
          <ac:chgData name="Kawtar SADIQ" userId="65df04e4-2d23-4bab-afb0-40df8a2c1b9f" providerId="ADAL" clId="{1FE88A54-802F-4EFE-88F9-E6E876ADF5B1}" dt="2022-11-09T17:22:46.882" v="1590" actId="478"/>
          <ac:spMkLst>
            <pc:docMk/>
            <pc:sldMk cId="2656984134" sldId="2076138005"/>
            <ac:spMk id="31" creationId="{6FADEFAB-965E-4A89-8932-AEB80BD819A6}"/>
          </ac:spMkLst>
        </pc:spChg>
        <pc:grpChg chg="del mod">
          <ac:chgData name="Kawtar SADIQ" userId="65df04e4-2d23-4bab-afb0-40df8a2c1b9f" providerId="ADAL" clId="{1FE88A54-802F-4EFE-88F9-E6E876ADF5B1}" dt="2022-11-09T17:23:15.781" v="1594" actId="478"/>
          <ac:grpSpMkLst>
            <pc:docMk/>
            <pc:sldMk cId="2656984134" sldId="2076138005"/>
            <ac:grpSpMk id="2" creationId="{2E4C75BF-3879-41FA-9EF5-CB54A5A93DF0}"/>
          </ac:grpSpMkLst>
        </pc:grpChg>
        <pc:grpChg chg="add mod">
          <ac:chgData name="Kawtar SADIQ" userId="65df04e4-2d23-4bab-afb0-40df8a2c1b9f" providerId="ADAL" clId="{1FE88A54-802F-4EFE-88F9-E6E876ADF5B1}" dt="2022-11-14T12:49:22.714" v="2888" actId="1076"/>
          <ac:grpSpMkLst>
            <pc:docMk/>
            <pc:sldMk cId="2656984134" sldId="2076138005"/>
            <ac:grpSpMk id="2" creationId="{EF90020E-F8B3-4470-A3C0-7860B687CCD1}"/>
          </ac:grpSpMkLst>
        </pc:grpChg>
        <pc:grpChg chg="del">
          <ac:chgData name="Kawtar SADIQ" userId="65df04e4-2d23-4bab-afb0-40df8a2c1b9f" providerId="ADAL" clId="{1FE88A54-802F-4EFE-88F9-E6E876ADF5B1}" dt="2022-11-09T17:23:21.511" v="1595" actId="478"/>
          <ac:grpSpMkLst>
            <pc:docMk/>
            <pc:sldMk cId="2656984134" sldId="2076138005"/>
            <ac:grpSpMk id="5" creationId="{680223AA-35AA-4F24-9098-0D3D11BE43F2}"/>
          </ac:grpSpMkLst>
        </pc:grpChg>
        <pc:grpChg chg="del">
          <ac:chgData name="Kawtar SADIQ" userId="65df04e4-2d23-4bab-afb0-40df8a2c1b9f" providerId="ADAL" clId="{1FE88A54-802F-4EFE-88F9-E6E876ADF5B1}" dt="2022-11-09T17:23:21.511" v="1595" actId="478"/>
          <ac:grpSpMkLst>
            <pc:docMk/>
            <pc:sldMk cId="2656984134" sldId="2076138005"/>
            <ac:grpSpMk id="6" creationId="{D9518B8A-E42E-4FC1-9410-B281F9CF5A72}"/>
          </ac:grpSpMkLst>
        </pc:grpChg>
        <pc:grpChg chg="del">
          <ac:chgData name="Kawtar SADIQ" userId="65df04e4-2d23-4bab-afb0-40df8a2c1b9f" providerId="ADAL" clId="{1FE88A54-802F-4EFE-88F9-E6E876ADF5B1}" dt="2022-11-09T17:23:21.511" v="1595" actId="478"/>
          <ac:grpSpMkLst>
            <pc:docMk/>
            <pc:sldMk cId="2656984134" sldId="2076138005"/>
            <ac:grpSpMk id="7" creationId="{33888B01-730D-49D3-A3A3-0CB01CBEFEE4}"/>
          </ac:grpSpMkLst>
        </pc:grpChg>
        <pc:graphicFrameChg chg="add del mod modGraphic">
          <ac:chgData name="Kawtar SADIQ" userId="65df04e4-2d23-4bab-afb0-40df8a2c1b9f" providerId="ADAL" clId="{1FE88A54-802F-4EFE-88F9-E6E876ADF5B1}" dt="2022-11-14T12:53:05.855" v="3028"/>
          <ac:graphicFrameMkLst>
            <pc:docMk/>
            <pc:sldMk cId="2656984134" sldId="2076138005"/>
            <ac:graphicFrameMk id="89" creationId="{A19A5F1F-D334-4677-BCCB-AA68FF81AC6E}"/>
          </ac:graphicFrameMkLst>
        </pc:graphicFrameChg>
        <pc:picChg chg="add mod">
          <ac:chgData name="Kawtar SADIQ" userId="65df04e4-2d23-4bab-afb0-40df8a2c1b9f" providerId="ADAL" clId="{1FE88A54-802F-4EFE-88F9-E6E876ADF5B1}" dt="2022-11-14T12:47:31.867" v="2855" actId="1076"/>
          <ac:picMkLst>
            <pc:docMk/>
            <pc:sldMk cId="2656984134" sldId="2076138005"/>
            <ac:picMk id="11" creationId="{A745DBAC-74AA-458A-B258-2920669855B1}"/>
          </ac:picMkLst>
        </pc:picChg>
        <pc:picChg chg="mod topLvl">
          <ac:chgData name="Kawtar SADIQ" userId="65df04e4-2d23-4bab-afb0-40df8a2c1b9f" providerId="ADAL" clId="{1FE88A54-802F-4EFE-88F9-E6E876ADF5B1}" dt="2022-11-14T12:47:30.026" v="2854" actId="1076"/>
          <ac:picMkLst>
            <pc:docMk/>
            <pc:sldMk cId="2656984134" sldId="2076138005"/>
            <ac:picMk id="16" creationId="{B2CAE768-3418-4CD4-876F-53FCD190523A}"/>
          </ac:picMkLst>
        </pc:picChg>
        <pc:picChg chg="mod">
          <ac:chgData name="Kawtar SADIQ" userId="65df04e4-2d23-4bab-afb0-40df8a2c1b9f" providerId="ADAL" clId="{1FE88A54-802F-4EFE-88F9-E6E876ADF5B1}" dt="2022-11-14T12:40:21.647" v="2629" actId="164"/>
          <ac:picMkLst>
            <pc:docMk/>
            <pc:sldMk cId="2656984134" sldId="2076138005"/>
            <ac:picMk id="23" creationId="{C5964ED9-E029-4428-8C57-7EA24226B475}"/>
          </ac:picMkLst>
        </pc:picChg>
        <pc:picChg chg="mod">
          <ac:chgData name="Kawtar SADIQ" userId="65df04e4-2d23-4bab-afb0-40df8a2c1b9f" providerId="ADAL" clId="{1FE88A54-802F-4EFE-88F9-E6E876ADF5B1}" dt="2022-11-14T12:40:21.647" v="2629" actId="164"/>
          <ac:picMkLst>
            <pc:docMk/>
            <pc:sldMk cId="2656984134" sldId="2076138005"/>
            <ac:picMk id="24" creationId="{55175058-B9FB-4916-8484-742E7CD07899}"/>
          </ac:picMkLst>
        </pc:picChg>
        <pc:picChg chg="mod">
          <ac:chgData name="Kawtar SADIQ" userId="65df04e4-2d23-4bab-afb0-40df8a2c1b9f" providerId="ADAL" clId="{1FE88A54-802F-4EFE-88F9-E6E876ADF5B1}" dt="2022-11-14T12:40:21.647" v="2629" actId="164"/>
          <ac:picMkLst>
            <pc:docMk/>
            <pc:sldMk cId="2656984134" sldId="2076138005"/>
            <ac:picMk id="25" creationId="{658915DC-2897-4FD9-A263-F6690571A1A9}"/>
          </ac:picMkLst>
        </pc:picChg>
        <pc:picChg chg="del">
          <ac:chgData name="Kawtar SADIQ" userId="65df04e4-2d23-4bab-afb0-40df8a2c1b9f" providerId="ADAL" clId="{1FE88A54-802F-4EFE-88F9-E6E876ADF5B1}" dt="2022-11-09T17:23:21.511" v="1595" actId="478"/>
          <ac:picMkLst>
            <pc:docMk/>
            <pc:sldMk cId="2656984134" sldId="2076138005"/>
            <ac:picMk id="28" creationId="{1AF89714-42FE-C117-41EE-3E89BA9282D1}"/>
          </ac:picMkLst>
        </pc:picChg>
        <pc:picChg chg="del">
          <ac:chgData name="Kawtar SADIQ" userId="65df04e4-2d23-4bab-afb0-40df8a2c1b9f" providerId="ADAL" clId="{1FE88A54-802F-4EFE-88F9-E6E876ADF5B1}" dt="2022-11-09T17:23:21.511" v="1595" actId="478"/>
          <ac:picMkLst>
            <pc:docMk/>
            <pc:sldMk cId="2656984134" sldId="2076138005"/>
            <ac:picMk id="29" creationId="{910763D7-82E6-636D-2EAD-B8245741846E}"/>
          </ac:picMkLst>
        </pc:picChg>
        <pc:picChg chg="mod">
          <ac:chgData name="Kawtar SADIQ" userId="65df04e4-2d23-4bab-afb0-40df8a2c1b9f" providerId="ADAL" clId="{1FE88A54-802F-4EFE-88F9-E6E876ADF5B1}" dt="2022-11-14T12:40:21.647" v="2629" actId="164"/>
          <ac:picMkLst>
            <pc:docMk/>
            <pc:sldMk cId="2656984134" sldId="2076138005"/>
            <ac:picMk id="37" creationId="{2D24A43C-6C0B-4608-8F10-2F95436809E3}"/>
          </ac:picMkLst>
        </pc:picChg>
        <pc:picChg chg="mod">
          <ac:chgData name="Kawtar SADIQ" userId="65df04e4-2d23-4bab-afb0-40df8a2c1b9f" providerId="ADAL" clId="{1FE88A54-802F-4EFE-88F9-E6E876ADF5B1}" dt="2022-11-14T12:40:21.647" v="2629" actId="164"/>
          <ac:picMkLst>
            <pc:docMk/>
            <pc:sldMk cId="2656984134" sldId="2076138005"/>
            <ac:picMk id="38" creationId="{A1E7A0DB-9C2C-4FB2-8BC4-B798D7E1E5BB}"/>
          </ac:picMkLst>
        </pc:picChg>
        <pc:picChg chg="del topLvl">
          <ac:chgData name="Kawtar SADIQ" userId="65df04e4-2d23-4bab-afb0-40df8a2c1b9f" providerId="ADAL" clId="{1FE88A54-802F-4EFE-88F9-E6E876ADF5B1}" dt="2022-11-09T17:23:15.781" v="1594" actId="478"/>
          <ac:picMkLst>
            <pc:docMk/>
            <pc:sldMk cId="2656984134" sldId="2076138005"/>
            <ac:picMk id="103" creationId="{D591F018-81B1-4E66-A07A-0B45E5AA74C4}"/>
          </ac:picMkLst>
        </pc:picChg>
        <pc:picChg chg="del">
          <ac:chgData name="Kawtar SADIQ" userId="65df04e4-2d23-4bab-afb0-40df8a2c1b9f" providerId="ADAL" clId="{1FE88A54-802F-4EFE-88F9-E6E876ADF5B1}" dt="2022-11-09T17:23:21.511" v="1595" actId="478"/>
          <ac:picMkLst>
            <pc:docMk/>
            <pc:sldMk cId="2656984134" sldId="2076138005"/>
            <ac:picMk id="117" creationId="{B987B9FA-0F9E-43E0-8236-E0C1519E7F50}"/>
          </ac:picMkLst>
        </pc:picChg>
        <pc:picChg chg="del">
          <ac:chgData name="Kawtar SADIQ" userId="65df04e4-2d23-4bab-afb0-40df8a2c1b9f" providerId="ADAL" clId="{1FE88A54-802F-4EFE-88F9-E6E876ADF5B1}" dt="2022-11-09T17:23:21.511" v="1595" actId="478"/>
          <ac:picMkLst>
            <pc:docMk/>
            <pc:sldMk cId="2656984134" sldId="2076138005"/>
            <ac:picMk id="1026" creationId="{A5E9C449-3B1A-3FA4-CBC2-A89DC7C12B0A}"/>
          </ac:picMkLst>
        </pc:picChg>
      </pc:sldChg>
      <pc:sldChg chg="del">
        <pc:chgData name="Kawtar SADIQ" userId="65df04e4-2d23-4bab-afb0-40df8a2c1b9f" providerId="ADAL" clId="{1FE88A54-802F-4EFE-88F9-E6E876ADF5B1}" dt="2022-11-14T15:39:30.685" v="3216" actId="47"/>
        <pc:sldMkLst>
          <pc:docMk/>
          <pc:sldMk cId="3069191152" sldId="2076138013"/>
        </pc:sldMkLst>
      </pc:sldChg>
      <pc:sldChg chg="del">
        <pc:chgData name="Kawtar SADIQ" userId="65df04e4-2d23-4bab-afb0-40df8a2c1b9f" providerId="ADAL" clId="{1FE88A54-802F-4EFE-88F9-E6E876ADF5B1}" dt="2022-11-14T12:56:11.494" v="3057" actId="47"/>
        <pc:sldMkLst>
          <pc:docMk/>
          <pc:sldMk cId="636038548" sldId="2076138029"/>
        </pc:sldMkLst>
      </pc:sldChg>
      <pc:sldChg chg="del">
        <pc:chgData name="Kawtar SADIQ" userId="65df04e4-2d23-4bab-afb0-40df8a2c1b9f" providerId="ADAL" clId="{1FE88A54-802F-4EFE-88F9-E6E876ADF5B1}" dt="2022-11-14T12:56:10.661" v="3056" actId="47"/>
        <pc:sldMkLst>
          <pc:docMk/>
          <pc:sldMk cId="3245394107" sldId="2076138030"/>
        </pc:sldMkLst>
      </pc:sldChg>
      <pc:sldChg chg="del">
        <pc:chgData name="Kawtar SADIQ" userId="65df04e4-2d23-4bab-afb0-40df8a2c1b9f" providerId="ADAL" clId="{1FE88A54-802F-4EFE-88F9-E6E876ADF5B1}" dt="2022-11-14T12:56:12.655" v="3058" actId="47"/>
        <pc:sldMkLst>
          <pc:docMk/>
          <pc:sldMk cId="2897073151" sldId="2076138045"/>
        </pc:sldMkLst>
      </pc:sldChg>
      <pc:sldChg chg="modSp del mod">
        <pc:chgData name="Kawtar SADIQ" userId="65df04e4-2d23-4bab-afb0-40df8a2c1b9f" providerId="ADAL" clId="{1FE88A54-802F-4EFE-88F9-E6E876ADF5B1}" dt="2022-11-14T12:26:31.343" v="2373" actId="47"/>
        <pc:sldMkLst>
          <pc:docMk/>
          <pc:sldMk cId="101776192" sldId="2076138047"/>
        </pc:sldMkLst>
        <pc:spChg chg="mod">
          <ac:chgData name="Kawtar SADIQ" userId="65df04e4-2d23-4bab-afb0-40df8a2c1b9f" providerId="ADAL" clId="{1FE88A54-802F-4EFE-88F9-E6E876ADF5B1}" dt="2022-11-09T17:27:43.160" v="1686" actId="20577"/>
          <ac:spMkLst>
            <pc:docMk/>
            <pc:sldMk cId="101776192" sldId="2076138047"/>
            <ac:spMk id="3" creationId="{80D52342-C2B0-428C-8805-971DE696581C}"/>
          </ac:spMkLst>
        </pc:spChg>
        <pc:spChg chg="mod">
          <ac:chgData name="Kawtar SADIQ" userId="65df04e4-2d23-4bab-afb0-40df8a2c1b9f" providerId="ADAL" clId="{1FE88A54-802F-4EFE-88F9-E6E876ADF5B1}" dt="2022-11-09T17:29:38.951" v="1723" actId="1076"/>
          <ac:spMkLst>
            <pc:docMk/>
            <pc:sldMk cId="101776192" sldId="2076138047"/>
            <ac:spMk id="6" creationId="{DE006698-880E-41EB-9907-52F20E42D58A}"/>
          </ac:spMkLst>
        </pc:spChg>
        <pc:spChg chg="mod">
          <ac:chgData name="Kawtar SADIQ" userId="65df04e4-2d23-4bab-afb0-40df8a2c1b9f" providerId="ADAL" clId="{1FE88A54-802F-4EFE-88F9-E6E876ADF5B1}" dt="2022-11-09T17:28:53.303" v="1702" actId="20577"/>
          <ac:spMkLst>
            <pc:docMk/>
            <pc:sldMk cId="101776192" sldId="2076138047"/>
            <ac:spMk id="26" creationId="{90475712-3E1D-F319-9CF4-BA3D029F318B}"/>
          </ac:spMkLst>
        </pc:spChg>
        <pc:spChg chg="mod">
          <ac:chgData name="Kawtar SADIQ" userId="65df04e4-2d23-4bab-afb0-40df8a2c1b9f" providerId="ADAL" clId="{1FE88A54-802F-4EFE-88F9-E6E876ADF5B1}" dt="2022-11-09T17:28:54.647" v="1705" actId="20577"/>
          <ac:spMkLst>
            <pc:docMk/>
            <pc:sldMk cId="101776192" sldId="2076138047"/>
            <ac:spMk id="38" creationId="{D5CD0879-99CF-DB2C-4EF6-B1FF9F738AC2}"/>
          </ac:spMkLst>
        </pc:spChg>
        <pc:spChg chg="mod">
          <ac:chgData name="Kawtar SADIQ" userId="65df04e4-2d23-4bab-afb0-40df8a2c1b9f" providerId="ADAL" clId="{1FE88A54-802F-4EFE-88F9-E6E876ADF5B1}" dt="2022-11-09T17:28:54.171" v="1704" actId="20577"/>
          <ac:spMkLst>
            <pc:docMk/>
            <pc:sldMk cId="101776192" sldId="2076138047"/>
            <ac:spMk id="43" creationId="{61606285-4B87-12CC-98F0-B8792DADEF07}"/>
          </ac:spMkLst>
        </pc:spChg>
        <pc:spChg chg="mod">
          <ac:chgData name="Kawtar SADIQ" userId="65df04e4-2d23-4bab-afb0-40df8a2c1b9f" providerId="ADAL" clId="{1FE88A54-802F-4EFE-88F9-E6E876ADF5B1}" dt="2022-11-09T17:28:52.918" v="1701" actId="20577"/>
          <ac:spMkLst>
            <pc:docMk/>
            <pc:sldMk cId="101776192" sldId="2076138047"/>
            <ac:spMk id="47" creationId="{30F3F0AF-C9AB-857C-779A-8593F91B3475}"/>
          </ac:spMkLst>
        </pc:spChg>
      </pc:sldChg>
      <pc:sldChg chg="del">
        <pc:chgData name="Kawtar SADIQ" userId="65df04e4-2d23-4bab-afb0-40df8a2c1b9f" providerId="ADAL" clId="{1FE88A54-802F-4EFE-88F9-E6E876ADF5B1}" dt="2022-11-14T12:56:14.745" v="3059" actId="47"/>
        <pc:sldMkLst>
          <pc:docMk/>
          <pc:sldMk cId="2214837735" sldId="2076138072"/>
        </pc:sldMkLst>
      </pc:sldChg>
      <pc:sldChg chg="modSp mod">
        <pc:chgData name="Kawtar SADIQ" userId="65df04e4-2d23-4bab-afb0-40df8a2c1b9f" providerId="ADAL" clId="{1FE88A54-802F-4EFE-88F9-E6E876ADF5B1}" dt="2022-11-14T12:58:23.917" v="3128" actId="6549"/>
        <pc:sldMkLst>
          <pc:docMk/>
          <pc:sldMk cId="3269328957" sldId="2076138076"/>
        </pc:sldMkLst>
        <pc:spChg chg="mod">
          <ac:chgData name="Kawtar SADIQ" userId="65df04e4-2d23-4bab-afb0-40df8a2c1b9f" providerId="ADAL" clId="{1FE88A54-802F-4EFE-88F9-E6E876ADF5B1}" dt="2022-11-14T12:58:23.917" v="3128" actId="6549"/>
          <ac:spMkLst>
            <pc:docMk/>
            <pc:sldMk cId="3269328957" sldId="2076138076"/>
            <ac:spMk id="4" creationId="{C4F07D73-D93D-4F68-AC67-1A521BD718BD}"/>
          </ac:spMkLst>
        </pc:spChg>
      </pc:sldChg>
      <pc:sldChg chg="del">
        <pc:chgData name="Kawtar SADIQ" userId="65df04e4-2d23-4bab-afb0-40df8a2c1b9f" providerId="ADAL" clId="{1FE88A54-802F-4EFE-88F9-E6E876ADF5B1}" dt="2022-11-14T15:38:17.283" v="3164" actId="47"/>
        <pc:sldMkLst>
          <pc:docMk/>
          <pc:sldMk cId="2396221007" sldId="2076138077"/>
        </pc:sldMkLst>
      </pc:sldChg>
      <pc:sldChg chg="ord">
        <pc:chgData name="Kawtar SADIQ" userId="65df04e4-2d23-4bab-afb0-40df8a2c1b9f" providerId="ADAL" clId="{1FE88A54-802F-4EFE-88F9-E6E876ADF5B1}" dt="2022-11-14T15:55:42.098" v="3368"/>
        <pc:sldMkLst>
          <pc:docMk/>
          <pc:sldMk cId="140074883" sldId="2076138086"/>
        </pc:sldMkLst>
      </pc:sldChg>
      <pc:sldChg chg="modSp mod">
        <pc:chgData name="Kawtar SADIQ" userId="65df04e4-2d23-4bab-afb0-40df8a2c1b9f" providerId="ADAL" clId="{1FE88A54-802F-4EFE-88F9-E6E876ADF5B1}" dt="2022-11-14T15:48:47.461" v="3363" actId="20577"/>
        <pc:sldMkLst>
          <pc:docMk/>
          <pc:sldMk cId="3313929490" sldId="2076138090"/>
        </pc:sldMkLst>
        <pc:spChg chg="mod">
          <ac:chgData name="Kawtar SADIQ" userId="65df04e4-2d23-4bab-afb0-40df8a2c1b9f" providerId="ADAL" clId="{1FE88A54-802F-4EFE-88F9-E6E876ADF5B1}" dt="2022-11-14T15:48:22.790" v="3356" actId="20577"/>
          <ac:spMkLst>
            <pc:docMk/>
            <pc:sldMk cId="3313929490" sldId="2076138090"/>
            <ac:spMk id="5" creationId="{008BA424-9782-4CE1-B96F-7B9F4395ACE6}"/>
          </ac:spMkLst>
        </pc:spChg>
        <pc:spChg chg="mod">
          <ac:chgData name="Kawtar SADIQ" userId="65df04e4-2d23-4bab-afb0-40df8a2c1b9f" providerId="ADAL" clId="{1FE88A54-802F-4EFE-88F9-E6E876ADF5B1}" dt="2022-11-14T15:48:41.933" v="3361" actId="20577"/>
          <ac:spMkLst>
            <pc:docMk/>
            <pc:sldMk cId="3313929490" sldId="2076138090"/>
            <ac:spMk id="7" creationId="{5DE89F7E-B6C9-4C6D-9EC7-C90D849C096C}"/>
          </ac:spMkLst>
        </pc:spChg>
        <pc:spChg chg="mod">
          <ac:chgData name="Kawtar SADIQ" userId="65df04e4-2d23-4bab-afb0-40df8a2c1b9f" providerId="ADAL" clId="{1FE88A54-802F-4EFE-88F9-E6E876ADF5B1}" dt="2022-11-14T15:48:47.461" v="3363" actId="20577"/>
          <ac:spMkLst>
            <pc:docMk/>
            <pc:sldMk cId="3313929490" sldId="2076138090"/>
            <ac:spMk id="9" creationId="{CF487E4C-792A-4D88-A564-DAA6C394865E}"/>
          </ac:spMkLst>
        </pc:spChg>
      </pc:sldChg>
      <pc:sldChg chg="addSp delSp modSp mod">
        <pc:chgData name="Kawtar SADIQ" userId="65df04e4-2d23-4bab-afb0-40df8a2c1b9f" providerId="ADAL" clId="{1FE88A54-802F-4EFE-88F9-E6E876ADF5B1}" dt="2022-11-14T12:30:03.811" v="2443" actId="20577"/>
        <pc:sldMkLst>
          <pc:docMk/>
          <pc:sldMk cId="3258011837" sldId="2076138113"/>
        </pc:sldMkLst>
        <pc:spChg chg="add mod">
          <ac:chgData name="Kawtar SADIQ" userId="65df04e4-2d23-4bab-afb0-40df8a2c1b9f" providerId="ADAL" clId="{1FE88A54-802F-4EFE-88F9-E6E876ADF5B1}" dt="2022-11-10T22:15:24.081" v="2172" actId="20577"/>
          <ac:spMkLst>
            <pc:docMk/>
            <pc:sldMk cId="3258011837" sldId="2076138113"/>
            <ac:spMk id="3" creationId="{1FB83B6C-507C-4A1E-95E1-F9E58ED5A359}"/>
          </ac:spMkLst>
        </pc:spChg>
        <pc:spChg chg="del">
          <ac:chgData name="Kawtar SADIQ" userId="65df04e4-2d23-4bab-afb0-40df8a2c1b9f" providerId="ADAL" clId="{1FE88A54-802F-4EFE-88F9-E6E876ADF5B1}" dt="2022-11-10T22:10:55.086" v="2065" actId="478"/>
          <ac:spMkLst>
            <pc:docMk/>
            <pc:sldMk cId="3258011837" sldId="2076138113"/>
            <ac:spMk id="4" creationId="{00F66BC5-412C-6A53-7419-3C362B68DB00}"/>
          </ac:spMkLst>
        </pc:spChg>
        <pc:spChg chg="add del mod">
          <ac:chgData name="Kawtar SADIQ" userId="65df04e4-2d23-4bab-afb0-40df8a2c1b9f" providerId="ADAL" clId="{1FE88A54-802F-4EFE-88F9-E6E876ADF5B1}" dt="2022-11-09T17:34:04.822" v="1726" actId="478"/>
          <ac:spMkLst>
            <pc:docMk/>
            <pc:sldMk cId="3258011837" sldId="2076138113"/>
            <ac:spMk id="7" creationId="{34B2CAF1-871E-4741-915C-4D7FE7E39AE3}"/>
          </ac:spMkLst>
        </pc:spChg>
        <pc:spChg chg="add mod">
          <ac:chgData name="Kawtar SADIQ" userId="65df04e4-2d23-4bab-afb0-40df8a2c1b9f" providerId="ADAL" clId="{1FE88A54-802F-4EFE-88F9-E6E876ADF5B1}" dt="2022-11-09T17:34:00.351" v="1725"/>
          <ac:spMkLst>
            <pc:docMk/>
            <pc:sldMk cId="3258011837" sldId="2076138113"/>
            <ac:spMk id="8" creationId="{AB25A1BB-6348-4243-A4D3-94048DACAAC0}"/>
          </ac:spMkLst>
        </pc:spChg>
        <pc:spChg chg="add mod">
          <ac:chgData name="Kawtar SADIQ" userId="65df04e4-2d23-4bab-afb0-40df8a2c1b9f" providerId="ADAL" clId="{1FE88A54-802F-4EFE-88F9-E6E876ADF5B1}" dt="2022-11-09T17:34:00.351" v="1725"/>
          <ac:spMkLst>
            <pc:docMk/>
            <pc:sldMk cId="3258011837" sldId="2076138113"/>
            <ac:spMk id="9" creationId="{FB446A79-F866-4450-B534-79CEFF3B17E3}"/>
          </ac:spMkLst>
        </pc:spChg>
        <pc:spChg chg="add mod">
          <ac:chgData name="Kawtar SADIQ" userId="65df04e4-2d23-4bab-afb0-40df8a2c1b9f" providerId="ADAL" clId="{1FE88A54-802F-4EFE-88F9-E6E876ADF5B1}" dt="2022-11-09T17:34:00.351" v="1725"/>
          <ac:spMkLst>
            <pc:docMk/>
            <pc:sldMk cId="3258011837" sldId="2076138113"/>
            <ac:spMk id="10" creationId="{9E850C30-47EF-4C5B-A186-B3849AEAD669}"/>
          </ac:spMkLst>
        </pc:spChg>
        <pc:spChg chg="add mod">
          <ac:chgData name="Kawtar SADIQ" userId="65df04e4-2d23-4bab-afb0-40df8a2c1b9f" providerId="ADAL" clId="{1FE88A54-802F-4EFE-88F9-E6E876ADF5B1}" dt="2022-11-09T17:37:01.228" v="1770" actId="14100"/>
          <ac:spMkLst>
            <pc:docMk/>
            <pc:sldMk cId="3258011837" sldId="2076138113"/>
            <ac:spMk id="11" creationId="{793711D2-E2AC-4584-B3DE-C8327BF005D0}"/>
          </ac:spMkLst>
        </pc:spChg>
        <pc:spChg chg="add mod">
          <ac:chgData name="Kawtar SADIQ" userId="65df04e4-2d23-4bab-afb0-40df8a2c1b9f" providerId="ADAL" clId="{1FE88A54-802F-4EFE-88F9-E6E876ADF5B1}" dt="2022-11-09T17:38:11.991" v="1828" actId="1036"/>
          <ac:spMkLst>
            <pc:docMk/>
            <pc:sldMk cId="3258011837" sldId="2076138113"/>
            <ac:spMk id="13" creationId="{20298101-E2CC-4C71-ADAC-80DE24F521C2}"/>
          </ac:spMkLst>
        </pc:spChg>
        <pc:spChg chg="add mod">
          <ac:chgData name="Kawtar SADIQ" userId="65df04e4-2d23-4bab-afb0-40df8a2c1b9f" providerId="ADAL" clId="{1FE88A54-802F-4EFE-88F9-E6E876ADF5B1}" dt="2022-11-09T17:34:00.351" v="1725"/>
          <ac:spMkLst>
            <pc:docMk/>
            <pc:sldMk cId="3258011837" sldId="2076138113"/>
            <ac:spMk id="14" creationId="{5A9B7649-8F9C-46A3-89CD-445D8272C420}"/>
          </ac:spMkLst>
        </pc:spChg>
        <pc:spChg chg="add mod">
          <ac:chgData name="Kawtar SADIQ" userId="65df04e4-2d23-4bab-afb0-40df8a2c1b9f" providerId="ADAL" clId="{1FE88A54-802F-4EFE-88F9-E6E876ADF5B1}" dt="2022-11-09T17:34:00.351" v="1725"/>
          <ac:spMkLst>
            <pc:docMk/>
            <pc:sldMk cId="3258011837" sldId="2076138113"/>
            <ac:spMk id="15" creationId="{3CCD787C-8BA1-43E9-9793-F25EAC05A68B}"/>
          </ac:spMkLst>
        </pc:spChg>
        <pc:spChg chg="add mod">
          <ac:chgData name="Kawtar SADIQ" userId="65df04e4-2d23-4bab-afb0-40df8a2c1b9f" providerId="ADAL" clId="{1FE88A54-802F-4EFE-88F9-E6E876ADF5B1}" dt="2022-11-09T17:38:11.991" v="1828" actId="1036"/>
          <ac:spMkLst>
            <pc:docMk/>
            <pc:sldMk cId="3258011837" sldId="2076138113"/>
            <ac:spMk id="16" creationId="{3B475548-B6E5-4B8E-A088-726BCE80ED93}"/>
          </ac:spMkLst>
        </pc:spChg>
        <pc:spChg chg="add del mod">
          <ac:chgData name="Kawtar SADIQ" userId="65df04e4-2d23-4bab-afb0-40df8a2c1b9f" providerId="ADAL" clId="{1FE88A54-802F-4EFE-88F9-E6E876ADF5B1}" dt="2022-11-09T17:34:04.822" v="1726" actId="478"/>
          <ac:spMkLst>
            <pc:docMk/>
            <pc:sldMk cId="3258011837" sldId="2076138113"/>
            <ac:spMk id="17" creationId="{7CF5441D-1A7C-46FF-AD69-B0F1048FD9C7}"/>
          </ac:spMkLst>
        </pc:spChg>
        <pc:spChg chg="add del mod">
          <ac:chgData name="Kawtar SADIQ" userId="65df04e4-2d23-4bab-afb0-40df8a2c1b9f" providerId="ADAL" clId="{1FE88A54-802F-4EFE-88F9-E6E876ADF5B1}" dt="2022-11-09T17:34:04.822" v="1726" actId="478"/>
          <ac:spMkLst>
            <pc:docMk/>
            <pc:sldMk cId="3258011837" sldId="2076138113"/>
            <ac:spMk id="18" creationId="{24B880ED-3BF8-4215-A107-DA0BEBFC7EC8}"/>
          </ac:spMkLst>
        </pc:spChg>
        <pc:spChg chg="add mod">
          <ac:chgData name="Kawtar SADIQ" userId="65df04e4-2d23-4bab-afb0-40df8a2c1b9f" providerId="ADAL" clId="{1FE88A54-802F-4EFE-88F9-E6E876ADF5B1}" dt="2022-11-09T17:34:00.351" v="1725"/>
          <ac:spMkLst>
            <pc:docMk/>
            <pc:sldMk cId="3258011837" sldId="2076138113"/>
            <ac:spMk id="19" creationId="{B630D209-191A-45CE-9A30-8EC8778AE7B6}"/>
          </ac:spMkLst>
        </pc:spChg>
        <pc:spChg chg="add mod">
          <ac:chgData name="Kawtar SADIQ" userId="65df04e4-2d23-4bab-afb0-40df8a2c1b9f" providerId="ADAL" clId="{1FE88A54-802F-4EFE-88F9-E6E876ADF5B1}" dt="2022-11-09T17:34:00.351" v="1725"/>
          <ac:spMkLst>
            <pc:docMk/>
            <pc:sldMk cId="3258011837" sldId="2076138113"/>
            <ac:spMk id="20" creationId="{1DF1EEEA-3DFD-47F9-80BB-4EF9A6DA42EA}"/>
          </ac:spMkLst>
        </pc:spChg>
        <pc:spChg chg="add mod">
          <ac:chgData name="Kawtar SADIQ" userId="65df04e4-2d23-4bab-afb0-40df8a2c1b9f" providerId="ADAL" clId="{1FE88A54-802F-4EFE-88F9-E6E876ADF5B1}" dt="2022-11-09T17:34:00.351" v="1725"/>
          <ac:spMkLst>
            <pc:docMk/>
            <pc:sldMk cId="3258011837" sldId="2076138113"/>
            <ac:spMk id="21" creationId="{5E4A6FA4-CEE9-4109-A2EE-4CBE3EB3B139}"/>
          </ac:spMkLst>
        </pc:spChg>
        <pc:spChg chg="add mod">
          <ac:chgData name="Kawtar SADIQ" userId="65df04e4-2d23-4bab-afb0-40df8a2c1b9f" providerId="ADAL" clId="{1FE88A54-802F-4EFE-88F9-E6E876ADF5B1}" dt="2022-11-09T17:34:00.351" v="1725"/>
          <ac:spMkLst>
            <pc:docMk/>
            <pc:sldMk cId="3258011837" sldId="2076138113"/>
            <ac:spMk id="22" creationId="{1D6C872E-5C4E-4EF2-9CC0-AEF623BD1F82}"/>
          </ac:spMkLst>
        </pc:spChg>
        <pc:spChg chg="add mod">
          <ac:chgData name="Kawtar SADIQ" userId="65df04e4-2d23-4bab-afb0-40df8a2c1b9f" providerId="ADAL" clId="{1FE88A54-802F-4EFE-88F9-E6E876ADF5B1}" dt="2022-11-09T17:34:00.351" v="1725"/>
          <ac:spMkLst>
            <pc:docMk/>
            <pc:sldMk cId="3258011837" sldId="2076138113"/>
            <ac:spMk id="23" creationId="{49E987E8-447F-4BFD-A398-1E9D36D7BBEB}"/>
          </ac:spMkLst>
        </pc:spChg>
        <pc:spChg chg="add mod">
          <ac:chgData name="Kawtar SADIQ" userId="65df04e4-2d23-4bab-afb0-40df8a2c1b9f" providerId="ADAL" clId="{1FE88A54-802F-4EFE-88F9-E6E876ADF5B1}" dt="2022-11-09T17:34:00.351" v="1725"/>
          <ac:spMkLst>
            <pc:docMk/>
            <pc:sldMk cId="3258011837" sldId="2076138113"/>
            <ac:spMk id="24" creationId="{B7F81A43-DB51-408D-AABE-6434BB424E5B}"/>
          </ac:spMkLst>
        </pc:spChg>
        <pc:spChg chg="add mod">
          <ac:chgData name="Kawtar SADIQ" userId="65df04e4-2d23-4bab-afb0-40df8a2c1b9f" providerId="ADAL" clId="{1FE88A54-802F-4EFE-88F9-E6E876ADF5B1}" dt="2022-11-09T17:34:00.351" v="1725"/>
          <ac:spMkLst>
            <pc:docMk/>
            <pc:sldMk cId="3258011837" sldId="2076138113"/>
            <ac:spMk id="25" creationId="{E4245265-1E07-43CA-B34C-62ED499ADFBD}"/>
          </ac:spMkLst>
        </pc:spChg>
        <pc:spChg chg="add mod">
          <ac:chgData name="Kawtar SADIQ" userId="65df04e4-2d23-4bab-afb0-40df8a2c1b9f" providerId="ADAL" clId="{1FE88A54-802F-4EFE-88F9-E6E876ADF5B1}" dt="2022-11-09T17:34:00.351" v="1725"/>
          <ac:spMkLst>
            <pc:docMk/>
            <pc:sldMk cId="3258011837" sldId="2076138113"/>
            <ac:spMk id="26" creationId="{567E56CD-2507-43F7-8567-247179D1741E}"/>
          </ac:spMkLst>
        </pc:spChg>
        <pc:spChg chg="add mod">
          <ac:chgData name="Kawtar SADIQ" userId="65df04e4-2d23-4bab-afb0-40df8a2c1b9f" providerId="ADAL" clId="{1FE88A54-802F-4EFE-88F9-E6E876ADF5B1}" dt="2022-11-09T17:34:00.351" v="1725"/>
          <ac:spMkLst>
            <pc:docMk/>
            <pc:sldMk cId="3258011837" sldId="2076138113"/>
            <ac:spMk id="27" creationId="{6BCDE89F-3552-4AF1-A808-C8FFAC1039F4}"/>
          </ac:spMkLst>
        </pc:spChg>
        <pc:spChg chg="add del mod">
          <ac:chgData name="Kawtar SADIQ" userId="65df04e4-2d23-4bab-afb0-40df8a2c1b9f" providerId="ADAL" clId="{1FE88A54-802F-4EFE-88F9-E6E876ADF5B1}" dt="2022-11-09T17:34:04.822" v="1726" actId="478"/>
          <ac:spMkLst>
            <pc:docMk/>
            <pc:sldMk cId="3258011837" sldId="2076138113"/>
            <ac:spMk id="29" creationId="{1A6359D2-344B-4682-9C7A-F637CB78203A}"/>
          </ac:spMkLst>
        </pc:spChg>
        <pc:spChg chg="add mod">
          <ac:chgData name="Kawtar SADIQ" userId="65df04e4-2d23-4bab-afb0-40df8a2c1b9f" providerId="ADAL" clId="{1FE88A54-802F-4EFE-88F9-E6E876ADF5B1}" dt="2022-11-10T22:18:47.823" v="2348" actId="20577"/>
          <ac:spMkLst>
            <pc:docMk/>
            <pc:sldMk cId="3258011837" sldId="2076138113"/>
            <ac:spMk id="29" creationId="{BE28B462-14E5-4289-924C-5B10354B5D58}"/>
          </ac:spMkLst>
        </pc:spChg>
        <pc:spChg chg="add del mod">
          <ac:chgData name="Kawtar SADIQ" userId="65df04e4-2d23-4bab-afb0-40df8a2c1b9f" providerId="ADAL" clId="{1FE88A54-802F-4EFE-88F9-E6E876ADF5B1}" dt="2022-11-09T17:34:04.822" v="1726" actId="478"/>
          <ac:spMkLst>
            <pc:docMk/>
            <pc:sldMk cId="3258011837" sldId="2076138113"/>
            <ac:spMk id="30" creationId="{098DAC05-243E-4010-A19C-14CDD224F5F5}"/>
          </ac:spMkLst>
        </pc:spChg>
        <pc:spChg chg="add mod">
          <ac:chgData name="Kawtar SADIQ" userId="65df04e4-2d23-4bab-afb0-40df8a2c1b9f" providerId="ADAL" clId="{1FE88A54-802F-4EFE-88F9-E6E876ADF5B1}" dt="2022-11-10T22:12:58.753" v="2161" actId="113"/>
          <ac:spMkLst>
            <pc:docMk/>
            <pc:sldMk cId="3258011837" sldId="2076138113"/>
            <ac:spMk id="30" creationId="{BCE2B7FB-7EB7-4E1F-B9EB-5616D6B5D53C}"/>
          </ac:spMkLst>
        </pc:spChg>
        <pc:spChg chg="add mod">
          <ac:chgData name="Kawtar SADIQ" userId="65df04e4-2d23-4bab-afb0-40df8a2c1b9f" providerId="ADAL" clId="{1FE88A54-802F-4EFE-88F9-E6E876ADF5B1}" dt="2022-11-14T12:30:03.811" v="2443" actId="20577"/>
          <ac:spMkLst>
            <pc:docMk/>
            <pc:sldMk cId="3258011837" sldId="2076138113"/>
            <ac:spMk id="31" creationId="{BEA91FAF-542B-4E07-B881-634EB63E801D}"/>
          </ac:spMkLst>
        </pc:spChg>
        <pc:graphicFrameChg chg="del">
          <ac:chgData name="Kawtar SADIQ" userId="65df04e4-2d23-4bab-afb0-40df8a2c1b9f" providerId="ADAL" clId="{1FE88A54-802F-4EFE-88F9-E6E876ADF5B1}" dt="2022-11-09T17:33:59.677" v="1724" actId="478"/>
          <ac:graphicFrameMkLst>
            <pc:docMk/>
            <pc:sldMk cId="3258011837" sldId="2076138113"/>
            <ac:graphicFrameMk id="5" creationId="{2305C01E-A338-D8BC-D8E1-E4B5CC336417}"/>
          </ac:graphicFrameMkLst>
        </pc:graphicFrameChg>
        <pc:graphicFrameChg chg="add mod modGraphic">
          <ac:chgData name="Kawtar SADIQ" userId="65df04e4-2d23-4bab-afb0-40df8a2c1b9f" providerId="ADAL" clId="{1FE88A54-802F-4EFE-88F9-E6E876ADF5B1}" dt="2022-11-09T17:34:56.542" v="1737" actId="2165"/>
          <ac:graphicFrameMkLst>
            <pc:docMk/>
            <pc:sldMk cId="3258011837" sldId="2076138113"/>
            <ac:graphicFrameMk id="6" creationId="{9530E5CB-5B9B-4E70-BB9F-3104F0F9DB04}"/>
          </ac:graphicFrameMkLst>
        </pc:graphicFrameChg>
        <pc:cxnChg chg="add mod">
          <ac:chgData name="Kawtar SADIQ" userId="65df04e4-2d23-4bab-afb0-40df8a2c1b9f" providerId="ADAL" clId="{1FE88A54-802F-4EFE-88F9-E6E876ADF5B1}" dt="2022-11-09T17:38:11.991" v="1828" actId="1036"/>
          <ac:cxnSpMkLst>
            <pc:docMk/>
            <pc:sldMk cId="3258011837" sldId="2076138113"/>
            <ac:cxnSpMk id="12" creationId="{F6FF444D-207C-4511-8CDE-F27B750593AD}"/>
          </ac:cxnSpMkLst>
        </pc:cxnChg>
        <pc:cxnChg chg="add mod">
          <ac:chgData name="Kawtar SADIQ" userId="65df04e4-2d23-4bab-afb0-40df8a2c1b9f" providerId="ADAL" clId="{1FE88A54-802F-4EFE-88F9-E6E876ADF5B1}" dt="2022-11-09T17:38:11.991" v="1828" actId="1036"/>
          <ac:cxnSpMkLst>
            <pc:docMk/>
            <pc:sldMk cId="3258011837" sldId="2076138113"/>
            <ac:cxnSpMk id="28" creationId="{0A0CFE68-E586-4973-8295-89C00668DC6D}"/>
          </ac:cxnSpMkLst>
        </pc:cxnChg>
      </pc:sldChg>
      <pc:sldChg chg="addSp delSp modSp mod">
        <pc:chgData name="Kawtar SADIQ" userId="65df04e4-2d23-4bab-afb0-40df8a2c1b9f" providerId="ADAL" clId="{1FE88A54-802F-4EFE-88F9-E6E876ADF5B1}" dt="2022-11-10T22:09:03.660" v="2040" actId="20577"/>
        <pc:sldMkLst>
          <pc:docMk/>
          <pc:sldMk cId="1680199837" sldId="2076138123"/>
        </pc:sldMkLst>
        <pc:spChg chg="add del mod">
          <ac:chgData name="Kawtar SADIQ" userId="65df04e4-2d23-4bab-afb0-40df8a2c1b9f" providerId="ADAL" clId="{1FE88A54-802F-4EFE-88F9-E6E876ADF5B1}" dt="2022-11-10T22:08:59.919" v="2036" actId="478"/>
          <ac:spMkLst>
            <pc:docMk/>
            <pc:sldMk cId="1680199837" sldId="2076138123"/>
            <ac:spMk id="3" creationId="{07BD6075-74C7-438B-835A-79748D7FA0A6}"/>
          </ac:spMkLst>
        </pc:spChg>
        <pc:spChg chg="add mod">
          <ac:chgData name="Kawtar SADIQ" userId="65df04e4-2d23-4bab-afb0-40df8a2c1b9f" providerId="ADAL" clId="{1FE88A54-802F-4EFE-88F9-E6E876ADF5B1}" dt="2022-11-10T22:09:03.660" v="2040" actId="20577"/>
          <ac:spMkLst>
            <pc:docMk/>
            <pc:sldMk cId="1680199837" sldId="2076138123"/>
            <ac:spMk id="5" creationId="{2F0D15E0-1B03-470B-A568-EF6083EE78DA}"/>
          </ac:spMkLst>
        </pc:spChg>
      </pc:sldChg>
      <pc:sldChg chg="addSp modSp">
        <pc:chgData name="Kawtar SADIQ" userId="65df04e4-2d23-4bab-afb0-40df8a2c1b9f" providerId="ADAL" clId="{1FE88A54-802F-4EFE-88F9-E6E876ADF5B1}" dt="2022-11-14T16:15:29.530" v="3369"/>
        <pc:sldMkLst>
          <pc:docMk/>
          <pc:sldMk cId="416665568" sldId="2076138132"/>
        </pc:sldMkLst>
        <pc:spChg chg="add mod">
          <ac:chgData name="Kawtar SADIQ" userId="65df04e4-2d23-4bab-afb0-40df8a2c1b9f" providerId="ADAL" clId="{1FE88A54-802F-4EFE-88F9-E6E876ADF5B1}" dt="2022-11-14T16:15:29.530" v="3369"/>
          <ac:spMkLst>
            <pc:docMk/>
            <pc:sldMk cId="416665568" sldId="2076138132"/>
            <ac:spMk id="18" creationId="{599089C0-D104-484E-B247-53F61BA7A51F}"/>
          </ac:spMkLst>
        </pc:spChg>
      </pc:sldChg>
      <pc:sldChg chg="addSp delSp modSp del mod">
        <pc:chgData name="Kawtar SADIQ" userId="65df04e4-2d23-4bab-afb0-40df8a2c1b9f" providerId="ADAL" clId="{1FE88A54-802F-4EFE-88F9-E6E876ADF5B1}" dt="2022-11-09T17:03:40.011" v="1582" actId="47"/>
        <pc:sldMkLst>
          <pc:docMk/>
          <pc:sldMk cId="3726325778" sldId="2076138141"/>
        </pc:sldMkLst>
        <pc:spChg chg="mod">
          <ac:chgData name="Kawtar SADIQ" userId="65df04e4-2d23-4bab-afb0-40df8a2c1b9f" providerId="ADAL" clId="{1FE88A54-802F-4EFE-88F9-E6E876ADF5B1}" dt="2022-11-09T14:53:39.833" v="149" actId="13926"/>
          <ac:spMkLst>
            <pc:docMk/>
            <pc:sldMk cId="3726325778" sldId="2076138141"/>
            <ac:spMk id="4" creationId="{00F66BC5-412C-6A53-7419-3C362B68DB00}"/>
          </ac:spMkLst>
        </pc:spChg>
        <pc:spChg chg="add del">
          <ac:chgData name="Kawtar SADIQ" userId="65df04e4-2d23-4bab-afb0-40df8a2c1b9f" providerId="ADAL" clId="{1FE88A54-802F-4EFE-88F9-E6E876ADF5B1}" dt="2022-11-09T10:03:31.035" v="32" actId="478"/>
          <ac:spMkLst>
            <pc:docMk/>
            <pc:sldMk cId="3726325778" sldId="2076138141"/>
            <ac:spMk id="54" creationId="{DA6B9C17-E6C0-ECB1-600C-A427C994C0BB}"/>
          </ac:spMkLst>
        </pc:spChg>
        <pc:spChg chg="add del mod">
          <ac:chgData name="Kawtar SADIQ" userId="65df04e4-2d23-4bab-afb0-40df8a2c1b9f" providerId="ADAL" clId="{1FE88A54-802F-4EFE-88F9-E6E876ADF5B1}" dt="2022-11-09T14:52:57.638" v="119" actId="478"/>
          <ac:spMkLst>
            <pc:docMk/>
            <pc:sldMk cId="3726325778" sldId="2076138141"/>
            <ac:spMk id="65" creationId="{601854A5-BFBB-405A-8734-680AA4B96032}"/>
          </ac:spMkLst>
        </pc:spChg>
      </pc:sldChg>
      <pc:sldChg chg="del">
        <pc:chgData name="Kawtar SADIQ" userId="65df04e4-2d23-4bab-afb0-40df8a2c1b9f" providerId="ADAL" clId="{1FE88A54-802F-4EFE-88F9-E6E876ADF5B1}" dt="2022-11-10T22:23:09.403" v="2370" actId="47"/>
        <pc:sldMkLst>
          <pc:docMk/>
          <pc:sldMk cId="2121546234" sldId="2076138143"/>
        </pc:sldMkLst>
      </pc:sldChg>
      <pc:sldChg chg="addSp modSp mod">
        <pc:chgData name="Kawtar SADIQ" userId="65df04e4-2d23-4bab-afb0-40df8a2c1b9f" providerId="ADAL" clId="{1FE88A54-802F-4EFE-88F9-E6E876ADF5B1}" dt="2022-11-14T16:15:36.161" v="3370"/>
        <pc:sldMkLst>
          <pc:docMk/>
          <pc:sldMk cId="3983689853" sldId="2076138149"/>
        </pc:sldMkLst>
        <pc:spChg chg="mod">
          <ac:chgData name="Kawtar SADIQ" userId="65df04e4-2d23-4bab-afb0-40df8a2c1b9f" providerId="ADAL" clId="{1FE88A54-802F-4EFE-88F9-E6E876ADF5B1}" dt="2022-11-14T15:45:57.538" v="3285" actId="20577"/>
          <ac:spMkLst>
            <pc:docMk/>
            <pc:sldMk cId="3983689853" sldId="2076138149"/>
            <ac:spMk id="2" creationId="{04780803-BCEE-4DC1-96A4-0036E0F8AE67}"/>
          </ac:spMkLst>
        </pc:spChg>
        <pc:spChg chg="add mod">
          <ac:chgData name="Kawtar SADIQ" userId="65df04e4-2d23-4bab-afb0-40df8a2c1b9f" providerId="ADAL" clId="{1FE88A54-802F-4EFE-88F9-E6E876ADF5B1}" dt="2022-11-14T16:15:36.161" v="3370"/>
          <ac:spMkLst>
            <pc:docMk/>
            <pc:sldMk cId="3983689853" sldId="2076138149"/>
            <ac:spMk id="4" creationId="{99F0BC65-8D38-43A4-A568-E260A68341CC}"/>
          </ac:spMkLst>
        </pc:spChg>
      </pc:sldChg>
      <pc:sldChg chg="addSp delSp modSp mod">
        <pc:chgData name="Kawtar SADIQ" userId="65df04e4-2d23-4bab-afb0-40df8a2c1b9f" providerId="ADAL" clId="{1FE88A54-802F-4EFE-88F9-E6E876ADF5B1}" dt="2022-11-15T19:19:51.793" v="3567" actId="14100"/>
        <pc:sldMkLst>
          <pc:docMk/>
          <pc:sldMk cId="2794147504" sldId="2076138150"/>
        </pc:sldMkLst>
        <pc:spChg chg="mod">
          <ac:chgData name="Kawtar SADIQ" userId="65df04e4-2d23-4bab-afb0-40df8a2c1b9f" providerId="ADAL" clId="{1FE88A54-802F-4EFE-88F9-E6E876ADF5B1}" dt="2022-11-15T19:03:43.449" v="3487"/>
          <ac:spMkLst>
            <pc:docMk/>
            <pc:sldMk cId="2794147504" sldId="2076138150"/>
            <ac:spMk id="2" creationId="{D3C3D9AD-8FF9-46C3-929C-225D0EA7897F}"/>
          </ac:spMkLst>
        </pc:spChg>
        <pc:spChg chg="del">
          <ac:chgData name="Kawtar SADIQ" userId="65df04e4-2d23-4bab-afb0-40df8a2c1b9f" providerId="ADAL" clId="{1FE88A54-802F-4EFE-88F9-E6E876ADF5B1}" dt="2022-11-15T19:02:51.709" v="3423" actId="478"/>
          <ac:spMkLst>
            <pc:docMk/>
            <pc:sldMk cId="2794147504" sldId="2076138150"/>
            <ac:spMk id="3" creationId="{5D12D062-2A06-41C1-9D97-C83AD57BAFB5}"/>
          </ac:spMkLst>
        </pc:spChg>
        <pc:spChg chg="add mod ord">
          <ac:chgData name="Kawtar SADIQ" userId="65df04e4-2d23-4bab-afb0-40df8a2c1b9f" providerId="ADAL" clId="{1FE88A54-802F-4EFE-88F9-E6E876ADF5B1}" dt="2022-11-15T19:19:51.793" v="3567" actId="14100"/>
          <ac:spMkLst>
            <pc:docMk/>
            <pc:sldMk cId="2794147504" sldId="2076138150"/>
            <ac:spMk id="4" creationId="{2021E69A-ED9B-4852-8F3D-EFE5510DCDD9}"/>
          </ac:spMkLst>
        </pc:spChg>
        <pc:picChg chg="add mod">
          <ac:chgData name="Kawtar SADIQ" userId="65df04e4-2d23-4bab-afb0-40df8a2c1b9f" providerId="ADAL" clId="{1FE88A54-802F-4EFE-88F9-E6E876ADF5B1}" dt="2022-11-15T19:03:00.091" v="3428" actId="1076"/>
          <ac:picMkLst>
            <pc:docMk/>
            <pc:sldMk cId="2794147504" sldId="2076138150"/>
            <ac:picMk id="6" creationId="{49D284AB-AAA3-43BE-A4D8-9C546C72C3ED}"/>
          </ac:picMkLst>
        </pc:picChg>
      </pc:sldChg>
      <pc:sldChg chg="modSp mod">
        <pc:chgData name="Kawtar SADIQ" userId="65df04e4-2d23-4bab-afb0-40df8a2c1b9f" providerId="ADAL" clId="{1FE88A54-802F-4EFE-88F9-E6E876ADF5B1}" dt="2022-11-17T09:28:10.977" v="7582" actId="20577"/>
        <pc:sldMkLst>
          <pc:docMk/>
          <pc:sldMk cId="597395649" sldId="2076138151"/>
        </pc:sldMkLst>
        <pc:graphicFrameChg chg="mod modGraphic">
          <ac:chgData name="Kawtar SADIQ" userId="65df04e4-2d23-4bab-afb0-40df8a2c1b9f" providerId="ADAL" clId="{1FE88A54-802F-4EFE-88F9-E6E876ADF5B1}" dt="2022-11-17T09:28:10.977" v="7582" actId="20577"/>
          <ac:graphicFrameMkLst>
            <pc:docMk/>
            <pc:sldMk cId="597395649" sldId="2076138151"/>
            <ac:graphicFrameMk id="4" creationId="{56B5E6AA-A3D6-4848-B567-F17A8508B457}"/>
          </ac:graphicFrameMkLst>
        </pc:graphicFrameChg>
      </pc:sldChg>
      <pc:sldChg chg="addSp delSp modSp new del mod">
        <pc:chgData name="Kawtar SADIQ" userId="65df04e4-2d23-4bab-afb0-40df8a2c1b9f" providerId="ADAL" clId="{1FE88A54-802F-4EFE-88F9-E6E876ADF5B1}" dt="2022-11-14T15:49:45.022" v="3364" actId="47"/>
        <pc:sldMkLst>
          <pc:docMk/>
          <pc:sldMk cId="407439293" sldId="2076138152"/>
        </pc:sldMkLst>
        <pc:spChg chg="mod">
          <ac:chgData name="Kawtar SADIQ" userId="65df04e4-2d23-4bab-afb0-40df8a2c1b9f" providerId="ADAL" clId="{1FE88A54-802F-4EFE-88F9-E6E876ADF5B1}" dt="2022-11-09T14:51:55.574" v="118" actId="404"/>
          <ac:spMkLst>
            <pc:docMk/>
            <pc:sldMk cId="407439293" sldId="2076138152"/>
            <ac:spMk id="2" creationId="{05DDAB44-CE9B-4AB1-9CFF-086712FA8ABC}"/>
          </ac:spMkLst>
        </pc:spChg>
        <pc:spChg chg="del">
          <ac:chgData name="Kawtar SADIQ" userId="65df04e4-2d23-4bab-afb0-40df8a2c1b9f" providerId="ADAL" clId="{1FE88A54-802F-4EFE-88F9-E6E876ADF5B1}" dt="2022-11-10T19:17:38.319" v="1838" actId="478"/>
          <ac:spMkLst>
            <pc:docMk/>
            <pc:sldMk cId="407439293" sldId="2076138152"/>
            <ac:spMk id="3" creationId="{406B076E-FC4A-40CE-90F3-21EE770F462F}"/>
          </ac:spMkLst>
        </pc:spChg>
        <pc:spChg chg="add del mod">
          <ac:chgData name="Kawtar SADIQ" userId="65df04e4-2d23-4bab-afb0-40df8a2c1b9f" providerId="ADAL" clId="{1FE88A54-802F-4EFE-88F9-E6E876ADF5B1}" dt="2022-11-10T22:07:15.203" v="2018" actId="478"/>
          <ac:spMkLst>
            <pc:docMk/>
            <pc:sldMk cId="407439293" sldId="2076138152"/>
            <ac:spMk id="4" creationId="{CB827988-3FF8-405E-B3D3-20BC066340B8}"/>
          </ac:spMkLst>
        </pc:spChg>
        <pc:spChg chg="add del mod">
          <ac:chgData name="Kawtar SADIQ" userId="65df04e4-2d23-4bab-afb0-40df8a2c1b9f" providerId="ADAL" clId="{1FE88A54-802F-4EFE-88F9-E6E876ADF5B1}" dt="2022-11-10T22:07:15.203" v="2018" actId="478"/>
          <ac:spMkLst>
            <pc:docMk/>
            <pc:sldMk cId="407439293" sldId="2076138152"/>
            <ac:spMk id="5" creationId="{DF0EB63C-0AA4-441B-95B6-D32EE92528D9}"/>
          </ac:spMkLst>
        </pc:spChg>
        <pc:spChg chg="add del mod">
          <ac:chgData name="Kawtar SADIQ" userId="65df04e4-2d23-4bab-afb0-40df8a2c1b9f" providerId="ADAL" clId="{1FE88A54-802F-4EFE-88F9-E6E876ADF5B1}" dt="2022-11-10T22:07:15.203" v="2018" actId="478"/>
          <ac:spMkLst>
            <pc:docMk/>
            <pc:sldMk cId="407439293" sldId="2076138152"/>
            <ac:spMk id="7" creationId="{439985A3-649B-4667-AC06-BCD915504351}"/>
          </ac:spMkLst>
        </pc:spChg>
        <pc:spChg chg="add del mod">
          <ac:chgData name="Kawtar SADIQ" userId="65df04e4-2d23-4bab-afb0-40df8a2c1b9f" providerId="ADAL" clId="{1FE88A54-802F-4EFE-88F9-E6E876ADF5B1}" dt="2022-11-10T22:07:15.203" v="2018" actId="478"/>
          <ac:spMkLst>
            <pc:docMk/>
            <pc:sldMk cId="407439293" sldId="2076138152"/>
            <ac:spMk id="8" creationId="{3C154537-480C-42D8-8475-6A9D7AD3BFBB}"/>
          </ac:spMkLst>
        </pc:spChg>
        <pc:spChg chg="add del mod">
          <ac:chgData name="Kawtar SADIQ" userId="65df04e4-2d23-4bab-afb0-40df8a2c1b9f" providerId="ADAL" clId="{1FE88A54-802F-4EFE-88F9-E6E876ADF5B1}" dt="2022-11-10T19:17:53.076" v="1845" actId="478"/>
          <ac:spMkLst>
            <pc:docMk/>
            <pc:sldMk cId="407439293" sldId="2076138152"/>
            <ac:spMk id="9" creationId="{51A8EC18-D6C8-49F4-B1F9-35D6E8FDB0D9}"/>
          </ac:spMkLst>
        </pc:spChg>
        <pc:spChg chg="add del mod">
          <ac:chgData name="Kawtar SADIQ" userId="65df04e4-2d23-4bab-afb0-40df8a2c1b9f" providerId="ADAL" clId="{1FE88A54-802F-4EFE-88F9-E6E876ADF5B1}" dt="2022-11-10T19:17:53.076" v="1845" actId="478"/>
          <ac:spMkLst>
            <pc:docMk/>
            <pc:sldMk cId="407439293" sldId="2076138152"/>
            <ac:spMk id="10" creationId="{923693DD-F8C5-472B-B623-BA8147D3E9D5}"/>
          </ac:spMkLst>
        </pc:spChg>
        <pc:spChg chg="add del mod">
          <ac:chgData name="Kawtar SADIQ" userId="65df04e4-2d23-4bab-afb0-40df8a2c1b9f" providerId="ADAL" clId="{1FE88A54-802F-4EFE-88F9-E6E876ADF5B1}" dt="2022-11-10T19:17:53.076" v="1845" actId="478"/>
          <ac:spMkLst>
            <pc:docMk/>
            <pc:sldMk cId="407439293" sldId="2076138152"/>
            <ac:spMk id="11" creationId="{6DFC6CCB-6ACF-4CAF-B4DA-981D67D86F63}"/>
          </ac:spMkLst>
        </pc:spChg>
        <pc:spChg chg="add del mod">
          <ac:chgData name="Kawtar SADIQ" userId="65df04e4-2d23-4bab-afb0-40df8a2c1b9f" providerId="ADAL" clId="{1FE88A54-802F-4EFE-88F9-E6E876ADF5B1}" dt="2022-11-10T19:17:53.076" v="1845" actId="478"/>
          <ac:spMkLst>
            <pc:docMk/>
            <pc:sldMk cId="407439293" sldId="2076138152"/>
            <ac:spMk id="12" creationId="{CFB81C4F-7B4B-4E1E-849E-CFAD340DF677}"/>
          </ac:spMkLst>
        </pc:spChg>
        <pc:spChg chg="mod">
          <ac:chgData name="Kawtar SADIQ" userId="65df04e4-2d23-4bab-afb0-40df8a2c1b9f" providerId="ADAL" clId="{1FE88A54-802F-4EFE-88F9-E6E876ADF5B1}" dt="2022-11-10T19:17:35.356" v="1837"/>
          <ac:spMkLst>
            <pc:docMk/>
            <pc:sldMk cId="407439293" sldId="2076138152"/>
            <ac:spMk id="14" creationId="{B4ADCFAB-49B0-4D4D-9A7A-0D2B6868B1FD}"/>
          </ac:spMkLst>
        </pc:spChg>
        <pc:spChg chg="mod">
          <ac:chgData name="Kawtar SADIQ" userId="65df04e4-2d23-4bab-afb0-40df8a2c1b9f" providerId="ADAL" clId="{1FE88A54-802F-4EFE-88F9-E6E876ADF5B1}" dt="2022-11-10T19:17:35.356" v="1837"/>
          <ac:spMkLst>
            <pc:docMk/>
            <pc:sldMk cId="407439293" sldId="2076138152"/>
            <ac:spMk id="19" creationId="{FB74EC23-5214-49E0-ABCB-B55F8015B43E}"/>
          </ac:spMkLst>
        </pc:spChg>
        <pc:spChg chg="mod">
          <ac:chgData name="Kawtar SADIQ" userId="65df04e4-2d23-4bab-afb0-40df8a2c1b9f" providerId="ADAL" clId="{1FE88A54-802F-4EFE-88F9-E6E876ADF5B1}" dt="2022-11-10T19:17:35.356" v="1837"/>
          <ac:spMkLst>
            <pc:docMk/>
            <pc:sldMk cId="407439293" sldId="2076138152"/>
            <ac:spMk id="20" creationId="{737FB124-69C1-4248-A0A7-12241F38A1B6}"/>
          </ac:spMkLst>
        </pc:spChg>
        <pc:spChg chg="mod">
          <ac:chgData name="Kawtar SADIQ" userId="65df04e4-2d23-4bab-afb0-40df8a2c1b9f" providerId="ADAL" clId="{1FE88A54-802F-4EFE-88F9-E6E876ADF5B1}" dt="2022-11-10T19:17:35.356" v="1837"/>
          <ac:spMkLst>
            <pc:docMk/>
            <pc:sldMk cId="407439293" sldId="2076138152"/>
            <ac:spMk id="23" creationId="{602ACBF0-A95A-4B9B-BC8C-EDAA7B617D5F}"/>
          </ac:spMkLst>
        </pc:spChg>
        <pc:spChg chg="mod">
          <ac:chgData name="Kawtar SADIQ" userId="65df04e4-2d23-4bab-afb0-40df8a2c1b9f" providerId="ADAL" clId="{1FE88A54-802F-4EFE-88F9-E6E876ADF5B1}" dt="2022-11-10T19:17:35.356" v="1837"/>
          <ac:spMkLst>
            <pc:docMk/>
            <pc:sldMk cId="407439293" sldId="2076138152"/>
            <ac:spMk id="24" creationId="{E3851E1F-8054-44FE-98F3-C07FFBE930F3}"/>
          </ac:spMkLst>
        </pc:spChg>
        <pc:spChg chg="add del mod">
          <ac:chgData name="Kawtar SADIQ" userId="65df04e4-2d23-4bab-afb0-40df8a2c1b9f" providerId="ADAL" clId="{1FE88A54-802F-4EFE-88F9-E6E876ADF5B1}" dt="2022-11-10T22:07:15.203" v="2018" actId="478"/>
          <ac:spMkLst>
            <pc:docMk/>
            <pc:sldMk cId="407439293" sldId="2076138152"/>
            <ac:spMk id="25" creationId="{57E7FBC8-25C2-480D-9B1F-9A535A67633F}"/>
          </ac:spMkLst>
        </pc:spChg>
        <pc:spChg chg="add del mod">
          <ac:chgData name="Kawtar SADIQ" userId="65df04e4-2d23-4bab-afb0-40df8a2c1b9f" providerId="ADAL" clId="{1FE88A54-802F-4EFE-88F9-E6E876ADF5B1}" dt="2022-11-10T22:08:50.735" v="2033" actId="478"/>
          <ac:spMkLst>
            <pc:docMk/>
            <pc:sldMk cId="407439293" sldId="2076138152"/>
            <ac:spMk id="26" creationId="{F358A3D8-1658-4B25-B8DD-17E7CC8734B1}"/>
          </ac:spMkLst>
        </pc:spChg>
        <pc:spChg chg="add mod">
          <ac:chgData name="Kawtar SADIQ" userId="65df04e4-2d23-4bab-afb0-40df8a2c1b9f" providerId="ADAL" clId="{1FE88A54-802F-4EFE-88F9-E6E876ADF5B1}" dt="2022-11-10T22:08:54.656" v="2035" actId="20577"/>
          <ac:spMkLst>
            <pc:docMk/>
            <pc:sldMk cId="407439293" sldId="2076138152"/>
            <ac:spMk id="27" creationId="{5E43F887-DAB2-494F-A515-C2432D6B41C1}"/>
          </ac:spMkLst>
        </pc:spChg>
        <pc:grpChg chg="add del mod">
          <ac:chgData name="Kawtar SADIQ" userId="65df04e4-2d23-4bab-afb0-40df8a2c1b9f" providerId="ADAL" clId="{1FE88A54-802F-4EFE-88F9-E6E876ADF5B1}" dt="2022-11-10T19:17:48.807" v="1844" actId="478"/>
          <ac:grpSpMkLst>
            <pc:docMk/>
            <pc:sldMk cId="407439293" sldId="2076138152"/>
            <ac:grpSpMk id="13" creationId="{4387E6C4-0132-457A-858D-7D61101540EE}"/>
          </ac:grpSpMkLst>
        </pc:grpChg>
        <pc:grpChg chg="mod">
          <ac:chgData name="Kawtar SADIQ" userId="65df04e4-2d23-4bab-afb0-40df8a2c1b9f" providerId="ADAL" clId="{1FE88A54-802F-4EFE-88F9-E6E876ADF5B1}" dt="2022-11-10T19:17:35.356" v="1837"/>
          <ac:grpSpMkLst>
            <pc:docMk/>
            <pc:sldMk cId="407439293" sldId="2076138152"/>
            <ac:grpSpMk id="15" creationId="{877FA4C4-CA53-4736-AC0C-E39832619F3A}"/>
          </ac:grpSpMkLst>
        </pc:grpChg>
        <pc:grpChg chg="mod">
          <ac:chgData name="Kawtar SADIQ" userId="65df04e4-2d23-4bab-afb0-40df8a2c1b9f" providerId="ADAL" clId="{1FE88A54-802F-4EFE-88F9-E6E876ADF5B1}" dt="2022-11-10T19:17:35.356" v="1837"/>
          <ac:grpSpMkLst>
            <pc:docMk/>
            <pc:sldMk cId="407439293" sldId="2076138152"/>
            <ac:grpSpMk id="16" creationId="{B772839A-C793-4162-B6C1-E5EAA3FFF96C}"/>
          </ac:grpSpMkLst>
        </pc:grpChg>
        <pc:grpChg chg="mod">
          <ac:chgData name="Kawtar SADIQ" userId="65df04e4-2d23-4bab-afb0-40df8a2c1b9f" providerId="ADAL" clId="{1FE88A54-802F-4EFE-88F9-E6E876ADF5B1}" dt="2022-11-10T19:17:35.356" v="1837"/>
          <ac:grpSpMkLst>
            <pc:docMk/>
            <pc:sldMk cId="407439293" sldId="2076138152"/>
            <ac:grpSpMk id="17" creationId="{37CD51FE-EB47-472A-A12B-53A5B43B17FC}"/>
          </ac:grpSpMkLst>
        </pc:grpChg>
        <pc:grpChg chg="mod">
          <ac:chgData name="Kawtar SADIQ" userId="65df04e4-2d23-4bab-afb0-40df8a2c1b9f" providerId="ADAL" clId="{1FE88A54-802F-4EFE-88F9-E6E876ADF5B1}" dt="2022-11-10T19:17:35.356" v="1837"/>
          <ac:grpSpMkLst>
            <pc:docMk/>
            <pc:sldMk cId="407439293" sldId="2076138152"/>
            <ac:grpSpMk id="21" creationId="{0A55CCAA-C2C4-4DFF-9F04-89343D6FDDB9}"/>
          </ac:grpSpMkLst>
        </pc:grpChg>
        <pc:picChg chg="mod">
          <ac:chgData name="Kawtar SADIQ" userId="65df04e4-2d23-4bab-afb0-40df8a2c1b9f" providerId="ADAL" clId="{1FE88A54-802F-4EFE-88F9-E6E876ADF5B1}" dt="2022-11-10T19:17:35.356" v="1837"/>
          <ac:picMkLst>
            <pc:docMk/>
            <pc:sldMk cId="407439293" sldId="2076138152"/>
            <ac:picMk id="18" creationId="{D2F9111C-7758-4E48-AE46-360E4AB2FDC7}"/>
          </ac:picMkLst>
        </pc:picChg>
        <pc:picChg chg="mod">
          <ac:chgData name="Kawtar SADIQ" userId="65df04e4-2d23-4bab-afb0-40df8a2c1b9f" providerId="ADAL" clId="{1FE88A54-802F-4EFE-88F9-E6E876ADF5B1}" dt="2022-11-10T19:17:35.356" v="1837"/>
          <ac:picMkLst>
            <pc:docMk/>
            <pc:sldMk cId="407439293" sldId="2076138152"/>
            <ac:picMk id="22" creationId="{29CF99BC-4CA5-41C9-BCF7-5837D7BAF404}"/>
          </ac:picMkLst>
        </pc:picChg>
        <pc:cxnChg chg="add del mod">
          <ac:chgData name="Kawtar SADIQ" userId="65df04e4-2d23-4bab-afb0-40df8a2c1b9f" providerId="ADAL" clId="{1FE88A54-802F-4EFE-88F9-E6E876ADF5B1}" dt="2022-11-10T22:07:15.203" v="2018" actId="478"/>
          <ac:cxnSpMkLst>
            <pc:docMk/>
            <pc:sldMk cId="407439293" sldId="2076138152"/>
            <ac:cxnSpMk id="6" creationId="{FCF12350-5F4D-4525-ACA9-685E5C7B6629}"/>
          </ac:cxnSpMkLst>
        </pc:cxnChg>
      </pc:sldChg>
      <pc:sldChg chg="addSp delSp modSp new mod">
        <pc:chgData name="Kawtar SADIQ" userId="65df04e4-2d23-4bab-afb0-40df8a2c1b9f" providerId="ADAL" clId="{1FE88A54-802F-4EFE-88F9-E6E876ADF5B1}" dt="2022-11-10T22:09:20.399" v="2046" actId="20577"/>
        <pc:sldMkLst>
          <pc:docMk/>
          <pc:sldMk cId="116082956" sldId="2076138153"/>
        </pc:sldMkLst>
        <pc:spChg chg="mod">
          <ac:chgData name="Kawtar SADIQ" userId="65df04e4-2d23-4bab-afb0-40df8a2c1b9f" providerId="ADAL" clId="{1FE88A54-802F-4EFE-88F9-E6E876ADF5B1}" dt="2022-11-09T14:49:59.540" v="105" actId="20577"/>
          <ac:spMkLst>
            <pc:docMk/>
            <pc:sldMk cId="116082956" sldId="2076138153"/>
            <ac:spMk id="2" creationId="{E11BF5BD-75C4-4E77-9598-7225EFF82CC5}"/>
          </ac:spMkLst>
        </pc:spChg>
        <pc:spChg chg="del">
          <ac:chgData name="Kawtar SADIQ" userId="65df04e4-2d23-4bab-afb0-40df8a2c1b9f" providerId="ADAL" clId="{1FE88A54-802F-4EFE-88F9-E6E876ADF5B1}" dt="2022-11-10T19:21:31.114" v="1902" actId="478"/>
          <ac:spMkLst>
            <pc:docMk/>
            <pc:sldMk cId="116082956" sldId="2076138153"/>
            <ac:spMk id="3" creationId="{B6A2728A-785F-4332-8135-EB7EABE0D9E4}"/>
          </ac:spMkLst>
        </pc:spChg>
        <pc:spChg chg="add del mod">
          <ac:chgData name="Kawtar SADIQ" userId="65df04e4-2d23-4bab-afb0-40df8a2c1b9f" providerId="ADAL" clId="{1FE88A54-802F-4EFE-88F9-E6E876ADF5B1}" dt="2022-11-10T22:07:04.235" v="2017" actId="478"/>
          <ac:spMkLst>
            <pc:docMk/>
            <pc:sldMk cId="116082956" sldId="2076138153"/>
            <ac:spMk id="4" creationId="{DFE4ECB6-193A-41CD-8C1D-5A9AA8C9E006}"/>
          </ac:spMkLst>
        </pc:spChg>
        <pc:spChg chg="add del mod">
          <ac:chgData name="Kawtar SADIQ" userId="65df04e4-2d23-4bab-afb0-40df8a2c1b9f" providerId="ADAL" clId="{1FE88A54-802F-4EFE-88F9-E6E876ADF5B1}" dt="2022-11-10T22:07:04.235" v="2017" actId="478"/>
          <ac:spMkLst>
            <pc:docMk/>
            <pc:sldMk cId="116082956" sldId="2076138153"/>
            <ac:spMk id="9" creationId="{B9D16533-3C4E-49F8-8625-77A29914D708}"/>
          </ac:spMkLst>
        </pc:spChg>
        <pc:spChg chg="add del mod">
          <ac:chgData name="Kawtar SADIQ" userId="65df04e4-2d23-4bab-afb0-40df8a2c1b9f" providerId="ADAL" clId="{1FE88A54-802F-4EFE-88F9-E6E876ADF5B1}" dt="2022-11-10T22:07:04.235" v="2017" actId="478"/>
          <ac:spMkLst>
            <pc:docMk/>
            <pc:sldMk cId="116082956" sldId="2076138153"/>
            <ac:spMk id="10" creationId="{2C1BE3D3-AF86-4F00-99E9-C106820D1EEC}"/>
          </ac:spMkLst>
        </pc:spChg>
        <pc:spChg chg="add del mod">
          <ac:chgData name="Kawtar SADIQ" userId="65df04e4-2d23-4bab-afb0-40df8a2c1b9f" providerId="ADAL" clId="{1FE88A54-802F-4EFE-88F9-E6E876ADF5B1}" dt="2022-11-10T22:07:04.235" v="2017" actId="478"/>
          <ac:spMkLst>
            <pc:docMk/>
            <pc:sldMk cId="116082956" sldId="2076138153"/>
            <ac:spMk id="11" creationId="{C292AB15-E768-45D5-AD2A-5C819B23BD9F}"/>
          </ac:spMkLst>
        </pc:spChg>
        <pc:spChg chg="add del mod">
          <ac:chgData name="Kawtar SADIQ" userId="65df04e4-2d23-4bab-afb0-40df8a2c1b9f" providerId="ADAL" clId="{1FE88A54-802F-4EFE-88F9-E6E876ADF5B1}" dt="2022-11-10T22:07:04.235" v="2017" actId="478"/>
          <ac:spMkLst>
            <pc:docMk/>
            <pc:sldMk cId="116082956" sldId="2076138153"/>
            <ac:spMk id="13" creationId="{E22D3A68-8C63-4250-BAEB-59D55544985D}"/>
          </ac:spMkLst>
        </pc:spChg>
        <pc:spChg chg="add del mod">
          <ac:chgData name="Kawtar SADIQ" userId="65df04e4-2d23-4bab-afb0-40df8a2c1b9f" providerId="ADAL" clId="{1FE88A54-802F-4EFE-88F9-E6E876ADF5B1}" dt="2022-11-10T22:07:04.235" v="2017" actId="478"/>
          <ac:spMkLst>
            <pc:docMk/>
            <pc:sldMk cId="116082956" sldId="2076138153"/>
            <ac:spMk id="15" creationId="{864E3EB6-63A0-4187-87C2-15847F11EF55}"/>
          </ac:spMkLst>
        </pc:spChg>
        <pc:spChg chg="add mod">
          <ac:chgData name="Kawtar SADIQ" userId="65df04e4-2d23-4bab-afb0-40df8a2c1b9f" providerId="ADAL" clId="{1FE88A54-802F-4EFE-88F9-E6E876ADF5B1}" dt="2022-11-10T19:22:06.950" v="1918" actId="20577"/>
          <ac:spMkLst>
            <pc:docMk/>
            <pc:sldMk cId="116082956" sldId="2076138153"/>
            <ac:spMk id="17" creationId="{081C14F2-F0CF-453C-B5E6-3AB28B427042}"/>
          </ac:spMkLst>
        </pc:spChg>
        <pc:spChg chg="add del mod">
          <ac:chgData name="Kawtar SADIQ" userId="65df04e4-2d23-4bab-afb0-40df8a2c1b9f" providerId="ADAL" clId="{1FE88A54-802F-4EFE-88F9-E6E876ADF5B1}" dt="2022-11-10T22:07:04.235" v="2017" actId="478"/>
          <ac:spMkLst>
            <pc:docMk/>
            <pc:sldMk cId="116082956" sldId="2076138153"/>
            <ac:spMk id="18" creationId="{59C85CC0-8072-4FC5-A63C-53061F14896F}"/>
          </ac:spMkLst>
        </pc:spChg>
        <pc:spChg chg="add del mod">
          <ac:chgData name="Kawtar SADIQ" userId="65df04e4-2d23-4bab-afb0-40df8a2c1b9f" providerId="ADAL" clId="{1FE88A54-802F-4EFE-88F9-E6E876ADF5B1}" dt="2022-11-10T19:21:48.533" v="1908" actId="478"/>
          <ac:spMkLst>
            <pc:docMk/>
            <pc:sldMk cId="116082956" sldId="2076138153"/>
            <ac:spMk id="20" creationId="{3FA02F56-7638-4F89-A411-3FCB87E1373A}"/>
          </ac:spMkLst>
        </pc:spChg>
        <pc:spChg chg="add del mod">
          <ac:chgData name="Kawtar SADIQ" userId="65df04e4-2d23-4bab-afb0-40df8a2c1b9f" providerId="ADAL" clId="{1FE88A54-802F-4EFE-88F9-E6E876ADF5B1}" dt="2022-11-10T19:21:48.533" v="1908" actId="478"/>
          <ac:spMkLst>
            <pc:docMk/>
            <pc:sldMk cId="116082956" sldId="2076138153"/>
            <ac:spMk id="21" creationId="{D7CDB2B8-A54F-4E0A-A009-B0FECC0BFF69}"/>
          </ac:spMkLst>
        </pc:spChg>
        <pc:spChg chg="add del mod">
          <ac:chgData name="Kawtar SADIQ" userId="65df04e4-2d23-4bab-afb0-40df8a2c1b9f" providerId="ADAL" clId="{1FE88A54-802F-4EFE-88F9-E6E876ADF5B1}" dt="2022-11-10T19:21:48.533" v="1908" actId="478"/>
          <ac:spMkLst>
            <pc:docMk/>
            <pc:sldMk cId="116082956" sldId="2076138153"/>
            <ac:spMk id="22" creationId="{0C4163D8-104D-469D-96BB-EEFAB1E53F96}"/>
          </ac:spMkLst>
        </pc:spChg>
        <pc:spChg chg="add del mod">
          <ac:chgData name="Kawtar SADIQ" userId="65df04e4-2d23-4bab-afb0-40df8a2c1b9f" providerId="ADAL" clId="{1FE88A54-802F-4EFE-88F9-E6E876ADF5B1}" dt="2022-11-10T19:21:48.533" v="1908" actId="478"/>
          <ac:spMkLst>
            <pc:docMk/>
            <pc:sldMk cId="116082956" sldId="2076138153"/>
            <ac:spMk id="23" creationId="{D8A28026-5085-4AA1-8A2C-2100EDF77D9B}"/>
          </ac:spMkLst>
        </pc:spChg>
        <pc:spChg chg="add mod">
          <ac:chgData name="Kawtar SADIQ" userId="65df04e4-2d23-4bab-afb0-40df8a2c1b9f" providerId="ADAL" clId="{1FE88A54-802F-4EFE-88F9-E6E876ADF5B1}" dt="2022-11-10T22:09:20.399" v="2046" actId="20577"/>
          <ac:spMkLst>
            <pc:docMk/>
            <pc:sldMk cId="116082956" sldId="2076138153"/>
            <ac:spMk id="25" creationId="{098DFD5D-1702-4E03-B53D-63931A7B4AF8}"/>
          </ac:spMkLst>
        </pc:spChg>
        <pc:graphicFrameChg chg="add del mod">
          <ac:chgData name="Kawtar SADIQ" userId="65df04e4-2d23-4bab-afb0-40df8a2c1b9f" providerId="ADAL" clId="{1FE88A54-802F-4EFE-88F9-E6E876ADF5B1}" dt="2022-11-10T19:21:53.680" v="1909" actId="478"/>
          <ac:graphicFrameMkLst>
            <pc:docMk/>
            <pc:sldMk cId="116082956" sldId="2076138153"/>
            <ac:graphicFrameMk id="19" creationId="{696C7C73-75D0-49BD-87BD-0DBDA433A33C}"/>
          </ac:graphicFrameMkLst>
        </pc:graphicFrameChg>
        <pc:picChg chg="add del mod">
          <ac:chgData name="Kawtar SADIQ" userId="65df04e4-2d23-4bab-afb0-40df8a2c1b9f" providerId="ADAL" clId="{1FE88A54-802F-4EFE-88F9-E6E876ADF5B1}" dt="2022-11-10T22:07:04.235" v="2017" actId="478"/>
          <ac:picMkLst>
            <pc:docMk/>
            <pc:sldMk cId="116082956" sldId="2076138153"/>
            <ac:picMk id="5" creationId="{8D4A21DA-4CA0-49B7-AD78-0F9B8A7532E6}"/>
          </ac:picMkLst>
        </pc:picChg>
        <pc:picChg chg="add del mod">
          <ac:chgData name="Kawtar SADIQ" userId="65df04e4-2d23-4bab-afb0-40df8a2c1b9f" providerId="ADAL" clId="{1FE88A54-802F-4EFE-88F9-E6E876ADF5B1}" dt="2022-11-10T22:07:04.235" v="2017" actId="478"/>
          <ac:picMkLst>
            <pc:docMk/>
            <pc:sldMk cId="116082956" sldId="2076138153"/>
            <ac:picMk id="6" creationId="{CCA51F63-3D45-49D1-A294-FEE7069F69F3}"/>
          </ac:picMkLst>
        </pc:picChg>
        <pc:picChg chg="add del mod">
          <ac:chgData name="Kawtar SADIQ" userId="65df04e4-2d23-4bab-afb0-40df8a2c1b9f" providerId="ADAL" clId="{1FE88A54-802F-4EFE-88F9-E6E876ADF5B1}" dt="2022-11-10T22:07:04.235" v="2017" actId="478"/>
          <ac:picMkLst>
            <pc:docMk/>
            <pc:sldMk cId="116082956" sldId="2076138153"/>
            <ac:picMk id="7" creationId="{917A7A55-7496-4AA5-B913-66B9922A7AB0}"/>
          </ac:picMkLst>
        </pc:picChg>
        <pc:picChg chg="add del mod">
          <ac:chgData name="Kawtar SADIQ" userId="65df04e4-2d23-4bab-afb0-40df8a2c1b9f" providerId="ADAL" clId="{1FE88A54-802F-4EFE-88F9-E6E876ADF5B1}" dt="2022-11-10T22:07:04.235" v="2017" actId="478"/>
          <ac:picMkLst>
            <pc:docMk/>
            <pc:sldMk cId="116082956" sldId="2076138153"/>
            <ac:picMk id="24" creationId="{07A552B2-1363-45E7-BB1D-2B6DAE61A8ED}"/>
          </ac:picMkLst>
        </pc:picChg>
        <pc:cxnChg chg="add del mod">
          <ac:chgData name="Kawtar SADIQ" userId="65df04e4-2d23-4bab-afb0-40df8a2c1b9f" providerId="ADAL" clId="{1FE88A54-802F-4EFE-88F9-E6E876ADF5B1}" dt="2022-11-10T22:07:04.235" v="2017" actId="478"/>
          <ac:cxnSpMkLst>
            <pc:docMk/>
            <pc:sldMk cId="116082956" sldId="2076138153"/>
            <ac:cxnSpMk id="8" creationId="{9B35EB87-18EF-4C68-8104-C08FBB737A15}"/>
          </ac:cxnSpMkLst>
        </pc:cxnChg>
        <pc:cxnChg chg="add del mod">
          <ac:chgData name="Kawtar SADIQ" userId="65df04e4-2d23-4bab-afb0-40df8a2c1b9f" providerId="ADAL" clId="{1FE88A54-802F-4EFE-88F9-E6E876ADF5B1}" dt="2022-11-10T22:07:04.235" v="2017" actId="478"/>
          <ac:cxnSpMkLst>
            <pc:docMk/>
            <pc:sldMk cId="116082956" sldId="2076138153"/>
            <ac:cxnSpMk id="12" creationId="{5FBBD91D-8660-43E8-AAAC-8ECF816A7DB7}"/>
          </ac:cxnSpMkLst>
        </pc:cxnChg>
        <pc:cxnChg chg="add del mod">
          <ac:chgData name="Kawtar SADIQ" userId="65df04e4-2d23-4bab-afb0-40df8a2c1b9f" providerId="ADAL" clId="{1FE88A54-802F-4EFE-88F9-E6E876ADF5B1}" dt="2022-11-10T22:07:04.235" v="2017" actId="478"/>
          <ac:cxnSpMkLst>
            <pc:docMk/>
            <pc:sldMk cId="116082956" sldId="2076138153"/>
            <ac:cxnSpMk id="14" creationId="{CA362DFC-94B7-4CD5-8459-C95A5EA44217}"/>
          </ac:cxnSpMkLst>
        </pc:cxnChg>
        <pc:cxnChg chg="add del mod">
          <ac:chgData name="Kawtar SADIQ" userId="65df04e4-2d23-4bab-afb0-40df8a2c1b9f" providerId="ADAL" clId="{1FE88A54-802F-4EFE-88F9-E6E876ADF5B1}" dt="2022-11-10T22:07:04.235" v="2017" actId="478"/>
          <ac:cxnSpMkLst>
            <pc:docMk/>
            <pc:sldMk cId="116082956" sldId="2076138153"/>
            <ac:cxnSpMk id="16" creationId="{B8AE57C4-69CE-4608-8DDB-7E6E3218F160}"/>
          </ac:cxnSpMkLst>
        </pc:cxnChg>
      </pc:sldChg>
      <pc:sldChg chg="addSp modSp new mod">
        <pc:chgData name="Kawtar SADIQ" userId="65df04e4-2d23-4bab-afb0-40df8a2c1b9f" providerId="ADAL" clId="{1FE88A54-802F-4EFE-88F9-E6E876ADF5B1}" dt="2022-11-10T22:09:44.461" v="2058" actId="20577"/>
        <pc:sldMkLst>
          <pc:docMk/>
          <pc:sldMk cId="645111974" sldId="2076138154"/>
        </pc:sldMkLst>
        <pc:spChg chg="mod">
          <ac:chgData name="Kawtar SADIQ" userId="65df04e4-2d23-4bab-afb0-40df8a2c1b9f" providerId="ADAL" clId="{1FE88A54-802F-4EFE-88F9-E6E876ADF5B1}" dt="2022-11-09T14:50:22.855" v="116" actId="20577"/>
          <ac:spMkLst>
            <pc:docMk/>
            <pc:sldMk cId="645111974" sldId="2076138154"/>
            <ac:spMk id="2" creationId="{85872176-F990-4537-AFE7-17C0325EB289}"/>
          </ac:spMkLst>
        </pc:spChg>
        <pc:spChg chg="mod">
          <ac:chgData name="Kawtar SADIQ" userId="65df04e4-2d23-4bab-afb0-40df8a2c1b9f" providerId="ADAL" clId="{1FE88A54-802F-4EFE-88F9-E6E876ADF5B1}" dt="2022-11-09T14:50:19.193" v="108" actId="14100"/>
          <ac:spMkLst>
            <pc:docMk/>
            <pc:sldMk cId="645111974" sldId="2076138154"/>
            <ac:spMk id="3" creationId="{1528E631-D4B0-42DF-A807-17F3FC9A5042}"/>
          </ac:spMkLst>
        </pc:spChg>
        <pc:spChg chg="add mod">
          <ac:chgData name="Kawtar SADIQ" userId="65df04e4-2d23-4bab-afb0-40df8a2c1b9f" providerId="ADAL" clId="{1FE88A54-802F-4EFE-88F9-E6E876ADF5B1}" dt="2022-11-10T22:09:44.461" v="2058" actId="20577"/>
          <ac:spMkLst>
            <pc:docMk/>
            <pc:sldMk cId="645111974" sldId="2076138154"/>
            <ac:spMk id="4" creationId="{AA20787B-2ED2-4A39-9728-2BF67294D6C0}"/>
          </ac:spMkLst>
        </pc:spChg>
      </pc:sldChg>
      <pc:sldChg chg="addSp delSp modSp new mod ord">
        <pc:chgData name="Kawtar SADIQ" userId="65df04e4-2d23-4bab-afb0-40df8a2c1b9f" providerId="ADAL" clId="{1FE88A54-802F-4EFE-88F9-E6E876ADF5B1}" dt="2022-11-16T13:46:34.528" v="5960" actId="21"/>
        <pc:sldMkLst>
          <pc:docMk/>
          <pc:sldMk cId="3219227806" sldId="2076138155"/>
        </pc:sldMkLst>
        <pc:spChg chg="mod">
          <ac:chgData name="Kawtar SADIQ" userId="65df04e4-2d23-4bab-afb0-40df8a2c1b9f" providerId="ADAL" clId="{1FE88A54-802F-4EFE-88F9-E6E876ADF5B1}" dt="2022-11-09T14:49:27.631" v="91" actId="20577"/>
          <ac:spMkLst>
            <pc:docMk/>
            <pc:sldMk cId="3219227806" sldId="2076138155"/>
            <ac:spMk id="2" creationId="{4CF5DAA6-4A84-40C5-BA7F-150C587FCA9E}"/>
          </ac:spMkLst>
        </pc:spChg>
        <pc:spChg chg="add del mod">
          <ac:chgData name="Kawtar SADIQ" userId="65df04e4-2d23-4bab-afb0-40df8a2c1b9f" providerId="ADAL" clId="{1FE88A54-802F-4EFE-88F9-E6E876ADF5B1}" dt="2022-11-16T13:45:18.877" v="5943" actId="478"/>
          <ac:spMkLst>
            <pc:docMk/>
            <pc:sldMk cId="3219227806" sldId="2076138155"/>
            <ac:spMk id="3" creationId="{B9B23441-6020-4F2F-B8D4-87D3652DE1DD}"/>
          </ac:spMkLst>
        </pc:spChg>
        <pc:spChg chg="del mod">
          <ac:chgData name="Kawtar SADIQ" userId="65df04e4-2d23-4bab-afb0-40df8a2c1b9f" providerId="ADAL" clId="{1FE88A54-802F-4EFE-88F9-E6E876ADF5B1}" dt="2022-11-10T19:19:06.554" v="1854" actId="478"/>
          <ac:spMkLst>
            <pc:docMk/>
            <pc:sldMk cId="3219227806" sldId="2076138155"/>
            <ac:spMk id="3" creationId="{C71ACBD0-65A0-48AA-81BB-5EAC256041E7}"/>
          </ac:spMkLst>
        </pc:spChg>
        <pc:spChg chg="del mod">
          <ac:chgData name="Kawtar SADIQ" userId="65df04e4-2d23-4bab-afb0-40df8a2c1b9f" providerId="ADAL" clId="{1FE88A54-802F-4EFE-88F9-E6E876ADF5B1}" dt="2022-11-16T13:46:34.528" v="5960" actId="21"/>
          <ac:spMkLst>
            <pc:docMk/>
            <pc:sldMk cId="3219227806" sldId="2076138155"/>
            <ac:spMk id="4" creationId="{E27276BD-59C8-0E82-A73D-33B147375313}"/>
          </ac:spMkLst>
        </pc:spChg>
        <pc:spChg chg="add del mod">
          <ac:chgData name="Kawtar SADIQ" userId="65df04e4-2d23-4bab-afb0-40df8a2c1b9f" providerId="ADAL" clId="{1FE88A54-802F-4EFE-88F9-E6E876ADF5B1}" dt="2022-11-10T19:22:36.853" v="1935" actId="478"/>
          <ac:spMkLst>
            <pc:docMk/>
            <pc:sldMk cId="3219227806" sldId="2076138155"/>
            <ac:spMk id="8" creationId="{04BBB331-0AE8-4905-87D5-34B4144D5452}"/>
          </ac:spMkLst>
        </pc:spChg>
        <pc:spChg chg="add del mod">
          <ac:chgData name="Kawtar SADIQ" userId="65df04e4-2d23-4bab-afb0-40df8a2c1b9f" providerId="ADAL" clId="{1FE88A54-802F-4EFE-88F9-E6E876ADF5B1}" dt="2022-11-10T19:22:36.853" v="1935" actId="478"/>
          <ac:spMkLst>
            <pc:docMk/>
            <pc:sldMk cId="3219227806" sldId="2076138155"/>
            <ac:spMk id="9" creationId="{1F19DF1A-01A3-4AD1-9A1B-C036520EE0DB}"/>
          </ac:spMkLst>
        </pc:spChg>
        <pc:spChg chg="add del mod">
          <ac:chgData name="Kawtar SADIQ" userId="65df04e4-2d23-4bab-afb0-40df8a2c1b9f" providerId="ADAL" clId="{1FE88A54-802F-4EFE-88F9-E6E876ADF5B1}" dt="2022-11-10T19:22:36.853" v="1935" actId="478"/>
          <ac:spMkLst>
            <pc:docMk/>
            <pc:sldMk cId="3219227806" sldId="2076138155"/>
            <ac:spMk id="11" creationId="{DE852B98-54E8-47B8-9B21-84AF79192811}"/>
          </ac:spMkLst>
        </pc:spChg>
        <pc:spChg chg="add del mod">
          <ac:chgData name="Kawtar SADIQ" userId="65df04e4-2d23-4bab-afb0-40df8a2c1b9f" providerId="ADAL" clId="{1FE88A54-802F-4EFE-88F9-E6E876ADF5B1}" dt="2022-11-10T19:19:52.365" v="1885" actId="478"/>
          <ac:spMkLst>
            <pc:docMk/>
            <pc:sldMk cId="3219227806" sldId="2076138155"/>
            <ac:spMk id="12" creationId="{7C402B9B-0974-4654-B03E-CA5085F0D336}"/>
          </ac:spMkLst>
        </pc:spChg>
        <pc:spChg chg="add del mod">
          <ac:chgData name="Kawtar SADIQ" userId="65df04e4-2d23-4bab-afb0-40df8a2c1b9f" providerId="ADAL" clId="{1FE88A54-802F-4EFE-88F9-E6E876ADF5B1}" dt="2022-11-10T19:19:50.887" v="1884" actId="478"/>
          <ac:spMkLst>
            <pc:docMk/>
            <pc:sldMk cId="3219227806" sldId="2076138155"/>
            <ac:spMk id="13" creationId="{35FE7F05-159D-4354-A96C-37003D3D69E7}"/>
          </ac:spMkLst>
        </pc:spChg>
        <pc:spChg chg="add del mod">
          <ac:chgData name="Kawtar SADIQ" userId="65df04e4-2d23-4bab-afb0-40df8a2c1b9f" providerId="ADAL" clId="{1FE88A54-802F-4EFE-88F9-E6E876ADF5B1}" dt="2022-11-10T19:19:47.834" v="1883" actId="478"/>
          <ac:spMkLst>
            <pc:docMk/>
            <pc:sldMk cId="3219227806" sldId="2076138155"/>
            <ac:spMk id="14" creationId="{CA8EEC8C-332E-4CE4-BE0F-A7A6BCCA1F1E}"/>
          </ac:spMkLst>
        </pc:spChg>
        <pc:spChg chg="add del mod">
          <ac:chgData name="Kawtar SADIQ" userId="65df04e4-2d23-4bab-afb0-40df8a2c1b9f" providerId="ADAL" clId="{1FE88A54-802F-4EFE-88F9-E6E876ADF5B1}" dt="2022-11-10T19:19:47.834" v="1883" actId="478"/>
          <ac:spMkLst>
            <pc:docMk/>
            <pc:sldMk cId="3219227806" sldId="2076138155"/>
            <ac:spMk id="15" creationId="{C64AB394-0800-4CC5-8AE6-169523099F5D}"/>
          </ac:spMkLst>
        </pc:spChg>
        <pc:spChg chg="add del mod">
          <ac:chgData name="Kawtar SADIQ" userId="65df04e4-2d23-4bab-afb0-40df8a2c1b9f" providerId="ADAL" clId="{1FE88A54-802F-4EFE-88F9-E6E876ADF5B1}" dt="2022-11-10T19:19:47.834" v="1883" actId="478"/>
          <ac:spMkLst>
            <pc:docMk/>
            <pc:sldMk cId="3219227806" sldId="2076138155"/>
            <ac:spMk id="16" creationId="{6404486A-5975-46B7-89D1-05A3BC0338DC}"/>
          </ac:spMkLst>
        </pc:spChg>
        <pc:spChg chg="add del mod">
          <ac:chgData name="Kawtar SADIQ" userId="65df04e4-2d23-4bab-afb0-40df8a2c1b9f" providerId="ADAL" clId="{1FE88A54-802F-4EFE-88F9-E6E876ADF5B1}" dt="2022-11-10T19:19:47.834" v="1883" actId="478"/>
          <ac:spMkLst>
            <pc:docMk/>
            <pc:sldMk cId="3219227806" sldId="2076138155"/>
            <ac:spMk id="17" creationId="{29A0C1D1-354B-4B80-8888-048CD8ADA933}"/>
          </ac:spMkLst>
        </pc:spChg>
        <pc:spChg chg="add del mod">
          <ac:chgData name="Kawtar SADIQ" userId="65df04e4-2d23-4bab-afb0-40df8a2c1b9f" providerId="ADAL" clId="{1FE88A54-802F-4EFE-88F9-E6E876ADF5B1}" dt="2022-11-10T19:22:36.853" v="1935" actId="478"/>
          <ac:spMkLst>
            <pc:docMk/>
            <pc:sldMk cId="3219227806" sldId="2076138155"/>
            <ac:spMk id="19" creationId="{5AB393B2-CD48-4228-A0A3-E8D870E2C32C}"/>
          </ac:spMkLst>
        </pc:spChg>
        <pc:spChg chg="add mod">
          <ac:chgData name="Kawtar SADIQ" userId="65df04e4-2d23-4bab-afb0-40df8a2c1b9f" providerId="ADAL" clId="{1FE88A54-802F-4EFE-88F9-E6E876ADF5B1}" dt="2022-11-10T19:20:04.150" v="1901" actId="6549"/>
          <ac:spMkLst>
            <pc:docMk/>
            <pc:sldMk cId="3219227806" sldId="2076138155"/>
            <ac:spMk id="20" creationId="{68138704-2D64-48DD-9A3D-EF6FE13459F7}"/>
          </ac:spMkLst>
        </pc:spChg>
        <pc:spChg chg="add del mod">
          <ac:chgData name="Kawtar SADIQ" userId="65df04e4-2d23-4bab-afb0-40df8a2c1b9f" providerId="ADAL" clId="{1FE88A54-802F-4EFE-88F9-E6E876ADF5B1}" dt="2022-11-10T19:22:36.853" v="1935" actId="478"/>
          <ac:spMkLst>
            <pc:docMk/>
            <pc:sldMk cId="3219227806" sldId="2076138155"/>
            <ac:spMk id="24" creationId="{6A88D87B-22CE-4A97-9E7F-A7548CA2832A}"/>
          </ac:spMkLst>
        </pc:spChg>
        <pc:spChg chg="add del mod">
          <ac:chgData name="Kawtar SADIQ" userId="65df04e4-2d23-4bab-afb0-40df8a2c1b9f" providerId="ADAL" clId="{1FE88A54-802F-4EFE-88F9-E6E876ADF5B1}" dt="2022-11-10T19:19:40.202" v="1881" actId="478"/>
          <ac:spMkLst>
            <pc:docMk/>
            <pc:sldMk cId="3219227806" sldId="2076138155"/>
            <ac:spMk id="26" creationId="{BBC64318-7F48-46B5-9DE4-F5DEFE769FE2}"/>
          </ac:spMkLst>
        </pc:spChg>
        <pc:spChg chg="mod">
          <ac:chgData name="Kawtar SADIQ" userId="65df04e4-2d23-4bab-afb0-40df8a2c1b9f" providerId="ADAL" clId="{1FE88A54-802F-4EFE-88F9-E6E876ADF5B1}" dt="2022-11-15T20:59:38.421" v="3833" actId="13926"/>
          <ac:spMkLst>
            <pc:docMk/>
            <pc:sldMk cId="3219227806" sldId="2076138155"/>
            <ac:spMk id="27" creationId="{D5C81E70-5A3E-4AF0-AF66-B96E2682316C}"/>
          </ac:spMkLst>
        </pc:spChg>
        <pc:spChg chg="mod">
          <ac:chgData name="Kawtar SADIQ" userId="65df04e4-2d23-4bab-afb0-40df8a2c1b9f" providerId="ADAL" clId="{1FE88A54-802F-4EFE-88F9-E6E876ADF5B1}" dt="2022-11-10T19:19:07.437" v="1855"/>
          <ac:spMkLst>
            <pc:docMk/>
            <pc:sldMk cId="3219227806" sldId="2076138155"/>
            <ac:spMk id="29" creationId="{F1030050-1749-4196-B213-9E32515AA181}"/>
          </ac:spMkLst>
        </pc:spChg>
        <pc:spChg chg="add del mod">
          <ac:chgData name="Kawtar SADIQ" userId="65df04e4-2d23-4bab-afb0-40df8a2c1b9f" providerId="ADAL" clId="{1FE88A54-802F-4EFE-88F9-E6E876ADF5B1}" dt="2022-11-10T19:19:47.834" v="1883" actId="478"/>
          <ac:spMkLst>
            <pc:docMk/>
            <pc:sldMk cId="3219227806" sldId="2076138155"/>
            <ac:spMk id="30" creationId="{2FC6068B-3C33-46F2-B6AF-C95B499D1353}"/>
          </ac:spMkLst>
        </pc:spChg>
        <pc:spChg chg="add del mod">
          <ac:chgData name="Kawtar SADIQ" userId="65df04e4-2d23-4bab-afb0-40df8a2c1b9f" providerId="ADAL" clId="{1FE88A54-802F-4EFE-88F9-E6E876ADF5B1}" dt="2022-11-10T19:19:47.834" v="1883" actId="478"/>
          <ac:spMkLst>
            <pc:docMk/>
            <pc:sldMk cId="3219227806" sldId="2076138155"/>
            <ac:spMk id="31" creationId="{96DA7166-ABF5-48C4-9C4F-131204DBE6B6}"/>
          </ac:spMkLst>
        </pc:spChg>
        <pc:spChg chg="add del mod">
          <ac:chgData name="Kawtar SADIQ" userId="65df04e4-2d23-4bab-afb0-40df8a2c1b9f" providerId="ADAL" clId="{1FE88A54-802F-4EFE-88F9-E6E876ADF5B1}" dt="2022-11-10T19:19:54.574" v="1886" actId="478"/>
          <ac:spMkLst>
            <pc:docMk/>
            <pc:sldMk cId="3219227806" sldId="2076138155"/>
            <ac:spMk id="34" creationId="{03159F62-4DF3-4E86-89D5-57820E8FF9E7}"/>
          </ac:spMkLst>
        </pc:spChg>
        <pc:spChg chg="add del mod">
          <ac:chgData name="Kawtar SADIQ" userId="65df04e4-2d23-4bab-afb0-40df8a2c1b9f" providerId="ADAL" clId="{1FE88A54-802F-4EFE-88F9-E6E876ADF5B1}" dt="2022-11-10T19:19:40.202" v="1881" actId="478"/>
          <ac:spMkLst>
            <pc:docMk/>
            <pc:sldMk cId="3219227806" sldId="2076138155"/>
            <ac:spMk id="35" creationId="{B3B59980-096C-418D-932E-CDB40E5A77F6}"/>
          </ac:spMkLst>
        </pc:spChg>
        <pc:spChg chg="add mod">
          <ac:chgData name="Kawtar SADIQ" userId="65df04e4-2d23-4bab-afb0-40df8a2c1b9f" providerId="ADAL" clId="{1FE88A54-802F-4EFE-88F9-E6E876ADF5B1}" dt="2022-11-10T22:08:44.224" v="2032" actId="207"/>
          <ac:spMkLst>
            <pc:docMk/>
            <pc:sldMk cId="3219227806" sldId="2076138155"/>
            <ac:spMk id="36" creationId="{CC44DB8A-AB0D-4580-8207-3342C461D306}"/>
          </ac:spMkLst>
        </pc:spChg>
        <pc:grpChg chg="add del mod">
          <ac:chgData name="Kawtar SADIQ" userId="65df04e4-2d23-4bab-afb0-40df8a2c1b9f" providerId="ADAL" clId="{1FE88A54-802F-4EFE-88F9-E6E876ADF5B1}" dt="2022-11-10T19:19:47.834" v="1883" actId="478"/>
          <ac:grpSpMkLst>
            <pc:docMk/>
            <pc:sldMk cId="3219227806" sldId="2076138155"/>
            <ac:grpSpMk id="27" creationId="{9B36B237-E1E4-4ACD-B908-D6A34989D231}"/>
          </ac:grpSpMkLst>
        </pc:grpChg>
        <pc:picChg chg="add del mod">
          <ac:chgData name="Kawtar SADIQ" userId="65df04e4-2d23-4bab-afb0-40df8a2c1b9f" providerId="ADAL" clId="{1FE88A54-802F-4EFE-88F9-E6E876ADF5B1}" dt="2022-11-10T19:19:40.202" v="1881" actId="478"/>
          <ac:picMkLst>
            <pc:docMk/>
            <pc:sldMk cId="3219227806" sldId="2076138155"/>
            <ac:picMk id="4" creationId="{9A794CDB-4642-4254-8638-11EBB73C0446}"/>
          </ac:picMkLst>
        </pc:picChg>
        <pc:picChg chg="add del mod">
          <ac:chgData name="Kawtar SADIQ" userId="65df04e4-2d23-4bab-afb0-40df8a2c1b9f" providerId="ADAL" clId="{1FE88A54-802F-4EFE-88F9-E6E876ADF5B1}" dt="2022-11-10T19:22:36.853" v="1935" actId="478"/>
          <ac:picMkLst>
            <pc:docMk/>
            <pc:sldMk cId="3219227806" sldId="2076138155"/>
            <ac:picMk id="5" creationId="{F13BD7EC-17C6-41E4-AFCB-2B98503B0389}"/>
          </ac:picMkLst>
        </pc:picChg>
        <pc:picChg chg="add del mod">
          <ac:chgData name="Kawtar SADIQ" userId="65df04e4-2d23-4bab-afb0-40df8a2c1b9f" providerId="ADAL" clId="{1FE88A54-802F-4EFE-88F9-E6E876ADF5B1}" dt="2022-11-10T19:22:36.853" v="1935" actId="478"/>
          <ac:picMkLst>
            <pc:docMk/>
            <pc:sldMk cId="3219227806" sldId="2076138155"/>
            <ac:picMk id="6" creationId="{66D082CB-D12C-438E-8B44-F7945519A9F7}"/>
          </ac:picMkLst>
        </pc:picChg>
        <pc:picChg chg="add del mod">
          <ac:chgData name="Kawtar SADIQ" userId="65df04e4-2d23-4bab-afb0-40df8a2c1b9f" providerId="ADAL" clId="{1FE88A54-802F-4EFE-88F9-E6E876ADF5B1}" dt="2022-11-10T19:22:36.853" v="1935" actId="478"/>
          <ac:picMkLst>
            <pc:docMk/>
            <pc:sldMk cId="3219227806" sldId="2076138155"/>
            <ac:picMk id="21" creationId="{8D185274-9891-4686-8088-F135B63C2ABE}"/>
          </ac:picMkLst>
        </pc:picChg>
        <pc:picChg chg="add del mod">
          <ac:chgData name="Kawtar SADIQ" userId="65df04e4-2d23-4bab-afb0-40df8a2c1b9f" providerId="ADAL" clId="{1FE88A54-802F-4EFE-88F9-E6E876ADF5B1}" dt="2022-11-10T19:22:36.853" v="1935" actId="478"/>
          <ac:picMkLst>
            <pc:docMk/>
            <pc:sldMk cId="3219227806" sldId="2076138155"/>
            <ac:picMk id="22" creationId="{B06DE1B2-D88C-4AA0-B8C6-C77F1A8D8937}"/>
          </ac:picMkLst>
        </pc:picChg>
        <pc:picChg chg="add del mod">
          <ac:chgData name="Kawtar SADIQ" userId="65df04e4-2d23-4bab-afb0-40df8a2c1b9f" providerId="ADAL" clId="{1FE88A54-802F-4EFE-88F9-E6E876ADF5B1}" dt="2022-11-10T19:19:41.787" v="1882" actId="478"/>
          <ac:picMkLst>
            <pc:docMk/>
            <pc:sldMk cId="3219227806" sldId="2076138155"/>
            <ac:picMk id="25" creationId="{94C1F130-388B-4C02-A16E-A0E6ADC9C7C6}"/>
          </ac:picMkLst>
        </pc:picChg>
        <pc:picChg chg="mod">
          <ac:chgData name="Kawtar SADIQ" userId="65df04e4-2d23-4bab-afb0-40df8a2c1b9f" providerId="ADAL" clId="{1FE88A54-802F-4EFE-88F9-E6E876ADF5B1}" dt="2022-11-10T19:19:07.437" v="1855"/>
          <ac:picMkLst>
            <pc:docMk/>
            <pc:sldMk cId="3219227806" sldId="2076138155"/>
            <ac:picMk id="28" creationId="{FF296B8A-AA29-46BB-859C-4C7582778B99}"/>
          </ac:picMkLst>
        </pc:picChg>
        <pc:picChg chg="add del mod">
          <ac:chgData name="Kawtar SADIQ" userId="65df04e4-2d23-4bab-afb0-40df8a2c1b9f" providerId="ADAL" clId="{1FE88A54-802F-4EFE-88F9-E6E876ADF5B1}" dt="2022-11-10T19:19:47.834" v="1883" actId="478"/>
          <ac:picMkLst>
            <pc:docMk/>
            <pc:sldMk cId="3219227806" sldId="2076138155"/>
            <ac:picMk id="32" creationId="{DAD2B6F0-178D-4582-80FC-4150C1B7E40C}"/>
          </ac:picMkLst>
        </pc:picChg>
        <pc:picChg chg="add del mod">
          <ac:chgData name="Kawtar SADIQ" userId="65df04e4-2d23-4bab-afb0-40df8a2c1b9f" providerId="ADAL" clId="{1FE88A54-802F-4EFE-88F9-E6E876ADF5B1}" dt="2022-11-10T19:19:47.834" v="1883" actId="478"/>
          <ac:picMkLst>
            <pc:docMk/>
            <pc:sldMk cId="3219227806" sldId="2076138155"/>
            <ac:picMk id="33" creationId="{32A5942D-CAAB-4E5A-A6D6-A664C3C48BEA}"/>
          </ac:picMkLst>
        </pc:picChg>
        <pc:cxnChg chg="add del mod">
          <ac:chgData name="Kawtar SADIQ" userId="65df04e4-2d23-4bab-afb0-40df8a2c1b9f" providerId="ADAL" clId="{1FE88A54-802F-4EFE-88F9-E6E876ADF5B1}" dt="2022-11-10T19:22:36.853" v="1935" actId="478"/>
          <ac:cxnSpMkLst>
            <pc:docMk/>
            <pc:sldMk cId="3219227806" sldId="2076138155"/>
            <ac:cxnSpMk id="7" creationId="{B8E96A95-CDCA-4479-96D7-981A75D10DB5}"/>
          </ac:cxnSpMkLst>
        </pc:cxnChg>
        <pc:cxnChg chg="add del mod">
          <ac:chgData name="Kawtar SADIQ" userId="65df04e4-2d23-4bab-afb0-40df8a2c1b9f" providerId="ADAL" clId="{1FE88A54-802F-4EFE-88F9-E6E876ADF5B1}" dt="2022-11-10T19:22:36.853" v="1935" actId="478"/>
          <ac:cxnSpMkLst>
            <pc:docMk/>
            <pc:sldMk cId="3219227806" sldId="2076138155"/>
            <ac:cxnSpMk id="10" creationId="{C4E64BE6-0364-4028-BA1E-4091CCA7038F}"/>
          </ac:cxnSpMkLst>
        </pc:cxnChg>
        <pc:cxnChg chg="add del mod">
          <ac:chgData name="Kawtar SADIQ" userId="65df04e4-2d23-4bab-afb0-40df8a2c1b9f" providerId="ADAL" clId="{1FE88A54-802F-4EFE-88F9-E6E876ADF5B1}" dt="2022-11-10T19:22:36.853" v="1935" actId="478"/>
          <ac:cxnSpMkLst>
            <pc:docMk/>
            <pc:sldMk cId="3219227806" sldId="2076138155"/>
            <ac:cxnSpMk id="18" creationId="{7AA3649D-F776-4DAA-B28F-3764227C63A8}"/>
          </ac:cxnSpMkLst>
        </pc:cxnChg>
        <pc:cxnChg chg="add del mod">
          <ac:chgData name="Kawtar SADIQ" userId="65df04e4-2d23-4bab-afb0-40df8a2c1b9f" providerId="ADAL" clId="{1FE88A54-802F-4EFE-88F9-E6E876ADF5B1}" dt="2022-11-10T19:22:36.853" v="1935" actId="478"/>
          <ac:cxnSpMkLst>
            <pc:docMk/>
            <pc:sldMk cId="3219227806" sldId="2076138155"/>
            <ac:cxnSpMk id="23" creationId="{DBA4156B-2F0E-4FBE-9981-29AA5B5CDB28}"/>
          </ac:cxnSpMkLst>
        </pc:cxnChg>
      </pc:sldChg>
      <pc:sldChg chg="addSp delSp modSp add del mod ord">
        <pc:chgData name="Kawtar SADIQ" userId="65df04e4-2d23-4bab-afb0-40df8a2c1b9f" providerId="ADAL" clId="{1FE88A54-802F-4EFE-88F9-E6E876ADF5B1}" dt="2022-11-10T22:18:16.022" v="2338" actId="47"/>
        <pc:sldMkLst>
          <pc:docMk/>
          <pc:sldMk cId="673436299" sldId="2076138156"/>
        </pc:sldMkLst>
        <pc:spChg chg="del mod">
          <ac:chgData name="Kawtar SADIQ" userId="65df04e4-2d23-4bab-afb0-40df8a2c1b9f" providerId="ADAL" clId="{1FE88A54-802F-4EFE-88F9-E6E876ADF5B1}" dt="2022-11-09T15:14:56.359" v="594" actId="478"/>
          <ac:spMkLst>
            <pc:docMk/>
            <pc:sldMk cId="673436299" sldId="2076138156"/>
            <ac:spMk id="2" creationId="{B48243BE-BD24-C631-2F17-31A7865CE02F}"/>
          </ac:spMkLst>
        </pc:spChg>
        <pc:spChg chg="del mod">
          <ac:chgData name="Kawtar SADIQ" userId="65df04e4-2d23-4bab-afb0-40df8a2c1b9f" providerId="ADAL" clId="{1FE88A54-802F-4EFE-88F9-E6E876ADF5B1}" dt="2022-11-09T15:14:56.359" v="594" actId="478"/>
          <ac:spMkLst>
            <pc:docMk/>
            <pc:sldMk cId="673436299" sldId="2076138156"/>
            <ac:spMk id="3" creationId="{34D8B39E-FEFE-0890-963E-AAF2E55A2910}"/>
          </ac:spMkLst>
        </pc:spChg>
        <pc:spChg chg="add del">
          <ac:chgData name="Kawtar SADIQ" userId="65df04e4-2d23-4bab-afb0-40df8a2c1b9f" providerId="ADAL" clId="{1FE88A54-802F-4EFE-88F9-E6E876ADF5B1}" dt="2022-11-10T22:15:03.158" v="2167" actId="21"/>
          <ac:spMkLst>
            <pc:docMk/>
            <pc:sldMk cId="673436299" sldId="2076138156"/>
            <ac:spMk id="3" creationId="{86D0753F-A756-8B4E-7679-73C83B0D6AAB}"/>
          </ac:spMkLst>
        </pc:spChg>
        <pc:spChg chg="mod">
          <ac:chgData name="Kawtar SADIQ" userId="65df04e4-2d23-4bab-afb0-40df8a2c1b9f" providerId="ADAL" clId="{1FE88A54-802F-4EFE-88F9-E6E876ADF5B1}" dt="2022-11-09T16:02:54.941" v="1385" actId="1035"/>
          <ac:spMkLst>
            <pc:docMk/>
            <pc:sldMk cId="673436299" sldId="2076138156"/>
            <ac:spMk id="6" creationId="{17D5B85D-6A39-D700-A69C-C7CB55587DD8}"/>
          </ac:spMkLst>
        </pc:spChg>
        <pc:spChg chg="add mod">
          <ac:chgData name="Kawtar SADIQ" userId="65df04e4-2d23-4bab-afb0-40df8a2c1b9f" providerId="ADAL" clId="{1FE88A54-802F-4EFE-88F9-E6E876ADF5B1}" dt="2022-11-09T15:40:59.855" v="1077" actId="1035"/>
          <ac:spMkLst>
            <pc:docMk/>
            <pc:sldMk cId="673436299" sldId="2076138156"/>
            <ac:spMk id="12" creationId="{B3D85DC6-0BA4-4139-ADE7-7ABD65B7B7BB}"/>
          </ac:spMkLst>
        </pc:spChg>
        <pc:spChg chg="del">
          <ac:chgData name="Kawtar SADIQ" userId="65df04e4-2d23-4bab-afb0-40df8a2c1b9f" providerId="ADAL" clId="{1FE88A54-802F-4EFE-88F9-E6E876ADF5B1}" dt="2022-11-09T15:10:15.034" v="402" actId="478"/>
          <ac:spMkLst>
            <pc:docMk/>
            <pc:sldMk cId="673436299" sldId="2076138156"/>
            <ac:spMk id="33" creationId="{FD685B8D-7E1D-8CEE-482D-2ECDF68B27DA}"/>
          </ac:spMkLst>
        </pc:spChg>
        <pc:spChg chg="del">
          <ac:chgData name="Kawtar SADIQ" userId="65df04e4-2d23-4bab-afb0-40df8a2c1b9f" providerId="ADAL" clId="{1FE88A54-802F-4EFE-88F9-E6E876ADF5B1}" dt="2022-11-09T14:54:53.677" v="155" actId="478"/>
          <ac:spMkLst>
            <pc:docMk/>
            <pc:sldMk cId="673436299" sldId="2076138156"/>
            <ac:spMk id="34" creationId="{2C01B742-0788-7A1F-5864-A392937006DB}"/>
          </ac:spMkLst>
        </pc:spChg>
        <pc:spChg chg="del">
          <ac:chgData name="Kawtar SADIQ" userId="65df04e4-2d23-4bab-afb0-40df8a2c1b9f" providerId="ADAL" clId="{1FE88A54-802F-4EFE-88F9-E6E876ADF5B1}" dt="2022-11-09T14:54:53.677" v="155" actId="478"/>
          <ac:spMkLst>
            <pc:docMk/>
            <pc:sldMk cId="673436299" sldId="2076138156"/>
            <ac:spMk id="35" creationId="{C8D7D035-8827-353C-4709-582C92E1228E}"/>
          </ac:spMkLst>
        </pc:spChg>
        <pc:spChg chg="del">
          <ac:chgData name="Kawtar SADIQ" userId="65df04e4-2d23-4bab-afb0-40df8a2c1b9f" providerId="ADAL" clId="{1FE88A54-802F-4EFE-88F9-E6E876ADF5B1}" dt="2022-11-09T14:54:53.677" v="155" actId="478"/>
          <ac:spMkLst>
            <pc:docMk/>
            <pc:sldMk cId="673436299" sldId="2076138156"/>
            <ac:spMk id="36" creationId="{348D69D6-E3F9-35CB-C554-CD0274B6CF88}"/>
          </ac:spMkLst>
        </pc:spChg>
        <pc:spChg chg="del">
          <ac:chgData name="Kawtar SADIQ" userId="65df04e4-2d23-4bab-afb0-40df8a2c1b9f" providerId="ADAL" clId="{1FE88A54-802F-4EFE-88F9-E6E876ADF5B1}" dt="2022-11-09T14:54:53.677" v="155" actId="478"/>
          <ac:spMkLst>
            <pc:docMk/>
            <pc:sldMk cId="673436299" sldId="2076138156"/>
            <ac:spMk id="37" creationId="{6DC7A017-309C-F13C-F870-8B989833C8C8}"/>
          </ac:spMkLst>
        </pc:spChg>
        <pc:spChg chg="del">
          <ac:chgData name="Kawtar SADIQ" userId="65df04e4-2d23-4bab-afb0-40df8a2c1b9f" providerId="ADAL" clId="{1FE88A54-802F-4EFE-88F9-E6E876ADF5B1}" dt="2022-11-09T14:54:53.677" v="155" actId="478"/>
          <ac:spMkLst>
            <pc:docMk/>
            <pc:sldMk cId="673436299" sldId="2076138156"/>
            <ac:spMk id="38" creationId="{A8556B78-ECD9-D435-615F-1CC0F705494C}"/>
          </ac:spMkLst>
        </pc:spChg>
        <pc:spChg chg="del">
          <ac:chgData name="Kawtar SADIQ" userId="65df04e4-2d23-4bab-afb0-40df8a2c1b9f" providerId="ADAL" clId="{1FE88A54-802F-4EFE-88F9-E6E876ADF5B1}" dt="2022-11-09T14:54:53.677" v="155" actId="478"/>
          <ac:spMkLst>
            <pc:docMk/>
            <pc:sldMk cId="673436299" sldId="2076138156"/>
            <ac:spMk id="39" creationId="{5B4E4C75-5BDB-1C21-4BF5-4CE05BB57587}"/>
          </ac:spMkLst>
        </pc:spChg>
        <pc:spChg chg="del">
          <ac:chgData name="Kawtar SADIQ" userId="65df04e4-2d23-4bab-afb0-40df8a2c1b9f" providerId="ADAL" clId="{1FE88A54-802F-4EFE-88F9-E6E876ADF5B1}" dt="2022-11-09T15:14:56.359" v="594" actId="478"/>
          <ac:spMkLst>
            <pc:docMk/>
            <pc:sldMk cId="673436299" sldId="2076138156"/>
            <ac:spMk id="40" creationId="{354229BC-2D3E-11D9-7977-AC49E775CB00}"/>
          </ac:spMkLst>
        </pc:spChg>
        <pc:spChg chg="del">
          <ac:chgData name="Kawtar SADIQ" userId="65df04e4-2d23-4bab-afb0-40df8a2c1b9f" providerId="ADAL" clId="{1FE88A54-802F-4EFE-88F9-E6E876ADF5B1}" dt="2022-11-09T14:54:53.677" v="155" actId="478"/>
          <ac:spMkLst>
            <pc:docMk/>
            <pc:sldMk cId="673436299" sldId="2076138156"/>
            <ac:spMk id="41" creationId="{98FE2A8C-A7D3-197E-B695-BCC221095F25}"/>
          </ac:spMkLst>
        </pc:spChg>
        <pc:spChg chg="del mod">
          <ac:chgData name="Kawtar SADIQ" userId="65df04e4-2d23-4bab-afb0-40df8a2c1b9f" providerId="ADAL" clId="{1FE88A54-802F-4EFE-88F9-E6E876ADF5B1}" dt="2022-11-09T15:14:56.359" v="594" actId="478"/>
          <ac:spMkLst>
            <pc:docMk/>
            <pc:sldMk cId="673436299" sldId="2076138156"/>
            <ac:spMk id="42" creationId="{63AE8A00-D20C-63EE-4020-4772929601C0}"/>
          </ac:spMkLst>
        </pc:spChg>
        <pc:spChg chg="del mod">
          <ac:chgData name="Kawtar SADIQ" userId="65df04e4-2d23-4bab-afb0-40df8a2c1b9f" providerId="ADAL" clId="{1FE88A54-802F-4EFE-88F9-E6E876ADF5B1}" dt="2022-11-09T15:14:56.359" v="594" actId="478"/>
          <ac:spMkLst>
            <pc:docMk/>
            <pc:sldMk cId="673436299" sldId="2076138156"/>
            <ac:spMk id="43" creationId="{07D1209F-2216-EDC0-2E51-33C849594BAE}"/>
          </ac:spMkLst>
        </pc:spChg>
        <pc:spChg chg="del mod">
          <ac:chgData name="Kawtar SADIQ" userId="65df04e4-2d23-4bab-afb0-40df8a2c1b9f" providerId="ADAL" clId="{1FE88A54-802F-4EFE-88F9-E6E876ADF5B1}" dt="2022-11-09T15:14:56.359" v="594" actId="478"/>
          <ac:spMkLst>
            <pc:docMk/>
            <pc:sldMk cId="673436299" sldId="2076138156"/>
            <ac:spMk id="44" creationId="{7A3D3588-3259-FED0-3418-3B51FB27E141}"/>
          </ac:spMkLst>
        </pc:spChg>
        <pc:spChg chg="mod">
          <ac:chgData name="Kawtar SADIQ" userId="65df04e4-2d23-4bab-afb0-40df8a2c1b9f" providerId="ADAL" clId="{1FE88A54-802F-4EFE-88F9-E6E876ADF5B1}" dt="2022-11-09T16:02:54.941" v="1385" actId="1035"/>
          <ac:spMkLst>
            <pc:docMk/>
            <pc:sldMk cId="673436299" sldId="2076138156"/>
            <ac:spMk id="45" creationId="{B2C9F891-4E9F-903E-ADCE-5A6D13854156}"/>
          </ac:spMkLst>
        </pc:spChg>
        <pc:spChg chg="del">
          <ac:chgData name="Kawtar SADIQ" userId="65df04e4-2d23-4bab-afb0-40df8a2c1b9f" providerId="ADAL" clId="{1FE88A54-802F-4EFE-88F9-E6E876ADF5B1}" dt="2022-11-09T14:54:53.677" v="155" actId="478"/>
          <ac:spMkLst>
            <pc:docMk/>
            <pc:sldMk cId="673436299" sldId="2076138156"/>
            <ac:spMk id="48" creationId="{812B579C-9B60-3696-D317-58E57F925DA9}"/>
          </ac:spMkLst>
        </pc:spChg>
        <pc:spChg chg="del">
          <ac:chgData name="Kawtar SADIQ" userId="65df04e4-2d23-4bab-afb0-40df8a2c1b9f" providerId="ADAL" clId="{1FE88A54-802F-4EFE-88F9-E6E876ADF5B1}" dt="2022-11-09T14:54:53.677" v="155" actId="478"/>
          <ac:spMkLst>
            <pc:docMk/>
            <pc:sldMk cId="673436299" sldId="2076138156"/>
            <ac:spMk id="49" creationId="{8E65A40F-5784-A858-E0F7-1310FF0C62EA}"/>
          </ac:spMkLst>
        </pc:spChg>
        <pc:spChg chg="del">
          <ac:chgData name="Kawtar SADIQ" userId="65df04e4-2d23-4bab-afb0-40df8a2c1b9f" providerId="ADAL" clId="{1FE88A54-802F-4EFE-88F9-E6E876ADF5B1}" dt="2022-11-09T14:54:53.677" v="155" actId="478"/>
          <ac:spMkLst>
            <pc:docMk/>
            <pc:sldMk cId="673436299" sldId="2076138156"/>
            <ac:spMk id="50" creationId="{AC75EFF6-2F97-1DCA-32CC-B119E50A500F}"/>
          </ac:spMkLst>
        </pc:spChg>
        <pc:spChg chg="del">
          <ac:chgData name="Kawtar SADIQ" userId="65df04e4-2d23-4bab-afb0-40df8a2c1b9f" providerId="ADAL" clId="{1FE88A54-802F-4EFE-88F9-E6E876ADF5B1}" dt="2022-11-09T14:54:53.677" v="155" actId="478"/>
          <ac:spMkLst>
            <pc:docMk/>
            <pc:sldMk cId="673436299" sldId="2076138156"/>
            <ac:spMk id="51" creationId="{A029FB5B-D0EC-DC15-604B-1DD0D61FAFD9}"/>
          </ac:spMkLst>
        </pc:spChg>
        <pc:spChg chg="del">
          <ac:chgData name="Kawtar SADIQ" userId="65df04e4-2d23-4bab-afb0-40df8a2c1b9f" providerId="ADAL" clId="{1FE88A54-802F-4EFE-88F9-E6E876ADF5B1}" dt="2022-11-09T14:54:53.677" v="155" actId="478"/>
          <ac:spMkLst>
            <pc:docMk/>
            <pc:sldMk cId="673436299" sldId="2076138156"/>
            <ac:spMk id="52" creationId="{A80C25C5-61A1-C167-D450-7D8F5B5684C7}"/>
          </ac:spMkLst>
        </pc:spChg>
        <pc:spChg chg="del">
          <ac:chgData name="Kawtar SADIQ" userId="65df04e4-2d23-4bab-afb0-40df8a2c1b9f" providerId="ADAL" clId="{1FE88A54-802F-4EFE-88F9-E6E876ADF5B1}" dt="2022-11-09T14:54:53.677" v="155" actId="478"/>
          <ac:spMkLst>
            <pc:docMk/>
            <pc:sldMk cId="673436299" sldId="2076138156"/>
            <ac:spMk id="53" creationId="{C37BE1CB-487A-0B5B-D2EE-70ACB7FB7D30}"/>
          </ac:spMkLst>
        </pc:spChg>
        <pc:spChg chg="del">
          <ac:chgData name="Kawtar SADIQ" userId="65df04e4-2d23-4bab-afb0-40df8a2c1b9f" providerId="ADAL" clId="{1FE88A54-802F-4EFE-88F9-E6E876ADF5B1}" dt="2022-11-09T14:54:53.677" v="155" actId="478"/>
          <ac:spMkLst>
            <pc:docMk/>
            <pc:sldMk cId="673436299" sldId="2076138156"/>
            <ac:spMk id="54" creationId="{DA6B9C17-E6C0-ECB1-600C-A427C994C0BB}"/>
          </ac:spMkLst>
        </pc:spChg>
        <pc:spChg chg="del mod">
          <ac:chgData name="Kawtar SADIQ" userId="65df04e4-2d23-4bab-afb0-40df8a2c1b9f" providerId="ADAL" clId="{1FE88A54-802F-4EFE-88F9-E6E876ADF5B1}" dt="2022-11-09T15:14:56.359" v="594" actId="478"/>
          <ac:spMkLst>
            <pc:docMk/>
            <pc:sldMk cId="673436299" sldId="2076138156"/>
            <ac:spMk id="55" creationId="{9D136238-3BC6-4D4A-5924-F72E6F64ACE4}"/>
          </ac:spMkLst>
        </pc:spChg>
        <pc:spChg chg="del mod">
          <ac:chgData name="Kawtar SADIQ" userId="65df04e4-2d23-4bab-afb0-40df8a2c1b9f" providerId="ADAL" clId="{1FE88A54-802F-4EFE-88F9-E6E876ADF5B1}" dt="2022-11-09T15:14:56.359" v="594" actId="478"/>
          <ac:spMkLst>
            <pc:docMk/>
            <pc:sldMk cId="673436299" sldId="2076138156"/>
            <ac:spMk id="56" creationId="{D896C9D9-9A1D-5C6D-00BB-F1EEBC503ADD}"/>
          </ac:spMkLst>
        </pc:spChg>
        <pc:spChg chg="del mod">
          <ac:chgData name="Kawtar SADIQ" userId="65df04e4-2d23-4bab-afb0-40df8a2c1b9f" providerId="ADAL" clId="{1FE88A54-802F-4EFE-88F9-E6E876ADF5B1}" dt="2022-11-09T15:14:56.359" v="594" actId="478"/>
          <ac:spMkLst>
            <pc:docMk/>
            <pc:sldMk cId="673436299" sldId="2076138156"/>
            <ac:spMk id="57" creationId="{AAEDAC5A-0753-EEF7-A842-11820D0C3510}"/>
          </ac:spMkLst>
        </pc:spChg>
        <pc:spChg chg="mod">
          <ac:chgData name="Kawtar SADIQ" userId="65df04e4-2d23-4bab-afb0-40df8a2c1b9f" providerId="ADAL" clId="{1FE88A54-802F-4EFE-88F9-E6E876ADF5B1}" dt="2022-11-09T16:04:04.762" v="1397" actId="554"/>
          <ac:spMkLst>
            <pc:docMk/>
            <pc:sldMk cId="673436299" sldId="2076138156"/>
            <ac:spMk id="58" creationId="{91434305-DDE8-4F59-7D93-742C9BE36741}"/>
          </ac:spMkLst>
        </pc:spChg>
        <pc:spChg chg="del mod">
          <ac:chgData name="Kawtar SADIQ" userId="65df04e4-2d23-4bab-afb0-40df8a2c1b9f" providerId="ADAL" clId="{1FE88A54-802F-4EFE-88F9-E6E876ADF5B1}" dt="2022-11-09T15:14:56.359" v="594" actId="478"/>
          <ac:spMkLst>
            <pc:docMk/>
            <pc:sldMk cId="673436299" sldId="2076138156"/>
            <ac:spMk id="60" creationId="{CE63C2DF-21DF-7C65-4A0D-F91098DA67AC}"/>
          </ac:spMkLst>
        </pc:spChg>
        <pc:spChg chg="del mod">
          <ac:chgData name="Kawtar SADIQ" userId="65df04e4-2d23-4bab-afb0-40df8a2c1b9f" providerId="ADAL" clId="{1FE88A54-802F-4EFE-88F9-E6E876ADF5B1}" dt="2022-11-09T15:14:56.359" v="594" actId="478"/>
          <ac:spMkLst>
            <pc:docMk/>
            <pc:sldMk cId="673436299" sldId="2076138156"/>
            <ac:spMk id="61" creationId="{74B51615-0B2C-AFA9-0B5D-81EF20D53AC5}"/>
          </ac:spMkLst>
        </pc:spChg>
        <pc:spChg chg="del mod">
          <ac:chgData name="Kawtar SADIQ" userId="65df04e4-2d23-4bab-afb0-40df8a2c1b9f" providerId="ADAL" clId="{1FE88A54-802F-4EFE-88F9-E6E876ADF5B1}" dt="2022-11-09T15:14:56.359" v="594" actId="478"/>
          <ac:spMkLst>
            <pc:docMk/>
            <pc:sldMk cId="673436299" sldId="2076138156"/>
            <ac:spMk id="62" creationId="{88EC5866-857E-0CFC-FF5B-424290884670}"/>
          </ac:spMkLst>
        </pc:spChg>
        <pc:spChg chg="del mod">
          <ac:chgData name="Kawtar SADIQ" userId="65df04e4-2d23-4bab-afb0-40df8a2c1b9f" providerId="ADAL" clId="{1FE88A54-802F-4EFE-88F9-E6E876ADF5B1}" dt="2022-11-09T15:13:30.005" v="563" actId="478"/>
          <ac:spMkLst>
            <pc:docMk/>
            <pc:sldMk cId="673436299" sldId="2076138156"/>
            <ac:spMk id="63" creationId="{282C3062-2B79-A096-A569-E7F55AEF86EB}"/>
          </ac:spMkLst>
        </pc:spChg>
        <pc:spChg chg="del mod">
          <ac:chgData name="Kawtar SADIQ" userId="65df04e4-2d23-4bab-afb0-40df8a2c1b9f" providerId="ADAL" clId="{1FE88A54-802F-4EFE-88F9-E6E876ADF5B1}" dt="2022-11-09T15:14:56.359" v="594" actId="478"/>
          <ac:spMkLst>
            <pc:docMk/>
            <pc:sldMk cId="673436299" sldId="2076138156"/>
            <ac:spMk id="64" creationId="{D0D097C0-8EB2-1A86-DA41-8AF42C46E6D5}"/>
          </ac:spMkLst>
        </pc:spChg>
        <pc:spChg chg="add del mod">
          <ac:chgData name="Kawtar SADIQ" userId="65df04e4-2d23-4bab-afb0-40df8a2c1b9f" providerId="ADAL" clId="{1FE88A54-802F-4EFE-88F9-E6E876ADF5B1}" dt="2022-11-09T16:04:04.762" v="1397" actId="554"/>
          <ac:spMkLst>
            <pc:docMk/>
            <pc:sldMk cId="673436299" sldId="2076138156"/>
            <ac:spMk id="65" creationId="{85ED6011-E550-4ADC-9546-B62CA0E22A5F}"/>
          </ac:spMkLst>
        </pc:spChg>
        <pc:spChg chg="add mod">
          <ac:chgData name="Kawtar SADIQ" userId="65df04e4-2d23-4bab-afb0-40df8a2c1b9f" providerId="ADAL" clId="{1FE88A54-802F-4EFE-88F9-E6E876ADF5B1}" dt="2022-11-09T17:03:26.936" v="1581" actId="20577"/>
          <ac:spMkLst>
            <pc:docMk/>
            <pc:sldMk cId="673436299" sldId="2076138156"/>
            <ac:spMk id="66" creationId="{25FAE53F-546F-480D-9B28-C51559FA503E}"/>
          </ac:spMkLst>
        </pc:spChg>
        <pc:spChg chg="del">
          <ac:chgData name="Kawtar SADIQ" userId="65df04e4-2d23-4bab-afb0-40df8a2c1b9f" providerId="ADAL" clId="{1FE88A54-802F-4EFE-88F9-E6E876ADF5B1}" dt="2022-11-09T15:10:12.353" v="401" actId="478"/>
          <ac:spMkLst>
            <pc:docMk/>
            <pc:sldMk cId="673436299" sldId="2076138156"/>
            <ac:spMk id="67" creationId="{EC8BA51C-F59E-DB59-5448-DFF45F7ED5FD}"/>
          </ac:spMkLst>
        </pc:spChg>
        <pc:spChg chg="del mod">
          <ac:chgData name="Kawtar SADIQ" userId="65df04e4-2d23-4bab-afb0-40df8a2c1b9f" providerId="ADAL" clId="{1FE88A54-802F-4EFE-88F9-E6E876ADF5B1}" dt="2022-11-09T15:10:10.642" v="400" actId="478"/>
          <ac:spMkLst>
            <pc:docMk/>
            <pc:sldMk cId="673436299" sldId="2076138156"/>
            <ac:spMk id="68" creationId="{3A6FCB30-A123-4A89-9C12-F876B3EDEE21}"/>
          </ac:spMkLst>
        </pc:spChg>
        <pc:spChg chg="add del mod">
          <ac:chgData name="Kawtar SADIQ" userId="65df04e4-2d23-4bab-afb0-40df8a2c1b9f" providerId="ADAL" clId="{1FE88A54-802F-4EFE-88F9-E6E876ADF5B1}" dt="2022-11-09T15:19:04.827" v="615" actId="478"/>
          <ac:spMkLst>
            <pc:docMk/>
            <pc:sldMk cId="673436299" sldId="2076138156"/>
            <ac:spMk id="69" creationId="{4076AF75-A01A-4B21-AED6-AF18D365DCC7}"/>
          </ac:spMkLst>
        </pc:spChg>
        <pc:spChg chg="add mod">
          <ac:chgData name="Kawtar SADIQ" userId="65df04e4-2d23-4bab-afb0-40df8a2c1b9f" providerId="ADAL" clId="{1FE88A54-802F-4EFE-88F9-E6E876ADF5B1}" dt="2022-11-09T15:18:53.594" v="614"/>
          <ac:spMkLst>
            <pc:docMk/>
            <pc:sldMk cId="673436299" sldId="2076138156"/>
            <ac:spMk id="70" creationId="{4DB10C14-F6BD-4B35-AFEA-802B5BA07998}"/>
          </ac:spMkLst>
        </pc:spChg>
        <pc:spChg chg="add del mod">
          <ac:chgData name="Kawtar SADIQ" userId="65df04e4-2d23-4bab-afb0-40df8a2c1b9f" providerId="ADAL" clId="{1FE88A54-802F-4EFE-88F9-E6E876ADF5B1}" dt="2022-11-09T17:01:21.513" v="1401" actId="478"/>
          <ac:spMkLst>
            <pc:docMk/>
            <pc:sldMk cId="673436299" sldId="2076138156"/>
            <ac:spMk id="71" creationId="{070B60AD-4AA6-4863-AA4D-7B57A4C525E0}"/>
          </ac:spMkLst>
        </pc:spChg>
        <pc:spChg chg="add del mod">
          <ac:chgData name="Kawtar SADIQ" userId="65df04e4-2d23-4bab-afb0-40df8a2c1b9f" providerId="ADAL" clId="{1FE88A54-802F-4EFE-88F9-E6E876ADF5B1}" dt="2022-11-09T15:25:39.343" v="785" actId="478"/>
          <ac:spMkLst>
            <pc:docMk/>
            <pc:sldMk cId="673436299" sldId="2076138156"/>
            <ac:spMk id="72" creationId="{E6BB0DE3-2D44-4A9B-826E-A3FFC931B134}"/>
          </ac:spMkLst>
        </pc:spChg>
        <pc:spChg chg="add mod">
          <ac:chgData name="Kawtar SADIQ" userId="65df04e4-2d23-4bab-afb0-40df8a2c1b9f" providerId="ADAL" clId="{1FE88A54-802F-4EFE-88F9-E6E876ADF5B1}" dt="2022-11-09T15:42:45.426" v="1082" actId="115"/>
          <ac:spMkLst>
            <pc:docMk/>
            <pc:sldMk cId="673436299" sldId="2076138156"/>
            <ac:spMk id="73" creationId="{A7EC9813-D199-4345-B417-8E35D264C3FA}"/>
          </ac:spMkLst>
        </pc:spChg>
        <pc:spChg chg="del">
          <ac:chgData name="Kawtar SADIQ" userId="65df04e4-2d23-4bab-afb0-40df8a2c1b9f" providerId="ADAL" clId="{1FE88A54-802F-4EFE-88F9-E6E876ADF5B1}" dt="2022-11-09T15:12:13.688" v="479" actId="478"/>
          <ac:spMkLst>
            <pc:docMk/>
            <pc:sldMk cId="673436299" sldId="2076138156"/>
            <ac:spMk id="74" creationId="{E30F5FE0-C618-1964-A7F2-8C57EF7C4D5E}"/>
          </ac:spMkLst>
        </pc:spChg>
        <pc:spChg chg="del mod">
          <ac:chgData name="Kawtar SADIQ" userId="65df04e4-2d23-4bab-afb0-40df8a2c1b9f" providerId="ADAL" clId="{1FE88A54-802F-4EFE-88F9-E6E876ADF5B1}" dt="2022-11-09T15:12:11.476" v="478" actId="478"/>
          <ac:spMkLst>
            <pc:docMk/>
            <pc:sldMk cId="673436299" sldId="2076138156"/>
            <ac:spMk id="75" creationId="{766F0E12-811B-ED0B-9440-E50E4E741144}"/>
          </ac:spMkLst>
        </pc:spChg>
        <pc:spChg chg="mod">
          <ac:chgData name="Kawtar SADIQ" userId="65df04e4-2d23-4bab-afb0-40df8a2c1b9f" providerId="ADAL" clId="{1FE88A54-802F-4EFE-88F9-E6E876ADF5B1}" dt="2022-11-09T16:02:54.941" v="1385" actId="1035"/>
          <ac:spMkLst>
            <pc:docMk/>
            <pc:sldMk cId="673436299" sldId="2076138156"/>
            <ac:spMk id="76" creationId="{7CB8FC27-DE05-17D4-3FE5-CDCF7273B30C}"/>
          </ac:spMkLst>
        </pc:spChg>
        <pc:spChg chg="mod">
          <ac:chgData name="Kawtar SADIQ" userId="65df04e4-2d23-4bab-afb0-40df8a2c1b9f" providerId="ADAL" clId="{1FE88A54-802F-4EFE-88F9-E6E876ADF5B1}" dt="2022-11-09T15:27:31.076" v="835" actId="1038"/>
          <ac:spMkLst>
            <pc:docMk/>
            <pc:sldMk cId="673436299" sldId="2076138156"/>
            <ac:spMk id="77" creationId="{3879AF96-9D4A-DAFB-5F1A-B4D0C41AE35D}"/>
          </ac:spMkLst>
        </pc:spChg>
        <pc:spChg chg="add mod">
          <ac:chgData name="Kawtar SADIQ" userId="65df04e4-2d23-4bab-afb0-40df8a2c1b9f" providerId="ADAL" clId="{1FE88A54-802F-4EFE-88F9-E6E876ADF5B1}" dt="2022-11-09T15:43:46.858" v="1098" actId="1035"/>
          <ac:spMkLst>
            <pc:docMk/>
            <pc:sldMk cId="673436299" sldId="2076138156"/>
            <ac:spMk id="78" creationId="{3B181925-7DCF-41B6-81EB-6CE6605825E0}"/>
          </ac:spMkLst>
        </pc:spChg>
        <pc:spChg chg="add mod">
          <ac:chgData name="Kawtar SADIQ" userId="65df04e4-2d23-4bab-afb0-40df8a2c1b9f" providerId="ADAL" clId="{1FE88A54-802F-4EFE-88F9-E6E876ADF5B1}" dt="2022-11-09T15:44:13.269" v="1101" actId="14100"/>
          <ac:spMkLst>
            <pc:docMk/>
            <pc:sldMk cId="673436299" sldId="2076138156"/>
            <ac:spMk id="79" creationId="{C7779C74-C5A0-4B18-8122-2EAFC0D3E143}"/>
          </ac:spMkLst>
        </pc:spChg>
        <pc:spChg chg="add del mod">
          <ac:chgData name="Kawtar SADIQ" userId="65df04e4-2d23-4bab-afb0-40df8a2c1b9f" providerId="ADAL" clId="{1FE88A54-802F-4EFE-88F9-E6E876ADF5B1}" dt="2022-11-09T15:32:51.025" v="932" actId="478"/>
          <ac:spMkLst>
            <pc:docMk/>
            <pc:sldMk cId="673436299" sldId="2076138156"/>
            <ac:spMk id="80" creationId="{BA3F00BC-0D7B-41CD-B6A5-52737DAD58EE}"/>
          </ac:spMkLst>
        </pc:spChg>
        <pc:spChg chg="add del mod">
          <ac:chgData name="Kawtar SADIQ" userId="65df04e4-2d23-4bab-afb0-40df8a2c1b9f" providerId="ADAL" clId="{1FE88A54-802F-4EFE-88F9-E6E876ADF5B1}" dt="2022-11-09T15:32:56.677" v="935"/>
          <ac:spMkLst>
            <pc:docMk/>
            <pc:sldMk cId="673436299" sldId="2076138156"/>
            <ac:spMk id="81" creationId="{59ABFB19-32E4-4C7E-84CB-613EB4D56EE1}"/>
          </ac:spMkLst>
        </pc:spChg>
        <pc:spChg chg="add del mod">
          <ac:chgData name="Kawtar SADIQ" userId="65df04e4-2d23-4bab-afb0-40df8a2c1b9f" providerId="ADAL" clId="{1FE88A54-802F-4EFE-88F9-E6E876ADF5B1}" dt="2022-11-09T15:33:21.549" v="944" actId="478"/>
          <ac:spMkLst>
            <pc:docMk/>
            <pc:sldMk cId="673436299" sldId="2076138156"/>
            <ac:spMk id="82" creationId="{A16FA517-B35C-489F-A067-24138A768EC1}"/>
          </ac:spMkLst>
        </pc:spChg>
        <pc:spChg chg="add del mod">
          <ac:chgData name="Kawtar SADIQ" userId="65df04e4-2d23-4bab-afb0-40df8a2c1b9f" providerId="ADAL" clId="{1FE88A54-802F-4EFE-88F9-E6E876ADF5B1}" dt="2022-11-09T15:39:27.531" v="1025" actId="22"/>
          <ac:spMkLst>
            <pc:docMk/>
            <pc:sldMk cId="673436299" sldId="2076138156"/>
            <ac:spMk id="83" creationId="{70376C09-B900-4D47-97A1-043D748F8A7C}"/>
          </ac:spMkLst>
        </pc:spChg>
        <pc:spChg chg="add mod">
          <ac:chgData name="Kawtar SADIQ" userId="65df04e4-2d23-4bab-afb0-40df8a2c1b9f" providerId="ADAL" clId="{1FE88A54-802F-4EFE-88F9-E6E876ADF5B1}" dt="2022-11-09T15:41:10.278" v="1080" actId="1035"/>
          <ac:spMkLst>
            <pc:docMk/>
            <pc:sldMk cId="673436299" sldId="2076138156"/>
            <ac:spMk id="84" creationId="{0773F9DC-2BAE-4E6D-9E30-86CAAE3C2908}"/>
          </ac:spMkLst>
        </pc:spChg>
        <pc:spChg chg="add del mod">
          <ac:chgData name="Kawtar SADIQ" userId="65df04e4-2d23-4bab-afb0-40df8a2c1b9f" providerId="ADAL" clId="{1FE88A54-802F-4EFE-88F9-E6E876ADF5B1}" dt="2022-11-09T15:43:58.864" v="1099" actId="478"/>
          <ac:spMkLst>
            <pc:docMk/>
            <pc:sldMk cId="673436299" sldId="2076138156"/>
            <ac:spMk id="85" creationId="{88855E18-633C-4613-BA36-62D8748A269B}"/>
          </ac:spMkLst>
        </pc:spChg>
        <pc:spChg chg="add mod">
          <ac:chgData name="Kawtar SADIQ" userId="65df04e4-2d23-4bab-afb0-40df8a2c1b9f" providerId="ADAL" clId="{1FE88A54-802F-4EFE-88F9-E6E876ADF5B1}" dt="2022-11-09T15:46:03.374" v="1191" actId="20577"/>
          <ac:spMkLst>
            <pc:docMk/>
            <pc:sldMk cId="673436299" sldId="2076138156"/>
            <ac:spMk id="86" creationId="{8C61B03A-A189-4FAB-B534-E85E58112ABC}"/>
          </ac:spMkLst>
        </pc:spChg>
        <pc:spChg chg="add mod">
          <ac:chgData name="Kawtar SADIQ" userId="65df04e4-2d23-4bab-afb0-40df8a2c1b9f" providerId="ADAL" clId="{1FE88A54-802F-4EFE-88F9-E6E876ADF5B1}" dt="2022-11-09T15:46:23.837" v="1195" actId="14100"/>
          <ac:spMkLst>
            <pc:docMk/>
            <pc:sldMk cId="673436299" sldId="2076138156"/>
            <ac:spMk id="87" creationId="{CACA5F66-053D-4361-B669-F87043EAB08F}"/>
          </ac:spMkLst>
        </pc:spChg>
        <pc:spChg chg="add del mod">
          <ac:chgData name="Kawtar SADIQ" userId="65df04e4-2d23-4bab-afb0-40df8a2c1b9f" providerId="ADAL" clId="{1FE88A54-802F-4EFE-88F9-E6E876ADF5B1}" dt="2022-11-09T15:45:57.212" v="1187" actId="478"/>
          <ac:spMkLst>
            <pc:docMk/>
            <pc:sldMk cId="673436299" sldId="2076138156"/>
            <ac:spMk id="88" creationId="{50DD6A6A-6B7C-4C20-B4A2-BDD78421A3A2}"/>
          </ac:spMkLst>
        </pc:spChg>
        <pc:spChg chg="add mod">
          <ac:chgData name="Kawtar SADIQ" userId="65df04e4-2d23-4bab-afb0-40df8a2c1b9f" providerId="ADAL" clId="{1FE88A54-802F-4EFE-88F9-E6E876ADF5B1}" dt="2022-11-09T15:46:15.341" v="1194" actId="1076"/>
          <ac:spMkLst>
            <pc:docMk/>
            <pc:sldMk cId="673436299" sldId="2076138156"/>
            <ac:spMk id="89" creationId="{1C3A23B5-8FED-4D1C-A467-67B22BAA37F3}"/>
          </ac:spMkLst>
        </pc:spChg>
        <pc:spChg chg="add del mod">
          <ac:chgData name="Kawtar SADIQ" userId="65df04e4-2d23-4bab-afb0-40df8a2c1b9f" providerId="ADAL" clId="{1FE88A54-802F-4EFE-88F9-E6E876ADF5B1}" dt="2022-11-09T15:46:02.562" v="1190"/>
          <ac:spMkLst>
            <pc:docMk/>
            <pc:sldMk cId="673436299" sldId="2076138156"/>
            <ac:spMk id="90" creationId="{B7252C5D-2CE1-4BB1-91A0-4489EA864B96}"/>
          </ac:spMkLst>
        </pc:spChg>
        <pc:spChg chg="add del mod">
          <ac:chgData name="Kawtar SADIQ" userId="65df04e4-2d23-4bab-afb0-40df8a2c1b9f" providerId="ADAL" clId="{1FE88A54-802F-4EFE-88F9-E6E876ADF5B1}" dt="2022-11-09T15:46:02.562" v="1190"/>
          <ac:spMkLst>
            <pc:docMk/>
            <pc:sldMk cId="673436299" sldId="2076138156"/>
            <ac:spMk id="91" creationId="{F32F9407-44C0-4F0B-949D-0A4FE328EF8D}"/>
          </ac:spMkLst>
        </pc:spChg>
        <pc:spChg chg="add mod">
          <ac:chgData name="Kawtar SADIQ" userId="65df04e4-2d23-4bab-afb0-40df8a2c1b9f" providerId="ADAL" clId="{1FE88A54-802F-4EFE-88F9-E6E876ADF5B1}" dt="2022-11-09T15:46:13.241" v="1193" actId="1076"/>
          <ac:spMkLst>
            <pc:docMk/>
            <pc:sldMk cId="673436299" sldId="2076138156"/>
            <ac:spMk id="92" creationId="{F4768762-EF93-46DA-B715-42231E6C2573}"/>
          </ac:spMkLst>
        </pc:spChg>
        <pc:spChg chg="add del mod">
          <ac:chgData name="Kawtar SADIQ" userId="65df04e4-2d23-4bab-afb0-40df8a2c1b9f" providerId="ADAL" clId="{1FE88A54-802F-4EFE-88F9-E6E876ADF5B1}" dt="2022-11-09T15:59:57.705" v="1349" actId="478"/>
          <ac:spMkLst>
            <pc:docMk/>
            <pc:sldMk cId="673436299" sldId="2076138156"/>
            <ac:spMk id="93" creationId="{C54492FF-25CC-407D-9084-5FED175462C3}"/>
          </ac:spMkLst>
        </pc:spChg>
        <pc:spChg chg="add mod ord">
          <ac:chgData name="Kawtar SADIQ" userId="65df04e4-2d23-4bab-afb0-40df8a2c1b9f" providerId="ADAL" clId="{1FE88A54-802F-4EFE-88F9-E6E876ADF5B1}" dt="2022-11-09T16:03:45.990" v="1395" actId="14100"/>
          <ac:spMkLst>
            <pc:docMk/>
            <pc:sldMk cId="673436299" sldId="2076138156"/>
            <ac:spMk id="94" creationId="{D4A91567-76AF-47DF-984B-9A73E74823EC}"/>
          </ac:spMkLst>
        </pc:spChg>
        <pc:spChg chg="add mod">
          <ac:chgData name="Kawtar SADIQ" userId="65df04e4-2d23-4bab-afb0-40df8a2c1b9f" providerId="ADAL" clId="{1FE88A54-802F-4EFE-88F9-E6E876ADF5B1}" dt="2022-11-09T16:03:50.661" v="1396" actId="14100"/>
          <ac:spMkLst>
            <pc:docMk/>
            <pc:sldMk cId="673436299" sldId="2076138156"/>
            <ac:spMk id="96" creationId="{D99773A6-E9C2-4022-A84D-30694163E22C}"/>
          </ac:spMkLst>
        </pc:spChg>
        <pc:spChg chg="add mod">
          <ac:chgData name="Kawtar SADIQ" userId="65df04e4-2d23-4bab-afb0-40df8a2c1b9f" providerId="ADAL" clId="{1FE88A54-802F-4EFE-88F9-E6E876ADF5B1}" dt="2022-11-09T17:01:48.186" v="1542" actId="208"/>
          <ac:spMkLst>
            <pc:docMk/>
            <pc:sldMk cId="673436299" sldId="2076138156"/>
            <ac:spMk id="97" creationId="{24DD5743-4E8C-4BB1-8D37-7F521FBF3BA1}"/>
          </ac:spMkLst>
        </pc:spChg>
        <pc:graphicFrameChg chg="mod ord modGraphic">
          <ac:chgData name="Kawtar SADIQ" userId="65df04e4-2d23-4bab-afb0-40df8a2c1b9f" providerId="ADAL" clId="{1FE88A54-802F-4EFE-88F9-E6E876ADF5B1}" dt="2022-11-09T16:03:25.131" v="1394" actId="404"/>
          <ac:graphicFrameMkLst>
            <pc:docMk/>
            <pc:sldMk cId="673436299" sldId="2076138156"/>
            <ac:graphicFrameMk id="5" creationId="{2305C01E-A338-D8BC-D8E1-E4B5CC336417}"/>
          </ac:graphicFrameMkLst>
        </pc:graphicFrameChg>
        <pc:cxnChg chg="mod">
          <ac:chgData name="Kawtar SADIQ" userId="65df04e4-2d23-4bab-afb0-40df8a2c1b9f" providerId="ADAL" clId="{1FE88A54-802F-4EFE-88F9-E6E876ADF5B1}" dt="2022-11-09T17:02:10.502" v="1543" actId="12789"/>
          <ac:cxnSpMkLst>
            <pc:docMk/>
            <pc:sldMk cId="673436299" sldId="2076138156"/>
            <ac:cxnSpMk id="10" creationId="{250DB2B1-C920-7BC2-AF3D-BFA17584F728}"/>
          </ac:cxnSpMkLst>
        </pc:cxnChg>
        <pc:cxnChg chg="del mod">
          <ac:chgData name="Kawtar SADIQ" userId="65df04e4-2d23-4bab-afb0-40df8a2c1b9f" providerId="ADAL" clId="{1FE88A54-802F-4EFE-88F9-E6E876ADF5B1}" dt="2022-11-09T16:00:07.930" v="1353" actId="478"/>
          <ac:cxnSpMkLst>
            <pc:docMk/>
            <pc:sldMk cId="673436299" sldId="2076138156"/>
            <ac:cxnSpMk id="59" creationId="{991C0D60-D857-F842-E01C-1A3B792A01C6}"/>
          </ac:cxnSpMkLst>
        </pc:cxnChg>
        <pc:cxnChg chg="add mod">
          <ac:chgData name="Kawtar SADIQ" userId="65df04e4-2d23-4bab-afb0-40df8a2c1b9f" providerId="ADAL" clId="{1FE88A54-802F-4EFE-88F9-E6E876ADF5B1}" dt="2022-11-09T17:02:10.502" v="1543" actId="12789"/>
          <ac:cxnSpMkLst>
            <pc:docMk/>
            <pc:sldMk cId="673436299" sldId="2076138156"/>
            <ac:cxnSpMk id="95" creationId="{98AAC3AF-1D1E-487D-907F-62063AA1CC34}"/>
          </ac:cxnSpMkLst>
        </pc:cxnChg>
      </pc:sldChg>
      <pc:sldChg chg="addSp delSp modSp new mod">
        <pc:chgData name="Kawtar SADIQ" userId="65df04e4-2d23-4bab-afb0-40df8a2c1b9f" providerId="ADAL" clId="{1FE88A54-802F-4EFE-88F9-E6E876ADF5B1}" dt="2022-11-10T22:09:53.834" v="2064" actId="20577"/>
        <pc:sldMkLst>
          <pc:docMk/>
          <pc:sldMk cId="196949031" sldId="2076138157"/>
        </pc:sldMkLst>
        <pc:spChg chg="mod">
          <ac:chgData name="Kawtar SADIQ" userId="65df04e4-2d23-4bab-afb0-40df8a2c1b9f" providerId="ADAL" clId="{1FE88A54-802F-4EFE-88F9-E6E876ADF5B1}" dt="2022-11-09T15:06:29.628" v="207" actId="20577"/>
          <ac:spMkLst>
            <pc:docMk/>
            <pc:sldMk cId="196949031" sldId="2076138157"/>
            <ac:spMk id="2" creationId="{46EB481A-F941-4FCA-895D-93B0AC82A493}"/>
          </ac:spMkLst>
        </pc:spChg>
        <pc:spChg chg="add del mod">
          <ac:chgData name="Kawtar SADIQ" userId="65df04e4-2d23-4bab-afb0-40df8a2c1b9f" providerId="ADAL" clId="{1FE88A54-802F-4EFE-88F9-E6E876ADF5B1}" dt="2022-11-09T15:07:31.612" v="223" actId="478"/>
          <ac:spMkLst>
            <pc:docMk/>
            <pc:sldMk cId="196949031" sldId="2076138157"/>
            <ac:spMk id="4" creationId="{C0961293-1BBB-4CEE-8049-86C8CAA0C88F}"/>
          </ac:spMkLst>
        </pc:spChg>
        <pc:spChg chg="add mod">
          <ac:chgData name="Kawtar SADIQ" userId="65df04e4-2d23-4bab-afb0-40df8a2c1b9f" providerId="ADAL" clId="{1FE88A54-802F-4EFE-88F9-E6E876ADF5B1}" dt="2022-11-09T15:08:54.691" v="391" actId="14100"/>
          <ac:spMkLst>
            <pc:docMk/>
            <pc:sldMk cId="196949031" sldId="2076138157"/>
            <ac:spMk id="5" creationId="{46A47D3D-5B46-40EF-952B-79B7CF7F5E09}"/>
          </ac:spMkLst>
        </pc:spChg>
        <pc:spChg chg="add mod">
          <ac:chgData name="Kawtar SADIQ" userId="65df04e4-2d23-4bab-afb0-40df8a2c1b9f" providerId="ADAL" clId="{1FE88A54-802F-4EFE-88F9-E6E876ADF5B1}" dt="2022-11-10T22:09:53.834" v="2064" actId="20577"/>
          <ac:spMkLst>
            <pc:docMk/>
            <pc:sldMk cId="196949031" sldId="2076138157"/>
            <ac:spMk id="6" creationId="{35818856-7302-4ADE-82A1-C591D40A2CFD}"/>
          </ac:spMkLst>
        </pc:spChg>
      </pc:sldChg>
      <pc:sldChg chg="add del">
        <pc:chgData name="Kawtar SADIQ" userId="65df04e4-2d23-4bab-afb0-40df8a2c1b9f" providerId="ADAL" clId="{1FE88A54-802F-4EFE-88F9-E6E876ADF5B1}" dt="2022-11-10T22:23:08.721" v="2369" actId="47"/>
        <pc:sldMkLst>
          <pc:docMk/>
          <pc:sldMk cId="2017974093" sldId="2076138158"/>
        </pc:sldMkLst>
      </pc:sldChg>
      <pc:sldChg chg="modSp add del mod">
        <pc:chgData name="Kawtar SADIQ" userId="65df04e4-2d23-4bab-afb0-40df8a2c1b9f" providerId="ADAL" clId="{1FE88A54-802F-4EFE-88F9-E6E876ADF5B1}" dt="2022-11-14T17:43:51.926" v="3420" actId="47"/>
        <pc:sldMkLst>
          <pc:docMk/>
          <pc:sldMk cId="1352645957" sldId="2076138159"/>
        </pc:sldMkLst>
        <pc:spChg chg="mod">
          <ac:chgData name="Kawtar SADIQ" userId="65df04e4-2d23-4bab-afb0-40df8a2c1b9f" providerId="ADAL" clId="{1FE88A54-802F-4EFE-88F9-E6E876ADF5B1}" dt="2022-11-10T19:40:24.881" v="2015" actId="313"/>
          <ac:spMkLst>
            <pc:docMk/>
            <pc:sldMk cId="1352645957" sldId="2076138159"/>
            <ac:spMk id="2" creationId="{05DDAB44-CE9B-4AB1-9CFF-086712FA8ABC}"/>
          </ac:spMkLst>
        </pc:spChg>
      </pc:sldChg>
      <pc:sldChg chg="new del">
        <pc:chgData name="Kawtar SADIQ" userId="65df04e4-2d23-4bab-afb0-40df8a2c1b9f" providerId="ADAL" clId="{1FE88A54-802F-4EFE-88F9-E6E876ADF5B1}" dt="2022-11-10T19:23:39.837" v="1972" actId="680"/>
        <pc:sldMkLst>
          <pc:docMk/>
          <pc:sldMk cId="205312842" sldId="2076138160"/>
        </pc:sldMkLst>
      </pc:sldChg>
      <pc:sldChg chg="modSp add mod">
        <pc:chgData name="Kawtar SADIQ" userId="65df04e4-2d23-4bab-afb0-40df8a2c1b9f" providerId="ADAL" clId="{1FE88A54-802F-4EFE-88F9-E6E876ADF5B1}" dt="2022-11-10T19:40:53.050" v="2016" actId="313"/>
        <pc:sldMkLst>
          <pc:docMk/>
          <pc:sldMk cId="1787304541" sldId="2076138160"/>
        </pc:sldMkLst>
        <pc:spChg chg="mod">
          <ac:chgData name="Kawtar SADIQ" userId="65df04e4-2d23-4bab-afb0-40df8a2c1b9f" providerId="ADAL" clId="{1FE88A54-802F-4EFE-88F9-E6E876ADF5B1}" dt="2022-11-10T19:40:53.050" v="2016" actId="313"/>
          <ac:spMkLst>
            <pc:docMk/>
            <pc:sldMk cId="1787304541" sldId="2076138160"/>
            <ac:spMk id="2" creationId="{E11BF5BD-75C4-4E77-9598-7225EFF82CC5}"/>
          </ac:spMkLst>
        </pc:spChg>
      </pc:sldChg>
      <pc:sldChg chg="addSp modSp add mod ord">
        <pc:chgData name="Kawtar SADIQ" userId="65df04e4-2d23-4bab-afb0-40df8a2c1b9f" providerId="ADAL" clId="{1FE88A54-802F-4EFE-88F9-E6E876ADF5B1}" dt="2022-11-15T17:50:58.714" v="3422" actId="20577"/>
        <pc:sldMkLst>
          <pc:docMk/>
          <pc:sldMk cId="2099822551" sldId="2076138161"/>
        </pc:sldMkLst>
        <pc:spChg chg="mod">
          <ac:chgData name="Kawtar SADIQ" userId="65df04e4-2d23-4bab-afb0-40df8a2c1b9f" providerId="ADAL" clId="{1FE88A54-802F-4EFE-88F9-E6E876ADF5B1}" dt="2022-11-10T22:11:30.095" v="2082" actId="20577"/>
          <ac:spMkLst>
            <pc:docMk/>
            <pc:sldMk cId="2099822551" sldId="2076138161"/>
            <ac:spMk id="3" creationId="{1FB83B6C-507C-4A1E-95E1-F9E58ED5A359}"/>
          </ac:spMkLst>
        </pc:spChg>
        <pc:spChg chg="mod">
          <ac:chgData name="Kawtar SADIQ" userId="65df04e4-2d23-4bab-afb0-40df8a2c1b9f" providerId="ADAL" clId="{1FE88A54-802F-4EFE-88F9-E6E876ADF5B1}" dt="2022-11-15T17:50:58.714" v="3422" actId="20577"/>
          <ac:spMkLst>
            <pc:docMk/>
            <pc:sldMk cId="2099822551" sldId="2076138161"/>
            <ac:spMk id="23" creationId="{49E987E8-447F-4BFD-A398-1E9D36D7BBEB}"/>
          </ac:spMkLst>
        </pc:spChg>
        <pc:spChg chg="add mod">
          <ac:chgData name="Kawtar SADIQ" userId="65df04e4-2d23-4bab-afb0-40df8a2c1b9f" providerId="ADAL" clId="{1FE88A54-802F-4EFE-88F9-E6E876ADF5B1}" dt="2022-11-10T22:12:05.412" v="2097" actId="20577"/>
          <ac:spMkLst>
            <pc:docMk/>
            <pc:sldMk cId="2099822551" sldId="2076138161"/>
            <ac:spMk id="29" creationId="{47B3D52B-A584-4CC4-A8CD-BDD93FC4EC69}"/>
          </ac:spMkLst>
        </pc:spChg>
        <pc:spChg chg="add mod">
          <ac:chgData name="Kawtar SADIQ" userId="65df04e4-2d23-4bab-afb0-40df8a2c1b9f" providerId="ADAL" clId="{1FE88A54-802F-4EFE-88F9-E6E876ADF5B1}" dt="2022-11-10T22:13:05.896" v="2162"/>
          <ac:spMkLst>
            <pc:docMk/>
            <pc:sldMk cId="2099822551" sldId="2076138161"/>
            <ac:spMk id="30" creationId="{C1D8A24D-B958-42A8-8DF2-BD39E7D52925}"/>
          </ac:spMkLst>
        </pc:spChg>
      </pc:sldChg>
      <pc:sldChg chg="addSp delSp modSp add mod ord">
        <pc:chgData name="Kawtar SADIQ" userId="65df04e4-2d23-4bab-afb0-40df8a2c1b9f" providerId="ADAL" clId="{1FE88A54-802F-4EFE-88F9-E6E876ADF5B1}" dt="2022-11-14T17:42:18.717" v="3417"/>
        <pc:sldMkLst>
          <pc:docMk/>
          <pc:sldMk cId="2167523922" sldId="2076138162"/>
        </pc:sldMkLst>
        <pc:spChg chg="mod">
          <ac:chgData name="Kawtar SADIQ" userId="65df04e4-2d23-4bab-afb0-40df8a2c1b9f" providerId="ADAL" clId="{1FE88A54-802F-4EFE-88F9-E6E876ADF5B1}" dt="2022-11-10T22:11:36.430" v="2085" actId="20577"/>
          <ac:spMkLst>
            <pc:docMk/>
            <pc:sldMk cId="2167523922" sldId="2076138162"/>
            <ac:spMk id="3" creationId="{1FB83B6C-507C-4A1E-95E1-F9E58ED5A359}"/>
          </ac:spMkLst>
        </pc:spChg>
        <pc:spChg chg="add mod">
          <ac:chgData name="Kawtar SADIQ" userId="65df04e4-2d23-4bab-afb0-40df8a2c1b9f" providerId="ADAL" clId="{1FE88A54-802F-4EFE-88F9-E6E876ADF5B1}" dt="2022-11-10T22:12:17.626" v="2105" actId="20577"/>
          <ac:spMkLst>
            <pc:docMk/>
            <pc:sldMk cId="2167523922" sldId="2076138162"/>
            <ac:spMk id="29" creationId="{FFEDDDB1-631C-416A-82E9-F88CB488BB2C}"/>
          </ac:spMkLst>
        </pc:spChg>
        <pc:spChg chg="add del mod">
          <ac:chgData name="Kawtar SADIQ" userId="65df04e4-2d23-4bab-afb0-40df8a2c1b9f" providerId="ADAL" clId="{1FE88A54-802F-4EFE-88F9-E6E876ADF5B1}" dt="2022-11-10T22:12:13.663" v="2100" actId="478"/>
          <ac:spMkLst>
            <pc:docMk/>
            <pc:sldMk cId="2167523922" sldId="2076138162"/>
            <ac:spMk id="30" creationId="{3B2B88A5-63F0-47AD-95D9-136F6F068BC4}"/>
          </ac:spMkLst>
        </pc:spChg>
        <pc:spChg chg="add mod">
          <ac:chgData name="Kawtar SADIQ" userId="65df04e4-2d23-4bab-afb0-40df8a2c1b9f" providerId="ADAL" clId="{1FE88A54-802F-4EFE-88F9-E6E876ADF5B1}" dt="2022-11-10T22:13:07.728" v="2163"/>
          <ac:spMkLst>
            <pc:docMk/>
            <pc:sldMk cId="2167523922" sldId="2076138162"/>
            <ac:spMk id="31" creationId="{07BCAB9F-8D35-4711-881F-572FDCFEF6CC}"/>
          </ac:spMkLst>
        </pc:spChg>
      </pc:sldChg>
      <pc:sldChg chg="addSp modSp add mod ord">
        <pc:chgData name="Kawtar SADIQ" userId="65df04e4-2d23-4bab-afb0-40df8a2c1b9f" providerId="ADAL" clId="{1FE88A54-802F-4EFE-88F9-E6E876ADF5B1}" dt="2022-11-14T17:42:28.732" v="3419"/>
        <pc:sldMkLst>
          <pc:docMk/>
          <pc:sldMk cId="743146147" sldId="2076138163"/>
        </pc:sldMkLst>
        <pc:spChg chg="mod">
          <ac:chgData name="Kawtar SADIQ" userId="65df04e4-2d23-4bab-afb0-40df8a2c1b9f" providerId="ADAL" clId="{1FE88A54-802F-4EFE-88F9-E6E876ADF5B1}" dt="2022-11-10T22:11:42.784" v="2088" actId="20577"/>
          <ac:spMkLst>
            <pc:docMk/>
            <pc:sldMk cId="743146147" sldId="2076138163"/>
            <ac:spMk id="3" creationId="{1FB83B6C-507C-4A1E-95E1-F9E58ED5A359}"/>
          </ac:spMkLst>
        </pc:spChg>
        <pc:spChg chg="add mod">
          <ac:chgData name="Kawtar SADIQ" userId="65df04e4-2d23-4bab-afb0-40df8a2c1b9f" providerId="ADAL" clId="{1FE88A54-802F-4EFE-88F9-E6E876ADF5B1}" dt="2022-11-10T22:12:24.453" v="2115" actId="20577"/>
          <ac:spMkLst>
            <pc:docMk/>
            <pc:sldMk cId="743146147" sldId="2076138163"/>
            <ac:spMk id="29" creationId="{71EA562B-C31D-43AC-8AC8-D728BD422677}"/>
          </ac:spMkLst>
        </pc:spChg>
        <pc:spChg chg="add mod">
          <ac:chgData name="Kawtar SADIQ" userId="65df04e4-2d23-4bab-afb0-40df8a2c1b9f" providerId="ADAL" clId="{1FE88A54-802F-4EFE-88F9-E6E876ADF5B1}" dt="2022-11-10T22:13:09.479" v="2164"/>
          <ac:spMkLst>
            <pc:docMk/>
            <pc:sldMk cId="743146147" sldId="2076138163"/>
            <ac:spMk id="30" creationId="{27DDDEE7-339F-4C62-8C9B-AFCF83B17BE6}"/>
          </ac:spMkLst>
        </pc:spChg>
      </pc:sldChg>
      <pc:sldChg chg="delSp add del mod">
        <pc:chgData name="Kawtar SADIQ" userId="65df04e4-2d23-4bab-afb0-40df8a2c1b9f" providerId="ADAL" clId="{1FE88A54-802F-4EFE-88F9-E6E876ADF5B1}" dt="2022-11-14T15:49:59.294" v="3365" actId="47"/>
        <pc:sldMkLst>
          <pc:docMk/>
          <pc:sldMk cId="642345096" sldId="2076138164"/>
        </pc:sldMkLst>
        <pc:spChg chg="del">
          <ac:chgData name="Kawtar SADIQ" userId="65df04e4-2d23-4bab-afb0-40df8a2c1b9f" providerId="ADAL" clId="{1FE88A54-802F-4EFE-88F9-E6E876ADF5B1}" dt="2022-11-10T22:23:31.862" v="2371" actId="478"/>
          <ac:spMkLst>
            <pc:docMk/>
            <pc:sldMk cId="642345096" sldId="2076138164"/>
            <ac:spMk id="31" creationId="{BEA91FAF-542B-4E07-B881-634EB63E801D}"/>
          </ac:spMkLst>
        </pc:spChg>
      </pc:sldChg>
      <pc:sldChg chg="new del">
        <pc:chgData name="Kawtar SADIQ" userId="65df04e4-2d23-4bab-afb0-40df8a2c1b9f" providerId="ADAL" clId="{1FE88A54-802F-4EFE-88F9-E6E876ADF5B1}" dt="2022-11-10T22:15:13.495" v="2170" actId="680"/>
        <pc:sldMkLst>
          <pc:docMk/>
          <pc:sldMk cId="992600897" sldId="2076138164"/>
        </pc:sldMkLst>
      </pc:sldChg>
      <pc:sldChg chg="addSp delSp modSp add del mod">
        <pc:chgData name="Kawtar SADIQ" userId="65df04e4-2d23-4bab-afb0-40df8a2c1b9f" providerId="ADAL" clId="{1FE88A54-802F-4EFE-88F9-E6E876ADF5B1}" dt="2022-11-14T15:50:13.302" v="3366" actId="47"/>
        <pc:sldMkLst>
          <pc:docMk/>
          <pc:sldMk cId="2757335781" sldId="2076138165"/>
        </pc:sldMkLst>
        <pc:spChg chg="mod">
          <ac:chgData name="Kawtar SADIQ" userId="65df04e4-2d23-4bab-afb0-40df8a2c1b9f" providerId="ADAL" clId="{1FE88A54-802F-4EFE-88F9-E6E876ADF5B1}" dt="2022-11-10T22:18:06.860" v="2337" actId="20577"/>
          <ac:spMkLst>
            <pc:docMk/>
            <pc:sldMk cId="2757335781" sldId="2076138165"/>
            <ac:spMk id="4" creationId="{00F66BC5-412C-6A53-7419-3C362B68DB00}"/>
          </ac:spMkLst>
        </pc:spChg>
        <pc:spChg chg="add mod">
          <ac:chgData name="Kawtar SADIQ" userId="65df04e4-2d23-4bab-afb0-40df8a2c1b9f" providerId="ADAL" clId="{1FE88A54-802F-4EFE-88F9-E6E876ADF5B1}" dt="2022-11-10T22:18:58.884" v="2350" actId="20577"/>
          <ac:spMkLst>
            <pc:docMk/>
            <pc:sldMk cId="2757335781" sldId="2076138165"/>
            <ac:spMk id="28" creationId="{3EE8E569-E41F-4626-8C08-80F0E461DB52}"/>
          </ac:spMkLst>
        </pc:spChg>
        <pc:spChg chg="mod">
          <ac:chgData name="Kawtar SADIQ" userId="65df04e4-2d23-4bab-afb0-40df8a2c1b9f" providerId="ADAL" clId="{1FE88A54-802F-4EFE-88F9-E6E876ADF5B1}" dt="2022-11-14T12:54:28.660" v="3053" actId="554"/>
          <ac:spMkLst>
            <pc:docMk/>
            <pc:sldMk cId="2757335781" sldId="2076138165"/>
            <ac:spMk id="58" creationId="{91434305-DDE8-4F59-7D93-742C9BE36741}"/>
          </ac:spMkLst>
        </pc:spChg>
        <pc:spChg chg="add del mod ord">
          <ac:chgData name="Kawtar SADIQ" userId="65df04e4-2d23-4bab-afb0-40df8a2c1b9f" providerId="ADAL" clId="{1FE88A54-802F-4EFE-88F9-E6E876ADF5B1}" dt="2022-11-14T12:54:28.660" v="3053" actId="554"/>
          <ac:spMkLst>
            <pc:docMk/>
            <pc:sldMk cId="2757335781" sldId="2076138165"/>
            <ac:spMk id="65" creationId="{85ED6011-E550-4ADC-9546-B62CA0E22A5F}"/>
          </ac:spMkLst>
        </pc:spChg>
        <pc:spChg chg="mod">
          <ac:chgData name="Kawtar SADIQ" userId="65df04e4-2d23-4bab-afb0-40df8a2c1b9f" providerId="ADAL" clId="{1FE88A54-802F-4EFE-88F9-E6E876ADF5B1}" dt="2022-11-14T12:35:02.271" v="2533" actId="1038"/>
          <ac:spMkLst>
            <pc:docMk/>
            <pc:sldMk cId="2757335781" sldId="2076138165"/>
            <ac:spMk id="94" creationId="{D4A91567-76AF-47DF-984B-9A73E74823EC}"/>
          </ac:spMkLst>
        </pc:spChg>
        <pc:spChg chg="mod">
          <ac:chgData name="Kawtar SADIQ" userId="65df04e4-2d23-4bab-afb0-40df8a2c1b9f" providerId="ADAL" clId="{1FE88A54-802F-4EFE-88F9-E6E876ADF5B1}" dt="2022-11-14T12:35:45.544" v="2534" actId="207"/>
          <ac:spMkLst>
            <pc:docMk/>
            <pc:sldMk cId="2757335781" sldId="2076138165"/>
            <ac:spMk id="96" creationId="{D99773A6-E9C2-4022-A84D-30694163E22C}"/>
          </ac:spMkLst>
        </pc:spChg>
        <pc:spChg chg="mod">
          <ac:chgData name="Kawtar SADIQ" userId="65df04e4-2d23-4bab-afb0-40df8a2c1b9f" providerId="ADAL" clId="{1FE88A54-802F-4EFE-88F9-E6E876ADF5B1}" dt="2022-11-14T12:38:06.349" v="2606" actId="14100"/>
          <ac:spMkLst>
            <pc:docMk/>
            <pc:sldMk cId="2757335781" sldId="2076138165"/>
            <ac:spMk id="97" creationId="{24DD5743-4E8C-4BB1-8D37-7F521FBF3BA1}"/>
          </ac:spMkLst>
        </pc:spChg>
        <pc:cxnChg chg="mod ord">
          <ac:chgData name="Kawtar SADIQ" userId="65df04e4-2d23-4bab-afb0-40df8a2c1b9f" providerId="ADAL" clId="{1FE88A54-802F-4EFE-88F9-E6E876ADF5B1}" dt="2022-11-14T12:36:33.824" v="2535" actId="208"/>
          <ac:cxnSpMkLst>
            <pc:docMk/>
            <pc:sldMk cId="2757335781" sldId="2076138165"/>
            <ac:cxnSpMk id="95" creationId="{98AAC3AF-1D1E-487D-907F-62063AA1CC34}"/>
          </ac:cxnSpMkLst>
        </pc:cxnChg>
      </pc:sldChg>
      <pc:sldChg chg="addSp modSp add del mod">
        <pc:chgData name="Kawtar SADIQ" userId="65df04e4-2d23-4bab-afb0-40df8a2c1b9f" providerId="ADAL" clId="{1FE88A54-802F-4EFE-88F9-E6E876ADF5B1}" dt="2022-11-14T12:39:25.501" v="2618" actId="47"/>
        <pc:sldMkLst>
          <pc:docMk/>
          <pc:sldMk cId="2980632895" sldId="2076138166"/>
        </pc:sldMkLst>
        <pc:spChg chg="mod">
          <ac:chgData name="Kawtar SADIQ" userId="65df04e4-2d23-4bab-afb0-40df8a2c1b9f" providerId="ADAL" clId="{1FE88A54-802F-4EFE-88F9-E6E876ADF5B1}" dt="2022-11-10T22:18:24.237" v="2341" actId="20577"/>
          <ac:spMkLst>
            <pc:docMk/>
            <pc:sldMk cId="2980632895" sldId="2076138166"/>
            <ac:spMk id="4" creationId="{00F66BC5-412C-6A53-7419-3C362B68DB00}"/>
          </ac:spMkLst>
        </pc:spChg>
        <pc:spChg chg="add mod">
          <ac:chgData name="Kawtar SADIQ" userId="65df04e4-2d23-4bab-afb0-40df8a2c1b9f" providerId="ADAL" clId="{1FE88A54-802F-4EFE-88F9-E6E876ADF5B1}" dt="2022-11-10T22:19:05.193" v="2357" actId="20577"/>
          <ac:spMkLst>
            <pc:docMk/>
            <pc:sldMk cId="2980632895" sldId="2076138166"/>
            <ac:spMk id="28" creationId="{AB14A095-AD14-4526-801C-33AAE02C4B1A}"/>
          </ac:spMkLst>
        </pc:spChg>
      </pc:sldChg>
      <pc:sldChg chg="addSp modSp add del mod">
        <pc:chgData name="Kawtar SADIQ" userId="65df04e4-2d23-4bab-afb0-40df8a2c1b9f" providerId="ADAL" clId="{1FE88A54-802F-4EFE-88F9-E6E876ADF5B1}" dt="2022-11-14T12:39:22.691" v="2617" actId="47"/>
        <pc:sldMkLst>
          <pc:docMk/>
          <pc:sldMk cId="3937474428" sldId="2076138167"/>
        </pc:sldMkLst>
        <pc:spChg chg="mod">
          <ac:chgData name="Kawtar SADIQ" userId="65df04e4-2d23-4bab-afb0-40df8a2c1b9f" providerId="ADAL" clId="{1FE88A54-802F-4EFE-88F9-E6E876ADF5B1}" dt="2022-11-10T22:18:30.945" v="2344" actId="20577"/>
          <ac:spMkLst>
            <pc:docMk/>
            <pc:sldMk cId="3937474428" sldId="2076138167"/>
            <ac:spMk id="4" creationId="{00F66BC5-412C-6A53-7419-3C362B68DB00}"/>
          </ac:spMkLst>
        </pc:spChg>
        <pc:spChg chg="add mod">
          <ac:chgData name="Kawtar SADIQ" userId="65df04e4-2d23-4bab-afb0-40df8a2c1b9f" providerId="ADAL" clId="{1FE88A54-802F-4EFE-88F9-E6E876ADF5B1}" dt="2022-11-10T22:19:11.548" v="2363" actId="20577"/>
          <ac:spMkLst>
            <pc:docMk/>
            <pc:sldMk cId="3937474428" sldId="2076138167"/>
            <ac:spMk id="28" creationId="{A75CAB3F-6B53-40AD-B474-C4DB5E612D54}"/>
          </ac:spMkLst>
        </pc:spChg>
      </pc:sldChg>
      <pc:sldChg chg="addSp modSp add del mod">
        <pc:chgData name="Kawtar SADIQ" userId="65df04e4-2d23-4bab-afb0-40df8a2c1b9f" providerId="ADAL" clId="{1FE88A54-802F-4EFE-88F9-E6E876ADF5B1}" dt="2022-11-14T12:39:43.659" v="2624" actId="47"/>
        <pc:sldMkLst>
          <pc:docMk/>
          <pc:sldMk cId="3379405304" sldId="2076138168"/>
        </pc:sldMkLst>
        <pc:spChg chg="mod">
          <ac:chgData name="Kawtar SADIQ" userId="65df04e4-2d23-4bab-afb0-40df8a2c1b9f" providerId="ADAL" clId="{1FE88A54-802F-4EFE-88F9-E6E876ADF5B1}" dt="2022-11-10T22:18:36.786" v="2347" actId="20577"/>
          <ac:spMkLst>
            <pc:docMk/>
            <pc:sldMk cId="3379405304" sldId="2076138168"/>
            <ac:spMk id="4" creationId="{00F66BC5-412C-6A53-7419-3C362B68DB00}"/>
          </ac:spMkLst>
        </pc:spChg>
        <pc:spChg chg="add mod">
          <ac:chgData name="Kawtar SADIQ" userId="65df04e4-2d23-4bab-afb0-40df8a2c1b9f" providerId="ADAL" clId="{1FE88A54-802F-4EFE-88F9-E6E876ADF5B1}" dt="2022-11-10T22:19:13.378" v="2364"/>
          <ac:spMkLst>
            <pc:docMk/>
            <pc:sldMk cId="3379405304" sldId="2076138168"/>
            <ac:spMk id="28" creationId="{4EB80D5C-29C5-47A8-A43F-2C64C33B0CC0}"/>
          </ac:spMkLst>
        </pc:spChg>
      </pc:sldChg>
      <pc:sldChg chg="addSp delSp modSp add mod">
        <pc:chgData name="Kawtar SADIQ" userId="65df04e4-2d23-4bab-afb0-40df8a2c1b9f" providerId="ADAL" clId="{1FE88A54-802F-4EFE-88F9-E6E876ADF5B1}" dt="2022-11-14T12:38:57.681" v="2611"/>
        <pc:sldMkLst>
          <pc:docMk/>
          <pc:sldMk cId="1091694360" sldId="2076138169"/>
        </pc:sldMkLst>
        <pc:spChg chg="mod">
          <ac:chgData name="Kawtar SADIQ" userId="65df04e4-2d23-4bab-afb0-40df8a2c1b9f" providerId="ADAL" clId="{1FE88A54-802F-4EFE-88F9-E6E876ADF5B1}" dt="2022-11-14T12:38:55.526" v="2609" actId="20577"/>
          <ac:spMkLst>
            <pc:docMk/>
            <pc:sldMk cId="1091694360" sldId="2076138169"/>
            <ac:spMk id="4" creationId="{00F66BC5-412C-6A53-7419-3C362B68DB00}"/>
          </ac:spMkLst>
        </pc:spChg>
        <pc:spChg chg="del">
          <ac:chgData name="Kawtar SADIQ" userId="65df04e4-2d23-4bab-afb0-40df8a2c1b9f" providerId="ADAL" clId="{1FE88A54-802F-4EFE-88F9-E6E876ADF5B1}" dt="2022-11-14T12:38:57.060" v="2610" actId="478"/>
          <ac:spMkLst>
            <pc:docMk/>
            <pc:sldMk cId="1091694360" sldId="2076138169"/>
            <ac:spMk id="28" creationId="{3EE8E569-E41F-4626-8C08-80F0E461DB52}"/>
          </ac:spMkLst>
        </pc:spChg>
        <pc:spChg chg="add mod">
          <ac:chgData name="Kawtar SADIQ" userId="65df04e4-2d23-4bab-afb0-40df8a2c1b9f" providerId="ADAL" clId="{1FE88A54-802F-4EFE-88F9-E6E876ADF5B1}" dt="2022-11-14T12:38:57.681" v="2611"/>
          <ac:spMkLst>
            <pc:docMk/>
            <pc:sldMk cId="1091694360" sldId="2076138169"/>
            <ac:spMk id="29" creationId="{1D04D3F4-4CE7-4A8E-BC0B-943FBFF99BB3}"/>
          </ac:spMkLst>
        </pc:spChg>
      </pc:sldChg>
      <pc:sldChg chg="addSp delSp modSp add mod">
        <pc:chgData name="Kawtar SADIQ" userId="65df04e4-2d23-4bab-afb0-40df8a2c1b9f" providerId="ADAL" clId="{1FE88A54-802F-4EFE-88F9-E6E876ADF5B1}" dt="2022-11-14T12:39:20.141" v="2616"/>
        <pc:sldMkLst>
          <pc:docMk/>
          <pc:sldMk cId="1700674335" sldId="2076138170"/>
        </pc:sldMkLst>
        <pc:spChg chg="mod">
          <ac:chgData name="Kawtar SADIQ" userId="65df04e4-2d23-4bab-afb0-40df8a2c1b9f" providerId="ADAL" clId="{1FE88A54-802F-4EFE-88F9-E6E876ADF5B1}" dt="2022-11-14T12:39:10.867" v="2614" actId="20577"/>
          <ac:spMkLst>
            <pc:docMk/>
            <pc:sldMk cId="1700674335" sldId="2076138170"/>
            <ac:spMk id="4" creationId="{00F66BC5-412C-6A53-7419-3C362B68DB00}"/>
          </ac:spMkLst>
        </pc:spChg>
        <pc:spChg chg="del">
          <ac:chgData name="Kawtar SADIQ" userId="65df04e4-2d23-4bab-afb0-40df8a2c1b9f" providerId="ADAL" clId="{1FE88A54-802F-4EFE-88F9-E6E876ADF5B1}" dt="2022-11-14T12:39:19.425" v="2615" actId="478"/>
          <ac:spMkLst>
            <pc:docMk/>
            <pc:sldMk cId="1700674335" sldId="2076138170"/>
            <ac:spMk id="29" creationId="{1D04D3F4-4CE7-4A8E-BC0B-943FBFF99BB3}"/>
          </ac:spMkLst>
        </pc:spChg>
        <pc:spChg chg="add mod">
          <ac:chgData name="Kawtar SADIQ" userId="65df04e4-2d23-4bab-afb0-40df8a2c1b9f" providerId="ADAL" clId="{1FE88A54-802F-4EFE-88F9-E6E876ADF5B1}" dt="2022-11-14T12:39:20.141" v="2616"/>
          <ac:spMkLst>
            <pc:docMk/>
            <pc:sldMk cId="1700674335" sldId="2076138170"/>
            <ac:spMk id="30" creationId="{B1D244F1-F3F4-420E-B981-EE4F3722BBDB}"/>
          </ac:spMkLst>
        </pc:spChg>
      </pc:sldChg>
      <pc:sldChg chg="addSp delSp modSp add mod">
        <pc:chgData name="Kawtar SADIQ" userId="65df04e4-2d23-4bab-afb0-40df8a2c1b9f" providerId="ADAL" clId="{1FE88A54-802F-4EFE-88F9-E6E876ADF5B1}" dt="2022-11-14T12:39:40.588" v="2623" actId="20577"/>
        <pc:sldMkLst>
          <pc:docMk/>
          <pc:sldMk cId="3708618716" sldId="2076138171"/>
        </pc:sldMkLst>
        <pc:spChg chg="mod">
          <ac:chgData name="Kawtar SADIQ" userId="65df04e4-2d23-4bab-afb0-40df8a2c1b9f" providerId="ADAL" clId="{1FE88A54-802F-4EFE-88F9-E6E876ADF5B1}" dt="2022-11-14T12:39:40.588" v="2623" actId="20577"/>
          <ac:spMkLst>
            <pc:docMk/>
            <pc:sldMk cId="3708618716" sldId="2076138171"/>
            <ac:spMk id="4" creationId="{00F66BC5-412C-6A53-7419-3C362B68DB00}"/>
          </ac:spMkLst>
        </pc:spChg>
        <pc:spChg chg="add mod">
          <ac:chgData name="Kawtar SADIQ" userId="65df04e4-2d23-4bab-afb0-40df8a2c1b9f" providerId="ADAL" clId="{1FE88A54-802F-4EFE-88F9-E6E876ADF5B1}" dt="2022-11-14T12:39:37.769" v="2621"/>
          <ac:spMkLst>
            <pc:docMk/>
            <pc:sldMk cId="3708618716" sldId="2076138171"/>
            <ac:spMk id="29" creationId="{E2B751B6-4076-4109-86A9-410A5208723C}"/>
          </ac:spMkLst>
        </pc:spChg>
        <pc:spChg chg="del">
          <ac:chgData name="Kawtar SADIQ" userId="65df04e4-2d23-4bab-afb0-40df8a2c1b9f" providerId="ADAL" clId="{1FE88A54-802F-4EFE-88F9-E6E876ADF5B1}" dt="2022-11-14T12:39:35.301" v="2620" actId="478"/>
          <ac:spMkLst>
            <pc:docMk/>
            <pc:sldMk cId="3708618716" sldId="2076138171"/>
            <ac:spMk id="30" creationId="{B1D244F1-F3F4-420E-B981-EE4F3722BBDB}"/>
          </ac:spMkLst>
        </pc:spChg>
      </pc:sldChg>
      <pc:sldChg chg="modSp new mod">
        <pc:chgData name="Kawtar SADIQ" userId="65df04e4-2d23-4bab-afb0-40df8a2c1b9f" providerId="ADAL" clId="{1FE88A54-802F-4EFE-88F9-E6E876ADF5B1}" dt="2022-11-14T15:28:53.681" v="3140" actId="20577"/>
        <pc:sldMkLst>
          <pc:docMk/>
          <pc:sldMk cId="639759389" sldId="2076138175"/>
        </pc:sldMkLst>
        <pc:spChg chg="mod">
          <ac:chgData name="Kawtar SADIQ" userId="65df04e4-2d23-4bab-afb0-40df8a2c1b9f" providerId="ADAL" clId="{1FE88A54-802F-4EFE-88F9-E6E876ADF5B1}" dt="2022-11-14T15:28:53.681" v="3140" actId="20577"/>
          <ac:spMkLst>
            <pc:docMk/>
            <pc:sldMk cId="639759389" sldId="2076138175"/>
            <ac:spMk id="2" creationId="{C09C89E3-711F-4372-80C1-31FAF1B9546D}"/>
          </ac:spMkLst>
        </pc:spChg>
      </pc:sldChg>
      <pc:sldChg chg="new del">
        <pc:chgData name="Kawtar SADIQ" userId="65df04e4-2d23-4bab-afb0-40df8a2c1b9f" providerId="ADAL" clId="{1FE88A54-802F-4EFE-88F9-E6E876ADF5B1}" dt="2022-11-14T15:38:38.111" v="3166" actId="680"/>
        <pc:sldMkLst>
          <pc:docMk/>
          <pc:sldMk cId="536556157" sldId="2076138176"/>
        </pc:sldMkLst>
      </pc:sldChg>
      <pc:sldChg chg="modSp add mod">
        <pc:chgData name="Kawtar SADIQ" userId="65df04e4-2d23-4bab-afb0-40df8a2c1b9f" providerId="ADAL" clId="{1FE88A54-802F-4EFE-88F9-E6E876ADF5B1}" dt="2022-11-14T15:39:16.199" v="3213" actId="20577"/>
        <pc:sldMkLst>
          <pc:docMk/>
          <pc:sldMk cId="786646020" sldId="2076138176"/>
        </pc:sldMkLst>
        <pc:spChg chg="mod">
          <ac:chgData name="Kawtar SADIQ" userId="65df04e4-2d23-4bab-afb0-40df8a2c1b9f" providerId="ADAL" clId="{1FE88A54-802F-4EFE-88F9-E6E876ADF5B1}" dt="2022-11-14T15:39:16.199" v="3213" actId="20577"/>
          <ac:spMkLst>
            <pc:docMk/>
            <pc:sldMk cId="786646020" sldId="2076138176"/>
            <ac:spMk id="2" creationId="{FA2C5545-8338-4291-A762-97439743DD8A}"/>
          </ac:spMkLst>
        </pc:spChg>
      </pc:sldChg>
      <pc:sldChg chg="modSp new mod ord">
        <pc:chgData name="Kawtar SADIQ" userId="65df04e4-2d23-4bab-afb0-40df8a2c1b9f" providerId="ADAL" clId="{1FE88A54-802F-4EFE-88F9-E6E876ADF5B1}" dt="2022-11-14T15:40:34.831" v="3236" actId="20577"/>
        <pc:sldMkLst>
          <pc:docMk/>
          <pc:sldMk cId="158994535" sldId="2076138177"/>
        </pc:sldMkLst>
        <pc:spChg chg="mod">
          <ac:chgData name="Kawtar SADIQ" userId="65df04e4-2d23-4bab-afb0-40df8a2c1b9f" providerId="ADAL" clId="{1FE88A54-802F-4EFE-88F9-E6E876ADF5B1}" dt="2022-11-14T15:40:34.831" v="3236" actId="20577"/>
          <ac:spMkLst>
            <pc:docMk/>
            <pc:sldMk cId="158994535" sldId="2076138177"/>
            <ac:spMk id="2" creationId="{F7BF5E15-EF6C-4898-8E81-27B7B749A6E8}"/>
          </ac:spMkLst>
        </pc:spChg>
      </pc:sldChg>
      <pc:sldChg chg="new del">
        <pc:chgData name="Kawtar SADIQ" userId="65df04e4-2d23-4bab-afb0-40df8a2c1b9f" providerId="ADAL" clId="{1FE88A54-802F-4EFE-88F9-E6E876ADF5B1}" dt="2022-11-14T15:39:26.953" v="3215" actId="680"/>
        <pc:sldMkLst>
          <pc:docMk/>
          <pc:sldMk cId="3517111069" sldId="2076138177"/>
        </pc:sldMkLst>
      </pc:sldChg>
      <pc:sldChg chg="modSp new mod">
        <pc:chgData name="Kawtar SADIQ" userId="65df04e4-2d23-4bab-afb0-40df8a2c1b9f" providerId="ADAL" clId="{1FE88A54-802F-4EFE-88F9-E6E876ADF5B1}" dt="2022-11-14T15:42:26.880" v="3250" actId="20577"/>
        <pc:sldMkLst>
          <pc:docMk/>
          <pc:sldMk cId="3491616630" sldId="2076138178"/>
        </pc:sldMkLst>
        <pc:spChg chg="mod">
          <ac:chgData name="Kawtar SADIQ" userId="65df04e4-2d23-4bab-afb0-40df8a2c1b9f" providerId="ADAL" clId="{1FE88A54-802F-4EFE-88F9-E6E876ADF5B1}" dt="2022-11-14T15:42:26.880" v="3250" actId="20577"/>
          <ac:spMkLst>
            <pc:docMk/>
            <pc:sldMk cId="3491616630" sldId="2076138178"/>
            <ac:spMk id="2" creationId="{1DF14255-76EC-4F2E-9B28-E43A6F564798}"/>
          </ac:spMkLst>
        </pc:spChg>
      </pc:sldChg>
      <pc:sldChg chg="modSp new mod">
        <pc:chgData name="Kawtar SADIQ" userId="65df04e4-2d23-4bab-afb0-40df8a2c1b9f" providerId="ADAL" clId="{1FE88A54-802F-4EFE-88F9-E6E876ADF5B1}" dt="2022-11-14T15:42:36.465" v="3263" actId="20577"/>
        <pc:sldMkLst>
          <pc:docMk/>
          <pc:sldMk cId="656393337" sldId="2076138179"/>
        </pc:sldMkLst>
        <pc:spChg chg="mod">
          <ac:chgData name="Kawtar SADIQ" userId="65df04e4-2d23-4bab-afb0-40df8a2c1b9f" providerId="ADAL" clId="{1FE88A54-802F-4EFE-88F9-E6E876ADF5B1}" dt="2022-11-14T15:42:36.465" v="3263" actId="20577"/>
          <ac:spMkLst>
            <pc:docMk/>
            <pc:sldMk cId="656393337" sldId="2076138179"/>
            <ac:spMk id="2" creationId="{11A21F64-B62C-4188-9789-27A6CE76C3F2}"/>
          </ac:spMkLst>
        </pc:spChg>
      </pc:sldChg>
      <pc:sldChg chg="modSp new mod">
        <pc:chgData name="Kawtar SADIQ" userId="65df04e4-2d23-4bab-afb0-40df8a2c1b9f" providerId="ADAL" clId="{1FE88A54-802F-4EFE-88F9-E6E876ADF5B1}" dt="2022-11-14T17:39:47.172" v="3386" actId="20577"/>
        <pc:sldMkLst>
          <pc:docMk/>
          <pc:sldMk cId="100196108" sldId="2076138180"/>
        </pc:sldMkLst>
        <pc:spChg chg="mod">
          <ac:chgData name="Kawtar SADIQ" userId="65df04e4-2d23-4bab-afb0-40df8a2c1b9f" providerId="ADAL" clId="{1FE88A54-802F-4EFE-88F9-E6E876ADF5B1}" dt="2022-11-14T17:39:47.172" v="3386" actId="20577"/>
          <ac:spMkLst>
            <pc:docMk/>
            <pc:sldMk cId="100196108" sldId="2076138180"/>
            <ac:spMk id="2" creationId="{87123A67-6A58-4487-998B-2CFAD1B3BA79}"/>
          </ac:spMkLst>
        </pc:spChg>
      </pc:sldChg>
      <pc:sldChg chg="modSp add mod">
        <pc:chgData name="Kawtar SADIQ" userId="65df04e4-2d23-4bab-afb0-40df8a2c1b9f" providerId="ADAL" clId="{1FE88A54-802F-4EFE-88F9-E6E876ADF5B1}" dt="2022-11-14T17:39:37.555" v="3384" actId="20577"/>
        <pc:sldMkLst>
          <pc:docMk/>
          <pc:sldMk cId="3746407770" sldId="2076138181"/>
        </pc:sldMkLst>
        <pc:spChg chg="mod">
          <ac:chgData name="Kawtar SADIQ" userId="65df04e4-2d23-4bab-afb0-40df8a2c1b9f" providerId="ADAL" clId="{1FE88A54-802F-4EFE-88F9-E6E876ADF5B1}" dt="2022-11-14T17:39:37.555" v="3384" actId="20577"/>
          <ac:spMkLst>
            <pc:docMk/>
            <pc:sldMk cId="3746407770" sldId="2076138181"/>
            <ac:spMk id="2" creationId="{87123A67-6A58-4487-998B-2CFAD1B3BA79}"/>
          </ac:spMkLst>
        </pc:spChg>
      </pc:sldChg>
      <pc:sldChg chg="modSp add mod">
        <pc:chgData name="Kawtar SADIQ" userId="65df04e4-2d23-4bab-afb0-40df8a2c1b9f" providerId="ADAL" clId="{1FE88A54-802F-4EFE-88F9-E6E876ADF5B1}" dt="2022-11-14T17:40:03.283" v="3389" actId="20577"/>
        <pc:sldMkLst>
          <pc:docMk/>
          <pc:sldMk cId="613806487" sldId="2076138182"/>
        </pc:sldMkLst>
        <pc:spChg chg="mod">
          <ac:chgData name="Kawtar SADIQ" userId="65df04e4-2d23-4bab-afb0-40df8a2c1b9f" providerId="ADAL" clId="{1FE88A54-802F-4EFE-88F9-E6E876ADF5B1}" dt="2022-11-14T17:40:03.283" v="3389" actId="20577"/>
          <ac:spMkLst>
            <pc:docMk/>
            <pc:sldMk cId="613806487" sldId="2076138182"/>
            <ac:spMk id="2" creationId="{87123A67-6A58-4487-998B-2CFAD1B3BA79}"/>
          </ac:spMkLst>
        </pc:spChg>
      </pc:sldChg>
      <pc:sldChg chg="modSp add mod ord">
        <pc:chgData name="Kawtar SADIQ" userId="65df04e4-2d23-4bab-afb0-40df8a2c1b9f" providerId="ADAL" clId="{1FE88A54-802F-4EFE-88F9-E6E876ADF5B1}" dt="2022-11-14T17:41:05.538" v="3411"/>
        <pc:sldMkLst>
          <pc:docMk/>
          <pc:sldMk cId="767527029" sldId="2076138183"/>
        </pc:sldMkLst>
        <pc:spChg chg="mod">
          <ac:chgData name="Kawtar SADIQ" userId="65df04e4-2d23-4bab-afb0-40df8a2c1b9f" providerId="ADAL" clId="{1FE88A54-802F-4EFE-88F9-E6E876ADF5B1}" dt="2022-11-14T17:41:05.538" v="3411"/>
          <ac:spMkLst>
            <pc:docMk/>
            <pc:sldMk cId="767527029" sldId="2076138183"/>
            <ac:spMk id="2" creationId="{87123A67-6A58-4487-998B-2CFAD1B3BA79}"/>
          </ac:spMkLst>
        </pc:spChg>
      </pc:sldChg>
      <pc:sldChg chg="addSp delSp modSp new mod">
        <pc:chgData name="Kawtar SADIQ" userId="65df04e4-2d23-4bab-afb0-40df8a2c1b9f" providerId="ADAL" clId="{1FE88A54-802F-4EFE-88F9-E6E876ADF5B1}" dt="2022-11-18T14:38:03.004" v="11196" actId="113"/>
        <pc:sldMkLst>
          <pc:docMk/>
          <pc:sldMk cId="2512155146" sldId="2076138184"/>
        </pc:sldMkLst>
        <pc:spChg chg="del">
          <ac:chgData name="Kawtar SADIQ" userId="65df04e4-2d23-4bab-afb0-40df8a2c1b9f" providerId="ADAL" clId="{1FE88A54-802F-4EFE-88F9-E6E876ADF5B1}" dt="2022-11-16T08:16:22.727" v="5207" actId="478"/>
          <ac:spMkLst>
            <pc:docMk/>
            <pc:sldMk cId="2512155146" sldId="2076138184"/>
            <ac:spMk id="2" creationId="{67ABE6A1-4AAD-41E4-A1DF-786C3CB2B0A0}"/>
          </ac:spMkLst>
        </pc:spChg>
        <pc:spChg chg="del">
          <ac:chgData name="Kawtar SADIQ" userId="65df04e4-2d23-4bab-afb0-40df8a2c1b9f" providerId="ADAL" clId="{1FE88A54-802F-4EFE-88F9-E6E876ADF5B1}" dt="2022-11-16T07:55:02.502" v="4385" actId="478"/>
          <ac:spMkLst>
            <pc:docMk/>
            <pc:sldMk cId="2512155146" sldId="2076138184"/>
            <ac:spMk id="3" creationId="{B9A90F5E-4898-4019-B020-3AA3A7B2C2A2}"/>
          </ac:spMkLst>
        </pc:spChg>
        <pc:spChg chg="add mod">
          <ac:chgData name="Kawtar SADIQ" userId="65df04e4-2d23-4bab-afb0-40df8a2c1b9f" providerId="ADAL" clId="{1FE88A54-802F-4EFE-88F9-E6E876ADF5B1}" dt="2022-11-18T09:25:16.016" v="11142" actId="1035"/>
          <ac:spMkLst>
            <pc:docMk/>
            <pc:sldMk cId="2512155146" sldId="2076138184"/>
            <ac:spMk id="5" creationId="{BC875C70-5376-4333-878D-086B2ECF74AE}"/>
          </ac:spMkLst>
        </pc:spChg>
        <pc:spChg chg="add del mod">
          <ac:chgData name="Kawtar SADIQ" userId="65df04e4-2d23-4bab-afb0-40df8a2c1b9f" providerId="ADAL" clId="{1FE88A54-802F-4EFE-88F9-E6E876ADF5B1}" dt="2022-11-18T08:11:58.417" v="10239" actId="478"/>
          <ac:spMkLst>
            <pc:docMk/>
            <pc:sldMk cId="2512155146" sldId="2076138184"/>
            <ac:spMk id="7" creationId="{BA63662C-C9C8-4C28-8D2A-A6AB7CD5B5D7}"/>
          </ac:spMkLst>
        </pc:spChg>
        <pc:graphicFrameChg chg="add del mod modGraphic">
          <ac:chgData name="Kawtar SADIQ" userId="65df04e4-2d23-4bab-afb0-40df8a2c1b9f" providerId="ADAL" clId="{1FE88A54-802F-4EFE-88F9-E6E876ADF5B1}" dt="2022-11-18T14:38:03.004" v="11196" actId="113"/>
          <ac:graphicFrameMkLst>
            <pc:docMk/>
            <pc:sldMk cId="2512155146" sldId="2076138184"/>
            <ac:graphicFrameMk id="4" creationId="{BCF0F422-267B-4033-8E84-0913E6A2EF6F}"/>
          </ac:graphicFrameMkLst>
        </pc:graphicFrameChg>
      </pc:sldChg>
      <pc:sldChg chg="addSp delSp modSp new mod">
        <pc:chgData name="Kawtar SADIQ" userId="65df04e4-2d23-4bab-afb0-40df8a2c1b9f" providerId="ADAL" clId="{1FE88A54-802F-4EFE-88F9-E6E876ADF5B1}" dt="2022-11-18T09:23:32.789" v="11075" actId="14734"/>
        <pc:sldMkLst>
          <pc:docMk/>
          <pc:sldMk cId="3890575317" sldId="2076138185"/>
        </pc:sldMkLst>
        <pc:spChg chg="mod">
          <ac:chgData name="Kawtar SADIQ" userId="65df04e4-2d23-4bab-afb0-40df8a2c1b9f" providerId="ADAL" clId="{1FE88A54-802F-4EFE-88F9-E6E876ADF5B1}" dt="2022-11-16T13:48:58.239" v="6070" actId="313"/>
          <ac:spMkLst>
            <pc:docMk/>
            <pc:sldMk cId="3890575317" sldId="2076138185"/>
            <ac:spMk id="2" creationId="{D80A09D5-8F40-4F21-A9B7-CE4690638C0C}"/>
          </ac:spMkLst>
        </pc:spChg>
        <pc:spChg chg="del">
          <ac:chgData name="Kawtar SADIQ" userId="65df04e4-2d23-4bab-afb0-40df8a2c1b9f" providerId="ADAL" clId="{1FE88A54-802F-4EFE-88F9-E6E876ADF5B1}" dt="2022-11-16T13:45:52.149" v="5951" actId="478"/>
          <ac:spMkLst>
            <pc:docMk/>
            <pc:sldMk cId="3890575317" sldId="2076138185"/>
            <ac:spMk id="3" creationId="{7A48B4CA-5E13-47A6-9B97-D8AADF7D3C20}"/>
          </ac:spMkLst>
        </pc:spChg>
        <pc:spChg chg="add del mod">
          <ac:chgData name="Kawtar SADIQ" userId="65df04e4-2d23-4bab-afb0-40df8a2c1b9f" providerId="ADAL" clId="{1FE88A54-802F-4EFE-88F9-E6E876ADF5B1}" dt="2022-11-16T13:48:05.224" v="5994" actId="478"/>
          <ac:spMkLst>
            <pc:docMk/>
            <pc:sldMk cId="3890575317" sldId="2076138185"/>
            <ac:spMk id="5" creationId="{1AE2E2F4-E80D-4FE9-899F-804DBE0D9EBE}"/>
          </ac:spMkLst>
        </pc:spChg>
        <pc:graphicFrameChg chg="add mod modGraphic">
          <ac:chgData name="Kawtar SADIQ" userId="65df04e4-2d23-4bab-afb0-40df8a2c1b9f" providerId="ADAL" clId="{1FE88A54-802F-4EFE-88F9-E6E876ADF5B1}" dt="2022-11-18T09:23:32.789" v="11075" actId="14734"/>
          <ac:graphicFrameMkLst>
            <pc:docMk/>
            <pc:sldMk cId="3890575317" sldId="2076138185"/>
            <ac:graphicFrameMk id="4" creationId="{CE44E82E-6B7A-4B18-99C1-E73C9D27A3C1}"/>
          </ac:graphicFrameMkLst>
        </pc:graphicFrameChg>
      </pc:sldChg>
      <pc:sldChg chg="addSp delSp modSp add mod">
        <pc:chgData name="Kawtar SADIQ" userId="65df04e4-2d23-4bab-afb0-40df8a2c1b9f" providerId="ADAL" clId="{1FE88A54-802F-4EFE-88F9-E6E876ADF5B1}" dt="2022-11-18T14:46:43.938" v="11281" actId="20577"/>
        <pc:sldMkLst>
          <pc:docMk/>
          <pc:sldMk cId="1052764281" sldId="2076138186"/>
        </pc:sldMkLst>
        <pc:spChg chg="mod">
          <ac:chgData name="Kawtar SADIQ" userId="65df04e4-2d23-4bab-afb0-40df8a2c1b9f" providerId="ADAL" clId="{1FE88A54-802F-4EFE-88F9-E6E876ADF5B1}" dt="2022-11-18T14:43:15.812" v="11217" actId="20577"/>
          <ac:spMkLst>
            <pc:docMk/>
            <pc:sldMk cId="1052764281" sldId="2076138186"/>
            <ac:spMk id="3" creationId="{C4398502-ACAB-4FE4-BFD4-B775F03D1059}"/>
          </ac:spMkLst>
        </pc:spChg>
        <pc:spChg chg="del">
          <ac:chgData name="Kawtar SADIQ" userId="65df04e4-2d23-4bab-afb0-40df8a2c1b9f" providerId="ADAL" clId="{1FE88A54-802F-4EFE-88F9-E6E876ADF5B1}" dt="2022-11-18T14:42:00.443" v="11198" actId="478"/>
          <ac:spMkLst>
            <pc:docMk/>
            <pc:sldMk cId="1052764281" sldId="2076138186"/>
            <ac:spMk id="13" creationId="{E8EDF5B5-26D4-4A3F-91E1-9A360D5B85DC}"/>
          </ac:spMkLst>
        </pc:spChg>
        <pc:spChg chg="del">
          <ac:chgData name="Kawtar SADIQ" userId="65df04e4-2d23-4bab-afb0-40df8a2c1b9f" providerId="ADAL" clId="{1FE88A54-802F-4EFE-88F9-E6E876ADF5B1}" dt="2022-11-18T14:42:06.914" v="11200" actId="478"/>
          <ac:spMkLst>
            <pc:docMk/>
            <pc:sldMk cId="1052764281" sldId="2076138186"/>
            <ac:spMk id="14" creationId="{C3614589-4E04-4CF1-8513-13C7DD68DF39}"/>
          </ac:spMkLst>
        </pc:spChg>
        <pc:spChg chg="del">
          <ac:chgData name="Kawtar SADIQ" userId="65df04e4-2d23-4bab-afb0-40df8a2c1b9f" providerId="ADAL" clId="{1FE88A54-802F-4EFE-88F9-E6E876ADF5B1}" dt="2022-11-18T14:42:08.221" v="11201" actId="478"/>
          <ac:spMkLst>
            <pc:docMk/>
            <pc:sldMk cId="1052764281" sldId="2076138186"/>
            <ac:spMk id="15" creationId="{AA4FDD7B-1340-4B37-BC4C-C791F33CD964}"/>
          </ac:spMkLst>
        </pc:spChg>
        <pc:spChg chg="add mod">
          <ac:chgData name="Kawtar SADIQ" userId="65df04e4-2d23-4bab-afb0-40df8a2c1b9f" providerId="ADAL" clId="{1FE88A54-802F-4EFE-88F9-E6E876ADF5B1}" dt="2022-11-18T14:46:43.938" v="11281" actId="20577"/>
          <ac:spMkLst>
            <pc:docMk/>
            <pc:sldMk cId="1052764281" sldId="2076138186"/>
            <ac:spMk id="17" creationId="{341B256D-38AA-4213-9C94-2A22357F5F68}"/>
          </ac:spMkLst>
        </pc:spChg>
        <pc:graphicFrameChg chg="modGraphic">
          <ac:chgData name="Kawtar SADIQ" userId="65df04e4-2d23-4bab-afb0-40df8a2c1b9f" providerId="ADAL" clId="{1FE88A54-802F-4EFE-88F9-E6E876ADF5B1}" dt="2022-11-18T14:43:35.834" v="11218" actId="14734"/>
          <ac:graphicFrameMkLst>
            <pc:docMk/>
            <pc:sldMk cId="1052764281" sldId="2076138186"/>
            <ac:graphicFrameMk id="89" creationId="{A19A5F1F-D334-4677-BCCB-AA68FF81AC6E}"/>
          </ac:graphicFrameMkLst>
        </pc:graphicFrameChg>
      </pc:sldChg>
      <pc:sldMasterChg chg="modSldLayout">
        <pc:chgData name="Kawtar SADIQ" userId="65df04e4-2d23-4bab-afb0-40df8a2c1b9f" providerId="ADAL" clId="{1FE88A54-802F-4EFE-88F9-E6E876ADF5B1}" dt="2022-11-09T10:01:21.175" v="28"/>
        <pc:sldMasterMkLst>
          <pc:docMk/>
          <pc:sldMasterMk cId="0" sldId="2147483648"/>
        </pc:sldMasterMkLst>
        <pc:sldLayoutChg chg="modSp mod">
          <pc:chgData name="Kawtar SADIQ" userId="65df04e4-2d23-4bab-afb0-40df8a2c1b9f" providerId="ADAL" clId="{1FE88A54-802F-4EFE-88F9-E6E876ADF5B1}" dt="2022-11-09T10:00:35.795" v="22" actId="20577"/>
          <pc:sldLayoutMkLst>
            <pc:docMk/>
            <pc:sldMasterMk cId="0" sldId="2147483648"/>
            <pc:sldLayoutMk cId="3332995177" sldId="2147483711"/>
          </pc:sldLayoutMkLst>
          <pc:spChg chg="mod">
            <ac:chgData name="Kawtar SADIQ" userId="65df04e4-2d23-4bab-afb0-40df8a2c1b9f" providerId="ADAL" clId="{1FE88A54-802F-4EFE-88F9-E6E876ADF5B1}" dt="2022-11-09T10:00:35.795" v="22" actId="20577"/>
            <ac:spMkLst>
              <pc:docMk/>
              <pc:sldMasterMk cId="0" sldId="2147483648"/>
              <pc:sldLayoutMk cId="3332995177" sldId="2147483711"/>
              <ac:spMk id="10" creationId="{3C12B4A1-2342-BB49-89C9-6BAE61C2CD71}"/>
            </ac:spMkLst>
          </pc:spChg>
          <pc:spChg chg="mod">
            <ac:chgData name="Kawtar SADIQ" userId="65df04e4-2d23-4bab-afb0-40df8a2c1b9f" providerId="ADAL" clId="{1FE88A54-802F-4EFE-88F9-E6E876ADF5B1}" dt="2022-11-09T09:59:12.907" v="2"/>
            <ac:spMkLst>
              <pc:docMk/>
              <pc:sldMasterMk cId="0" sldId="2147483648"/>
              <pc:sldLayoutMk cId="3332995177" sldId="2147483711"/>
              <ac:spMk id="13" creationId="{0E7AEF66-C84B-B6C5-8D34-B6EBA35D3519}"/>
            </ac:spMkLst>
          </pc:spChg>
        </pc:sldLayoutChg>
        <pc:sldLayoutChg chg="addSp delSp modSp mod">
          <pc:chgData name="Kawtar SADIQ" userId="65df04e4-2d23-4bab-afb0-40df8a2c1b9f" providerId="ADAL" clId="{1FE88A54-802F-4EFE-88F9-E6E876ADF5B1}" dt="2022-11-09T10:01:15.934" v="26"/>
          <pc:sldLayoutMkLst>
            <pc:docMk/>
            <pc:sldMasterMk cId="0" sldId="2147483648"/>
            <pc:sldLayoutMk cId="446159417" sldId="2147483712"/>
          </pc:sldLayoutMkLst>
          <pc:spChg chg="add mod">
            <ac:chgData name="Kawtar SADIQ" userId="65df04e4-2d23-4bab-afb0-40df8a2c1b9f" providerId="ADAL" clId="{1FE88A54-802F-4EFE-88F9-E6E876ADF5B1}" dt="2022-11-09T09:59:33.984" v="6"/>
            <ac:spMkLst>
              <pc:docMk/>
              <pc:sldMasterMk cId="0" sldId="2147483648"/>
              <pc:sldLayoutMk cId="446159417" sldId="2147483712"/>
              <ac:spMk id="12" creationId="{48BCD153-8CF7-40DB-881F-FF104FBD93FE}"/>
            </ac:spMkLst>
          </pc:spChg>
          <pc:spChg chg="add mod">
            <ac:chgData name="Kawtar SADIQ" userId="65df04e4-2d23-4bab-afb0-40df8a2c1b9f" providerId="ADAL" clId="{1FE88A54-802F-4EFE-88F9-E6E876ADF5B1}" dt="2022-11-09T10:01:15.934" v="26"/>
            <ac:spMkLst>
              <pc:docMk/>
              <pc:sldMasterMk cId="0" sldId="2147483648"/>
              <pc:sldLayoutMk cId="446159417" sldId="2147483712"/>
              <ac:spMk id="13" creationId="{97CC8129-0E8A-41D7-A1F9-43EB1E07CAC0}"/>
            </ac:spMkLst>
          </pc:spChg>
          <pc:spChg chg="del">
            <ac:chgData name="Kawtar SADIQ" userId="65df04e4-2d23-4bab-afb0-40df8a2c1b9f" providerId="ADAL" clId="{1FE88A54-802F-4EFE-88F9-E6E876ADF5B1}" dt="2022-11-09T09:59:33.035" v="5" actId="478"/>
            <ac:spMkLst>
              <pc:docMk/>
              <pc:sldMasterMk cId="0" sldId="2147483648"/>
              <pc:sldLayoutMk cId="446159417" sldId="2147483712"/>
              <ac:spMk id="16" creationId="{8188A588-4848-433F-BC7C-72BAC8CC3EAB}"/>
            </ac:spMkLst>
          </pc:spChg>
          <pc:spChg chg="del">
            <ac:chgData name="Kawtar SADIQ" userId="65df04e4-2d23-4bab-afb0-40df8a2c1b9f" providerId="ADAL" clId="{1FE88A54-802F-4EFE-88F9-E6E876ADF5B1}" dt="2022-11-09T10:01:15.055" v="25" actId="478"/>
            <ac:spMkLst>
              <pc:docMk/>
              <pc:sldMasterMk cId="0" sldId="2147483648"/>
              <pc:sldLayoutMk cId="446159417" sldId="2147483712"/>
              <ac:spMk id="19" creationId="{01653DEF-7BCF-1E4C-2786-324E1C8D0B75}"/>
            </ac:spMkLst>
          </pc:spChg>
        </pc:sldLayoutChg>
        <pc:sldLayoutChg chg="addSp delSp modSp mod">
          <pc:chgData name="Kawtar SADIQ" userId="65df04e4-2d23-4bab-afb0-40df8a2c1b9f" providerId="ADAL" clId="{1FE88A54-802F-4EFE-88F9-E6E876ADF5B1}" dt="2022-11-09T10:01:21.175" v="28"/>
          <pc:sldLayoutMkLst>
            <pc:docMk/>
            <pc:sldMasterMk cId="0" sldId="2147483648"/>
            <pc:sldLayoutMk cId="1803300988" sldId="2147483776"/>
          </pc:sldLayoutMkLst>
          <pc:spChg chg="add mod">
            <ac:chgData name="Kawtar SADIQ" userId="65df04e4-2d23-4bab-afb0-40df8a2c1b9f" providerId="ADAL" clId="{1FE88A54-802F-4EFE-88F9-E6E876ADF5B1}" dt="2022-11-09T09:59:41.434" v="8"/>
            <ac:spMkLst>
              <pc:docMk/>
              <pc:sldMasterMk cId="0" sldId="2147483648"/>
              <pc:sldLayoutMk cId="1803300988" sldId="2147483776"/>
              <ac:spMk id="7" creationId="{4FA900C0-1476-46B1-8BB4-00EB66C6470A}"/>
            </ac:spMkLst>
          </pc:spChg>
          <pc:spChg chg="del">
            <ac:chgData name="Kawtar SADIQ" userId="65df04e4-2d23-4bab-afb0-40df8a2c1b9f" providerId="ADAL" clId="{1FE88A54-802F-4EFE-88F9-E6E876ADF5B1}" dt="2022-11-09T10:01:20.465" v="27" actId="478"/>
            <ac:spMkLst>
              <pc:docMk/>
              <pc:sldMasterMk cId="0" sldId="2147483648"/>
              <pc:sldLayoutMk cId="1803300988" sldId="2147483776"/>
              <ac:spMk id="8" creationId="{82C38345-0347-684F-17BD-4B8EAD4694A1}"/>
            </ac:spMkLst>
          </pc:spChg>
          <pc:spChg chg="del">
            <ac:chgData name="Kawtar SADIQ" userId="65df04e4-2d23-4bab-afb0-40df8a2c1b9f" providerId="ADAL" clId="{1FE88A54-802F-4EFE-88F9-E6E876ADF5B1}" dt="2022-11-09T09:59:40.391" v="7" actId="478"/>
            <ac:spMkLst>
              <pc:docMk/>
              <pc:sldMasterMk cId="0" sldId="2147483648"/>
              <pc:sldLayoutMk cId="1803300988" sldId="2147483776"/>
              <ac:spMk id="9" creationId="{0AEE73AD-F468-4C8B-8805-5504583CFA72}"/>
            </ac:spMkLst>
          </pc:spChg>
          <pc:spChg chg="add mod">
            <ac:chgData name="Kawtar SADIQ" userId="65df04e4-2d23-4bab-afb0-40df8a2c1b9f" providerId="ADAL" clId="{1FE88A54-802F-4EFE-88F9-E6E876ADF5B1}" dt="2022-11-09T10:01:21.175" v="28"/>
            <ac:spMkLst>
              <pc:docMk/>
              <pc:sldMasterMk cId="0" sldId="2147483648"/>
              <pc:sldLayoutMk cId="1803300988" sldId="2147483776"/>
              <ac:spMk id="10" creationId="{C52D0CE1-3F5A-4C11-B369-C430804B0B5C}"/>
            </ac:spMkLst>
          </pc:spChg>
        </pc:sldLayoutChg>
        <pc:sldLayoutChg chg="addSp delSp modSp mod">
          <pc:chgData name="Kawtar SADIQ" userId="65df04e4-2d23-4bab-afb0-40df8a2c1b9f" providerId="ADAL" clId="{1FE88A54-802F-4EFE-88F9-E6E876ADF5B1}" dt="2022-11-09T10:01:08.255" v="24"/>
          <pc:sldLayoutMkLst>
            <pc:docMk/>
            <pc:sldMasterMk cId="0" sldId="2147483648"/>
            <pc:sldLayoutMk cId="1948887253" sldId="2147483777"/>
          </pc:sldLayoutMkLst>
          <pc:spChg chg="add mod">
            <ac:chgData name="Kawtar SADIQ" userId="65df04e4-2d23-4bab-afb0-40df8a2c1b9f" providerId="ADAL" clId="{1FE88A54-802F-4EFE-88F9-E6E876ADF5B1}" dt="2022-11-09T09:59:21.215" v="4"/>
            <ac:spMkLst>
              <pc:docMk/>
              <pc:sldMasterMk cId="0" sldId="2147483648"/>
              <pc:sldLayoutMk cId="1948887253" sldId="2147483777"/>
              <ac:spMk id="7" creationId="{7557CE5B-8A6C-4017-A599-2338743E2DBC}"/>
            </ac:spMkLst>
          </pc:spChg>
          <pc:spChg chg="del">
            <ac:chgData name="Kawtar SADIQ" userId="65df04e4-2d23-4bab-afb0-40df8a2c1b9f" providerId="ADAL" clId="{1FE88A54-802F-4EFE-88F9-E6E876ADF5B1}" dt="2022-11-09T10:01:07.115" v="23" actId="478"/>
            <ac:spMkLst>
              <pc:docMk/>
              <pc:sldMasterMk cId="0" sldId="2147483648"/>
              <pc:sldLayoutMk cId="1948887253" sldId="2147483777"/>
              <ac:spMk id="8" creationId="{CBC5E8DA-6952-C118-1810-A26A0EB1DE89}"/>
            </ac:spMkLst>
          </pc:spChg>
          <pc:spChg chg="del">
            <ac:chgData name="Kawtar SADIQ" userId="65df04e4-2d23-4bab-afb0-40df8a2c1b9f" providerId="ADAL" clId="{1FE88A54-802F-4EFE-88F9-E6E876ADF5B1}" dt="2022-11-09T09:59:20.635" v="3" actId="478"/>
            <ac:spMkLst>
              <pc:docMk/>
              <pc:sldMasterMk cId="0" sldId="2147483648"/>
              <pc:sldLayoutMk cId="1948887253" sldId="2147483777"/>
              <ac:spMk id="10" creationId="{D76880D1-95A8-47CE-9CE1-A1028A144033}"/>
            </ac:spMkLst>
          </pc:spChg>
          <pc:spChg chg="add mod">
            <ac:chgData name="Kawtar SADIQ" userId="65df04e4-2d23-4bab-afb0-40df8a2c1b9f" providerId="ADAL" clId="{1FE88A54-802F-4EFE-88F9-E6E876ADF5B1}" dt="2022-11-09T10:01:08.255" v="24"/>
            <ac:spMkLst>
              <pc:docMk/>
              <pc:sldMasterMk cId="0" sldId="2147483648"/>
              <pc:sldLayoutMk cId="1948887253" sldId="2147483777"/>
              <ac:spMk id="11" creationId="{F424FEAE-DC74-494B-86DA-2ED3C7298774}"/>
            </ac:spMkLst>
          </pc:spChg>
        </pc:sldLayoutChg>
      </pc:sldMasterChg>
    </pc:docChg>
  </pc:docChgLst>
  <pc:docChgLst>
    <pc:chgData name="Séverine MARTIAL" userId="S::severine.martial@talan.com::cd965009-5775-4307-a222-abb2d853a600" providerId="AD" clId="Web-{29BA3C92-1977-9720-835B-833583FEBEAD}"/>
    <pc:docChg chg="modSld sldOrd">
      <pc:chgData name="Séverine MARTIAL" userId="S::severine.martial@talan.com::cd965009-5775-4307-a222-abb2d853a600" providerId="AD" clId="Web-{29BA3C92-1977-9720-835B-833583FEBEAD}" dt="2023-03-18T21:30:42.621" v="87"/>
      <pc:docMkLst>
        <pc:docMk/>
      </pc:docMkLst>
      <pc:sldChg chg="addSp delSp modSp">
        <pc:chgData name="Séverine MARTIAL" userId="S::severine.martial@talan.com::cd965009-5775-4307-a222-abb2d853a600" providerId="AD" clId="Web-{29BA3C92-1977-9720-835B-833583FEBEAD}" dt="2023-03-18T21:30:42.621" v="87"/>
        <pc:sldMkLst>
          <pc:docMk/>
          <pc:sldMk cId="619538722" sldId="2076136401"/>
        </pc:sldMkLst>
        <pc:spChg chg="add mod">
          <ac:chgData name="Séverine MARTIAL" userId="S::severine.martial@talan.com::cd965009-5775-4307-a222-abb2d853a600" providerId="AD" clId="Web-{29BA3C92-1977-9720-835B-833583FEBEAD}" dt="2023-03-18T21:30:42.621" v="87"/>
          <ac:spMkLst>
            <pc:docMk/>
            <pc:sldMk cId="619538722" sldId="2076136401"/>
            <ac:spMk id="2" creationId="{9FDFCEB1-3623-EFEB-67F9-9E9175933893}"/>
          </ac:spMkLst>
        </pc:spChg>
        <pc:spChg chg="del">
          <ac:chgData name="Séverine MARTIAL" userId="S::severine.martial@talan.com::cd965009-5775-4307-a222-abb2d853a600" providerId="AD" clId="Web-{29BA3C92-1977-9720-835B-833583FEBEAD}" dt="2023-03-18T20:35:28.243" v="56"/>
          <ac:spMkLst>
            <pc:docMk/>
            <pc:sldMk cId="619538722" sldId="2076136401"/>
            <ac:spMk id="4" creationId="{3D1469C1-6DA5-AEEA-5B98-D820C7AFC206}"/>
          </ac:spMkLst>
        </pc:spChg>
        <pc:spChg chg="add del mod">
          <ac:chgData name="Séverine MARTIAL" userId="S::severine.martial@talan.com::cd965009-5775-4307-a222-abb2d853a600" providerId="AD" clId="Web-{29BA3C92-1977-9720-835B-833583FEBEAD}" dt="2023-03-18T21:18:34.377" v="59"/>
          <ac:spMkLst>
            <pc:docMk/>
            <pc:sldMk cId="619538722" sldId="2076136401"/>
            <ac:spMk id="4" creationId="{89CE33CD-62FE-DF52-D291-8D77AC1BB861}"/>
          </ac:spMkLst>
        </pc:spChg>
        <pc:spChg chg="mod">
          <ac:chgData name="Séverine MARTIAL" userId="S::severine.martial@talan.com::cd965009-5775-4307-a222-abb2d853a600" providerId="AD" clId="Web-{29BA3C92-1977-9720-835B-833583FEBEAD}" dt="2023-03-18T21:28:29.662" v="79" actId="20577"/>
          <ac:spMkLst>
            <pc:docMk/>
            <pc:sldMk cId="619538722" sldId="2076136401"/>
            <ac:spMk id="6" creationId="{76E64D08-F5DC-40AB-AEDE-96D8C958958D}"/>
          </ac:spMkLst>
        </pc:spChg>
        <pc:spChg chg="del">
          <ac:chgData name="Séverine MARTIAL" userId="S::severine.martial@talan.com::cd965009-5775-4307-a222-abb2d853a600" providerId="AD" clId="Web-{29BA3C92-1977-9720-835B-833583FEBEAD}" dt="2023-03-18T20:30:53.374" v="1"/>
          <ac:spMkLst>
            <pc:docMk/>
            <pc:sldMk cId="619538722" sldId="2076136401"/>
            <ac:spMk id="34" creationId="{676A00F8-0EA3-F4FA-0033-6C6889FD1758}"/>
          </ac:spMkLst>
        </pc:spChg>
        <pc:graphicFrameChg chg="del">
          <ac:chgData name="Séverine MARTIAL" userId="S::severine.martial@talan.com::cd965009-5775-4307-a222-abb2d853a600" providerId="AD" clId="Web-{29BA3C92-1977-9720-835B-833583FEBEAD}" dt="2023-03-18T20:30:53.374" v="3"/>
          <ac:graphicFrameMkLst>
            <pc:docMk/>
            <pc:sldMk cId="619538722" sldId="2076136401"/>
            <ac:graphicFrameMk id="28" creationId="{4761156E-DACB-34F8-FA98-BEE842D86879}"/>
          </ac:graphicFrameMkLst>
        </pc:graphicFrameChg>
        <pc:picChg chg="del">
          <ac:chgData name="Séverine MARTIAL" userId="S::severine.martial@talan.com::cd965009-5775-4307-a222-abb2d853a600" providerId="AD" clId="Web-{29BA3C92-1977-9720-835B-833583FEBEAD}" dt="2023-03-18T20:30:53.374" v="0"/>
          <ac:picMkLst>
            <pc:docMk/>
            <pc:sldMk cId="619538722" sldId="2076136401"/>
            <ac:picMk id="35" creationId="{0C1D0259-121C-5D0E-5FAA-402CB3FC697E}"/>
          </ac:picMkLst>
        </pc:picChg>
        <pc:cxnChg chg="del">
          <ac:chgData name="Séverine MARTIAL" userId="S::severine.martial@talan.com::cd965009-5775-4307-a222-abb2d853a600" providerId="AD" clId="Web-{29BA3C92-1977-9720-835B-833583FEBEAD}" dt="2023-03-18T20:30:53.374" v="2"/>
          <ac:cxnSpMkLst>
            <pc:docMk/>
            <pc:sldMk cId="619538722" sldId="2076136401"/>
            <ac:cxnSpMk id="32" creationId="{2F0BA113-7178-2A91-2EB7-D9E3418A3B04}"/>
          </ac:cxnSpMkLst>
        </pc:cxnChg>
      </pc:sldChg>
      <pc:sldChg chg="ord">
        <pc:chgData name="Séverine MARTIAL" userId="S::severine.martial@talan.com::cd965009-5775-4307-a222-abb2d853a600" providerId="AD" clId="Web-{29BA3C92-1977-9720-835B-833583FEBEAD}" dt="2023-03-18T21:20:06.770" v="60"/>
        <pc:sldMkLst>
          <pc:docMk/>
          <pc:sldMk cId="776430139" sldId="2147469999"/>
        </pc:sldMkLst>
      </pc:sldChg>
    </pc:docChg>
  </pc:docChgLst>
  <pc:docChgLst>
    <pc:chgData name="Ayodele IKUESAN" userId="S::ayodele.ikuesan@talan.com::59febf41-4328-4f2d-a3b0-b5ea969eeed9" providerId="AD" clId="Web-{A61A8C8E-C9CF-46A5-AA2F-209BB078D822}"/>
    <pc:docChg chg="">
      <pc:chgData name="Ayodele IKUESAN" userId="S::ayodele.ikuesan@talan.com::59febf41-4328-4f2d-a3b0-b5ea969eeed9" providerId="AD" clId="Web-{A61A8C8E-C9CF-46A5-AA2F-209BB078D822}" dt="2022-12-01T13:37:59.877" v="0"/>
      <pc:docMkLst>
        <pc:docMk/>
      </pc:docMkLst>
      <pc:sldChg chg="addCm">
        <pc:chgData name="Ayodele IKUESAN" userId="S::ayodele.ikuesan@talan.com::59febf41-4328-4f2d-a3b0-b5ea969eeed9" providerId="AD" clId="Web-{A61A8C8E-C9CF-46A5-AA2F-209BB078D822}" dt="2022-12-01T13:37:59.877" v="0"/>
        <pc:sldMkLst>
          <pc:docMk/>
          <pc:sldMk cId="530589121" sldId="2147469803"/>
        </pc:sldMkLst>
      </pc:sldChg>
    </pc:docChg>
  </pc:docChgLst>
  <pc:docChgLst>
    <pc:chgData name="Rodolphe GARABETIAN" userId="S::rodolphe.garabetian@talan.com::e7997f99-2964-44b6-a160-d8bc589f79c2" providerId="AD" clId="Web-{A3B5EB2C-0DDE-4A61-9D32-242B88A5D552}"/>
    <pc:docChg chg="modSld">
      <pc:chgData name="Rodolphe GARABETIAN" userId="S::rodolphe.garabetian@talan.com::e7997f99-2964-44b6-a160-d8bc589f79c2" providerId="AD" clId="Web-{A3B5EB2C-0DDE-4A61-9D32-242B88A5D552}" dt="2022-11-25T16:17:12.071" v="36" actId="20577"/>
      <pc:docMkLst>
        <pc:docMk/>
      </pc:docMkLst>
      <pc:sldChg chg="modSp">
        <pc:chgData name="Rodolphe GARABETIAN" userId="S::rodolphe.garabetian@talan.com::e7997f99-2964-44b6-a160-d8bc589f79c2" providerId="AD" clId="Web-{A3B5EB2C-0DDE-4A61-9D32-242B88A5D552}" dt="2022-11-25T16:17:12.071" v="36" actId="20577"/>
        <pc:sldMkLst>
          <pc:docMk/>
          <pc:sldMk cId="3928011031" sldId="2076138189"/>
        </pc:sldMkLst>
        <pc:spChg chg="mod">
          <ac:chgData name="Rodolphe GARABETIAN" userId="S::rodolphe.garabetian@talan.com::e7997f99-2964-44b6-a160-d8bc589f79c2" providerId="AD" clId="Web-{A3B5EB2C-0DDE-4A61-9D32-242B88A5D552}" dt="2022-11-25T16:16:46.930" v="21" actId="20577"/>
          <ac:spMkLst>
            <pc:docMk/>
            <pc:sldMk cId="3928011031" sldId="2076138189"/>
            <ac:spMk id="35" creationId="{B575BAC0-1618-4B33-A0A8-91858A61549D}"/>
          </ac:spMkLst>
        </pc:spChg>
        <pc:spChg chg="mod">
          <ac:chgData name="Rodolphe GARABETIAN" userId="S::rodolphe.garabetian@talan.com::e7997f99-2964-44b6-a160-d8bc589f79c2" providerId="AD" clId="Web-{A3B5EB2C-0DDE-4A61-9D32-242B88A5D552}" dt="2022-11-25T16:17:12.071" v="36" actId="20577"/>
          <ac:spMkLst>
            <pc:docMk/>
            <pc:sldMk cId="3928011031" sldId="2076138189"/>
            <ac:spMk id="44" creationId="{ECF083C1-A008-4E57-9675-B2BEBD9FACC7}"/>
          </ac:spMkLst>
        </pc:spChg>
      </pc:sldChg>
    </pc:docChg>
  </pc:docChgLst>
  <pc:docChgLst>
    <pc:chgData name="Fanny" userId="fba2c642-8770-4c74-b901-0847e97309b7" providerId="ADAL" clId="{72C95346-109D-461F-AC77-6F2326397689}"/>
    <pc:docChg chg="modSld">
      <pc:chgData name="Fanny" userId="fba2c642-8770-4c74-b901-0847e97309b7" providerId="ADAL" clId="{72C95346-109D-461F-AC77-6F2326397689}" dt="2022-11-30T21:37:06.883" v="1"/>
      <pc:docMkLst>
        <pc:docMk/>
      </pc:docMkLst>
      <pc:sldChg chg="modSp mod delCm">
        <pc:chgData name="Fanny" userId="fba2c642-8770-4c74-b901-0847e97309b7" providerId="ADAL" clId="{72C95346-109D-461F-AC77-6F2326397689}" dt="2022-11-30T21:37:06.883" v="1"/>
        <pc:sldMkLst>
          <pc:docMk/>
          <pc:sldMk cId="530589121" sldId="2147469803"/>
        </pc:sldMkLst>
        <pc:spChg chg="ord">
          <ac:chgData name="Fanny" userId="fba2c642-8770-4c74-b901-0847e97309b7" providerId="ADAL" clId="{72C95346-109D-461F-AC77-6F2326397689}" dt="2022-11-30T21:36:38.562" v="0" actId="166"/>
          <ac:spMkLst>
            <pc:docMk/>
            <pc:sldMk cId="530589121" sldId="2147469803"/>
            <ac:spMk id="28" creationId="{682DB4EE-1734-9FDE-9F46-C1CFEC936FE8}"/>
          </ac:spMkLst>
        </pc:spChg>
      </pc:sldChg>
    </pc:docChg>
  </pc:docChgLst>
  <pc:docChgLst>
    <pc:chgData name="BENAOUDA Dalil (EXT TALAN)" userId="5cb2b8ec-a716-43b3-a779-fe1bb92b68f3" providerId="ADAL" clId="{5E22CA2C-30C9-4D44-ADA2-7D6E77CC3A0B}"/>
    <pc:docChg chg="undo custSel addSld delSld modSld sldOrd delSection modSection">
      <pc:chgData name="BENAOUDA Dalil (EXT TALAN)" userId="5cb2b8ec-a716-43b3-a779-fe1bb92b68f3" providerId="ADAL" clId="{5E22CA2C-30C9-4D44-ADA2-7D6E77CC3A0B}" dt="2023-01-18T15:49:00.923" v="735" actId="20577"/>
      <pc:docMkLst>
        <pc:docMk/>
      </pc:docMkLst>
      <pc:sldChg chg="del">
        <pc:chgData name="BENAOUDA Dalil (EXT TALAN)" userId="5cb2b8ec-a716-43b3-a779-fe1bb92b68f3" providerId="ADAL" clId="{5E22CA2C-30C9-4D44-ADA2-7D6E77CC3A0B}" dt="2023-01-18T15:41:48.167" v="320" actId="47"/>
        <pc:sldMkLst>
          <pc:docMk/>
          <pc:sldMk cId="1025963086" sldId="2147469774"/>
        </pc:sldMkLst>
      </pc:sldChg>
      <pc:sldChg chg="del">
        <pc:chgData name="BENAOUDA Dalil (EXT TALAN)" userId="5cb2b8ec-a716-43b3-a779-fe1bb92b68f3" providerId="ADAL" clId="{5E22CA2C-30C9-4D44-ADA2-7D6E77CC3A0B}" dt="2023-01-18T15:41:48.167" v="320" actId="47"/>
        <pc:sldMkLst>
          <pc:docMk/>
          <pc:sldMk cId="4009460775" sldId="2147469777"/>
        </pc:sldMkLst>
      </pc:sldChg>
      <pc:sldChg chg="add del">
        <pc:chgData name="BENAOUDA Dalil (EXT TALAN)" userId="5cb2b8ec-a716-43b3-a779-fe1bb92b68f3" providerId="ADAL" clId="{5E22CA2C-30C9-4D44-ADA2-7D6E77CC3A0B}" dt="2023-01-18T15:30:19.753" v="1" actId="47"/>
        <pc:sldMkLst>
          <pc:docMk/>
          <pc:sldMk cId="1985396647" sldId="2147469798"/>
        </pc:sldMkLst>
      </pc:sldChg>
      <pc:sldChg chg="del">
        <pc:chgData name="BENAOUDA Dalil (EXT TALAN)" userId="5cb2b8ec-a716-43b3-a779-fe1bb92b68f3" providerId="ADAL" clId="{5E22CA2C-30C9-4D44-ADA2-7D6E77CC3A0B}" dt="2023-01-18T15:41:48.167" v="320" actId="47"/>
        <pc:sldMkLst>
          <pc:docMk/>
          <pc:sldMk cId="2556075751" sldId="2147469800"/>
        </pc:sldMkLst>
      </pc:sldChg>
      <pc:sldChg chg="modSp mod">
        <pc:chgData name="BENAOUDA Dalil (EXT TALAN)" userId="5cb2b8ec-a716-43b3-a779-fe1bb92b68f3" providerId="ADAL" clId="{5E22CA2C-30C9-4D44-ADA2-7D6E77CC3A0B}" dt="2023-01-18T15:34:16.840" v="2" actId="20577"/>
        <pc:sldMkLst>
          <pc:docMk/>
          <pc:sldMk cId="3405077761" sldId="2147469832"/>
        </pc:sldMkLst>
        <pc:spChg chg="mod">
          <ac:chgData name="BENAOUDA Dalil (EXT TALAN)" userId="5cb2b8ec-a716-43b3-a779-fe1bb92b68f3" providerId="ADAL" clId="{5E22CA2C-30C9-4D44-ADA2-7D6E77CC3A0B}" dt="2023-01-18T15:34:16.840" v="2" actId="20577"/>
          <ac:spMkLst>
            <pc:docMk/>
            <pc:sldMk cId="3405077761" sldId="2147469832"/>
            <ac:spMk id="6" creationId="{04A49824-ABED-44CE-9CFE-F2DB93BED5F1}"/>
          </ac:spMkLst>
        </pc:spChg>
      </pc:sldChg>
      <pc:sldChg chg="mod modShow">
        <pc:chgData name="BENAOUDA Dalil (EXT TALAN)" userId="5cb2b8ec-a716-43b3-a779-fe1bb92b68f3" providerId="ADAL" clId="{5E22CA2C-30C9-4D44-ADA2-7D6E77CC3A0B}" dt="2023-01-18T15:35:49.377" v="3" actId="729"/>
        <pc:sldMkLst>
          <pc:docMk/>
          <pc:sldMk cId="2226750021" sldId="2147469833"/>
        </pc:sldMkLst>
      </pc:sldChg>
      <pc:sldChg chg="modSp mod modNotesTx">
        <pc:chgData name="BENAOUDA Dalil (EXT TALAN)" userId="5cb2b8ec-a716-43b3-a779-fe1bb92b68f3" providerId="ADAL" clId="{5E22CA2C-30C9-4D44-ADA2-7D6E77CC3A0B}" dt="2023-01-18T15:45:25.647" v="637" actId="2165"/>
        <pc:sldMkLst>
          <pc:docMk/>
          <pc:sldMk cId="1055855095" sldId="2147469843"/>
        </pc:sldMkLst>
        <pc:graphicFrameChg chg="modGraphic">
          <ac:chgData name="BENAOUDA Dalil (EXT TALAN)" userId="5cb2b8ec-a716-43b3-a779-fe1bb92b68f3" providerId="ADAL" clId="{5E22CA2C-30C9-4D44-ADA2-7D6E77CC3A0B}" dt="2023-01-18T15:45:25.647" v="637" actId="2165"/>
          <ac:graphicFrameMkLst>
            <pc:docMk/>
            <pc:sldMk cId="1055855095" sldId="2147469843"/>
            <ac:graphicFrameMk id="5" creationId="{E247BD5F-6119-4BE9-9391-766AF3CC0E43}"/>
          </ac:graphicFrameMkLst>
        </pc:graphicFrameChg>
      </pc:sldChg>
      <pc:sldChg chg="del">
        <pc:chgData name="BENAOUDA Dalil (EXT TALAN)" userId="5cb2b8ec-a716-43b3-a779-fe1bb92b68f3" providerId="ADAL" clId="{5E22CA2C-30C9-4D44-ADA2-7D6E77CC3A0B}" dt="2023-01-18T15:45:31.096" v="638" actId="47"/>
        <pc:sldMkLst>
          <pc:docMk/>
          <pc:sldMk cId="1066070080" sldId="2147469844"/>
        </pc:sldMkLst>
      </pc:sldChg>
      <pc:sldChg chg="del">
        <pc:chgData name="BENAOUDA Dalil (EXT TALAN)" userId="5cb2b8ec-a716-43b3-a779-fe1bb92b68f3" providerId="ADAL" clId="{5E22CA2C-30C9-4D44-ADA2-7D6E77CC3A0B}" dt="2023-01-18T15:43:59.253" v="490" actId="47"/>
        <pc:sldMkLst>
          <pc:docMk/>
          <pc:sldMk cId="2349224761" sldId="2147469845"/>
        </pc:sldMkLst>
      </pc:sldChg>
      <pc:sldChg chg="del">
        <pc:chgData name="BENAOUDA Dalil (EXT TALAN)" userId="5cb2b8ec-a716-43b3-a779-fe1bb92b68f3" providerId="ADAL" clId="{5E22CA2C-30C9-4D44-ADA2-7D6E77CC3A0B}" dt="2023-01-18T15:43:59.253" v="490" actId="47"/>
        <pc:sldMkLst>
          <pc:docMk/>
          <pc:sldMk cId="2177027126" sldId="2147469846"/>
        </pc:sldMkLst>
      </pc:sldChg>
      <pc:sldChg chg="del">
        <pc:chgData name="BENAOUDA Dalil (EXT TALAN)" userId="5cb2b8ec-a716-43b3-a779-fe1bb92b68f3" providerId="ADAL" clId="{5E22CA2C-30C9-4D44-ADA2-7D6E77CC3A0B}" dt="2023-01-18T15:43:59.253" v="490" actId="47"/>
        <pc:sldMkLst>
          <pc:docMk/>
          <pc:sldMk cId="3206833290" sldId="2147469847"/>
        </pc:sldMkLst>
      </pc:sldChg>
      <pc:sldChg chg="del">
        <pc:chgData name="BENAOUDA Dalil (EXT TALAN)" userId="5cb2b8ec-a716-43b3-a779-fe1bb92b68f3" providerId="ADAL" clId="{5E22CA2C-30C9-4D44-ADA2-7D6E77CC3A0B}" dt="2023-01-18T15:43:59.253" v="490" actId="47"/>
        <pc:sldMkLst>
          <pc:docMk/>
          <pc:sldMk cId="249224192" sldId="2147469848"/>
        </pc:sldMkLst>
      </pc:sldChg>
      <pc:sldChg chg="del">
        <pc:chgData name="BENAOUDA Dalil (EXT TALAN)" userId="5cb2b8ec-a716-43b3-a779-fe1bb92b68f3" providerId="ADAL" clId="{5E22CA2C-30C9-4D44-ADA2-7D6E77CC3A0B}" dt="2023-01-18T15:43:59.253" v="490" actId="47"/>
        <pc:sldMkLst>
          <pc:docMk/>
          <pc:sldMk cId="682740835" sldId="2147469849"/>
        </pc:sldMkLst>
      </pc:sldChg>
      <pc:sldChg chg="del">
        <pc:chgData name="BENAOUDA Dalil (EXT TALAN)" userId="5cb2b8ec-a716-43b3-a779-fe1bb92b68f3" providerId="ADAL" clId="{5E22CA2C-30C9-4D44-ADA2-7D6E77CC3A0B}" dt="2023-01-18T15:43:59.253" v="490" actId="47"/>
        <pc:sldMkLst>
          <pc:docMk/>
          <pc:sldMk cId="2143200636" sldId="2147469850"/>
        </pc:sldMkLst>
      </pc:sldChg>
      <pc:sldChg chg="del">
        <pc:chgData name="BENAOUDA Dalil (EXT TALAN)" userId="5cb2b8ec-a716-43b3-a779-fe1bb92b68f3" providerId="ADAL" clId="{5E22CA2C-30C9-4D44-ADA2-7D6E77CC3A0B}" dt="2023-01-18T15:43:59.253" v="490" actId="47"/>
        <pc:sldMkLst>
          <pc:docMk/>
          <pc:sldMk cId="3332747128" sldId="2147469855"/>
        </pc:sldMkLst>
      </pc:sldChg>
      <pc:sldChg chg="del">
        <pc:chgData name="BENAOUDA Dalil (EXT TALAN)" userId="5cb2b8ec-a716-43b3-a779-fe1bb92b68f3" providerId="ADAL" clId="{5E22CA2C-30C9-4D44-ADA2-7D6E77CC3A0B}" dt="2023-01-18T15:43:59.253" v="490" actId="47"/>
        <pc:sldMkLst>
          <pc:docMk/>
          <pc:sldMk cId="1447889455" sldId="2147469859"/>
        </pc:sldMkLst>
      </pc:sldChg>
      <pc:sldChg chg="del">
        <pc:chgData name="BENAOUDA Dalil (EXT TALAN)" userId="5cb2b8ec-a716-43b3-a779-fe1bb92b68f3" providerId="ADAL" clId="{5E22CA2C-30C9-4D44-ADA2-7D6E77CC3A0B}" dt="2023-01-18T15:43:59.253" v="490" actId="47"/>
        <pc:sldMkLst>
          <pc:docMk/>
          <pc:sldMk cId="2536183223" sldId="2147469860"/>
        </pc:sldMkLst>
      </pc:sldChg>
      <pc:sldChg chg="del">
        <pc:chgData name="BENAOUDA Dalil (EXT TALAN)" userId="5cb2b8ec-a716-43b3-a779-fe1bb92b68f3" providerId="ADAL" clId="{5E22CA2C-30C9-4D44-ADA2-7D6E77CC3A0B}" dt="2023-01-18T15:43:59.253" v="490" actId="47"/>
        <pc:sldMkLst>
          <pc:docMk/>
          <pc:sldMk cId="4150546240" sldId="2147469861"/>
        </pc:sldMkLst>
      </pc:sldChg>
      <pc:sldChg chg="del">
        <pc:chgData name="BENAOUDA Dalil (EXT TALAN)" userId="5cb2b8ec-a716-43b3-a779-fe1bb92b68f3" providerId="ADAL" clId="{5E22CA2C-30C9-4D44-ADA2-7D6E77CC3A0B}" dt="2023-01-18T15:43:59.253" v="490" actId="47"/>
        <pc:sldMkLst>
          <pc:docMk/>
          <pc:sldMk cId="2860466465" sldId="2147469862"/>
        </pc:sldMkLst>
      </pc:sldChg>
      <pc:sldChg chg="new del">
        <pc:chgData name="BENAOUDA Dalil (EXT TALAN)" userId="5cb2b8ec-a716-43b3-a779-fe1bb92b68f3" providerId="ADAL" clId="{5E22CA2C-30C9-4D44-ADA2-7D6E77CC3A0B}" dt="2023-01-18T15:38:23.980" v="5" actId="47"/>
        <pc:sldMkLst>
          <pc:docMk/>
          <pc:sldMk cId="660836043" sldId="2147469863"/>
        </pc:sldMkLst>
      </pc:sldChg>
      <pc:sldChg chg="modSp new mod ord">
        <pc:chgData name="BENAOUDA Dalil (EXT TALAN)" userId="5cb2b8ec-a716-43b3-a779-fe1bb92b68f3" providerId="ADAL" clId="{5E22CA2C-30C9-4D44-ADA2-7D6E77CC3A0B}" dt="2023-01-18T15:38:35.002" v="40" actId="20577"/>
        <pc:sldMkLst>
          <pc:docMk/>
          <pc:sldMk cId="2704744056" sldId="2147469863"/>
        </pc:sldMkLst>
        <pc:spChg chg="mod">
          <ac:chgData name="BENAOUDA Dalil (EXT TALAN)" userId="5cb2b8ec-a716-43b3-a779-fe1bb92b68f3" providerId="ADAL" clId="{5E22CA2C-30C9-4D44-ADA2-7D6E77CC3A0B}" dt="2023-01-18T15:38:35.002" v="40" actId="20577"/>
          <ac:spMkLst>
            <pc:docMk/>
            <pc:sldMk cId="2704744056" sldId="2147469863"/>
            <ac:spMk id="2" creationId="{FAE777E8-3CDA-44F2-9E9D-2250CCA83A9E}"/>
          </ac:spMkLst>
        </pc:spChg>
      </pc:sldChg>
      <pc:sldChg chg="modSp new mod">
        <pc:chgData name="BENAOUDA Dalil (EXT TALAN)" userId="5cb2b8ec-a716-43b3-a779-fe1bb92b68f3" providerId="ADAL" clId="{5E22CA2C-30C9-4D44-ADA2-7D6E77CC3A0B}" dt="2023-01-18T15:39:07.426" v="64" actId="20577"/>
        <pc:sldMkLst>
          <pc:docMk/>
          <pc:sldMk cId="814698274" sldId="2147469864"/>
        </pc:sldMkLst>
        <pc:spChg chg="mod">
          <ac:chgData name="BENAOUDA Dalil (EXT TALAN)" userId="5cb2b8ec-a716-43b3-a779-fe1bb92b68f3" providerId="ADAL" clId="{5E22CA2C-30C9-4D44-ADA2-7D6E77CC3A0B}" dt="2023-01-18T15:39:07.426" v="64" actId="20577"/>
          <ac:spMkLst>
            <pc:docMk/>
            <pc:sldMk cId="814698274" sldId="2147469864"/>
            <ac:spMk id="2" creationId="{BC101DB5-3C2C-4129-B0D3-0876D75458BD}"/>
          </ac:spMkLst>
        </pc:spChg>
      </pc:sldChg>
      <pc:sldChg chg="modSp new mod">
        <pc:chgData name="BENAOUDA Dalil (EXT TALAN)" userId="5cb2b8ec-a716-43b3-a779-fe1bb92b68f3" providerId="ADAL" clId="{5E22CA2C-30C9-4D44-ADA2-7D6E77CC3A0B}" dt="2023-01-18T15:39:20.083" v="80" actId="20577"/>
        <pc:sldMkLst>
          <pc:docMk/>
          <pc:sldMk cId="1373749814" sldId="2147469865"/>
        </pc:sldMkLst>
        <pc:spChg chg="mod">
          <ac:chgData name="BENAOUDA Dalil (EXT TALAN)" userId="5cb2b8ec-a716-43b3-a779-fe1bb92b68f3" providerId="ADAL" clId="{5E22CA2C-30C9-4D44-ADA2-7D6E77CC3A0B}" dt="2023-01-18T15:39:20.083" v="80" actId="20577"/>
          <ac:spMkLst>
            <pc:docMk/>
            <pc:sldMk cId="1373749814" sldId="2147469865"/>
            <ac:spMk id="2" creationId="{07E9BD8E-C1CE-462F-AFC3-109FA21B7163}"/>
          </ac:spMkLst>
        </pc:spChg>
      </pc:sldChg>
      <pc:sldChg chg="modSp new mod">
        <pc:chgData name="BENAOUDA Dalil (EXT TALAN)" userId="5cb2b8ec-a716-43b3-a779-fe1bb92b68f3" providerId="ADAL" clId="{5E22CA2C-30C9-4D44-ADA2-7D6E77CC3A0B}" dt="2023-01-18T15:41:15.075" v="319" actId="20577"/>
        <pc:sldMkLst>
          <pc:docMk/>
          <pc:sldMk cId="1920039256" sldId="2147469866"/>
        </pc:sldMkLst>
        <pc:spChg chg="mod">
          <ac:chgData name="BENAOUDA Dalil (EXT TALAN)" userId="5cb2b8ec-a716-43b3-a779-fe1bb92b68f3" providerId="ADAL" clId="{5E22CA2C-30C9-4D44-ADA2-7D6E77CC3A0B}" dt="2023-01-18T15:40:21.541" v="188" actId="20577"/>
          <ac:spMkLst>
            <pc:docMk/>
            <pc:sldMk cId="1920039256" sldId="2147469866"/>
            <ac:spMk id="2" creationId="{93C14F37-31FA-4011-9EC7-1612362C1173}"/>
          </ac:spMkLst>
        </pc:spChg>
        <pc:spChg chg="mod">
          <ac:chgData name="BENAOUDA Dalil (EXT TALAN)" userId="5cb2b8ec-a716-43b3-a779-fe1bb92b68f3" providerId="ADAL" clId="{5E22CA2C-30C9-4D44-ADA2-7D6E77CC3A0B}" dt="2023-01-18T15:41:15.075" v="319" actId="20577"/>
          <ac:spMkLst>
            <pc:docMk/>
            <pc:sldMk cId="1920039256" sldId="2147469866"/>
            <ac:spMk id="3" creationId="{DED9392C-B713-454A-B7F4-3F2D3910A383}"/>
          </ac:spMkLst>
        </pc:spChg>
      </pc:sldChg>
      <pc:sldChg chg="modSp new mod">
        <pc:chgData name="BENAOUDA Dalil (EXT TALAN)" userId="5cb2b8ec-a716-43b3-a779-fe1bb92b68f3" providerId="ADAL" clId="{5E22CA2C-30C9-4D44-ADA2-7D6E77CC3A0B}" dt="2023-01-18T15:47:45.918" v="718" actId="20577"/>
        <pc:sldMkLst>
          <pc:docMk/>
          <pc:sldMk cId="3764256714" sldId="2147469867"/>
        </pc:sldMkLst>
        <pc:spChg chg="mod">
          <ac:chgData name="BENAOUDA Dalil (EXT TALAN)" userId="5cb2b8ec-a716-43b3-a779-fe1bb92b68f3" providerId="ADAL" clId="{5E22CA2C-30C9-4D44-ADA2-7D6E77CC3A0B}" dt="2023-01-18T15:47:24.998" v="660" actId="20577"/>
          <ac:spMkLst>
            <pc:docMk/>
            <pc:sldMk cId="3764256714" sldId="2147469867"/>
            <ac:spMk id="2" creationId="{9D08F257-FAF1-4C5B-B639-8861F68A7A30}"/>
          </ac:spMkLst>
        </pc:spChg>
        <pc:spChg chg="mod">
          <ac:chgData name="BENAOUDA Dalil (EXT TALAN)" userId="5cb2b8ec-a716-43b3-a779-fe1bb92b68f3" providerId="ADAL" clId="{5E22CA2C-30C9-4D44-ADA2-7D6E77CC3A0B}" dt="2023-01-18T15:47:45.918" v="718" actId="20577"/>
          <ac:spMkLst>
            <pc:docMk/>
            <pc:sldMk cId="3764256714" sldId="2147469867"/>
            <ac:spMk id="3" creationId="{9B1EE467-0676-4301-823D-07CCBB60E295}"/>
          </ac:spMkLst>
        </pc:spChg>
      </pc:sldChg>
      <pc:sldChg chg="modSp new mod ord">
        <pc:chgData name="BENAOUDA Dalil (EXT TALAN)" userId="5cb2b8ec-a716-43b3-a779-fe1bb92b68f3" providerId="ADAL" clId="{5E22CA2C-30C9-4D44-ADA2-7D6E77CC3A0B}" dt="2023-01-18T15:49:00.923" v="735" actId="20577"/>
        <pc:sldMkLst>
          <pc:docMk/>
          <pc:sldMk cId="314321435" sldId="2147469868"/>
        </pc:sldMkLst>
        <pc:spChg chg="mod">
          <ac:chgData name="BENAOUDA Dalil (EXT TALAN)" userId="5cb2b8ec-a716-43b3-a779-fe1bb92b68f3" providerId="ADAL" clId="{5E22CA2C-30C9-4D44-ADA2-7D6E77CC3A0B}" dt="2023-01-18T15:49:00.923" v="735" actId="20577"/>
          <ac:spMkLst>
            <pc:docMk/>
            <pc:sldMk cId="314321435" sldId="2147469868"/>
            <ac:spMk id="2" creationId="{9237E262-AE3E-4103-926B-4A973F1A55B1}"/>
          </ac:spMkLst>
        </pc:spChg>
      </pc:sldChg>
      <pc:sldChg chg="new ord">
        <pc:chgData name="BENAOUDA Dalil (EXT TALAN)" userId="5cb2b8ec-a716-43b3-a779-fe1bb92b68f3" providerId="ADAL" clId="{5E22CA2C-30C9-4D44-ADA2-7D6E77CC3A0B}" dt="2023-01-18T15:48:39.925" v="724"/>
        <pc:sldMkLst>
          <pc:docMk/>
          <pc:sldMk cId="473214421" sldId="2147469869"/>
        </pc:sldMkLst>
      </pc:sldChg>
    </pc:docChg>
  </pc:docChgLst>
  <pc:docChgLst>
    <pc:chgData name="Eléonore LE LEUCH" userId="28d40526-6ddd-4dc7-827e-9c965f8df0c2" providerId="ADAL" clId="{943B0E38-EA6B-47B7-BEA5-739850E7DA37}"/>
    <pc:docChg chg="undo custSel addSld delSld modSld sldOrd modMainMaster modSection">
      <pc:chgData name="Eléonore LE LEUCH" userId="28d40526-6ddd-4dc7-827e-9c965f8df0c2" providerId="ADAL" clId="{943B0E38-EA6B-47B7-BEA5-739850E7DA37}" dt="2022-11-30T12:43:47.102" v="1614" actId="20577"/>
      <pc:docMkLst>
        <pc:docMk/>
      </pc:docMkLst>
      <pc:sldChg chg="del">
        <pc:chgData name="Eléonore LE LEUCH" userId="28d40526-6ddd-4dc7-827e-9c965f8df0c2" providerId="ADAL" clId="{943B0E38-EA6B-47B7-BEA5-739850E7DA37}" dt="2022-11-25T14:34:09.643" v="810" actId="47"/>
        <pc:sldMkLst>
          <pc:docMk/>
          <pc:sldMk cId="3182244554" sldId="2076138003"/>
        </pc:sldMkLst>
      </pc:sldChg>
      <pc:sldChg chg="addSp delSp modSp mod">
        <pc:chgData name="Eléonore LE LEUCH" userId="28d40526-6ddd-4dc7-827e-9c965f8df0c2" providerId="ADAL" clId="{943B0E38-EA6B-47B7-BEA5-739850E7DA37}" dt="2022-11-25T15:05:01.175" v="1270" actId="13926"/>
        <pc:sldMkLst>
          <pc:docMk/>
          <pc:sldMk cId="2656984134" sldId="2076138005"/>
        </pc:sldMkLst>
        <pc:spChg chg="mod">
          <ac:chgData name="Eléonore LE LEUCH" userId="28d40526-6ddd-4dc7-827e-9c965f8df0c2" providerId="ADAL" clId="{943B0E38-EA6B-47B7-BEA5-739850E7DA37}" dt="2022-11-25T14:34:33.148" v="815"/>
          <ac:spMkLst>
            <pc:docMk/>
            <pc:sldMk cId="2656984134" sldId="2076138005"/>
            <ac:spMk id="3" creationId="{C4398502-ACAB-4FE4-BFD4-B775F03D1059}"/>
          </ac:spMkLst>
        </pc:spChg>
        <pc:spChg chg="mod">
          <ac:chgData name="Eléonore LE LEUCH" userId="28d40526-6ddd-4dc7-827e-9c965f8df0c2" providerId="ADAL" clId="{943B0E38-EA6B-47B7-BEA5-739850E7DA37}" dt="2022-11-25T14:58:14.027" v="1062" actId="20577"/>
          <ac:spMkLst>
            <pc:docMk/>
            <pc:sldMk cId="2656984134" sldId="2076138005"/>
            <ac:spMk id="4" creationId="{B0F67ADD-ADF4-413C-BA69-93FA23FD255B}"/>
          </ac:spMkLst>
        </pc:spChg>
        <pc:spChg chg="mod">
          <ac:chgData name="Eléonore LE LEUCH" userId="28d40526-6ddd-4dc7-827e-9c965f8df0c2" providerId="ADAL" clId="{943B0E38-EA6B-47B7-BEA5-739850E7DA37}" dt="2022-11-25T14:58:39.007" v="1067" actId="1076"/>
          <ac:spMkLst>
            <pc:docMk/>
            <pc:sldMk cId="2656984134" sldId="2076138005"/>
            <ac:spMk id="8" creationId="{0DE5FD32-B9CC-14AF-56A7-59DD309C51A6}"/>
          </ac:spMkLst>
        </pc:spChg>
        <pc:spChg chg="add mod">
          <ac:chgData name="Eléonore LE LEUCH" userId="28d40526-6ddd-4dc7-827e-9c965f8df0c2" providerId="ADAL" clId="{943B0E38-EA6B-47B7-BEA5-739850E7DA37}" dt="2022-11-25T15:02:41.500" v="1115" actId="207"/>
          <ac:spMkLst>
            <pc:docMk/>
            <pc:sldMk cId="2656984134" sldId="2076138005"/>
            <ac:spMk id="11" creationId="{2A94AC24-8D58-009E-FC5C-59DDCE5D5CFD}"/>
          </ac:spMkLst>
        </pc:spChg>
        <pc:grpChg chg="del mod">
          <ac:chgData name="Eléonore LE LEUCH" userId="28d40526-6ddd-4dc7-827e-9c965f8df0c2" providerId="ADAL" clId="{943B0E38-EA6B-47B7-BEA5-739850E7DA37}" dt="2022-11-25T14:58:20.758" v="1064" actId="478"/>
          <ac:grpSpMkLst>
            <pc:docMk/>
            <pc:sldMk cId="2656984134" sldId="2076138005"/>
            <ac:grpSpMk id="2" creationId="{2E4C75BF-3879-41FA-9EF5-CB54A5A93DF0}"/>
          </ac:grpSpMkLst>
        </pc:grpChg>
        <pc:grpChg chg="mod">
          <ac:chgData name="Eléonore LE LEUCH" userId="28d40526-6ddd-4dc7-827e-9c965f8df0c2" providerId="ADAL" clId="{943B0E38-EA6B-47B7-BEA5-739850E7DA37}" dt="2022-11-25T14:58:39.007" v="1067" actId="1076"/>
          <ac:grpSpMkLst>
            <pc:docMk/>
            <pc:sldMk cId="2656984134" sldId="2076138005"/>
            <ac:grpSpMk id="5" creationId="{680223AA-35AA-4F24-9098-0D3D11BE43F2}"/>
          </ac:grpSpMkLst>
        </pc:grpChg>
        <pc:grpChg chg="mod">
          <ac:chgData name="Eléonore LE LEUCH" userId="28d40526-6ddd-4dc7-827e-9c965f8df0c2" providerId="ADAL" clId="{943B0E38-EA6B-47B7-BEA5-739850E7DA37}" dt="2022-11-25T14:58:39.007" v="1067" actId="1076"/>
          <ac:grpSpMkLst>
            <pc:docMk/>
            <pc:sldMk cId="2656984134" sldId="2076138005"/>
            <ac:grpSpMk id="6" creationId="{D9518B8A-E42E-4FC1-9410-B281F9CF5A72}"/>
          </ac:grpSpMkLst>
        </pc:grpChg>
        <pc:grpChg chg="mod">
          <ac:chgData name="Eléonore LE LEUCH" userId="28d40526-6ddd-4dc7-827e-9c965f8df0c2" providerId="ADAL" clId="{943B0E38-EA6B-47B7-BEA5-739850E7DA37}" dt="2022-11-25T14:58:39.007" v="1067" actId="1076"/>
          <ac:grpSpMkLst>
            <pc:docMk/>
            <pc:sldMk cId="2656984134" sldId="2076138005"/>
            <ac:grpSpMk id="7" creationId="{33888B01-730D-49D3-A3A3-0CB01CBEFEE4}"/>
          </ac:grpSpMkLst>
        </pc:grpChg>
        <pc:graphicFrameChg chg="mod modGraphic">
          <ac:chgData name="Eléonore LE LEUCH" userId="28d40526-6ddd-4dc7-827e-9c965f8df0c2" providerId="ADAL" clId="{943B0E38-EA6B-47B7-BEA5-739850E7DA37}" dt="2022-11-25T15:05:01.175" v="1270" actId="13926"/>
          <ac:graphicFrameMkLst>
            <pc:docMk/>
            <pc:sldMk cId="2656984134" sldId="2076138005"/>
            <ac:graphicFrameMk id="89" creationId="{A19A5F1F-D334-4677-BCCB-AA68FF81AC6E}"/>
          </ac:graphicFrameMkLst>
        </pc:graphicFrameChg>
        <pc:picChg chg="add del mod">
          <ac:chgData name="Eléonore LE LEUCH" userId="28d40526-6ddd-4dc7-827e-9c965f8df0c2" providerId="ADAL" clId="{943B0E38-EA6B-47B7-BEA5-739850E7DA37}" dt="2022-11-25T15:02:10.932" v="1072" actId="478"/>
          <ac:picMkLst>
            <pc:docMk/>
            <pc:sldMk cId="2656984134" sldId="2076138005"/>
            <ac:picMk id="10" creationId="{11095958-16B1-90DC-B233-9F842D001124}"/>
          </ac:picMkLst>
        </pc:picChg>
        <pc:picChg chg="mod">
          <ac:chgData name="Eléonore LE LEUCH" userId="28d40526-6ddd-4dc7-827e-9c965f8df0c2" providerId="ADAL" clId="{943B0E38-EA6B-47B7-BEA5-739850E7DA37}" dt="2022-11-25T14:58:39.007" v="1067" actId="1076"/>
          <ac:picMkLst>
            <pc:docMk/>
            <pc:sldMk cId="2656984134" sldId="2076138005"/>
            <ac:picMk id="23" creationId="{C5964ED9-E029-4428-8C57-7EA24226B475}"/>
          </ac:picMkLst>
        </pc:picChg>
        <pc:picChg chg="mod">
          <ac:chgData name="Eléonore LE LEUCH" userId="28d40526-6ddd-4dc7-827e-9c965f8df0c2" providerId="ADAL" clId="{943B0E38-EA6B-47B7-BEA5-739850E7DA37}" dt="2022-11-25T14:58:39.007" v="1067" actId="1076"/>
          <ac:picMkLst>
            <pc:docMk/>
            <pc:sldMk cId="2656984134" sldId="2076138005"/>
            <ac:picMk id="24" creationId="{55175058-B9FB-4916-8484-742E7CD07899}"/>
          </ac:picMkLst>
        </pc:picChg>
        <pc:picChg chg="del">
          <ac:chgData name="Eléonore LE LEUCH" userId="28d40526-6ddd-4dc7-827e-9c965f8df0c2" providerId="ADAL" clId="{943B0E38-EA6B-47B7-BEA5-739850E7DA37}" dt="2022-11-25T14:58:00.358" v="1058" actId="478"/>
          <ac:picMkLst>
            <pc:docMk/>
            <pc:sldMk cId="2656984134" sldId="2076138005"/>
            <ac:picMk id="25" creationId="{658915DC-2897-4FD9-A263-F6690571A1A9}"/>
          </ac:picMkLst>
        </pc:picChg>
        <pc:picChg chg="mod">
          <ac:chgData name="Eléonore LE LEUCH" userId="28d40526-6ddd-4dc7-827e-9c965f8df0c2" providerId="ADAL" clId="{943B0E38-EA6B-47B7-BEA5-739850E7DA37}" dt="2022-11-25T14:58:39.007" v="1067" actId="1076"/>
          <ac:picMkLst>
            <pc:docMk/>
            <pc:sldMk cId="2656984134" sldId="2076138005"/>
            <ac:picMk id="28" creationId="{1AF89714-42FE-C117-41EE-3E89BA9282D1}"/>
          </ac:picMkLst>
        </pc:picChg>
        <pc:picChg chg="mod">
          <ac:chgData name="Eléonore LE LEUCH" userId="28d40526-6ddd-4dc7-827e-9c965f8df0c2" providerId="ADAL" clId="{943B0E38-EA6B-47B7-BEA5-739850E7DA37}" dt="2022-11-25T14:58:39.007" v="1067" actId="1076"/>
          <ac:picMkLst>
            <pc:docMk/>
            <pc:sldMk cId="2656984134" sldId="2076138005"/>
            <ac:picMk id="29" creationId="{910763D7-82E6-636D-2EAD-B8245741846E}"/>
          </ac:picMkLst>
        </pc:picChg>
        <pc:picChg chg="mod">
          <ac:chgData name="Eléonore LE LEUCH" userId="28d40526-6ddd-4dc7-827e-9c965f8df0c2" providerId="ADAL" clId="{943B0E38-EA6B-47B7-BEA5-739850E7DA37}" dt="2022-11-25T14:58:39.007" v="1067" actId="1076"/>
          <ac:picMkLst>
            <pc:docMk/>
            <pc:sldMk cId="2656984134" sldId="2076138005"/>
            <ac:picMk id="30" creationId="{20F6CED8-C559-4C99-34AD-5CEBAC37B08B}"/>
          </ac:picMkLst>
        </pc:picChg>
        <pc:picChg chg="mod">
          <ac:chgData name="Eléonore LE LEUCH" userId="28d40526-6ddd-4dc7-827e-9c965f8df0c2" providerId="ADAL" clId="{943B0E38-EA6B-47B7-BEA5-739850E7DA37}" dt="2022-11-25T14:58:39.007" v="1067" actId="1076"/>
          <ac:picMkLst>
            <pc:docMk/>
            <pc:sldMk cId="2656984134" sldId="2076138005"/>
            <ac:picMk id="37" creationId="{2D24A43C-6C0B-4608-8F10-2F95436809E3}"/>
          </ac:picMkLst>
        </pc:picChg>
        <pc:picChg chg="mod">
          <ac:chgData name="Eléonore LE LEUCH" userId="28d40526-6ddd-4dc7-827e-9c965f8df0c2" providerId="ADAL" clId="{943B0E38-EA6B-47B7-BEA5-739850E7DA37}" dt="2022-11-25T14:58:39.007" v="1067" actId="1076"/>
          <ac:picMkLst>
            <pc:docMk/>
            <pc:sldMk cId="2656984134" sldId="2076138005"/>
            <ac:picMk id="38" creationId="{A1E7A0DB-9C2C-4FB2-8BC4-B798D7E1E5BB}"/>
          </ac:picMkLst>
        </pc:picChg>
        <pc:picChg chg="mod">
          <ac:chgData name="Eléonore LE LEUCH" userId="28d40526-6ddd-4dc7-827e-9c965f8df0c2" providerId="ADAL" clId="{943B0E38-EA6B-47B7-BEA5-739850E7DA37}" dt="2022-11-25T14:58:39.007" v="1067" actId="1076"/>
          <ac:picMkLst>
            <pc:docMk/>
            <pc:sldMk cId="2656984134" sldId="2076138005"/>
            <ac:picMk id="115" creationId="{5B2D01EE-1F5E-4E9C-AB5F-A48F8ADCDEE5}"/>
          </ac:picMkLst>
        </pc:picChg>
        <pc:picChg chg="mod">
          <ac:chgData name="Eléonore LE LEUCH" userId="28d40526-6ddd-4dc7-827e-9c965f8df0c2" providerId="ADAL" clId="{943B0E38-EA6B-47B7-BEA5-739850E7DA37}" dt="2022-11-25T14:58:39.007" v="1067" actId="1076"/>
          <ac:picMkLst>
            <pc:docMk/>
            <pc:sldMk cId="2656984134" sldId="2076138005"/>
            <ac:picMk id="116" creationId="{37DB55C1-3C94-4C30-86A5-C4AA3CFDBC47}"/>
          </ac:picMkLst>
        </pc:picChg>
        <pc:picChg chg="del">
          <ac:chgData name="Eléonore LE LEUCH" userId="28d40526-6ddd-4dc7-827e-9c965f8df0c2" providerId="ADAL" clId="{943B0E38-EA6B-47B7-BEA5-739850E7DA37}" dt="2022-11-25T14:58:02.250" v="1059" actId="478"/>
          <ac:picMkLst>
            <pc:docMk/>
            <pc:sldMk cId="2656984134" sldId="2076138005"/>
            <ac:picMk id="117" creationId="{B987B9FA-0F9E-43E0-8236-E0C1519E7F50}"/>
          </ac:picMkLst>
        </pc:picChg>
        <pc:picChg chg="mod">
          <ac:chgData name="Eléonore LE LEUCH" userId="28d40526-6ddd-4dc7-827e-9c965f8df0c2" providerId="ADAL" clId="{943B0E38-EA6B-47B7-BEA5-739850E7DA37}" dt="2022-11-25T14:58:39.007" v="1067" actId="1076"/>
          <ac:picMkLst>
            <pc:docMk/>
            <pc:sldMk cId="2656984134" sldId="2076138005"/>
            <ac:picMk id="118" creationId="{7F7CA06E-089A-47A3-8BA9-A482A05BEC20}"/>
          </ac:picMkLst>
        </pc:picChg>
        <pc:picChg chg="mod">
          <ac:chgData name="Eléonore LE LEUCH" userId="28d40526-6ddd-4dc7-827e-9c965f8df0c2" providerId="ADAL" clId="{943B0E38-EA6B-47B7-BEA5-739850E7DA37}" dt="2022-11-25T14:58:39.007" v="1067" actId="1076"/>
          <ac:picMkLst>
            <pc:docMk/>
            <pc:sldMk cId="2656984134" sldId="2076138005"/>
            <ac:picMk id="119" creationId="{2F3EDDCD-C40B-4968-BA09-A34C66460749}"/>
          </ac:picMkLst>
        </pc:picChg>
        <pc:picChg chg="mod">
          <ac:chgData name="Eléonore LE LEUCH" userId="28d40526-6ddd-4dc7-827e-9c965f8df0c2" providerId="ADAL" clId="{943B0E38-EA6B-47B7-BEA5-739850E7DA37}" dt="2022-11-25T14:58:39.007" v="1067" actId="1076"/>
          <ac:picMkLst>
            <pc:docMk/>
            <pc:sldMk cId="2656984134" sldId="2076138005"/>
            <ac:picMk id="120" creationId="{C0D778E4-5697-4858-B913-1D826151CA01}"/>
          </ac:picMkLst>
        </pc:picChg>
        <pc:picChg chg="mod">
          <ac:chgData name="Eléonore LE LEUCH" userId="28d40526-6ddd-4dc7-827e-9c965f8df0c2" providerId="ADAL" clId="{943B0E38-EA6B-47B7-BEA5-739850E7DA37}" dt="2022-11-25T14:58:39.007" v="1067" actId="1076"/>
          <ac:picMkLst>
            <pc:docMk/>
            <pc:sldMk cId="2656984134" sldId="2076138005"/>
            <ac:picMk id="121" creationId="{CA23E48E-3C87-4B02-AB86-8A55A2311665}"/>
          </ac:picMkLst>
        </pc:picChg>
        <pc:picChg chg="mod">
          <ac:chgData name="Eléonore LE LEUCH" userId="28d40526-6ddd-4dc7-827e-9c965f8df0c2" providerId="ADAL" clId="{943B0E38-EA6B-47B7-BEA5-739850E7DA37}" dt="2022-11-25T14:58:39.007" v="1067" actId="1076"/>
          <ac:picMkLst>
            <pc:docMk/>
            <pc:sldMk cId="2656984134" sldId="2076138005"/>
            <ac:picMk id="1026" creationId="{A5E9C449-3B1A-3FA4-CBC2-A89DC7C12B0A}"/>
          </ac:picMkLst>
        </pc:picChg>
      </pc:sldChg>
      <pc:sldChg chg="addSp modSp mod">
        <pc:chgData name="Eléonore LE LEUCH" userId="28d40526-6ddd-4dc7-827e-9c965f8df0c2" providerId="ADAL" clId="{943B0E38-EA6B-47B7-BEA5-739850E7DA37}" dt="2022-11-25T15:02:51.321" v="1117"/>
        <pc:sldMkLst>
          <pc:docMk/>
          <pc:sldMk cId="3726325778" sldId="2076138141"/>
        </pc:sldMkLst>
        <pc:spChg chg="mod">
          <ac:chgData name="Eléonore LE LEUCH" userId="28d40526-6ddd-4dc7-827e-9c965f8df0c2" providerId="ADAL" clId="{943B0E38-EA6B-47B7-BEA5-739850E7DA37}" dt="2022-11-25T15:02:47.814" v="1116" actId="13926"/>
          <ac:spMkLst>
            <pc:docMk/>
            <pc:sldMk cId="3726325778" sldId="2076138141"/>
            <ac:spMk id="4" creationId="{00F66BC5-412C-6A53-7419-3C362B68DB00}"/>
          </ac:spMkLst>
        </pc:spChg>
        <pc:spChg chg="add mod">
          <ac:chgData name="Eléonore LE LEUCH" userId="28d40526-6ddd-4dc7-827e-9c965f8df0c2" providerId="ADAL" clId="{943B0E38-EA6B-47B7-BEA5-739850E7DA37}" dt="2022-11-25T15:02:51.321" v="1117"/>
          <ac:spMkLst>
            <pc:docMk/>
            <pc:sldMk cId="3726325778" sldId="2076138141"/>
            <ac:spMk id="7" creationId="{5F3E2982-EF31-0564-1A34-B43A16808F7C}"/>
          </ac:spMkLst>
        </pc:spChg>
      </pc:sldChg>
      <pc:sldChg chg="addSp modSp mod modShow">
        <pc:chgData name="Eléonore LE LEUCH" userId="28d40526-6ddd-4dc7-827e-9c965f8df0c2" providerId="ADAL" clId="{943B0E38-EA6B-47B7-BEA5-739850E7DA37}" dt="2022-11-25T15:03:14.466" v="1154" actId="1076"/>
        <pc:sldMkLst>
          <pc:docMk/>
          <pc:sldMk cId="2121546234" sldId="2076138143"/>
        </pc:sldMkLst>
        <pc:spChg chg="add mod">
          <ac:chgData name="Eléonore LE LEUCH" userId="28d40526-6ddd-4dc7-827e-9c965f8df0c2" providerId="ADAL" clId="{943B0E38-EA6B-47B7-BEA5-739850E7DA37}" dt="2022-11-25T15:03:14.466" v="1154" actId="1076"/>
          <ac:spMkLst>
            <pc:docMk/>
            <pc:sldMk cId="2121546234" sldId="2076138143"/>
            <ac:spMk id="2" creationId="{84366548-6A9E-5F20-9A3F-D64A0A7FBC63}"/>
          </ac:spMkLst>
        </pc:spChg>
        <pc:spChg chg="mod">
          <ac:chgData name="Eléonore LE LEUCH" userId="28d40526-6ddd-4dc7-827e-9c965f8df0c2" providerId="ADAL" clId="{943B0E38-EA6B-47B7-BEA5-739850E7DA37}" dt="2022-11-25T14:34:33.148" v="815"/>
          <ac:spMkLst>
            <pc:docMk/>
            <pc:sldMk cId="2121546234" sldId="2076138143"/>
            <ac:spMk id="4" creationId="{00F66BC5-412C-6A53-7419-3C362B68DB00}"/>
          </ac:spMkLst>
        </pc:spChg>
      </pc:sldChg>
      <pc:sldChg chg="addSp delSp modSp mod">
        <pc:chgData name="Eléonore LE LEUCH" userId="28d40526-6ddd-4dc7-827e-9c965f8df0c2" providerId="ADAL" clId="{943B0E38-EA6B-47B7-BEA5-739850E7DA37}" dt="2022-11-16T08:24:08.075" v="807" actId="20577"/>
        <pc:sldMkLst>
          <pc:docMk/>
          <pc:sldMk cId="3219227806" sldId="2076138155"/>
        </pc:sldMkLst>
        <pc:spChg chg="add mod">
          <ac:chgData name="Eléonore LE LEUCH" userId="28d40526-6ddd-4dc7-827e-9c965f8df0c2" providerId="ADAL" clId="{943B0E38-EA6B-47B7-BEA5-739850E7DA37}" dt="2022-11-16T08:24:08.075" v="807" actId="20577"/>
          <ac:spMkLst>
            <pc:docMk/>
            <pc:sldMk cId="3219227806" sldId="2076138155"/>
            <ac:spMk id="4" creationId="{E27276BD-59C8-0E82-A73D-33B147375313}"/>
          </ac:spMkLst>
        </pc:spChg>
        <pc:spChg chg="add del mod">
          <ac:chgData name="Eléonore LE LEUCH" userId="28d40526-6ddd-4dc7-827e-9c965f8df0c2" providerId="ADAL" clId="{943B0E38-EA6B-47B7-BEA5-739850E7DA37}" dt="2022-11-16T08:17:50.969" v="49" actId="478"/>
          <ac:spMkLst>
            <pc:docMk/>
            <pc:sldMk cId="3219227806" sldId="2076138155"/>
            <ac:spMk id="5" creationId="{57A9FC27-72C3-D51E-D225-269516821A61}"/>
          </ac:spMkLst>
        </pc:spChg>
      </pc:sldChg>
      <pc:sldChg chg="add del ord">
        <pc:chgData name="Eléonore LE LEUCH" userId="28d40526-6ddd-4dc7-827e-9c965f8df0c2" providerId="ADAL" clId="{943B0E38-EA6B-47B7-BEA5-739850E7DA37}" dt="2022-11-25T15:03:58.381" v="1199" actId="47"/>
        <pc:sldMkLst>
          <pc:docMk/>
          <pc:sldMk cId="1052764281" sldId="2076138186"/>
        </pc:sldMkLst>
      </pc:sldChg>
      <pc:sldChg chg="add del">
        <pc:chgData name="Eléonore LE LEUCH" userId="28d40526-6ddd-4dc7-827e-9c965f8df0c2" providerId="ADAL" clId="{943B0E38-EA6B-47B7-BEA5-739850E7DA37}" dt="2022-11-25T15:05:24.087" v="1272" actId="47"/>
        <pc:sldMkLst>
          <pc:docMk/>
          <pc:sldMk cId="3751682813" sldId="2076138187"/>
        </pc:sldMkLst>
      </pc:sldChg>
      <pc:sldChg chg="ord">
        <pc:chgData name="Eléonore LE LEUCH" userId="28d40526-6ddd-4dc7-827e-9c965f8df0c2" providerId="ADAL" clId="{943B0E38-EA6B-47B7-BEA5-739850E7DA37}" dt="2022-11-25T09:30:34.454" v="809"/>
        <pc:sldMkLst>
          <pc:docMk/>
          <pc:sldMk cId="3018744438" sldId="2076138191"/>
        </pc:sldMkLst>
      </pc:sldChg>
      <pc:sldChg chg="modSp">
        <pc:chgData name="Eléonore LE LEUCH" userId="28d40526-6ddd-4dc7-827e-9c965f8df0c2" providerId="ADAL" clId="{943B0E38-EA6B-47B7-BEA5-739850E7DA37}" dt="2022-11-25T14:34:33.148" v="815"/>
        <pc:sldMkLst>
          <pc:docMk/>
          <pc:sldMk cId="900587960" sldId="2076138193"/>
        </pc:sldMkLst>
        <pc:spChg chg="mod">
          <ac:chgData name="Eléonore LE LEUCH" userId="28d40526-6ddd-4dc7-827e-9c965f8df0c2" providerId="ADAL" clId="{943B0E38-EA6B-47B7-BEA5-739850E7DA37}" dt="2022-11-25T14:34:33.148" v="815"/>
          <ac:spMkLst>
            <pc:docMk/>
            <pc:sldMk cId="900587960" sldId="2076138193"/>
            <ac:spMk id="3" creationId="{1E7F5580-C6FD-4156-9DCC-B490F5D32DFD}"/>
          </ac:spMkLst>
        </pc:spChg>
        <pc:spChg chg="mod">
          <ac:chgData name="Eléonore LE LEUCH" userId="28d40526-6ddd-4dc7-827e-9c965f8df0c2" providerId="ADAL" clId="{943B0E38-EA6B-47B7-BEA5-739850E7DA37}" dt="2022-11-25T14:34:33.148" v="815"/>
          <ac:spMkLst>
            <pc:docMk/>
            <pc:sldMk cId="900587960" sldId="2076138193"/>
            <ac:spMk id="4" creationId="{27CA8741-8B14-478B-98F4-DF9C36105620}"/>
          </ac:spMkLst>
        </pc:spChg>
      </pc:sldChg>
      <pc:sldChg chg="addSp delSp modSp mod">
        <pc:chgData name="Eléonore LE LEUCH" userId="28d40526-6ddd-4dc7-827e-9c965f8df0c2" providerId="ADAL" clId="{943B0E38-EA6B-47B7-BEA5-739850E7DA37}" dt="2022-11-30T10:19:46.345" v="1319" actId="1076"/>
        <pc:sldMkLst>
          <pc:docMk/>
          <pc:sldMk cId="2101430142" sldId="2076138201"/>
        </pc:sldMkLst>
        <pc:spChg chg="ord">
          <ac:chgData name="Eléonore LE LEUCH" userId="28d40526-6ddd-4dc7-827e-9c965f8df0c2" providerId="ADAL" clId="{943B0E38-EA6B-47B7-BEA5-739850E7DA37}" dt="2022-11-30T10:00:34.148" v="1313" actId="167"/>
          <ac:spMkLst>
            <pc:docMk/>
            <pc:sldMk cId="2101430142" sldId="2076138201"/>
            <ac:spMk id="23" creationId="{C97AA9DF-5335-4C58-A0B3-81929A67EB25}"/>
          </ac:spMkLst>
        </pc:spChg>
        <pc:picChg chg="del mod">
          <ac:chgData name="Eléonore LE LEUCH" userId="28d40526-6ddd-4dc7-827e-9c965f8df0c2" providerId="ADAL" clId="{943B0E38-EA6B-47B7-BEA5-739850E7DA37}" dt="2022-11-30T10:19:38.640" v="1316" actId="478"/>
          <ac:picMkLst>
            <pc:docMk/>
            <pc:sldMk cId="2101430142" sldId="2076138201"/>
            <ac:picMk id="5" creationId="{99FB163C-ACAB-B158-A8D6-B357CE14D754}"/>
          </ac:picMkLst>
        </pc:picChg>
        <pc:picChg chg="add mod">
          <ac:chgData name="Eléonore LE LEUCH" userId="28d40526-6ddd-4dc7-827e-9c965f8df0c2" providerId="ADAL" clId="{943B0E38-EA6B-47B7-BEA5-739850E7DA37}" dt="2022-11-30T09:52:41.471" v="1301" actId="1036"/>
          <ac:picMkLst>
            <pc:docMk/>
            <pc:sldMk cId="2101430142" sldId="2076138201"/>
            <ac:picMk id="8" creationId="{954680C5-444D-AC83-35AD-13B633442307}"/>
          </ac:picMkLst>
        </pc:picChg>
        <pc:picChg chg="add mod">
          <ac:chgData name="Eléonore LE LEUCH" userId="28d40526-6ddd-4dc7-827e-9c965f8df0c2" providerId="ADAL" clId="{943B0E38-EA6B-47B7-BEA5-739850E7DA37}" dt="2022-11-30T09:52:41.471" v="1301" actId="1036"/>
          <ac:picMkLst>
            <pc:docMk/>
            <pc:sldMk cId="2101430142" sldId="2076138201"/>
            <ac:picMk id="10" creationId="{456403CF-9165-BC69-A3A1-9480A1B06B61}"/>
          </ac:picMkLst>
        </pc:picChg>
        <pc:picChg chg="add del mod ord">
          <ac:chgData name="Eléonore LE LEUCH" userId="28d40526-6ddd-4dc7-827e-9c965f8df0c2" providerId="ADAL" clId="{943B0E38-EA6B-47B7-BEA5-739850E7DA37}" dt="2022-11-30T10:00:31.071" v="1312" actId="478"/>
          <ac:picMkLst>
            <pc:docMk/>
            <pc:sldMk cId="2101430142" sldId="2076138201"/>
            <ac:picMk id="12" creationId="{5BAF96A4-CB7A-21B4-EC1E-C764BF66B026}"/>
          </ac:picMkLst>
        </pc:picChg>
        <pc:picChg chg="add mod ord">
          <ac:chgData name="Eléonore LE LEUCH" userId="28d40526-6ddd-4dc7-827e-9c965f8df0c2" providerId="ADAL" clId="{943B0E38-EA6B-47B7-BEA5-739850E7DA37}" dt="2022-11-30T10:00:29.509" v="1311" actId="167"/>
          <ac:picMkLst>
            <pc:docMk/>
            <pc:sldMk cId="2101430142" sldId="2076138201"/>
            <ac:picMk id="14" creationId="{E6E8B5B5-E846-6C1E-73E0-73F31F39C295}"/>
          </ac:picMkLst>
        </pc:picChg>
        <pc:picChg chg="add mod">
          <ac:chgData name="Eléonore LE LEUCH" userId="28d40526-6ddd-4dc7-827e-9c965f8df0c2" providerId="ADAL" clId="{943B0E38-EA6B-47B7-BEA5-739850E7DA37}" dt="2022-11-30T10:19:46.345" v="1319" actId="1076"/>
          <ac:picMkLst>
            <pc:docMk/>
            <pc:sldMk cId="2101430142" sldId="2076138201"/>
            <ac:picMk id="21" creationId="{E0D2647B-C808-6B54-BEC8-91C97764FDB1}"/>
          </ac:picMkLst>
        </pc:picChg>
      </pc:sldChg>
      <pc:sldChg chg="modSp mod">
        <pc:chgData name="Eléonore LE LEUCH" userId="28d40526-6ddd-4dc7-827e-9c965f8df0c2" providerId="ADAL" clId="{943B0E38-EA6B-47B7-BEA5-739850E7DA37}" dt="2022-11-30T12:43:47.102" v="1614" actId="20577"/>
        <pc:sldMkLst>
          <pc:docMk/>
          <pc:sldMk cId="338644527" sldId="2076138202"/>
        </pc:sldMkLst>
        <pc:spChg chg="mod">
          <ac:chgData name="Eléonore LE LEUCH" userId="28d40526-6ddd-4dc7-827e-9c965f8df0c2" providerId="ADAL" clId="{943B0E38-EA6B-47B7-BEA5-739850E7DA37}" dt="2022-11-30T12:43:23.374" v="1569" actId="20577"/>
          <ac:spMkLst>
            <pc:docMk/>
            <pc:sldMk cId="338644527" sldId="2076138202"/>
            <ac:spMk id="39" creationId="{ED211754-BC67-4E77-89EF-54D6DAFD1E02}"/>
          </ac:spMkLst>
        </pc:spChg>
        <pc:spChg chg="mod">
          <ac:chgData name="Eléonore LE LEUCH" userId="28d40526-6ddd-4dc7-827e-9c965f8df0c2" providerId="ADAL" clId="{943B0E38-EA6B-47B7-BEA5-739850E7DA37}" dt="2022-11-30T12:43:47.102" v="1614" actId="20577"/>
          <ac:spMkLst>
            <pc:docMk/>
            <pc:sldMk cId="338644527" sldId="2076138202"/>
            <ac:spMk id="40" creationId="{D39506DE-EB53-4F93-B89E-BA45D25E901A}"/>
          </ac:spMkLst>
        </pc:spChg>
      </pc:sldChg>
      <pc:sldChg chg="modSp mod">
        <pc:chgData name="Eléonore LE LEUCH" userId="28d40526-6ddd-4dc7-827e-9c965f8df0c2" providerId="ADAL" clId="{943B0E38-EA6B-47B7-BEA5-739850E7DA37}" dt="2022-11-30T12:42:29.154" v="1447" actId="20577"/>
        <pc:sldMkLst>
          <pc:docMk/>
          <pc:sldMk cId="1731460775" sldId="2076138203"/>
        </pc:sldMkLst>
        <pc:spChg chg="mod">
          <ac:chgData name="Eléonore LE LEUCH" userId="28d40526-6ddd-4dc7-827e-9c965f8df0c2" providerId="ADAL" clId="{943B0E38-EA6B-47B7-BEA5-739850E7DA37}" dt="2022-11-30T12:42:06.377" v="1353" actId="20577"/>
          <ac:spMkLst>
            <pc:docMk/>
            <pc:sldMk cId="1731460775" sldId="2076138203"/>
            <ac:spMk id="29" creationId="{20524770-1BB5-4C84-8A3E-AC5331AAE840}"/>
          </ac:spMkLst>
        </pc:spChg>
        <pc:spChg chg="mod">
          <ac:chgData name="Eléonore LE LEUCH" userId="28d40526-6ddd-4dc7-827e-9c965f8df0c2" providerId="ADAL" clId="{943B0E38-EA6B-47B7-BEA5-739850E7DA37}" dt="2022-11-30T12:42:17.491" v="1401" actId="20577"/>
          <ac:spMkLst>
            <pc:docMk/>
            <pc:sldMk cId="1731460775" sldId="2076138203"/>
            <ac:spMk id="30" creationId="{8C5E23D5-4162-470C-8E36-D4BB3163D86C}"/>
          </ac:spMkLst>
        </pc:spChg>
        <pc:spChg chg="mod">
          <ac:chgData name="Eléonore LE LEUCH" userId="28d40526-6ddd-4dc7-827e-9c965f8df0c2" providerId="ADAL" clId="{943B0E38-EA6B-47B7-BEA5-739850E7DA37}" dt="2022-11-30T12:42:29.154" v="1447" actId="20577"/>
          <ac:spMkLst>
            <pc:docMk/>
            <pc:sldMk cId="1731460775" sldId="2076138203"/>
            <ac:spMk id="31" creationId="{53CA63A7-DDD5-47D3-8468-3390605E3FC7}"/>
          </ac:spMkLst>
        </pc:spChg>
      </pc:sldChg>
      <pc:sldChg chg="modSp mod">
        <pc:chgData name="Eléonore LE LEUCH" userId="28d40526-6ddd-4dc7-827e-9c965f8df0c2" providerId="ADAL" clId="{943B0E38-EA6B-47B7-BEA5-739850E7DA37}" dt="2022-11-30T12:43:05.895" v="1530" actId="20577"/>
        <pc:sldMkLst>
          <pc:docMk/>
          <pc:sldMk cId="1513389094" sldId="2076138204"/>
        </pc:sldMkLst>
        <pc:spChg chg="mod">
          <ac:chgData name="Eléonore LE LEUCH" userId="28d40526-6ddd-4dc7-827e-9c965f8df0c2" providerId="ADAL" clId="{943B0E38-EA6B-47B7-BEA5-739850E7DA37}" dt="2022-11-30T12:42:53.816" v="1511" actId="20577"/>
          <ac:spMkLst>
            <pc:docMk/>
            <pc:sldMk cId="1513389094" sldId="2076138204"/>
            <ac:spMk id="25" creationId="{47E0AC51-BD08-438C-86BA-0F204930A332}"/>
          </ac:spMkLst>
        </pc:spChg>
        <pc:spChg chg="mod">
          <ac:chgData name="Eléonore LE LEUCH" userId="28d40526-6ddd-4dc7-827e-9c965f8df0c2" providerId="ADAL" clId="{943B0E38-EA6B-47B7-BEA5-739850E7DA37}" dt="2022-11-30T12:43:05.895" v="1530" actId="20577"/>
          <ac:spMkLst>
            <pc:docMk/>
            <pc:sldMk cId="1513389094" sldId="2076138204"/>
            <ac:spMk id="26" creationId="{568070C8-34EC-4371-9374-8CDC4B1FFB4A}"/>
          </ac:spMkLst>
        </pc:spChg>
      </pc:sldChg>
      <pc:sldMasterChg chg="modSldLayout">
        <pc:chgData name="Eléonore LE LEUCH" userId="28d40526-6ddd-4dc7-827e-9c965f8df0c2" providerId="ADAL" clId="{943B0E38-EA6B-47B7-BEA5-739850E7DA37}" dt="2022-11-25T14:34:33.087" v="814" actId="735"/>
        <pc:sldMasterMkLst>
          <pc:docMk/>
          <pc:sldMasterMk cId="0" sldId="2147483648"/>
        </pc:sldMasterMkLst>
        <pc:sldLayoutChg chg="modSp">
          <pc:chgData name="Eléonore LE LEUCH" userId="28d40526-6ddd-4dc7-827e-9c965f8df0c2" providerId="ADAL" clId="{943B0E38-EA6B-47B7-BEA5-739850E7DA37}" dt="2022-11-25T14:34:31.293" v="813" actId="735"/>
          <pc:sldLayoutMkLst>
            <pc:docMk/>
            <pc:sldMasterMk cId="0" sldId="2147483648"/>
            <pc:sldLayoutMk cId="0" sldId="2147483674"/>
          </pc:sldLayoutMkLst>
        </pc:sldLayoutChg>
        <pc:sldLayoutChg chg="modSp">
          <pc:chgData name="Eléonore LE LEUCH" userId="28d40526-6ddd-4dc7-827e-9c965f8df0c2" providerId="ADAL" clId="{943B0E38-EA6B-47B7-BEA5-739850E7DA37}" dt="2022-11-25T14:34:33.087" v="814" actId="735"/>
          <pc:sldLayoutMkLst>
            <pc:docMk/>
            <pc:sldMasterMk cId="0" sldId="2147483648"/>
            <pc:sldLayoutMk cId="217303753" sldId="2147483829"/>
          </pc:sldLayoutMkLst>
        </pc:sldLayoutChg>
      </pc:sldMasterChg>
      <pc:sldMasterChg chg="modSp modSldLayout">
        <pc:chgData name="Eléonore LE LEUCH" userId="28d40526-6ddd-4dc7-827e-9c965f8df0c2" providerId="ADAL" clId="{943B0E38-EA6B-47B7-BEA5-739850E7DA37}" dt="2022-11-25T14:34:30.703" v="812" actId="735"/>
        <pc:sldMasterMkLst>
          <pc:docMk/>
          <pc:sldMasterMk cId="767255593" sldId="2147483780"/>
        </pc:sldMasterMkLst>
        <pc:sldLayoutChg chg="modSp">
          <pc:chgData name="Eléonore LE LEUCH" userId="28d40526-6ddd-4dc7-827e-9c965f8df0c2" providerId="ADAL" clId="{943B0E38-EA6B-47B7-BEA5-739850E7DA37}" dt="2022-11-25T14:34:18.431" v="811" actId="735"/>
          <pc:sldLayoutMkLst>
            <pc:docMk/>
            <pc:sldMasterMk cId="0" sldId="2147483648"/>
            <pc:sldLayoutMk cId="3263139508" sldId="2147483788"/>
          </pc:sldLayoutMkLst>
        </pc:sldLayoutChg>
      </pc:sldMasterChg>
    </pc:docChg>
  </pc:docChgLst>
  <pc:docChgLst>
    <pc:chgData name="Jean GRANDEMANGE" userId="faf07584-8716-430e-b66d-4ceae2fe8450" providerId="ADAL" clId="{823947CE-7B8F-491D-A82C-BC5914FD1FC0}"/>
    <pc:docChg chg="custSel delSld modSld sldOrd modMainMaster modSection">
      <pc:chgData name="Jean GRANDEMANGE" userId="faf07584-8716-430e-b66d-4ceae2fe8450" providerId="ADAL" clId="{823947CE-7B8F-491D-A82C-BC5914FD1FC0}" dt="2023-01-26T21:50:16.353" v="255" actId="403"/>
      <pc:docMkLst>
        <pc:docMk/>
      </pc:docMkLst>
      <pc:sldChg chg="addSp modSp mod">
        <pc:chgData name="Jean GRANDEMANGE" userId="faf07584-8716-430e-b66d-4ceae2fe8450" providerId="ADAL" clId="{823947CE-7B8F-491D-A82C-BC5914FD1FC0}" dt="2023-01-26T21:46:28.133" v="143" actId="20577"/>
        <pc:sldMkLst>
          <pc:docMk/>
          <pc:sldMk cId="2027156521" sldId="2012"/>
        </pc:sldMkLst>
        <pc:spChg chg="mod">
          <ac:chgData name="Jean GRANDEMANGE" userId="faf07584-8716-430e-b66d-4ceae2fe8450" providerId="ADAL" clId="{823947CE-7B8F-491D-A82C-BC5914FD1FC0}" dt="2023-01-26T21:34:40.272" v="29" actId="404"/>
          <ac:spMkLst>
            <pc:docMk/>
            <pc:sldMk cId="2027156521" sldId="2012"/>
            <ac:spMk id="2" creationId="{AD939AEA-D027-407A-A661-2AECA2B047D7}"/>
          </ac:spMkLst>
        </pc:spChg>
        <pc:spChg chg="mod">
          <ac:chgData name="Jean GRANDEMANGE" userId="faf07584-8716-430e-b66d-4ceae2fe8450" providerId="ADAL" clId="{823947CE-7B8F-491D-A82C-BC5914FD1FC0}" dt="2023-01-26T21:46:28.133" v="143" actId="20577"/>
          <ac:spMkLst>
            <pc:docMk/>
            <pc:sldMk cId="2027156521" sldId="2012"/>
            <ac:spMk id="4" creationId="{644F088C-37E3-40D5-A235-5EF9113E81EF}"/>
          </ac:spMkLst>
        </pc:spChg>
        <pc:picChg chg="add mod">
          <ac:chgData name="Jean GRANDEMANGE" userId="faf07584-8716-430e-b66d-4ceae2fe8450" providerId="ADAL" clId="{823947CE-7B8F-491D-A82C-BC5914FD1FC0}" dt="2023-01-26T21:39:40.271" v="35" actId="1076"/>
          <ac:picMkLst>
            <pc:docMk/>
            <pc:sldMk cId="2027156521" sldId="2012"/>
            <ac:picMk id="3" creationId="{3FA643B5-8B7F-5A06-27BA-608528045ECF}"/>
          </ac:picMkLst>
        </pc:picChg>
      </pc:sldChg>
      <pc:sldChg chg="del">
        <pc:chgData name="Jean GRANDEMANGE" userId="faf07584-8716-430e-b66d-4ceae2fe8450" providerId="ADAL" clId="{823947CE-7B8F-491D-A82C-BC5914FD1FC0}" dt="2023-01-26T21:46:57.488" v="144" actId="47"/>
        <pc:sldMkLst>
          <pc:docMk/>
          <pc:sldMk cId="821738576" sldId="2147469786"/>
        </pc:sldMkLst>
      </pc:sldChg>
      <pc:sldChg chg="del">
        <pc:chgData name="Jean GRANDEMANGE" userId="faf07584-8716-430e-b66d-4ceae2fe8450" providerId="ADAL" clId="{823947CE-7B8F-491D-A82C-BC5914FD1FC0}" dt="2023-01-26T21:46:57.488" v="144" actId="47"/>
        <pc:sldMkLst>
          <pc:docMk/>
          <pc:sldMk cId="530589121" sldId="2147469799"/>
        </pc:sldMkLst>
      </pc:sldChg>
      <pc:sldChg chg="modSp mod">
        <pc:chgData name="Jean GRANDEMANGE" userId="faf07584-8716-430e-b66d-4ceae2fe8450" providerId="ADAL" clId="{823947CE-7B8F-491D-A82C-BC5914FD1FC0}" dt="2023-01-26T21:44:54.260" v="86" actId="20577"/>
        <pc:sldMkLst>
          <pc:docMk/>
          <pc:sldMk cId="4289527151" sldId="2147469829"/>
        </pc:sldMkLst>
        <pc:spChg chg="mod">
          <ac:chgData name="Jean GRANDEMANGE" userId="faf07584-8716-430e-b66d-4ceae2fe8450" providerId="ADAL" clId="{823947CE-7B8F-491D-A82C-BC5914FD1FC0}" dt="2023-01-26T21:44:54.260" v="86" actId="20577"/>
          <ac:spMkLst>
            <pc:docMk/>
            <pc:sldMk cId="4289527151" sldId="2147469829"/>
            <ac:spMk id="5" creationId="{F42F9A6C-578C-477B-8E16-1AA32ACD65D9}"/>
          </ac:spMkLst>
        </pc:spChg>
      </pc:sldChg>
      <pc:sldChg chg="modSp mod ord">
        <pc:chgData name="Jean GRANDEMANGE" userId="faf07584-8716-430e-b66d-4ceae2fe8450" providerId="ADAL" clId="{823947CE-7B8F-491D-A82C-BC5914FD1FC0}" dt="2023-01-26T21:48:18" v="206" actId="207"/>
        <pc:sldMkLst>
          <pc:docMk/>
          <pc:sldMk cId="3405077761" sldId="2147469832"/>
        </pc:sldMkLst>
        <pc:spChg chg="mod">
          <ac:chgData name="Jean GRANDEMANGE" userId="faf07584-8716-430e-b66d-4ceae2fe8450" providerId="ADAL" clId="{823947CE-7B8F-491D-A82C-BC5914FD1FC0}" dt="2023-01-26T21:47:43.094" v="148" actId="20577"/>
          <ac:spMkLst>
            <pc:docMk/>
            <pc:sldMk cId="3405077761" sldId="2147469832"/>
            <ac:spMk id="4" creationId="{758598F9-8BBB-4424-A0B0-88F9BB4B331D}"/>
          </ac:spMkLst>
        </pc:spChg>
        <pc:spChg chg="mod">
          <ac:chgData name="Jean GRANDEMANGE" userId="faf07584-8716-430e-b66d-4ceae2fe8450" providerId="ADAL" clId="{823947CE-7B8F-491D-A82C-BC5914FD1FC0}" dt="2023-01-26T21:48:10.004" v="204" actId="20577"/>
          <ac:spMkLst>
            <pc:docMk/>
            <pc:sldMk cId="3405077761" sldId="2147469832"/>
            <ac:spMk id="5" creationId="{5D688AB2-7A9C-4E94-9F96-0D15CEC7E0F1}"/>
          </ac:spMkLst>
        </pc:spChg>
        <pc:spChg chg="mod">
          <ac:chgData name="Jean GRANDEMANGE" userId="faf07584-8716-430e-b66d-4ceae2fe8450" providerId="ADAL" clId="{823947CE-7B8F-491D-A82C-BC5914FD1FC0}" dt="2023-01-26T21:48:18" v="206" actId="207"/>
          <ac:spMkLst>
            <pc:docMk/>
            <pc:sldMk cId="3405077761" sldId="2147469832"/>
            <ac:spMk id="6" creationId="{04A49824-ABED-44CE-9CFE-F2DB93BED5F1}"/>
          </ac:spMkLst>
        </pc:spChg>
      </pc:sldChg>
      <pc:sldChg chg="del">
        <pc:chgData name="Jean GRANDEMANGE" userId="faf07584-8716-430e-b66d-4ceae2fe8450" providerId="ADAL" clId="{823947CE-7B8F-491D-A82C-BC5914FD1FC0}" dt="2023-01-26T21:46:57.488" v="144" actId="47"/>
        <pc:sldMkLst>
          <pc:docMk/>
          <pc:sldMk cId="3144378083" sldId="2147469858"/>
        </pc:sldMkLst>
      </pc:sldChg>
      <pc:sldChg chg="modSp mod">
        <pc:chgData name="Jean GRANDEMANGE" userId="faf07584-8716-430e-b66d-4ceae2fe8450" providerId="ADAL" clId="{823947CE-7B8F-491D-A82C-BC5914FD1FC0}" dt="2023-01-26T21:50:16.353" v="255" actId="403"/>
        <pc:sldMkLst>
          <pc:docMk/>
          <pc:sldMk cId="2704744056" sldId="2147469863"/>
        </pc:sldMkLst>
        <pc:spChg chg="mod">
          <ac:chgData name="Jean GRANDEMANGE" userId="faf07584-8716-430e-b66d-4ceae2fe8450" providerId="ADAL" clId="{823947CE-7B8F-491D-A82C-BC5914FD1FC0}" dt="2023-01-26T21:50:16.353" v="255" actId="403"/>
          <ac:spMkLst>
            <pc:docMk/>
            <pc:sldMk cId="2704744056" sldId="2147469863"/>
            <ac:spMk id="2" creationId="{FAE777E8-3CDA-44F2-9E9D-2250CCA83A9E}"/>
          </ac:spMkLst>
        </pc:spChg>
        <pc:spChg chg="mod">
          <ac:chgData name="Jean GRANDEMANGE" userId="faf07584-8716-430e-b66d-4ceae2fe8450" providerId="ADAL" clId="{823947CE-7B8F-491D-A82C-BC5914FD1FC0}" dt="2023-01-26T21:49:32.337" v="215" actId="207"/>
          <ac:spMkLst>
            <pc:docMk/>
            <pc:sldMk cId="2704744056" sldId="2147469863"/>
            <ac:spMk id="8" creationId="{DC488508-8F35-481B-A56F-708AA994B049}"/>
          </ac:spMkLst>
        </pc:spChg>
        <pc:spChg chg="mod">
          <ac:chgData name="Jean GRANDEMANGE" userId="faf07584-8716-430e-b66d-4ceae2fe8450" providerId="ADAL" clId="{823947CE-7B8F-491D-A82C-BC5914FD1FC0}" dt="2023-01-26T21:49:56.616" v="249" actId="20577"/>
          <ac:spMkLst>
            <pc:docMk/>
            <pc:sldMk cId="2704744056" sldId="2147469863"/>
            <ac:spMk id="15" creationId="{015E6D31-B1BB-44AC-ADD7-710C9E389734}"/>
          </ac:spMkLst>
        </pc:spChg>
        <pc:spChg chg="mod">
          <ac:chgData name="Jean GRANDEMANGE" userId="faf07584-8716-430e-b66d-4ceae2fe8450" providerId="ADAL" clId="{823947CE-7B8F-491D-A82C-BC5914FD1FC0}" dt="2023-01-26T21:49:52.922" v="247" actId="20577"/>
          <ac:spMkLst>
            <pc:docMk/>
            <pc:sldMk cId="2704744056" sldId="2147469863"/>
            <ac:spMk id="19" creationId="{98F06B91-D89A-4FA0-8DDB-270BE05A36FB}"/>
          </ac:spMkLst>
        </pc:spChg>
        <pc:spChg chg="mod">
          <ac:chgData name="Jean GRANDEMANGE" userId="faf07584-8716-430e-b66d-4ceae2fe8450" providerId="ADAL" clId="{823947CE-7B8F-491D-A82C-BC5914FD1FC0}" dt="2023-01-26T21:50:05.820" v="251" actId="1076"/>
          <ac:spMkLst>
            <pc:docMk/>
            <pc:sldMk cId="2704744056" sldId="2147469863"/>
            <ac:spMk id="25" creationId="{5BAE922F-C372-4D29-A9A0-E58165C62FA6}"/>
          </ac:spMkLst>
        </pc:spChg>
        <pc:spChg chg="mod">
          <ac:chgData name="Jean GRANDEMANGE" userId="faf07584-8716-430e-b66d-4ceae2fe8450" providerId="ADAL" clId="{823947CE-7B8F-491D-A82C-BC5914FD1FC0}" dt="2023-01-26T21:50:08.027" v="252" actId="1076"/>
          <ac:spMkLst>
            <pc:docMk/>
            <pc:sldMk cId="2704744056" sldId="2147469863"/>
            <ac:spMk id="26" creationId="{8FFDF99D-254A-460F-87C7-D3CE2ACFAB86}"/>
          </ac:spMkLst>
        </pc:spChg>
      </pc:sldChg>
      <pc:sldMasterChg chg="modSldLayout">
        <pc:chgData name="Jean GRANDEMANGE" userId="faf07584-8716-430e-b66d-4ceae2fe8450" providerId="ADAL" clId="{823947CE-7B8F-491D-A82C-BC5914FD1FC0}" dt="2023-01-26T21:46:08.491" v="115" actId="20577"/>
        <pc:sldMasterMkLst>
          <pc:docMk/>
          <pc:sldMasterMk cId="0" sldId="2147483648"/>
        </pc:sldMasterMkLst>
        <pc:sldLayoutChg chg="modSp mod">
          <pc:chgData name="Jean GRANDEMANGE" userId="faf07584-8716-430e-b66d-4ceae2fe8450" providerId="ADAL" clId="{823947CE-7B8F-491D-A82C-BC5914FD1FC0}" dt="2023-01-26T21:46:08.491" v="115" actId="20577"/>
          <pc:sldLayoutMkLst>
            <pc:docMk/>
            <pc:sldMasterMk cId="0" sldId="2147483648"/>
            <pc:sldLayoutMk cId="1647409443" sldId="2147483709"/>
          </pc:sldLayoutMkLst>
          <pc:spChg chg="mod">
            <ac:chgData name="Jean GRANDEMANGE" userId="faf07584-8716-430e-b66d-4ceae2fe8450" providerId="ADAL" clId="{823947CE-7B8F-491D-A82C-BC5914FD1FC0}" dt="2023-01-26T21:46:08.491" v="115" actId="20577"/>
            <ac:spMkLst>
              <pc:docMk/>
              <pc:sldMasterMk cId="0" sldId="2147483648"/>
              <pc:sldLayoutMk cId="1647409443" sldId="2147483709"/>
              <ac:spMk id="20" creationId="{89836314-192C-2C46-9D6B-0859522374E6}"/>
            </ac:spMkLst>
          </pc:spChg>
        </pc:sldLayoutChg>
        <pc:sldLayoutChg chg="modSp mod">
          <pc:chgData name="Jean GRANDEMANGE" userId="faf07584-8716-430e-b66d-4ceae2fe8450" providerId="ADAL" clId="{823947CE-7B8F-491D-A82C-BC5914FD1FC0}" dt="2023-01-26T21:45:32.754" v="112" actId="20577"/>
          <pc:sldLayoutMkLst>
            <pc:docMk/>
            <pc:sldMasterMk cId="0" sldId="2147483648"/>
            <pc:sldLayoutMk cId="3332995177" sldId="2147483711"/>
          </pc:sldLayoutMkLst>
          <pc:spChg chg="mod">
            <ac:chgData name="Jean GRANDEMANGE" userId="faf07584-8716-430e-b66d-4ceae2fe8450" providerId="ADAL" clId="{823947CE-7B8F-491D-A82C-BC5914FD1FC0}" dt="2023-01-26T21:45:08.528" v="107" actId="20577"/>
            <ac:spMkLst>
              <pc:docMk/>
              <pc:sldMasterMk cId="0" sldId="2147483648"/>
              <pc:sldLayoutMk cId="3332995177" sldId="2147483711"/>
              <ac:spMk id="10" creationId="{3C12B4A1-2342-BB49-89C9-6BAE61C2CD71}"/>
            </ac:spMkLst>
          </pc:spChg>
          <pc:spChg chg="mod">
            <ac:chgData name="Jean GRANDEMANGE" userId="faf07584-8716-430e-b66d-4ceae2fe8450" providerId="ADAL" clId="{823947CE-7B8F-491D-A82C-BC5914FD1FC0}" dt="2023-01-26T21:45:32.754" v="112" actId="20577"/>
            <ac:spMkLst>
              <pc:docMk/>
              <pc:sldMasterMk cId="0" sldId="2147483648"/>
              <pc:sldLayoutMk cId="3332995177" sldId="2147483711"/>
              <ac:spMk id="13" creationId="{0E7AEF66-C84B-B6C5-8D34-B6EBA35D3519}"/>
            </ac:spMkLst>
          </pc:spChg>
        </pc:sldLayoutChg>
      </pc:sldMasterChg>
    </pc:docChg>
  </pc:docChgLst>
  <pc:docChgLst>
    <pc:chgData name="Jean GRANDEMANGE" userId="faf07584-8716-430e-b66d-4ceae2fe8450" providerId="ADAL" clId="{CBEE1DFD-99CA-4628-A50B-18D6938E4304}"/>
    <pc:docChg chg="undo custSel delSld modSld sldOrd delMainMaster modMainMaster modSection">
      <pc:chgData name="Jean GRANDEMANGE" userId="faf07584-8716-430e-b66d-4ceae2fe8450" providerId="ADAL" clId="{CBEE1DFD-99CA-4628-A50B-18D6938E4304}" dt="2022-12-01T19:07:56.878" v="2122" actId="20577"/>
      <pc:docMkLst>
        <pc:docMk/>
      </pc:docMkLst>
      <pc:sldChg chg="addSp modSp mod">
        <pc:chgData name="Jean GRANDEMANGE" userId="faf07584-8716-430e-b66d-4ceae2fe8450" providerId="ADAL" clId="{CBEE1DFD-99CA-4628-A50B-18D6938E4304}" dt="2022-11-30T12:01:58.015" v="387" actId="21"/>
        <pc:sldMkLst>
          <pc:docMk/>
          <pc:sldMk cId="2027156521" sldId="2012"/>
        </pc:sldMkLst>
        <pc:spChg chg="mod">
          <ac:chgData name="Jean GRANDEMANGE" userId="faf07584-8716-430e-b66d-4ceae2fe8450" providerId="ADAL" clId="{CBEE1DFD-99CA-4628-A50B-18D6938E4304}" dt="2022-11-30T10:44:35.735" v="101" actId="404"/>
          <ac:spMkLst>
            <pc:docMk/>
            <pc:sldMk cId="2027156521" sldId="2012"/>
            <ac:spMk id="2" creationId="{AD939AEA-D027-407A-A661-2AECA2B047D7}"/>
          </ac:spMkLst>
        </pc:spChg>
        <pc:spChg chg="mod">
          <ac:chgData name="Jean GRANDEMANGE" userId="faf07584-8716-430e-b66d-4ceae2fe8450" providerId="ADAL" clId="{CBEE1DFD-99CA-4628-A50B-18D6938E4304}" dt="2022-11-30T12:01:58.015" v="387" actId="21"/>
          <ac:spMkLst>
            <pc:docMk/>
            <pc:sldMk cId="2027156521" sldId="2012"/>
            <ac:spMk id="3" creationId="{8D139E04-51EB-4670-A190-F666892D69E6}"/>
          </ac:spMkLst>
        </pc:spChg>
        <pc:spChg chg="mod">
          <ac:chgData name="Jean GRANDEMANGE" userId="faf07584-8716-430e-b66d-4ceae2fe8450" providerId="ADAL" clId="{CBEE1DFD-99CA-4628-A50B-18D6938E4304}" dt="2022-11-30T10:44:31.556" v="100" actId="20577"/>
          <ac:spMkLst>
            <pc:docMk/>
            <pc:sldMk cId="2027156521" sldId="2012"/>
            <ac:spMk id="4" creationId="{644F088C-37E3-40D5-A235-5EF9113E81EF}"/>
          </ac:spMkLst>
        </pc:spChg>
        <pc:picChg chg="add mod">
          <ac:chgData name="Jean GRANDEMANGE" userId="faf07584-8716-430e-b66d-4ceae2fe8450" providerId="ADAL" clId="{CBEE1DFD-99CA-4628-A50B-18D6938E4304}" dt="2022-11-30T10:46:54.663" v="111" actId="1076"/>
          <ac:picMkLst>
            <pc:docMk/>
            <pc:sldMk cId="2027156521" sldId="2012"/>
            <ac:picMk id="6" creationId="{8B4D3684-BDDD-44C6-0803-D598ECC1104B}"/>
          </ac:picMkLst>
        </pc:picChg>
        <pc:picChg chg="add mod">
          <ac:chgData name="Jean GRANDEMANGE" userId="faf07584-8716-430e-b66d-4ceae2fe8450" providerId="ADAL" clId="{CBEE1DFD-99CA-4628-A50B-18D6938E4304}" dt="2022-11-30T10:46:54.663" v="111" actId="1076"/>
          <ac:picMkLst>
            <pc:docMk/>
            <pc:sldMk cId="2027156521" sldId="2012"/>
            <ac:picMk id="1026" creationId="{F426C2AB-4E9D-D44A-E6D9-E1AEF0D9D32B}"/>
          </ac:picMkLst>
        </pc:picChg>
      </pc:sldChg>
      <pc:sldChg chg="modSp mod">
        <pc:chgData name="Jean GRANDEMANGE" userId="faf07584-8716-430e-b66d-4ceae2fe8450" providerId="ADAL" clId="{CBEE1DFD-99CA-4628-A50B-18D6938E4304}" dt="2022-11-30T14:45:27.984" v="921" actId="5793"/>
        <pc:sldMkLst>
          <pc:docMk/>
          <pc:sldMk cId="2526816651" sldId="2018"/>
        </pc:sldMkLst>
        <pc:spChg chg="mod">
          <ac:chgData name="Jean GRANDEMANGE" userId="faf07584-8716-430e-b66d-4ceae2fe8450" providerId="ADAL" clId="{CBEE1DFD-99CA-4628-A50B-18D6938E4304}" dt="2022-11-30T14:45:27.984" v="921" actId="5793"/>
          <ac:spMkLst>
            <pc:docMk/>
            <pc:sldMk cId="2526816651" sldId="2018"/>
            <ac:spMk id="4" creationId="{27CA8741-8B14-478B-98F4-DF9C36105620}"/>
          </ac:spMkLst>
        </pc:spChg>
      </pc:sldChg>
      <pc:sldChg chg="del">
        <pc:chgData name="Jean GRANDEMANGE" userId="faf07584-8716-430e-b66d-4ceae2fe8450" providerId="ADAL" clId="{CBEE1DFD-99CA-4628-A50B-18D6938E4304}" dt="2022-11-30T14:42:32.272" v="877" actId="47"/>
        <pc:sldMkLst>
          <pc:docMk/>
          <pc:sldMk cId="2812891123" sldId="2076137156"/>
        </pc:sldMkLst>
      </pc:sldChg>
      <pc:sldChg chg="del">
        <pc:chgData name="Jean GRANDEMANGE" userId="faf07584-8716-430e-b66d-4ceae2fe8450" providerId="ADAL" clId="{CBEE1DFD-99CA-4628-A50B-18D6938E4304}" dt="2022-11-30T13:06:07.350" v="834" actId="47"/>
        <pc:sldMkLst>
          <pc:docMk/>
          <pc:sldMk cId="719803071" sldId="2076137161"/>
        </pc:sldMkLst>
      </pc:sldChg>
      <pc:sldChg chg="del">
        <pc:chgData name="Jean GRANDEMANGE" userId="faf07584-8716-430e-b66d-4ceae2fe8450" providerId="ADAL" clId="{CBEE1DFD-99CA-4628-A50B-18D6938E4304}" dt="2022-11-30T14:42:32.272" v="877" actId="47"/>
        <pc:sldMkLst>
          <pc:docMk/>
          <pc:sldMk cId="1431570219" sldId="2076137166"/>
        </pc:sldMkLst>
      </pc:sldChg>
      <pc:sldChg chg="del">
        <pc:chgData name="Jean GRANDEMANGE" userId="faf07584-8716-430e-b66d-4ceae2fe8450" providerId="ADAL" clId="{CBEE1DFD-99CA-4628-A50B-18D6938E4304}" dt="2022-11-30T14:42:32.272" v="877" actId="47"/>
        <pc:sldMkLst>
          <pc:docMk/>
          <pc:sldMk cId="3486699933" sldId="2076137317"/>
        </pc:sldMkLst>
      </pc:sldChg>
      <pc:sldChg chg="ord">
        <pc:chgData name="Jean GRANDEMANGE" userId="faf07584-8716-430e-b66d-4ceae2fe8450" providerId="ADAL" clId="{CBEE1DFD-99CA-4628-A50B-18D6938E4304}" dt="2022-11-30T14:42:40.050" v="879"/>
        <pc:sldMkLst>
          <pc:docMk/>
          <pc:sldMk cId="2075101273" sldId="2076137318"/>
        </pc:sldMkLst>
      </pc:sldChg>
      <pc:sldChg chg="del">
        <pc:chgData name="Jean GRANDEMANGE" userId="faf07584-8716-430e-b66d-4ceae2fe8450" providerId="ADAL" clId="{CBEE1DFD-99CA-4628-A50B-18D6938E4304}" dt="2022-11-30T14:42:32.272" v="877" actId="47"/>
        <pc:sldMkLst>
          <pc:docMk/>
          <pc:sldMk cId="2609928871" sldId="2076137319"/>
        </pc:sldMkLst>
      </pc:sldChg>
      <pc:sldChg chg="del">
        <pc:chgData name="Jean GRANDEMANGE" userId="faf07584-8716-430e-b66d-4ceae2fe8450" providerId="ADAL" clId="{CBEE1DFD-99CA-4628-A50B-18D6938E4304}" dt="2022-11-30T13:06:08.836" v="835" actId="47"/>
        <pc:sldMkLst>
          <pc:docMk/>
          <pc:sldMk cId="76851678" sldId="2076137321"/>
        </pc:sldMkLst>
      </pc:sldChg>
      <pc:sldChg chg="del">
        <pc:chgData name="Jean GRANDEMANGE" userId="faf07584-8716-430e-b66d-4ceae2fe8450" providerId="ADAL" clId="{CBEE1DFD-99CA-4628-A50B-18D6938E4304}" dt="2022-11-30T13:06:02.488" v="832" actId="47"/>
        <pc:sldMkLst>
          <pc:docMk/>
          <pc:sldMk cId="3076444926" sldId="2076137322"/>
        </pc:sldMkLst>
      </pc:sldChg>
      <pc:sldChg chg="del">
        <pc:chgData name="Jean GRANDEMANGE" userId="faf07584-8716-430e-b66d-4ceae2fe8450" providerId="ADAL" clId="{CBEE1DFD-99CA-4628-A50B-18D6938E4304}" dt="2022-11-30T13:06:04.577" v="833" actId="47"/>
        <pc:sldMkLst>
          <pc:docMk/>
          <pc:sldMk cId="1568314068" sldId="2076137323"/>
        </pc:sldMkLst>
      </pc:sldChg>
      <pc:sldChg chg="modSp mod">
        <pc:chgData name="Jean GRANDEMANGE" userId="faf07584-8716-430e-b66d-4ceae2fe8450" providerId="ADAL" clId="{CBEE1DFD-99CA-4628-A50B-18D6938E4304}" dt="2022-11-30T14:45:15.828" v="919" actId="5793"/>
        <pc:sldMkLst>
          <pc:docMk/>
          <pc:sldMk cId="98905277" sldId="2076138012"/>
        </pc:sldMkLst>
        <pc:spChg chg="mod">
          <ac:chgData name="Jean GRANDEMANGE" userId="faf07584-8716-430e-b66d-4ceae2fe8450" providerId="ADAL" clId="{CBEE1DFD-99CA-4628-A50B-18D6938E4304}" dt="2022-11-30T14:45:15.828" v="919" actId="5793"/>
          <ac:spMkLst>
            <pc:docMk/>
            <pc:sldMk cId="98905277" sldId="2076138012"/>
            <ac:spMk id="2" creationId="{44E103CE-B5C0-45A0-BC46-799DF52E51B8}"/>
          </ac:spMkLst>
        </pc:spChg>
      </pc:sldChg>
      <pc:sldChg chg="modSp mod">
        <pc:chgData name="Jean GRANDEMANGE" userId="faf07584-8716-430e-b66d-4ceae2fe8450" providerId="ADAL" clId="{CBEE1DFD-99CA-4628-A50B-18D6938E4304}" dt="2022-11-30T14:43:16.515" v="892" actId="20577"/>
        <pc:sldMkLst>
          <pc:docMk/>
          <pc:sldMk cId="2396221007" sldId="2076138077"/>
        </pc:sldMkLst>
        <pc:spChg chg="mod">
          <ac:chgData name="Jean GRANDEMANGE" userId="faf07584-8716-430e-b66d-4ceae2fe8450" providerId="ADAL" clId="{CBEE1DFD-99CA-4628-A50B-18D6938E4304}" dt="2022-11-30T14:43:16.515" v="892" actId="20577"/>
          <ac:spMkLst>
            <pc:docMk/>
            <pc:sldMk cId="2396221007" sldId="2076138077"/>
            <ac:spMk id="3" creationId="{73B47CC3-1507-47D3-AFEF-FEA763E85C64}"/>
          </ac:spMkLst>
        </pc:spChg>
      </pc:sldChg>
      <pc:sldChg chg="del">
        <pc:chgData name="Jean GRANDEMANGE" userId="faf07584-8716-430e-b66d-4ceae2fe8450" providerId="ADAL" clId="{CBEE1DFD-99CA-4628-A50B-18D6938E4304}" dt="2022-11-30T14:43:04.012" v="880" actId="47"/>
        <pc:sldMkLst>
          <pc:docMk/>
          <pc:sldMk cId="140074883" sldId="2076138086"/>
        </pc:sldMkLst>
      </pc:sldChg>
      <pc:sldChg chg="modSp mod">
        <pc:chgData name="Jean GRANDEMANGE" userId="faf07584-8716-430e-b66d-4ceae2fe8450" providerId="ADAL" clId="{CBEE1DFD-99CA-4628-A50B-18D6938E4304}" dt="2022-11-30T14:51:58.388" v="924" actId="20577"/>
        <pc:sldMkLst>
          <pc:docMk/>
          <pc:sldMk cId="3313929490" sldId="2076138090"/>
        </pc:sldMkLst>
        <pc:spChg chg="mod">
          <ac:chgData name="Jean GRANDEMANGE" userId="faf07584-8716-430e-b66d-4ceae2fe8450" providerId="ADAL" clId="{CBEE1DFD-99CA-4628-A50B-18D6938E4304}" dt="2022-11-30T14:51:58.388" v="924" actId="20577"/>
          <ac:spMkLst>
            <pc:docMk/>
            <pc:sldMk cId="3313929490" sldId="2076138090"/>
            <ac:spMk id="5" creationId="{008BA424-9782-4CE1-B96F-7B9F4395ACE6}"/>
          </ac:spMkLst>
        </pc:spChg>
        <pc:spChg chg="mod">
          <ac:chgData name="Jean GRANDEMANGE" userId="faf07584-8716-430e-b66d-4ceae2fe8450" providerId="ADAL" clId="{CBEE1DFD-99CA-4628-A50B-18D6938E4304}" dt="2022-11-30T14:45:00.746" v="915" actId="121"/>
          <ac:spMkLst>
            <pc:docMk/>
            <pc:sldMk cId="3313929490" sldId="2076138090"/>
            <ac:spMk id="7" creationId="{5DE89F7E-B6C9-4C6D-9EC7-C90D849C096C}"/>
          </ac:spMkLst>
        </pc:spChg>
        <pc:spChg chg="mod">
          <ac:chgData name="Jean GRANDEMANGE" userId="faf07584-8716-430e-b66d-4ceae2fe8450" providerId="ADAL" clId="{CBEE1DFD-99CA-4628-A50B-18D6938E4304}" dt="2022-11-30T14:45:05.874" v="917" actId="20577"/>
          <ac:spMkLst>
            <pc:docMk/>
            <pc:sldMk cId="3313929490" sldId="2076138090"/>
            <ac:spMk id="9" creationId="{CF487E4C-792A-4D88-A564-DAA6C394865E}"/>
          </ac:spMkLst>
        </pc:spChg>
      </pc:sldChg>
      <pc:sldChg chg="addSp delSp modSp mod">
        <pc:chgData name="Jean GRANDEMANGE" userId="faf07584-8716-430e-b66d-4ceae2fe8450" providerId="ADAL" clId="{CBEE1DFD-99CA-4628-A50B-18D6938E4304}" dt="2022-11-30T13:21:49.908" v="874" actId="478"/>
        <pc:sldMkLst>
          <pc:docMk/>
          <pc:sldMk cId="1680199837" sldId="2076138123"/>
        </pc:sldMkLst>
        <pc:spChg chg="add mod">
          <ac:chgData name="Jean GRANDEMANGE" userId="faf07584-8716-430e-b66d-4ceae2fe8450" providerId="ADAL" clId="{CBEE1DFD-99CA-4628-A50B-18D6938E4304}" dt="2022-11-30T13:21:20.660" v="867" actId="571"/>
          <ac:spMkLst>
            <pc:docMk/>
            <pc:sldMk cId="1680199837" sldId="2076138123"/>
            <ac:spMk id="3" creationId="{2299020C-BAC2-09A2-AE26-706B971EA827}"/>
          </ac:spMkLst>
        </pc:spChg>
        <pc:spChg chg="add mod">
          <ac:chgData name="Jean GRANDEMANGE" userId="faf07584-8716-430e-b66d-4ceae2fe8450" providerId="ADAL" clId="{CBEE1DFD-99CA-4628-A50B-18D6938E4304}" dt="2022-11-30T13:21:20.660" v="867" actId="571"/>
          <ac:spMkLst>
            <pc:docMk/>
            <pc:sldMk cId="1680199837" sldId="2076138123"/>
            <ac:spMk id="4" creationId="{38DDF288-A276-7A88-D798-AA60A2B769B3}"/>
          </ac:spMkLst>
        </pc:spChg>
        <pc:spChg chg="add mod">
          <ac:chgData name="Jean GRANDEMANGE" userId="faf07584-8716-430e-b66d-4ceae2fe8450" providerId="ADAL" clId="{CBEE1DFD-99CA-4628-A50B-18D6938E4304}" dt="2022-11-30T13:21:20.660" v="867" actId="571"/>
          <ac:spMkLst>
            <pc:docMk/>
            <pc:sldMk cId="1680199837" sldId="2076138123"/>
            <ac:spMk id="5" creationId="{243B342E-B4FA-2F91-E1DC-D6029E6F288F}"/>
          </ac:spMkLst>
        </pc:spChg>
        <pc:spChg chg="ord">
          <ac:chgData name="Jean GRANDEMANGE" userId="faf07584-8716-430e-b66d-4ceae2fe8450" providerId="ADAL" clId="{CBEE1DFD-99CA-4628-A50B-18D6938E4304}" dt="2022-11-30T13:21:03.599" v="859" actId="167"/>
          <ac:spMkLst>
            <pc:docMk/>
            <pc:sldMk cId="1680199837" sldId="2076138123"/>
            <ac:spMk id="6" creationId="{59218360-3A11-4624-9214-DDC18ED44D79}"/>
          </ac:spMkLst>
        </pc:spChg>
        <pc:spChg chg="add mod">
          <ac:chgData name="Jean GRANDEMANGE" userId="faf07584-8716-430e-b66d-4ceae2fe8450" providerId="ADAL" clId="{CBEE1DFD-99CA-4628-A50B-18D6938E4304}" dt="2022-11-30T13:21:20.660" v="867" actId="571"/>
          <ac:spMkLst>
            <pc:docMk/>
            <pc:sldMk cId="1680199837" sldId="2076138123"/>
            <ac:spMk id="7" creationId="{77C81232-A030-06AE-5185-637F9FB7DEC7}"/>
          </ac:spMkLst>
        </pc:spChg>
        <pc:spChg chg="mod">
          <ac:chgData name="Jean GRANDEMANGE" userId="faf07584-8716-430e-b66d-4ceae2fe8450" providerId="ADAL" clId="{CBEE1DFD-99CA-4628-A50B-18D6938E4304}" dt="2022-11-30T13:20:38.989" v="851" actId="1076"/>
          <ac:spMkLst>
            <pc:docMk/>
            <pc:sldMk cId="1680199837" sldId="2076138123"/>
            <ac:spMk id="8" creationId="{6BEF1DB4-3010-4B52-B506-B20A3BEEAC9C}"/>
          </ac:spMkLst>
        </pc:spChg>
        <pc:spChg chg="mod">
          <ac:chgData name="Jean GRANDEMANGE" userId="faf07584-8716-430e-b66d-4ceae2fe8450" providerId="ADAL" clId="{CBEE1DFD-99CA-4628-A50B-18D6938E4304}" dt="2022-11-30T13:21:29.980" v="871" actId="403"/>
          <ac:spMkLst>
            <pc:docMk/>
            <pc:sldMk cId="1680199837" sldId="2076138123"/>
            <ac:spMk id="9" creationId="{77211E8D-58BD-41A6-9F16-B9A01687D58D}"/>
          </ac:spMkLst>
        </pc:spChg>
        <pc:spChg chg="add mod">
          <ac:chgData name="Jean GRANDEMANGE" userId="faf07584-8716-430e-b66d-4ceae2fe8450" providerId="ADAL" clId="{CBEE1DFD-99CA-4628-A50B-18D6938E4304}" dt="2022-11-30T13:21:20.660" v="867" actId="571"/>
          <ac:spMkLst>
            <pc:docMk/>
            <pc:sldMk cId="1680199837" sldId="2076138123"/>
            <ac:spMk id="10" creationId="{C2E608A0-556B-A92B-4440-7C6B42BCA3A5}"/>
          </ac:spMkLst>
        </pc:spChg>
        <pc:spChg chg="add mod">
          <ac:chgData name="Jean GRANDEMANGE" userId="faf07584-8716-430e-b66d-4ceae2fe8450" providerId="ADAL" clId="{CBEE1DFD-99CA-4628-A50B-18D6938E4304}" dt="2022-11-30T13:21:20.660" v="867" actId="571"/>
          <ac:spMkLst>
            <pc:docMk/>
            <pc:sldMk cId="1680199837" sldId="2076138123"/>
            <ac:spMk id="11" creationId="{F4655BEF-6CC2-5FB4-DE18-F1981D443678}"/>
          </ac:spMkLst>
        </pc:spChg>
        <pc:spChg chg="mod">
          <ac:chgData name="Jean GRANDEMANGE" userId="faf07584-8716-430e-b66d-4ceae2fe8450" providerId="ADAL" clId="{CBEE1DFD-99CA-4628-A50B-18D6938E4304}" dt="2022-11-30T13:21:21.866" v="868" actId="1076"/>
          <ac:spMkLst>
            <pc:docMk/>
            <pc:sldMk cId="1680199837" sldId="2076138123"/>
            <ac:spMk id="12" creationId="{186599DA-E58F-4091-8823-72D7CE9841DA}"/>
          </ac:spMkLst>
        </pc:spChg>
        <pc:spChg chg="mod">
          <ac:chgData name="Jean GRANDEMANGE" userId="faf07584-8716-430e-b66d-4ceae2fe8450" providerId="ADAL" clId="{CBEE1DFD-99CA-4628-A50B-18D6938E4304}" dt="2022-11-30T13:21:43.009" v="873" actId="20577"/>
          <ac:spMkLst>
            <pc:docMk/>
            <pc:sldMk cId="1680199837" sldId="2076138123"/>
            <ac:spMk id="15" creationId="{90831BED-B3A5-4AEF-98EB-CE9FD2902A50}"/>
          </ac:spMkLst>
        </pc:spChg>
        <pc:spChg chg="del">
          <ac:chgData name="Jean GRANDEMANGE" userId="faf07584-8716-430e-b66d-4ceae2fe8450" providerId="ADAL" clId="{CBEE1DFD-99CA-4628-A50B-18D6938E4304}" dt="2022-11-30T13:21:49.908" v="874" actId="478"/>
          <ac:spMkLst>
            <pc:docMk/>
            <pc:sldMk cId="1680199837" sldId="2076138123"/>
            <ac:spMk id="16" creationId="{F4338F2A-4C98-4F9A-A747-6329BC381ACD}"/>
          </ac:spMkLst>
        </pc:spChg>
        <pc:spChg chg="mod">
          <ac:chgData name="Jean GRANDEMANGE" userId="faf07584-8716-430e-b66d-4ceae2fe8450" providerId="ADAL" clId="{CBEE1DFD-99CA-4628-A50B-18D6938E4304}" dt="2022-11-30T13:21:35.758" v="872" actId="14100"/>
          <ac:spMkLst>
            <pc:docMk/>
            <pc:sldMk cId="1680199837" sldId="2076138123"/>
            <ac:spMk id="21" creationId="{DB584256-F3CD-4F9E-A0B2-B9B787A54C4E}"/>
          </ac:spMkLst>
        </pc:spChg>
        <pc:spChg chg="mod">
          <ac:chgData name="Jean GRANDEMANGE" userId="faf07584-8716-430e-b66d-4ceae2fe8450" providerId="ADAL" clId="{CBEE1DFD-99CA-4628-A50B-18D6938E4304}" dt="2022-11-30T13:21:21.866" v="868" actId="1076"/>
          <ac:spMkLst>
            <pc:docMk/>
            <pc:sldMk cId="1680199837" sldId="2076138123"/>
            <ac:spMk id="22" creationId="{6040814F-52C7-4FF2-9806-C1D950174972}"/>
          </ac:spMkLst>
        </pc:spChg>
        <pc:spChg chg="mod">
          <ac:chgData name="Jean GRANDEMANGE" userId="faf07584-8716-430e-b66d-4ceae2fe8450" providerId="ADAL" clId="{CBEE1DFD-99CA-4628-A50B-18D6938E4304}" dt="2022-11-30T13:21:35.758" v="872" actId="14100"/>
          <ac:spMkLst>
            <pc:docMk/>
            <pc:sldMk cId="1680199837" sldId="2076138123"/>
            <ac:spMk id="23" creationId="{899D5790-653F-4DAC-AB38-B4B95F678585}"/>
          </ac:spMkLst>
        </pc:spChg>
        <pc:spChg chg="mod">
          <ac:chgData name="Jean GRANDEMANGE" userId="faf07584-8716-430e-b66d-4ceae2fe8450" providerId="ADAL" clId="{CBEE1DFD-99CA-4628-A50B-18D6938E4304}" dt="2022-11-30T13:21:21.866" v="868" actId="1076"/>
          <ac:spMkLst>
            <pc:docMk/>
            <pc:sldMk cId="1680199837" sldId="2076138123"/>
            <ac:spMk id="24" creationId="{1722C9F2-9269-4CE6-8B73-D990B366331C}"/>
          </ac:spMkLst>
        </pc:spChg>
      </pc:sldChg>
      <pc:sldChg chg="modSp mod">
        <pc:chgData name="Jean GRANDEMANGE" userId="faf07584-8716-430e-b66d-4ceae2fe8450" providerId="ADAL" clId="{CBEE1DFD-99CA-4628-A50B-18D6938E4304}" dt="2022-11-30T12:02:30.326" v="423" actId="20577"/>
        <pc:sldMkLst>
          <pc:docMk/>
          <pc:sldMk cId="416665568" sldId="2076138132"/>
        </pc:sldMkLst>
        <pc:spChg chg="mod">
          <ac:chgData name="Jean GRANDEMANGE" userId="faf07584-8716-430e-b66d-4ceae2fe8450" providerId="ADAL" clId="{CBEE1DFD-99CA-4628-A50B-18D6938E4304}" dt="2022-11-30T12:02:30.326" v="423" actId="20577"/>
          <ac:spMkLst>
            <pc:docMk/>
            <pc:sldMk cId="416665568" sldId="2076138132"/>
            <ac:spMk id="10" creationId="{9E9F1D0F-FFE6-4EFD-BD62-6797A5D4A6BB}"/>
          </ac:spMkLst>
        </pc:spChg>
        <pc:spChg chg="mod">
          <ac:chgData name="Jean GRANDEMANGE" userId="faf07584-8716-430e-b66d-4ceae2fe8450" providerId="ADAL" clId="{CBEE1DFD-99CA-4628-A50B-18D6938E4304}" dt="2022-11-30T11:59:46.747" v="377" actId="403"/>
          <ac:spMkLst>
            <pc:docMk/>
            <pc:sldMk cId="416665568" sldId="2076138132"/>
            <ac:spMk id="19" creationId="{994A3F91-367C-C8A9-CE69-D395440622FB}"/>
          </ac:spMkLst>
        </pc:spChg>
        <pc:spChg chg="mod">
          <ac:chgData name="Jean GRANDEMANGE" userId="faf07584-8716-430e-b66d-4ceae2fe8450" providerId="ADAL" clId="{CBEE1DFD-99CA-4628-A50B-18D6938E4304}" dt="2022-11-30T10:48:11.266" v="141" actId="20577"/>
          <ac:spMkLst>
            <pc:docMk/>
            <pc:sldMk cId="416665568" sldId="2076138132"/>
            <ac:spMk id="25" creationId="{1877E131-5548-4D0F-AEB5-B8C977CD4B72}"/>
          </ac:spMkLst>
        </pc:spChg>
        <pc:spChg chg="mod">
          <ac:chgData name="Jean GRANDEMANGE" userId="faf07584-8716-430e-b66d-4ceae2fe8450" providerId="ADAL" clId="{CBEE1DFD-99CA-4628-A50B-18D6938E4304}" dt="2022-11-30T11:59:41.737" v="376" actId="14100"/>
          <ac:spMkLst>
            <pc:docMk/>
            <pc:sldMk cId="416665568" sldId="2076138132"/>
            <ac:spMk id="27" creationId="{509C34D2-63A8-446A-A7AE-262FA12A6A85}"/>
          </ac:spMkLst>
        </pc:spChg>
        <pc:grpChg chg="mod">
          <ac:chgData name="Jean GRANDEMANGE" userId="faf07584-8716-430e-b66d-4ceae2fe8450" providerId="ADAL" clId="{CBEE1DFD-99CA-4628-A50B-18D6938E4304}" dt="2022-11-30T10:48:16.956" v="143" actId="1076"/>
          <ac:grpSpMkLst>
            <pc:docMk/>
            <pc:sldMk cId="416665568" sldId="2076138132"/>
            <ac:grpSpMk id="11" creationId="{D60CA4FD-7780-E846-BFAA-BDB45E9AAC55}"/>
          </ac:grpSpMkLst>
        </pc:grpChg>
        <pc:grpChg chg="mod">
          <ac:chgData name="Jean GRANDEMANGE" userId="faf07584-8716-430e-b66d-4ceae2fe8450" providerId="ADAL" clId="{CBEE1DFD-99CA-4628-A50B-18D6938E4304}" dt="2022-11-30T10:47:43.683" v="123" actId="1076"/>
          <ac:grpSpMkLst>
            <pc:docMk/>
            <pc:sldMk cId="416665568" sldId="2076138132"/>
            <ac:grpSpMk id="20" creationId="{9068E1A1-E8B0-449C-B455-934E8DEF2A71}"/>
          </ac:grpSpMkLst>
        </pc:grpChg>
      </pc:sldChg>
      <pc:sldChg chg="modSp mod">
        <pc:chgData name="Jean GRANDEMANGE" userId="faf07584-8716-430e-b66d-4ceae2fe8450" providerId="ADAL" clId="{CBEE1DFD-99CA-4628-A50B-18D6938E4304}" dt="2022-12-01T08:46:20.867" v="2007" actId="20577"/>
        <pc:sldMkLst>
          <pc:docMk/>
          <pc:sldMk cId="4202844115" sldId="2076138192"/>
        </pc:sldMkLst>
        <pc:spChg chg="mod">
          <ac:chgData name="Jean GRANDEMANGE" userId="faf07584-8716-430e-b66d-4ceae2fe8450" providerId="ADAL" clId="{CBEE1DFD-99CA-4628-A50B-18D6938E4304}" dt="2022-12-01T08:46:20.867" v="2007" actId="20577"/>
          <ac:spMkLst>
            <pc:docMk/>
            <pc:sldMk cId="4202844115" sldId="2076138192"/>
            <ac:spMk id="31" creationId="{D2936613-AB22-4602-BF2C-A5270EAB9DC4}"/>
          </ac:spMkLst>
        </pc:spChg>
      </pc:sldChg>
      <pc:sldChg chg="modSp mod">
        <pc:chgData name="Jean GRANDEMANGE" userId="faf07584-8716-430e-b66d-4ceae2fe8450" providerId="ADAL" clId="{CBEE1DFD-99CA-4628-A50B-18D6938E4304}" dt="2022-11-30T14:45:38.465" v="922" actId="20577"/>
        <pc:sldMkLst>
          <pc:docMk/>
          <pc:sldMk cId="900587960" sldId="2076138193"/>
        </pc:sldMkLst>
        <pc:spChg chg="mod">
          <ac:chgData name="Jean GRANDEMANGE" userId="faf07584-8716-430e-b66d-4ceae2fe8450" providerId="ADAL" clId="{CBEE1DFD-99CA-4628-A50B-18D6938E4304}" dt="2022-11-30T14:45:38.465" v="922" actId="20577"/>
          <ac:spMkLst>
            <pc:docMk/>
            <pc:sldMk cId="900587960" sldId="2076138193"/>
            <ac:spMk id="4" creationId="{27CA8741-8B14-478B-98F4-DF9C36105620}"/>
          </ac:spMkLst>
        </pc:spChg>
      </pc:sldChg>
      <pc:sldChg chg="delSp modSp mod">
        <pc:chgData name="Jean GRANDEMANGE" userId="faf07584-8716-430e-b66d-4ceae2fe8450" providerId="ADAL" clId="{CBEE1DFD-99CA-4628-A50B-18D6938E4304}" dt="2022-11-30T14:45:58.645" v="923" actId="113"/>
        <pc:sldMkLst>
          <pc:docMk/>
          <pc:sldMk cId="149410661" sldId="2076138197"/>
        </pc:sldMkLst>
        <pc:spChg chg="mod">
          <ac:chgData name="Jean GRANDEMANGE" userId="faf07584-8716-430e-b66d-4ceae2fe8450" providerId="ADAL" clId="{CBEE1DFD-99CA-4628-A50B-18D6938E4304}" dt="2022-11-30T13:06:50.663" v="849" actId="20577"/>
          <ac:spMkLst>
            <pc:docMk/>
            <pc:sldMk cId="149410661" sldId="2076138197"/>
            <ac:spMk id="4" creationId="{C4F07D73-D93D-4F68-AC67-1A521BD718BD}"/>
          </ac:spMkLst>
        </pc:spChg>
        <pc:spChg chg="del mod">
          <ac:chgData name="Jean GRANDEMANGE" userId="faf07584-8716-430e-b66d-4ceae2fe8450" providerId="ADAL" clId="{CBEE1DFD-99CA-4628-A50B-18D6938E4304}" dt="2022-11-30T12:58:00.383" v="606" actId="478"/>
          <ac:spMkLst>
            <pc:docMk/>
            <pc:sldMk cId="149410661" sldId="2076138197"/>
            <ac:spMk id="6" creationId="{D23AE0C6-6FD8-41BC-BA07-896C51E2F613}"/>
          </ac:spMkLst>
        </pc:spChg>
        <pc:spChg chg="del mod">
          <ac:chgData name="Jean GRANDEMANGE" userId="faf07584-8716-430e-b66d-4ceae2fe8450" providerId="ADAL" clId="{CBEE1DFD-99CA-4628-A50B-18D6938E4304}" dt="2022-11-30T12:58:00.383" v="606" actId="478"/>
          <ac:spMkLst>
            <pc:docMk/>
            <pc:sldMk cId="149410661" sldId="2076138197"/>
            <ac:spMk id="7" creationId="{91B91CFF-3051-4E98-972B-CA05837C2750}"/>
          </ac:spMkLst>
        </pc:spChg>
        <pc:spChg chg="del mod">
          <ac:chgData name="Jean GRANDEMANGE" userId="faf07584-8716-430e-b66d-4ceae2fe8450" providerId="ADAL" clId="{CBEE1DFD-99CA-4628-A50B-18D6938E4304}" dt="2022-11-30T12:58:00.383" v="606" actId="478"/>
          <ac:spMkLst>
            <pc:docMk/>
            <pc:sldMk cId="149410661" sldId="2076138197"/>
            <ac:spMk id="8" creationId="{7E2C1AFF-D652-406C-9082-1AE6AC28F265}"/>
          </ac:spMkLst>
        </pc:spChg>
        <pc:spChg chg="del mod">
          <ac:chgData name="Jean GRANDEMANGE" userId="faf07584-8716-430e-b66d-4ceae2fe8450" providerId="ADAL" clId="{CBEE1DFD-99CA-4628-A50B-18D6938E4304}" dt="2022-11-30T12:58:00.383" v="606" actId="478"/>
          <ac:spMkLst>
            <pc:docMk/>
            <pc:sldMk cId="149410661" sldId="2076138197"/>
            <ac:spMk id="9" creationId="{20D2B6C6-8CAD-4273-8D5F-ED56C137ED91}"/>
          </ac:spMkLst>
        </pc:spChg>
        <pc:spChg chg="del mod">
          <ac:chgData name="Jean GRANDEMANGE" userId="faf07584-8716-430e-b66d-4ceae2fe8450" providerId="ADAL" clId="{CBEE1DFD-99CA-4628-A50B-18D6938E4304}" dt="2022-11-30T12:58:00.383" v="606" actId="478"/>
          <ac:spMkLst>
            <pc:docMk/>
            <pc:sldMk cId="149410661" sldId="2076138197"/>
            <ac:spMk id="11" creationId="{9709138F-5E66-41FB-B0A7-CB944F0AFE37}"/>
          </ac:spMkLst>
        </pc:spChg>
        <pc:spChg chg="del mod">
          <ac:chgData name="Jean GRANDEMANGE" userId="faf07584-8716-430e-b66d-4ceae2fe8450" providerId="ADAL" clId="{CBEE1DFD-99CA-4628-A50B-18D6938E4304}" dt="2022-11-30T12:57:59.633" v="605" actId="478"/>
          <ac:spMkLst>
            <pc:docMk/>
            <pc:sldMk cId="149410661" sldId="2076138197"/>
            <ac:spMk id="12" creationId="{DFFB2073-F5BA-4AB0-8F36-E797AA256CAE}"/>
          </ac:spMkLst>
        </pc:spChg>
        <pc:graphicFrameChg chg="mod modGraphic">
          <ac:chgData name="Jean GRANDEMANGE" userId="faf07584-8716-430e-b66d-4ceae2fe8450" providerId="ADAL" clId="{CBEE1DFD-99CA-4628-A50B-18D6938E4304}" dt="2022-11-30T14:45:58.645" v="923" actId="113"/>
          <ac:graphicFrameMkLst>
            <pc:docMk/>
            <pc:sldMk cId="149410661" sldId="2076138197"/>
            <ac:graphicFrameMk id="10" creationId="{ECDEBFF2-3228-4EAF-B73B-229926EDB8E1}"/>
          </ac:graphicFrameMkLst>
        </pc:graphicFrameChg>
      </pc:sldChg>
      <pc:sldChg chg="del">
        <pc:chgData name="Jean GRANDEMANGE" userId="faf07584-8716-430e-b66d-4ceae2fe8450" providerId="ADAL" clId="{CBEE1DFD-99CA-4628-A50B-18D6938E4304}" dt="2022-11-30T13:05:55.122" v="831" actId="47"/>
        <pc:sldMkLst>
          <pc:docMk/>
          <pc:sldMk cId="423063643" sldId="2076138198"/>
        </pc:sldMkLst>
      </pc:sldChg>
      <pc:sldChg chg="modSp mod">
        <pc:chgData name="Jean GRANDEMANGE" userId="faf07584-8716-430e-b66d-4ceae2fe8450" providerId="ADAL" clId="{CBEE1DFD-99CA-4628-A50B-18D6938E4304}" dt="2022-12-01T08:45:01.615" v="1980" actId="1076"/>
        <pc:sldMkLst>
          <pc:docMk/>
          <pc:sldMk cId="2101430142" sldId="2076138201"/>
        </pc:sldMkLst>
        <pc:spChg chg="mod">
          <ac:chgData name="Jean GRANDEMANGE" userId="faf07584-8716-430e-b66d-4ceae2fe8450" providerId="ADAL" clId="{CBEE1DFD-99CA-4628-A50B-18D6938E4304}" dt="2022-12-01T08:45:01.615" v="1980" actId="1076"/>
          <ac:spMkLst>
            <pc:docMk/>
            <pc:sldMk cId="2101430142" sldId="2076138201"/>
            <ac:spMk id="3" creationId="{216563DB-21F0-4F0F-BF06-5ADF50C0D98A}"/>
          </ac:spMkLst>
        </pc:spChg>
        <pc:spChg chg="mod">
          <ac:chgData name="Jean GRANDEMANGE" userId="faf07584-8716-430e-b66d-4ceae2fe8450" providerId="ADAL" clId="{CBEE1DFD-99CA-4628-A50B-18D6938E4304}" dt="2022-12-01T08:44:29.629" v="1974" actId="207"/>
          <ac:spMkLst>
            <pc:docMk/>
            <pc:sldMk cId="2101430142" sldId="2076138201"/>
            <ac:spMk id="4" creationId="{615E13CC-9EBA-477E-A883-8DCF5A071EE2}"/>
          </ac:spMkLst>
        </pc:spChg>
        <pc:spChg chg="mod">
          <ac:chgData name="Jean GRANDEMANGE" userId="faf07584-8716-430e-b66d-4ceae2fe8450" providerId="ADAL" clId="{CBEE1DFD-99CA-4628-A50B-18D6938E4304}" dt="2022-12-01T08:44:29.629" v="1974" actId="207"/>
          <ac:spMkLst>
            <pc:docMk/>
            <pc:sldMk cId="2101430142" sldId="2076138201"/>
            <ac:spMk id="19" creationId="{2B120BCC-C626-487B-9D4D-35CFC546F2C1}"/>
          </ac:spMkLst>
        </pc:spChg>
        <pc:spChg chg="mod">
          <ac:chgData name="Jean GRANDEMANGE" userId="faf07584-8716-430e-b66d-4ceae2fe8450" providerId="ADAL" clId="{CBEE1DFD-99CA-4628-A50B-18D6938E4304}" dt="2022-12-01T08:44:47.671" v="1978" actId="207"/>
          <ac:spMkLst>
            <pc:docMk/>
            <pc:sldMk cId="2101430142" sldId="2076138201"/>
            <ac:spMk id="67" creationId="{7E98BB18-0FB8-406D-8C28-2BDED9DCBF0F}"/>
          </ac:spMkLst>
        </pc:spChg>
      </pc:sldChg>
      <pc:sldChg chg="modSp mod">
        <pc:chgData name="Jean GRANDEMANGE" userId="faf07584-8716-430e-b66d-4ceae2fe8450" providerId="ADAL" clId="{CBEE1DFD-99CA-4628-A50B-18D6938E4304}" dt="2022-12-01T08:45:52.864" v="1985" actId="207"/>
        <pc:sldMkLst>
          <pc:docMk/>
          <pc:sldMk cId="338644527" sldId="2076138202"/>
        </pc:sldMkLst>
        <pc:spChg chg="mod">
          <ac:chgData name="Jean GRANDEMANGE" userId="faf07584-8716-430e-b66d-4ceae2fe8450" providerId="ADAL" clId="{CBEE1DFD-99CA-4628-A50B-18D6938E4304}" dt="2022-12-01T08:45:52.864" v="1985" actId="207"/>
          <ac:spMkLst>
            <pc:docMk/>
            <pc:sldMk cId="338644527" sldId="2076138202"/>
            <ac:spMk id="34" creationId="{1944EFC2-6EDB-4E98-89F8-00934690CAEF}"/>
          </ac:spMkLst>
        </pc:spChg>
        <pc:spChg chg="mod">
          <ac:chgData name="Jean GRANDEMANGE" userId="faf07584-8716-430e-b66d-4ceae2fe8450" providerId="ADAL" clId="{CBEE1DFD-99CA-4628-A50B-18D6938E4304}" dt="2022-12-01T08:45:39.054" v="1982" actId="207"/>
          <ac:spMkLst>
            <pc:docMk/>
            <pc:sldMk cId="338644527" sldId="2076138202"/>
            <ac:spMk id="36" creationId="{75C0246B-B8C0-4DDB-BEF4-DD2EF6583CEB}"/>
          </ac:spMkLst>
        </pc:spChg>
        <pc:spChg chg="mod">
          <ac:chgData name="Jean GRANDEMANGE" userId="faf07584-8716-430e-b66d-4ceae2fe8450" providerId="ADAL" clId="{CBEE1DFD-99CA-4628-A50B-18D6938E4304}" dt="2022-12-01T08:45:39.054" v="1982" actId="207"/>
          <ac:spMkLst>
            <pc:docMk/>
            <pc:sldMk cId="338644527" sldId="2076138202"/>
            <ac:spMk id="39" creationId="{ED211754-BC67-4E77-89EF-54D6DAFD1E02}"/>
          </ac:spMkLst>
        </pc:spChg>
        <pc:spChg chg="mod">
          <ac:chgData name="Jean GRANDEMANGE" userId="faf07584-8716-430e-b66d-4ceae2fe8450" providerId="ADAL" clId="{CBEE1DFD-99CA-4628-A50B-18D6938E4304}" dt="2022-12-01T08:45:39.054" v="1982" actId="207"/>
          <ac:spMkLst>
            <pc:docMk/>
            <pc:sldMk cId="338644527" sldId="2076138202"/>
            <ac:spMk id="40" creationId="{D39506DE-EB53-4F93-B89E-BA45D25E901A}"/>
          </ac:spMkLst>
        </pc:spChg>
      </pc:sldChg>
      <pc:sldChg chg="delSp modSp mod">
        <pc:chgData name="Jean GRANDEMANGE" userId="faf07584-8716-430e-b66d-4ceae2fe8450" providerId="ADAL" clId="{CBEE1DFD-99CA-4628-A50B-18D6938E4304}" dt="2022-11-30T17:41:18.208" v="1965" actId="478"/>
        <pc:sldMkLst>
          <pc:docMk/>
          <pc:sldMk cId="2578762901" sldId="2076138205"/>
        </pc:sldMkLst>
        <pc:spChg chg="mod">
          <ac:chgData name="Jean GRANDEMANGE" userId="faf07584-8716-430e-b66d-4ceae2fe8450" providerId="ADAL" clId="{CBEE1DFD-99CA-4628-A50B-18D6938E4304}" dt="2022-11-30T17:36:14.406" v="1766" actId="1076"/>
          <ac:spMkLst>
            <pc:docMk/>
            <pc:sldMk cId="2578762901" sldId="2076138205"/>
            <ac:spMk id="3" creationId="{80D52342-C2B0-428C-8805-971DE696581C}"/>
          </ac:spMkLst>
        </pc:spChg>
        <pc:spChg chg="mod">
          <ac:chgData name="Jean GRANDEMANGE" userId="faf07584-8716-430e-b66d-4ceae2fe8450" providerId="ADAL" clId="{CBEE1DFD-99CA-4628-A50B-18D6938E4304}" dt="2022-11-30T17:36:28.977" v="1769" actId="1076"/>
          <ac:spMkLst>
            <pc:docMk/>
            <pc:sldMk cId="2578762901" sldId="2076138205"/>
            <ac:spMk id="26" creationId="{90475712-3E1D-F319-9CF4-BA3D029F318B}"/>
          </ac:spMkLst>
        </pc:spChg>
        <pc:spChg chg="mod">
          <ac:chgData name="Jean GRANDEMANGE" userId="faf07584-8716-430e-b66d-4ceae2fe8450" providerId="ADAL" clId="{CBEE1DFD-99CA-4628-A50B-18D6938E4304}" dt="2022-11-30T17:41:16.668" v="1964" actId="20577"/>
          <ac:spMkLst>
            <pc:docMk/>
            <pc:sldMk cId="2578762901" sldId="2076138205"/>
            <ac:spMk id="27" creationId="{7FBE3B1B-9487-4C75-9231-32E2F819AB15}"/>
          </ac:spMkLst>
        </pc:spChg>
        <pc:spChg chg="del mod">
          <ac:chgData name="Jean GRANDEMANGE" userId="faf07584-8716-430e-b66d-4ceae2fe8450" providerId="ADAL" clId="{CBEE1DFD-99CA-4628-A50B-18D6938E4304}" dt="2022-11-30T17:41:18.208" v="1965" actId="478"/>
          <ac:spMkLst>
            <pc:docMk/>
            <pc:sldMk cId="2578762901" sldId="2076138205"/>
            <ac:spMk id="35" creationId="{B745FC6C-C31E-4622-9ACA-2A02B2CEDA17}"/>
          </ac:spMkLst>
        </pc:spChg>
        <pc:spChg chg="mod">
          <ac:chgData name="Jean GRANDEMANGE" userId="faf07584-8716-430e-b66d-4ceae2fe8450" providerId="ADAL" clId="{CBEE1DFD-99CA-4628-A50B-18D6938E4304}" dt="2022-11-30T17:25:21.662" v="1192" actId="20577"/>
          <ac:spMkLst>
            <pc:docMk/>
            <pc:sldMk cId="2578762901" sldId="2076138205"/>
            <ac:spMk id="38" creationId="{D5CD0879-99CF-DB2C-4EF6-B1FF9F738AC2}"/>
          </ac:spMkLst>
        </pc:spChg>
        <pc:spChg chg="mod">
          <ac:chgData name="Jean GRANDEMANGE" userId="faf07584-8716-430e-b66d-4ceae2fe8450" providerId="ADAL" clId="{CBEE1DFD-99CA-4628-A50B-18D6938E4304}" dt="2022-11-30T17:28:07.411" v="1232" actId="20577"/>
          <ac:spMkLst>
            <pc:docMk/>
            <pc:sldMk cId="2578762901" sldId="2076138205"/>
            <ac:spMk id="43" creationId="{61606285-4B87-12CC-98F0-B8792DADEF07}"/>
          </ac:spMkLst>
        </pc:spChg>
        <pc:spChg chg="mod">
          <ac:chgData name="Jean GRANDEMANGE" userId="faf07584-8716-430e-b66d-4ceae2fe8450" providerId="ADAL" clId="{CBEE1DFD-99CA-4628-A50B-18D6938E4304}" dt="2022-11-30T17:29:33.247" v="1302" actId="20577"/>
          <ac:spMkLst>
            <pc:docMk/>
            <pc:sldMk cId="2578762901" sldId="2076138205"/>
            <ac:spMk id="48" creationId="{FC62F2F6-4C9D-01DA-3454-67AEF5519CFB}"/>
          </ac:spMkLst>
        </pc:spChg>
      </pc:sldChg>
      <pc:sldChg chg="addSp delSp modSp mod">
        <pc:chgData name="Jean GRANDEMANGE" userId="faf07584-8716-430e-b66d-4ceae2fe8450" providerId="ADAL" clId="{CBEE1DFD-99CA-4628-A50B-18D6938E4304}" dt="2022-11-30T12:04:25.363" v="523" actId="404"/>
        <pc:sldMkLst>
          <pc:docMk/>
          <pc:sldMk cId="2707890546" sldId="2076138210"/>
        </pc:sldMkLst>
        <pc:spChg chg="mod">
          <ac:chgData name="Jean GRANDEMANGE" userId="faf07584-8716-430e-b66d-4ceae2fe8450" providerId="ADAL" clId="{CBEE1DFD-99CA-4628-A50B-18D6938E4304}" dt="2022-11-30T12:03:07.476" v="465" actId="20577"/>
          <ac:spMkLst>
            <pc:docMk/>
            <pc:sldMk cId="2707890546" sldId="2076138210"/>
            <ac:spMk id="2" creationId="{A33B9EB3-E432-4913-A00F-C44F1FC3BF47}"/>
          </ac:spMkLst>
        </pc:spChg>
        <pc:spChg chg="mod">
          <ac:chgData name="Jean GRANDEMANGE" userId="faf07584-8716-430e-b66d-4ceae2fe8450" providerId="ADAL" clId="{CBEE1DFD-99CA-4628-A50B-18D6938E4304}" dt="2022-11-30T12:03:30.700" v="472" actId="1076"/>
          <ac:spMkLst>
            <pc:docMk/>
            <pc:sldMk cId="2707890546" sldId="2076138210"/>
            <ac:spMk id="3" creationId="{307EFBEB-9FAD-4B55-90AC-0F993205AE12}"/>
          </ac:spMkLst>
        </pc:spChg>
        <pc:spChg chg="mod">
          <ac:chgData name="Jean GRANDEMANGE" userId="faf07584-8716-430e-b66d-4ceae2fe8450" providerId="ADAL" clId="{CBEE1DFD-99CA-4628-A50B-18D6938E4304}" dt="2022-11-30T12:03:35.762" v="473" actId="1076"/>
          <ac:spMkLst>
            <pc:docMk/>
            <pc:sldMk cId="2707890546" sldId="2076138210"/>
            <ac:spMk id="4" creationId="{DF0564B2-E9E6-4015-8A94-84A722525DC1}"/>
          </ac:spMkLst>
        </pc:spChg>
        <pc:spChg chg="mod">
          <ac:chgData name="Jean GRANDEMANGE" userId="faf07584-8716-430e-b66d-4ceae2fe8450" providerId="ADAL" clId="{CBEE1DFD-99CA-4628-A50B-18D6938E4304}" dt="2022-11-30T12:03:35.762" v="473" actId="1076"/>
          <ac:spMkLst>
            <pc:docMk/>
            <pc:sldMk cId="2707890546" sldId="2076138210"/>
            <ac:spMk id="5" creationId="{1B935462-61BF-4780-BD01-BBF07A05E44C}"/>
          </ac:spMkLst>
        </pc:spChg>
        <pc:spChg chg="mod">
          <ac:chgData name="Jean GRANDEMANGE" userId="faf07584-8716-430e-b66d-4ceae2fe8450" providerId="ADAL" clId="{CBEE1DFD-99CA-4628-A50B-18D6938E4304}" dt="2022-11-30T12:03:35.762" v="473" actId="1076"/>
          <ac:spMkLst>
            <pc:docMk/>
            <pc:sldMk cId="2707890546" sldId="2076138210"/>
            <ac:spMk id="6" creationId="{3EFC4B0A-614D-4AF3-9AEF-9BD8B4C0B973}"/>
          </ac:spMkLst>
        </pc:spChg>
        <pc:spChg chg="mod">
          <ac:chgData name="Jean GRANDEMANGE" userId="faf07584-8716-430e-b66d-4ceae2fe8450" providerId="ADAL" clId="{CBEE1DFD-99CA-4628-A50B-18D6938E4304}" dt="2022-11-30T12:03:35.762" v="473" actId="1076"/>
          <ac:spMkLst>
            <pc:docMk/>
            <pc:sldMk cId="2707890546" sldId="2076138210"/>
            <ac:spMk id="7" creationId="{C25D7278-D671-466E-9D90-4200A43B9C5E}"/>
          </ac:spMkLst>
        </pc:spChg>
        <pc:spChg chg="mod">
          <ac:chgData name="Jean GRANDEMANGE" userId="faf07584-8716-430e-b66d-4ceae2fe8450" providerId="ADAL" clId="{CBEE1DFD-99CA-4628-A50B-18D6938E4304}" dt="2022-11-30T12:03:35.762" v="473" actId="1076"/>
          <ac:spMkLst>
            <pc:docMk/>
            <pc:sldMk cId="2707890546" sldId="2076138210"/>
            <ac:spMk id="8" creationId="{CF2F0472-DBB7-4917-ABAC-892870B14F55}"/>
          </ac:spMkLst>
        </pc:spChg>
        <pc:spChg chg="mod">
          <ac:chgData name="Jean GRANDEMANGE" userId="faf07584-8716-430e-b66d-4ceae2fe8450" providerId="ADAL" clId="{CBEE1DFD-99CA-4628-A50B-18D6938E4304}" dt="2022-11-30T12:03:35.762" v="473" actId="1076"/>
          <ac:spMkLst>
            <pc:docMk/>
            <pc:sldMk cId="2707890546" sldId="2076138210"/>
            <ac:spMk id="9" creationId="{B7D978DF-BC70-447C-8F3C-A09C01770304}"/>
          </ac:spMkLst>
        </pc:spChg>
        <pc:spChg chg="mod">
          <ac:chgData name="Jean GRANDEMANGE" userId="faf07584-8716-430e-b66d-4ceae2fe8450" providerId="ADAL" clId="{CBEE1DFD-99CA-4628-A50B-18D6938E4304}" dt="2022-11-30T12:03:35.762" v="473" actId="1076"/>
          <ac:spMkLst>
            <pc:docMk/>
            <pc:sldMk cId="2707890546" sldId="2076138210"/>
            <ac:spMk id="10" creationId="{256EAF8F-651C-44B0-992B-031828C75D95}"/>
          </ac:spMkLst>
        </pc:spChg>
        <pc:spChg chg="mod">
          <ac:chgData name="Jean GRANDEMANGE" userId="faf07584-8716-430e-b66d-4ceae2fe8450" providerId="ADAL" clId="{CBEE1DFD-99CA-4628-A50B-18D6938E4304}" dt="2022-11-30T12:03:35.762" v="473" actId="1076"/>
          <ac:spMkLst>
            <pc:docMk/>
            <pc:sldMk cId="2707890546" sldId="2076138210"/>
            <ac:spMk id="11" creationId="{2D0890BB-EDAD-4943-84F7-4EE98BD652CA}"/>
          </ac:spMkLst>
        </pc:spChg>
        <pc:spChg chg="mod">
          <ac:chgData name="Jean GRANDEMANGE" userId="faf07584-8716-430e-b66d-4ceae2fe8450" providerId="ADAL" clId="{CBEE1DFD-99CA-4628-A50B-18D6938E4304}" dt="2022-11-30T12:03:35.762" v="473" actId="1076"/>
          <ac:spMkLst>
            <pc:docMk/>
            <pc:sldMk cId="2707890546" sldId="2076138210"/>
            <ac:spMk id="12" creationId="{4729E8B8-5998-4211-BBE5-26AD3373645F}"/>
          </ac:spMkLst>
        </pc:spChg>
        <pc:spChg chg="mod">
          <ac:chgData name="Jean GRANDEMANGE" userId="faf07584-8716-430e-b66d-4ceae2fe8450" providerId="ADAL" clId="{CBEE1DFD-99CA-4628-A50B-18D6938E4304}" dt="2022-11-30T12:03:35.762" v="473" actId="1076"/>
          <ac:spMkLst>
            <pc:docMk/>
            <pc:sldMk cId="2707890546" sldId="2076138210"/>
            <ac:spMk id="13" creationId="{2CD23CA1-E76F-497D-8AD6-C466204A7A6E}"/>
          </ac:spMkLst>
        </pc:spChg>
        <pc:spChg chg="mod">
          <ac:chgData name="Jean GRANDEMANGE" userId="faf07584-8716-430e-b66d-4ceae2fe8450" providerId="ADAL" clId="{CBEE1DFD-99CA-4628-A50B-18D6938E4304}" dt="2022-11-30T12:03:35.762" v="473" actId="1076"/>
          <ac:spMkLst>
            <pc:docMk/>
            <pc:sldMk cId="2707890546" sldId="2076138210"/>
            <ac:spMk id="14" creationId="{B252E609-E13E-4FB0-AD6A-FA01D9650543}"/>
          </ac:spMkLst>
        </pc:spChg>
        <pc:spChg chg="mod">
          <ac:chgData name="Jean GRANDEMANGE" userId="faf07584-8716-430e-b66d-4ceae2fe8450" providerId="ADAL" clId="{CBEE1DFD-99CA-4628-A50B-18D6938E4304}" dt="2022-11-30T12:03:35.762" v="473" actId="1076"/>
          <ac:spMkLst>
            <pc:docMk/>
            <pc:sldMk cId="2707890546" sldId="2076138210"/>
            <ac:spMk id="15" creationId="{89AA66DA-6F8B-45DF-AD42-0F25C6F46FCB}"/>
          </ac:spMkLst>
        </pc:spChg>
        <pc:spChg chg="add mod">
          <ac:chgData name="Jean GRANDEMANGE" userId="faf07584-8716-430e-b66d-4ceae2fe8450" providerId="ADAL" clId="{CBEE1DFD-99CA-4628-A50B-18D6938E4304}" dt="2022-11-30T12:03:55.543" v="513" actId="242"/>
          <ac:spMkLst>
            <pc:docMk/>
            <pc:sldMk cId="2707890546" sldId="2076138210"/>
            <ac:spMk id="16" creationId="{195AB670-9BC6-0024-5DD1-79758529B47E}"/>
          </ac:spMkLst>
        </pc:spChg>
        <pc:spChg chg="mod">
          <ac:chgData name="Jean GRANDEMANGE" userId="faf07584-8716-430e-b66d-4ceae2fe8450" providerId="ADAL" clId="{CBEE1DFD-99CA-4628-A50B-18D6938E4304}" dt="2022-11-30T12:03:35.762" v="473" actId="1076"/>
          <ac:spMkLst>
            <pc:docMk/>
            <pc:sldMk cId="2707890546" sldId="2076138210"/>
            <ac:spMk id="20" creationId="{F05F7AD3-8C3A-4B8E-9A30-51C692A31D24}"/>
          </ac:spMkLst>
        </pc:spChg>
        <pc:spChg chg="del mod">
          <ac:chgData name="Jean GRANDEMANGE" userId="faf07584-8716-430e-b66d-4ceae2fe8450" providerId="ADAL" clId="{CBEE1DFD-99CA-4628-A50B-18D6938E4304}" dt="2022-11-30T12:04:21.665" v="521"/>
          <ac:spMkLst>
            <pc:docMk/>
            <pc:sldMk cId="2707890546" sldId="2076138210"/>
            <ac:spMk id="21" creationId="{DC289FAD-8053-4D11-B15B-455BBAF46483}"/>
          </ac:spMkLst>
        </pc:spChg>
        <pc:spChg chg="mod">
          <ac:chgData name="Jean GRANDEMANGE" userId="faf07584-8716-430e-b66d-4ceae2fe8450" providerId="ADAL" clId="{CBEE1DFD-99CA-4628-A50B-18D6938E4304}" dt="2022-11-30T12:04:25.363" v="523" actId="404"/>
          <ac:spMkLst>
            <pc:docMk/>
            <pc:sldMk cId="2707890546" sldId="2076138210"/>
            <ac:spMk id="22" creationId="{9D3DA511-ECDB-4A3F-9C15-6013E055ABD6}"/>
          </ac:spMkLst>
        </pc:spChg>
        <pc:spChg chg="mod">
          <ac:chgData name="Jean GRANDEMANGE" userId="faf07584-8716-430e-b66d-4ceae2fe8450" providerId="ADAL" clId="{CBEE1DFD-99CA-4628-A50B-18D6938E4304}" dt="2022-11-30T12:03:35.762" v="473" actId="1076"/>
          <ac:spMkLst>
            <pc:docMk/>
            <pc:sldMk cId="2707890546" sldId="2076138210"/>
            <ac:spMk id="24" creationId="{6727A22B-9575-45AD-B2F2-6A2EE17879B1}"/>
          </ac:spMkLst>
        </pc:spChg>
        <pc:spChg chg="mod">
          <ac:chgData name="Jean GRANDEMANGE" userId="faf07584-8716-430e-b66d-4ceae2fe8450" providerId="ADAL" clId="{CBEE1DFD-99CA-4628-A50B-18D6938E4304}" dt="2022-11-30T12:03:35.762" v="473" actId="1076"/>
          <ac:spMkLst>
            <pc:docMk/>
            <pc:sldMk cId="2707890546" sldId="2076138210"/>
            <ac:spMk id="25" creationId="{E9E7ADAE-0430-4D04-B54D-EE57A8B198E2}"/>
          </ac:spMkLst>
        </pc:spChg>
        <pc:spChg chg="mod">
          <ac:chgData name="Jean GRANDEMANGE" userId="faf07584-8716-430e-b66d-4ceae2fe8450" providerId="ADAL" clId="{CBEE1DFD-99CA-4628-A50B-18D6938E4304}" dt="2022-11-30T12:03:35.762" v="473" actId="1076"/>
          <ac:spMkLst>
            <pc:docMk/>
            <pc:sldMk cId="2707890546" sldId="2076138210"/>
            <ac:spMk id="27" creationId="{495B2F53-5CBD-4954-AE93-C22146D4598C}"/>
          </ac:spMkLst>
        </pc:spChg>
        <pc:spChg chg="mod">
          <ac:chgData name="Jean GRANDEMANGE" userId="faf07584-8716-430e-b66d-4ceae2fe8450" providerId="ADAL" clId="{CBEE1DFD-99CA-4628-A50B-18D6938E4304}" dt="2022-11-30T12:03:35.762" v="473" actId="1076"/>
          <ac:spMkLst>
            <pc:docMk/>
            <pc:sldMk cId="2707890546" sldId="2076138210"/>
            <ac:spMk id="29" creationId="{A0541012-729D-4B46-AFE8-554942136F57}"/>
          </ac:spMkLst>
        </pc:spChg>
      </pc:sldChg>
      <pc:sldChg chg="modSp mod">
        <pc:chgData name="Jean GRANDEMANGE" userId="faf07584-8716-430e-b66d-4ceae2fe8450" providerId="ADAL" clId="{CBEE1DFD-99CA-4628-A50B-18D6938E4304}" dt="2022-12-01T08:50:31.304" v="2026" actId="20577"/>
        <pc:sldMkLst>
          <pc:docMk/>
          <pc:sldMk cId="113270668" sldId="2147469773"/>
        </pc:sldMkLst>
        <pc:spChg chg="mod">
          <ac:chgData name="Jean GRANDEMANGE" userId="faf07584-8716-430e-b66d-4ceae2fe8450" providerId="ADAL" clId="{CBEE1DFD-99CA-4628-A50B-18D6938E4304}" dt="2022-12-01T08:50:31.304" v="2026" actId="20577"/>
          <ac:spMkLst>
            <pc:docMk/>
            <pc:sldMk cId="113270668" sldId="2147469773"/>
            <ac:spMk id="37" creationId="{1F6E131B-023F-455D-9F26-256F9BE18BA1}"/>
          </ac:spMkLst>
        </pc:spChg>
      </pc:sldChg>
      <pc:sldChg chg="modSp mod">
        <pc:chgData name="Jean GRANDEMANGE" userId="faf07584-8716-430e-b66d-4ceae2fe8450" providerId="ADAL" clId="{CBEE1DFD-99CA-4628-A50B-18D6938E4304}" dt="2022-12-01T19:07:40.178" v="2113" actId="20577"/>
        <pc:sldMkLst>
          <pc:docMk/>
          <pc:sldMk cId="1025963086" sldId="2147469774"/>
        </pc:sldMkLst>
        <pc:spChg chg="mod">
          <ac:chgData name="Jean GRANDEMANGE" userId="faf07584-8716-430e-b66d-4ceae2fe8450" providerId="ADAL" clId="{CBEE1DFD-99CA-4628-A50B-18D6938E4304}" dt="2022-12-01T19:07:40.178" v="2113" actId="20577"/>
          <ac:spMkLst>
            <pc:docMk/>
            <pc:sldMk cId="1025963086" sldId="2147469774"/>
            <ac:spMk id="15" creationId="{7380437E-D442-4201-94A7-D1B54DC6F804}"/>
          </ac:spMkLst>
        </pc:spChg>
        <pc:graphicFrameChg chg="modGraphic">
          <ac:chgData name="Jean GRANDEMANGE" userId="faf07584-8716-430e-b66d-4ceae2fe8450" providerId="ADAL" clId="{CBEE1DFD-99CA-4628-A50B-18D6938E4304}" dt="2022-12-01T08:50:57.413" v="2027" actId="20577"/>
          <ac:graphicFrameMkLst>
            <pc:docMk/>
            <pc:sldMk cId="1025963086" sldId="2147469774"/>
            <ac:graphicFrameMk id="14" creationId="{CFE43C19-6150-4002-867B-E9B823EE844F}"/>
          </ac:graphicFrameMkLst>
        </pc:graphicFrameChg>
      </pc:sldChg>
      <pc:sldChg chg="modSp mod">
        <pc:chgData name="Jean GRANDEMANGE" userId="faf07584-8716-430e-b66d-4ceae2fe8450" providerId="ADAL" clId="{CBEE1DFD-99CA-4628-A50B-18D6938E4304}" dt="2022-12-01T19:07:56.878" v="2122" actId="20577"/>
        <pc:sldMkLst>
          <pc:docMk/>
          <pc:sldMk cId="4009460775" sldId="2147469777"/>
        </pc:sldMkLst>
        <pc:spChg chg="mod">
          <ac:chgData name="Jean GRANDEMANGE" userId="faf07584-8716-430e-b66d-4ceae2fe8450" providerId="ADAL" clId="{CBEE1DFD-99CA-4628-A50B-18D6938E4304}" dt="2022-12-01T19:07:56.878" v="2122" actId="20577"/>
          <ac:spMkLst>
            <pc:docMk/>
            <pc:sldMk cId="4009460775" sldId="2147469777"/>
            <ac:spMk id="9" creationId="{4722D771-55F0-411B-AF1A-BDAB265B2A21}"/>
          </ac:spMkLst>
        </pc:spChg>
      </pc:sldChg>
      <pc:sldChg chg="delSp mod">
        <pc:chgData name="Jean GRANDEMANGE" userId="faf07584-8716-430e-b66d-4ceae2fe8450" providerId="ADAL" clId="{CBEE1DFD-99CA-4628-A50B-18D6938E4304}" dt="2022-11-30T17:22:41.941" v="925" actId="478"/>
        <pc:sldMkLst>
          <pc:docMk/>
          <pc:sldMk cId="821738576" sldId="2147469786"/>
        </pc:sldMkLst>
        <pc:spChg chg="del">
          <ac:chgData name="Jean GRANDEMANGE" userId="faf07584-8716-430e-b66d-4ceae2fe8450" providerId="ADAL" clId="{CBEE1DFD-99CA-4628-A50B-18D6938E4304}" dt="2022-11-30T17:22:41.941" v="925" actId="478"/>
          <ac:spMkLst>
            <pc:docMk/>
            <pc:sldMk cId="821738576" sldId="2147469786"/>
            <ac:spMk id="2" creationId="{9162169F-2204-B8F6-86DC-C7E55980CDEA}"/>
          </ac:spMkLst>
        </pc:spChg>
      </pc:sldChg>
      <pc:sldChg chg="modSp mod">
        <pc:chgData name="Jean GRANDEMANGE" userId="faf07584-8716-430e-b66d-4ceae2fe8450" providerId="ADAL" clId="{CBEE1DFD-99CA-4628-A50B-18D6938E4304}" dt="2022-12-01T12:42:36.674" v="2094" actId="20577"/>
        <pc:sldMkLst>
          <pc:docMk/>
          <pc:sldMk cId="2540188229" sldId="2147469802"/>
        </pc:sldMkLst>
        <pc:spChg chg="mod">
          <ac:chgData name="Jean GRANDEMANGE" userId="faf07584-8716-430e-b66d-4ceae2fe8450" providerId="ADAL" clId="{CBEE1DFD-99CA-4628-A50B-18D6938E4304}" dt="2022-12-01T12:38:37.587" v="2034" actId="20577"/>
          <ac:spMkLst>
            <pc:docMk/>
            <pc:sldMk cId="2540188229" sldId="2147469802"/>
            <ac:spMk id="3" creationId="{30BA9AC5-F339-4DAA-A784-D309B75F50DB}"/>
          </ac:spMkLst>
        </pc:spChg>
        <pc:spChg chg="mod">
          <ac:chgData name="Jean GRANDEMANGE" userId="faf07584-8716-430e-b66d-4ceae2fe8450" providerId="ADAL" clId="{CBEE1DFD-99CA-4628-A50B-18D6938E4304}" dt="2022-12-01T12:42:05.926" v="2081" actId="403"/>
          <ac:spMkLst>
            <pc:docMk/>
            <pc:sldMk cId="2540188229" sldId="2147469802"/>
            <ac:spMk id="12" creationId="{B3ACA60F-769A-43E5-B275-30B91C8443EA}"/>
          </ac:spMkLst>
        </pc:spChg>
        <pc:spChg chg="mod">
          <ac:chgData name="Jean GRANDEMANGE" userId="faf07584-8716-430e-b66d-4ceae2fe8450" providerId="ADAL" clId="{CBEE1DFD-99CA-4628-A50B-18D6938E4304}" dt="2022-12-01T12:39:04.238" v="2045" actId="207"/>
          <ac:spMkLst>
            <pc:docMk/>
            <pc:sldMk cId="2540188229" sldId="2147469802"/>
            <ac:spMk id="23" creationId="{477CE869-1A01-432B-9761-9FB9C01E390C}"/>
          </ac:spMkLst>
        </pc:spChg>
        <pc:spChg chg="mod">
          <ac:chgData name="Jean GRANDEMANGE" userId="faf07584-8716-430e-b66d-4ceae2fe8450" providerId="ADAL" clId="{CBEE1DFD-99CA-4628-A50B-18D6938E4304}" dt="2022-12-01T12:39:04.238" v="2045" actId="207"/>
          <ac:spMkLst>
            <pc:docMk/>
            <pc:sldMk cId="2540188229" sldId="2147469802"/>
            <ac:spMk id="27" creationId="{642FD0AA-E6FE-416E-BC1C-783754C4FAEC}"/>
          </ac:spMkLst>
        </pc:spChg>
        <pc:spChg chg="mod">
          <ac:chgData name="Jean GRANDEMANGE" userId="faf07584-8716-430e-b66d-4ceae2fe8450" providerId="ADAL" clId="{CBEE1DFD-99CA-4628-A50B-18D6938E4304}" dt="2022-12-01T12:42:25.138" v="2092" actId="20577"/>
          <ac:spMkLst>
            <pc:docMk/>
            <pc:sldMk cId="2540188229" sldId="2147469802"/>
            <ac:spMk id="31" creationId="{ED15B70B-6A6D-4AF1-A556-8F7F4196A78E}"/>
          </ac:spMkLst>
        </pc:spChg>
        <pc:spChg chg="mod">
          <ac:chgData name="Jean GRANDEMANGE" userId="faf07584-8716-430e-b66d-4ceae2fe8450" providerId="ADAL" clId="{CBEE1DFD-99CA-4628-A50B-18D6938E4304}" dt="2022-12-01T12:42:05.926" v="2081" actId="403"/>
          <ac:spMkLst>
            <pc:docMk/>
            <pc:sldMk cId="2540188229" sldId="2147469802"/>
            <ac:spMk id="42" creationId="{79913F19-FC78-4096-8483-7090CCE96FC5}"/>
          </ac:spMkLst>
        </pc:spChg>
        <pc:spChg chg="mod">
          <ac:chgData name="Jean GRANDEMANGE" userId="faf07584-8716-430e-b66d-4ceae2fe8450" providerId="ADAL" clId="{CBEE1DFD-99CA-4628-A50B-18D6938E4304}" dt="2022-12-01T12:38:58.395" v="2044" actId="14100"/>
          <ac:spMkLst>
            <pc:docMk/>
            <pc:sldMk cId="2540188229" sldId="2147469802"/>
            <ac:spMk id="44" creationId="{31505B93-018D-4BEA-AFC9-64EF852EAF81}"/>
          </ac:spMkLst>
        </pc:spChg>
        <pc:spChg chg="mod">
          <ac:chgData name="Jean GRANDEMANGE" userId="faf07584-8716-430e-b66d-4ceae2fe8450" providerId="ADAL" clId="{CBEE1DFD-99CA-4628-A50B-18D6938E4304}" dt="2022-12-01T12:42:05.926" v="2081" actId="403"/>
          <ac:spMkLst>
            <pc:docMk/>
            <pc:sldMk cId="2540188229" sldId="2147469802"/>
            <ac:spMk id="51" creationId="{5359272C-D9A2-42F6-AD4E-166081E8DB63}"/>
          </ac:spMkLst>
        </pc:spChg>
        <pc:spChg chg="mod">
          <ac:chgData name="Jean GRANDEMANGE" userId="faf07584-8716-430e-b66d-4ceae2fe8450" providerId="ADAL" clId="{CBEE1DFD-99CA-4628-A50B-18D6938E4304}" dt="2022-12-01T12:42:36.674" v="2094" actId="20577"/>
          <ac:spMkLst>
            <pc:docMk/>
            <pc:sldMk cId="2540188229" sldId="2147469802"/>
            <ac:spMk id="52" creationId="{F8977E9A-A487-43C8-B3E5-E09DD144464D}"/>
          </ac:spMkLst>
        </pc:spChg>
        <pc:spChg chg="mod">
          <ac:chgData name="Jean GRANDEMANGE" userId="faf07584-8716-430e-b66d-4ceae2fe8450" providerId="ADAL" clId="{CBEE1DFD-99CA-4628-A50B-18D6938E4304}" dt="2022-12-01T12:42:05.926" v="2081" actId="403"/>
          <ac:spMkLst>
            <pc:docMk/>
            <pc:sldMk cId="2540188229" sldId="2147469802"/>
            <ac:spMk id="54" creationId="{90E86731-C408-4EB5-BA6E-72D06A37D9AF}"/>
          </ac:spMkLst>
        </pc:spChg>
        <pc:spChg chg="mod">
          <ac:chgData name="Jean GRANDEMANGE" userId="faf07584-8716-430e-b66d-4ceae2fe8450" providerId="ADAL" clId="{CBEE1DFD-99CA-4628-A50B-18D6938E4304}" dt="2022-12-01T12:42:05.926" v="2081" actId="403"/>
          <ac:spMkLst>
            <pc:docMk/>
            <pc:sldMk cId="2540188229" sldId="2147469802"/>
            <ac:spMk id="55" creationId="{F490D901-EE7D-408B-9DC6-AAA328D8AACA}"/>
          </ac:spMkLst>
        </pc:spChg>
        <pc:spChg chg="mod">
          <ac:chgData name="Jean GRANDEMANGE" userId="faf07584-8716-430e-b66d-4ceae2fe8450" providerId="ADAL" clId="{CBEE1DFD-99CA-4628-A50B-18D6938E4304}" dt="2022-12-01T12:42:05.926" v="2081" actId="403"/>
          <ac:spMkLst>
            <pc:docMk/>
            <pc:sldMk cId="2540188229" sldId="2147469802"/>
            <ac:spMk id="57" creationId="{50A77F80-CC55-4330-B3FF-D75A2E9B2A4B}"/>
          </ac:spMkLst>
        </pc:spChg>
      </pc:sldChg>
      <pc:sldMasterChg chg="delSp mod delSldLayout modSldLayout">
        <pc:chgData name="Jean GRANDEMANGE" userId="faf07584-8716-430e-b66d-4ceae2fe8450" providerId="ADAL" clId="{CBEE1DFD-99CA-4628-A50B-18D6938E4304}" dt="2022-12-01T19:05:42.328" v="2107" actId="478"/>
        <pc:sldMasterMkLst>
          <pc:docMk/>
          <pc:sldMasterMk cId="0" sldId="2147483648"/>
        </pc:sldMasterMkLst>
        <pc:spChg chg="del">
          <ac:chgData name="Jean GRANDEMANGE" userId="faf07584-8716-430e-b66d-4ceae2fe8450" providerId="ADAL" clId="{CBEE1DFD-99CA-4628-A50B-18D6938E4304}" dt="2022-12-01T19:05:42.328" v="2107" actId="478"/>
          <ac:spMkLst>
            <pc:docMk/>
            <pc:sldMasterMk cId="0" sldId="2147483648"/>
            <ac:spMk id="2" creationId="{039DA0FA-971A-4CC9-BC93-CE5405F89364}"/>
          </ac:spMkLst>
        </pc:spChg>
        <pc:spChg chg="del">
          <ac:chgData name="Jean GRANDEMANGE" userId="faf07584-8716-430e-b66d-4ceae2fe8450" providerId="ADAL" clId="{CBEE1DFD-99CA-4628-A50B-18D6938E4304}" dt="2022-11-30T12:05:27.206" v="534" actId="478"/>
          <ac:spMkLst>
            <pc:docMk/>
            <pc:sldMasterMk cId="0" sldId="2147483648"/>
            <ac:spMk id="2" creationId="{D08E924D-0EBB-49F2-904C-AA03867053E0}"/>
          </ac:spMkLst>
        </pc:spChg>
        <pc:sldLayoutChg chg="modSp mod">
          <pc:chgData name="Jean GRANDEMANGE" userId="faf07584-8716-430e-b66d-4ceae2fe8450" providerId="ADAL" clId="{CBEE1DFD-99CA-4628-A50B-18D6938E4304}" dt="2022-12-01T08:41:14.725" v="1973" actId="20577"/>
          <pc:sldLayoutMkLst>
            <pc:docMk/>
            <pc:sldMasterMk cId="0" sldId="2147483648"/>
            <pc:sldLayoutMk cId="3332995177" sldId="2147483711"/>
          </pc:sldLayoutMkLst>
          <pc:spChg chg="mod">
            <ac:chgData name="Jean GRANDEMANGE" userId="faf07584-8716-430e-b66d-4ceae2fe8450" providerId="ADAL" clId="{CBEE1DFD-99CA-4628-A50B-18D6938E4304}" dt="2022-12-01T08:41:14.725" v="1973" actId="20577"/>
            <ac:spMkLst>
              <pc:docMk/>
              <pc:sldMasterMk cId="0" sldId="2147483648"/>
              <pc:sldLayoutMk cId="3332995177" sldId="2147483711"/>
              <ac:spMk id="10" creationId="{3C12B4A1-2342-BB49-89C9-6BAE61C2CD71}"/>
            </ac:spMkLst>
          </pc:spChg>
        </pc:sldLayoutChg>
        <pc:sldLayoutChg chg="modSp mod">
          <pc:chgData name="Jean GRANDEMANGE" userId="faf07584-8716-430e-b66d-4ceae2fe8450" providerId="ADAL" clId="{CBEE1DFD-99CA-4628-A50B-18D6938E4304}" dt="2022-11-30T12:05:15.130" v="533" actId="20577"/>
          <pc:sldLayoutMkLst>
            <pc:docMk/>
            <pc:sldMasterMk cId="0" sldId="2147483648"/>
            <pc:sldLayoutMk cId="446159417" sldId="2147483712"/>
          </pc:sldLayoutMkLst>
          <pc:spChg chg="mod">
            <ac:chgData name="Jean GRANDEMANGE" userId="faf07584-8716-430e-b66d-4ceae2fe8450" providerId="ADAL" clId="{CBEE1DFD-99CA-4628-A50B-18D6938E4304}" dt="2022-11-30T12:05:15.130" v="533" actId="20577"/>
            <ac:spMkLst>
              <pc:docMk/>
              <pc:sldMasterMk cId="0" sldId="2147483648"/>
              <pc:sldLayoutMk cId="446159417" sldId="2147483712"/>
              <ac:spMk id="13" creationId="{97CC8129-0E8A-41D7-A1F9-43EB1E07CAC0}"/>
            </ac:spMkLst>
          </pc:spChg>
        </pc:sldLayoutChg>
        <pc:sldLayoutChg chg="del">
          <pc:chgData name="Jean GRANDEMANGE" userId="faf07584-8716-430e-b66d-4ceae2fe8450" providerId="ADAL" clId="{CBEE1DFD-99CA-4628-A50B-18D6938E4304}" dt="2022-11-30T13:06:08.836" v="835" actId="47"/>
          <pc:sldLayoutMkLst>
            <pc:docMk/>
            <pc:sldMasterMk cId="0" sldId="2147483648"/>
            <pc:sldLayoutMk cId="4077145080" sldId="2147483831"/>
          </pc:sldLayoutMkLst>
        </pc:sldLayoutChg>
        <pc:sldLayoutChg chg="del">
          <pc:chgData name="Jean GRANDEMANGE" userId="faf07584-8716-430e-b66d-4ceae2fe8450" providerId="ADAL" clId="{CBEE1DFD-99CA-4628-A50B-18D6938E4304}" dt="2022-11-30T13:06:04.577" v="833" actId="47"/>
          <pc:sldLayoutMkLst>
            <pc:docMk/>
            <pc:sldMasterMk cId="0" sldId="2147483648"/>
            <pc:sldLayoutMk cId="1536402534" sldId="2147483832"/>
          </pc:sldLayoutMkLst>
        </pc:sldLayoutChg>
      </pc:sldMasterChg>
      <pc:sldMasterChg chg="delSp mod">
        <pc:chgData name="Jean GRANDEMANGE" userId="faf07584-8716-430e-b66d-4ceae2fe8450" providerId="ADAL" clId="{CBEE1DFD-99CA-4628-A50B-18D6938E4304}" dt="2022-12-01T19:05:51.859" v="2108" actId="478"/>
        <pc:sldMasterMkLst>
          <pc:docMk/>
          <pc:sldMasterMk cId="4160485293" sldId="2147483832"/>
        </pc:sldMasterMkLst>
        <pc:spChg chg="del">
          <ac:chgData name="Jean GRANDEMANGE" userId="faf07584-8716-430e-b66d-4ceae2fe8450" providerId="ADAL" clId="{CBEE1DFD-99CA-4628-A50B-18D6938E4304}" dt="2022-12-01T19:05:51.859" v="2108" actId="478"/>
          <ac:spMkLst>
            <pc:docMk/>
            <pc:sldMasterMk cId="4160485293" sldId="2147483832"/>
            <ac:spMk id="3" creationId="{AC90F010-4F1B-40D5-B105-A80E243DE5FF}"/>
          </ac:spMkLst>
        </pc:spChg>
      </pc:sldMasterChg>
      <pc:sldMasterChg chg="del delSldLayout">
        <pc:chgData name="Jean GRANDEMANGE" userId="faf07584-8716-430e-b66d-4ceae2fe8450" providerId="ADAL" clId="{CBEE1DFD-99CA-4628-A50B-18D6938E4304}" dt="2022-12-01T19:05:40.068" v="2106" actId="2696"/>
        <pc:sldMasterMkLst>
          <pc:docMk/>
          <pc:sldMasterMk cId="2538154825" sldId="2147483847"/>
        </pc:sldMasterMkLst>
        <pc:sldLayoutChg chg="del">
          <pc:chgData name="Jean GRANDEMANGE" userId="faf07584-8716-430e-b66d-4ceae2fe8450" providerId="ADAL" clId="{CBEE1DFD-99CA-4628-A50B-18D6938E4304}" dt="2022-12-01T19:05:40.028" v="2095" actId="2696"/>
          <pc:sldLayoutMkLst>
            <pc:docMk/>
            <pc:sldMasterMk cId="2538154825" sldId="2147483847"/>
            <pc:sldLayoutMk cId="917742688" sldId="2147483848"/>
          </pc:sldLayoutMkLst>
        </pc:sldLayoutChg>
        <pc:sldLayoutChg chg="del">
          <pc:chgData name="Jean GRANDEMANGE" userId="faf07584-8716-430e-b66d-4ceae2fe8450" providerId="ADAL" clId="{CBEE1DFD-99CA-4628-A50B-18D6938E4304}" dt="2022-12-01T19:05:40.036" v="2096" actId="2696"/>
          <pc:sldLayoutMkLst>
            <pc:docMk/>
            <pc:sldMasterMk cId="2538154825" sldId="2147483847"/>
            <pc:sldLayoutMk cId="2742360020" sldId="2147483849"/>
          </pc:sldLayoutMkLst>
        </pc:sldLayoutChg>
        <pc:sldLayoutChg chg="del">
          <pc:chgData name="Jean GRANDEMANGE" userId="faf07584-8716-430e-b66d-4ceae2fe8450" providerId="ADAL" clId="{CBEE1DFD-99CA-4628-A50B-18D6938E4304}" dt="2022-12-01T19:05:40.044" v="2097" actId="2696"/>
          <pc:sldLayoutMkLst>
            <pc:docMk/>
            <pc:sldMasterMk cId="2538154825" sldId="2147483847"/>
            <pc:sldLayoutMk cId="3108249710" sldId="2147483850"/>
          </pc:sldLayoutMkLst>
        </pc:sldLayoutChg>
        <pc:sldLayoutChg chg="del">
          <pc:chgData name="Jean GRANDEMANGE" userId="faf07584-8716-430e-b66d-4ceae2fe8450" providerId="ADAL" clId="{CBEE1DFD-99CA-4628-A50B-18D6938E4304}" dt="2022-12-01T19:05:40.044" v="2098" actId="2696"/>
          <pc:sldLayoutMkLst>
            <pc:docMk/>
            <pc:sldMasterMk cId="2538154825" sldId="2147483847"/>
            <pc:sldLayoutMk cId="3998445543" sldId="2147483851"/>
          </pc:sldLayoutMkLst>
        </pc:sldLayoutChg>
        <pc:sldLayoutChg chg="del">
          <pc:chgData name="Jean GRANDEMANGE" userId="faf07584-8716-430e-b66d-4ceae2fe8450" providerId="ADAL" clId="{CBEE1DFD-99CA-4628-A50B-18D6938E4304}" dt="2022-12-01T19:05:40.044" v="2099" actId="2696"/>
          <pc:sldLayoutMkLst>
            <pc:docMk/>
            <pc:sldMasterMk cId="2538154825" sldId="2147483847"/>
            <pc:sldLayoutMk cId="158202831" sldId="2147483852"/>
          </pc:sldLayoutMkLst>
        </pc:sldLayoutChg>
        <pc:sldLayoutChg chg="del">
          <pc:chgData name="Jean GRANDEMANGE" userId="faf07584-8716-430e-b66d-4ceae2fe8450" providerId="ADAL" clId="{CBEE1DFD-99CA-4628-A50B-18D6938E4304}" dt="2022-12-01T19:05:40.052" v="2100" actId="2696"/>
          <pc:sldLayoutMkLst>
            <pc:docMk/>
            <pc:sldMasterMk cId="2538154825" sldId="2147483847"/>
            <pc:sldLayoutMk cId="2601864829" sldId="2147483853"/>
          </pc:sldLayoutMkLst>
        </pc:sldLayoutChg>
        <pc:sldLayoutChg chg="del">
          <pc:chgData name="Jean GRANDEMANGE" userId="faf07584-8716-430e-b66d-4ceae2fe8450" providerId="ADAL" clId="{CBEE1DFD-99CA-4628-A50B-18D6938E4304}" dt="2022-12-01T19:05:40.052" v="2101" actId="2696"/>
          <pc:sldLayoutMkLst>
            <pc:docMk/>
            <pc:sldMasterMk cId="2538154825" sldId="2147483847"/>
            <pc:sldLayoutMk cId="3894462918" sldId="2147483854"/>
          </pc:sldLayoutMkLst>
        </pc:sldLayoutChg>
        <pc:sldLayoutChg chg="del">
          <pc:chgData name="Jean GRANDEMANGE" userId="faf07584-8716-430e-b66d-4ceae2fe8450" providerId="ADAL" clId="{CBEE1DFD-99CA-4628-A50B-18D6938E4304}" dt="2022-12-01T19:05:40.052" v="2102" actId="2696"/>
          <pc:sldLayoutMkLst>
            <pc:docMk/>
            <pc:sldMasterMk cId="2538154825" sldId="2147483847"/>
            <pc:sldLayoutMk cId="2741384911" sldId="2147483855"/>
          </pc:sldLayoutMkLst>
        </pc:sldLayoutChg>
        <pc:sldLayoutChg chg="del">
          <pc:chgData name="Jean GRANDEMANGE" userId="faf07584-8716-430e-b66d-4ceae2fe8450" providerId="ADAL" clId="{CBEE1DFD-99CA-4628-A50B-18D6938E4304}" dt="2022-12-01T19:05:40.052" v="2103" actId="2696"/>
          <pc:sldLayoutMkLst>
            <pc:docMk/>
            <pc:sldMasterMk cId="2538154825" sldId="2147483847"/>
            <pc:sldLayoutMk cId="867544758" sldId="2147483856"/>
          </pc:sldLayoutMkLst>
        </pc:sldLayoutChg>
        <pc:sldLayoutChg chg="del">
          <pc:chgData name="Jean GRANDEMANGE" userId="faf07584-8716-430e-b66d-4ceae2fe8450" providerId="ADAL" clId="{CBEE1DFD-99CA-4628-A50B-18D6938E4304}" dt="2022-12-01T19:05:40.060" v="2104" actId="2696"/>
          <pc:sldLayoutMkLst>
            <pc:docMk/>
            <pc:sldMasterMk cId="2538154825" sldId="2147483847"/>
            <pc:sldLayoutMk cId="2368976306" sldId="2147483857"/>
          </pc:sldLayoutMkLst>
        </pc:sldLayoutChg>
        <pc:sldLayoutChg chg="del">
          <pc:chgData name="Jean GRANDEMANGE" userId="faf07584-8716-430e-b66d-4ceae2fe8450" providerId="ADAL" clId="{CBEE1DFD-99CA-4628-A50B-18D6938E4304}" dt="2022-12-01T19:05:40.060" v="2105" actId="2696"/>
          <pc:sldLayoutMkLst>
            <pc:docMk/>
            <pc:sldMasterMk cId="2538154825" sldId="2147483847"/>
            <pc:sldLayoutMk cId="2592525023" sldId="2147483858"/>
          </pc:sldLayoutMkLst>
        </pc:sldLayoutChg>
      </pc:sldMasterChg>
    </pc:docChg>
  </pc:docChgLst>
  <pc:docChgLst>
    <pc:chgData name="Jean-Luc" userId="dd9a3b97-ebaf-4ebf-9760-6c6f6d800026" providerId="ADAL" clId="{B1B053CB-FB84-42FB-9616-94D0DCC1CA28}"/>
    <pc:docChg chg="undo custSel addSld delSld modSld sldOrd modSection">
      <pc:chgData name="Jean-Luc" userId="dd9a3b97-ebaf-4ebf-9760-6c6f6d800026" providerId="ADAL" clId="{B1B053CB-FB84-42FB-9616-94D0DCC1CA28}" dt="2023-03-02T16:29:46.683" v="2128" actId="1076"/>
      <pc:docMkLst>
        <pc:docMk/>
      </pc:docMkLst>
      <pc:sldChg chg="addSp delSp modSp mod">
        <pc:chgData name="Jean-Luc" userId="dd9a3b97-ebaf-4ebf-9760-6c6f6d800026" providerId="ADAL" clId="{B1B053CB-FB84-42FB-9616-94D0DCC1CA28}" dt="2023-03-02T16:09:39.547" v="1952"/>
        <pc:sldMkLst>
          <pc:docMk/>
          <pc:sldMk cId="3465486402" sldId="2147469770"/>
        </pc:sldMkLst>
        <pc:spChg chg="mod ord">
          <ac:chgData name="Jean-Luc" userId="dd9a3b97-ebaf-4ebf-9760-6c6f6d800026" providerId="ADAL" clId="{B1B053CB-FB84-42FB-9616-94D0DCC1CA28}" dt="2023-03-02T16:06:28.888" v="1942" actId="167"/>
          <ac:spMkLst>
            <pc:docMk/>
            <pc:sldMk cId="3465486402" sldId="2147469770"/>
            <ac:spMk id="4" creationId="{5C515F64-DD63-74A6-9375-8F338D9F2CDC}"/>
          </ac:spMkLst>
        </pc:spChg>
        <pc:spChg chg="mod">
          <ac:chgData name="Jean-Luc" userId="dd9a3b97-ebaf-4ebf-9760-6c6f6d800026" providerId="ADAL" clId="{B1B053CB-FB84-42FB-9616-94D0DCC1CA28}" dt="2023-03-02T16:07:01.578" v="1951" actId="20577"/>
          <ac:spMkLst>
            <pc:docMk/>
            <pc:sldMk cId="3465486402" sldId="2147469770"/>
            <ac:spMk id="27" creationId="{EEFDF46D-3C64-4220-9F1B-60B77EBA99E4}"/>
          </ac:spMkLst>
        </pc:spChg>
        <pc:spChg chg="add del mod">
          <ac:chgData name="Jean-Luc" userId="dd9a3b97-ebaf-4ebf-9760-6c6f6d800026" providerId="ADAL" clId="{B1B053CB-FB84-42FB-9616-94D0DCC1CA28}" dt="2023-03-02T16:04:07.467" v="1938" actId="478"/>
          <ac:spMkLst>
            <pc:docMk/>
            <pc:sldMk cId="3465486402" sldId="2147469770"/>
            <ac:spMk id="33" creationId="{F1FD1747-786E-4A19-8815-B7071DB16AB6}"/>
          </ac:spMkLst>
        </pc:spChg>
        <pc:spChg chg="add mod">
          <ac:chgData name="Jean-Luc" userId="dd9a3b97-ebaf-4ebf-9760-6c6f6d800026" providerId="ADAL" clId="{B1B053CB-FB84-42FB-9616-94D0DCC1CA28}" dt="2023-03-02T16:09:39.547" v="1952"/>
          <ac:spMkLst>
            <pc:docMk/>
            <pc:sldMk cId="3465486402" sldId="2147469770"/>
            <ac:spMk id="34" creationId="{4E2C7223-2FA8-48A1-8973-00C0537BDBEE}"/>
          </ac:spMkLst>
        </pc:spChg>
      </pc:sldChg>
      <pc:sldChg chg="addSp delSp modSp mod">
        <pc:chgData name="Jean-Luc" userId="dd9a3b97-ebaf-4ebf-9760-6c6f6d800026" providerId="ADAL" clId="{B1B053CB-FB84-42FB-9616-94D0DCC1CA28}" dt="2023-02-28T18:06:58.224" v="1558" actId="179"/>
        <pc:sldMkLst>
          <pc:docMk/>
          <pc:sldMk cId="1985396647" sldId="2147469798"/>
        </pc:sldMkLst>
        <pc:spChg chg="del mod">
          <ac:chgData name="Jean-Luc" userId="dd9a3b97-ebaf-4ebf-9760-6c6f6d800026" providerId="ADAL" clId="{B1B053CB-FB84-42FB-9616-94D0DCC1CA28}" dt="2023-02-28T17:59:47.126" v="1496" actId="478"/>
          <ac:spMkLst>
            <pc:docMk/>
            <pc:sldMk cId="1985396647" sldId="2147469798"/>
            <ac:spMk id="3" creationId="{B7B8BDEB-56F6-F5C3-44DC-5AB868A6F40A}"/>
          </ac:spMkLst>
        </pc:spChg>
        <pc:spChg chg="mod">
          <ac:chgData name="Jean-Luc" userId="dd9a3b97-ebaf-4ebf-9760-6c6f6d800026" providerId="ADAL" clId="{B1B053CB-FB84-42FB-9616-94D0DCC1CA28}" dt="2023-02-28T17:32:16.950" v="1349" actId="1076"/>
          <ac:spMkLst>
            <pc:docMk/>
            <pc:sldMk cId="1985396647" sldId="2147469798"/>
            <ac:spMk id="4" creationId="{B38E534A-4BFA-B041-C1BB-3E2E2E141A43}"/>
          </ac:spMkLst>
        </pc:spChg>
        <pc:spChg chg="add mod">
          <ac:chgData name="Jean-Luc" userId="dd9a3b97-ebaf-4ebf-9760-6c6f6d800026" providerId="ADAL" clId="{B1B053CB-FB84-42FB-9616-94D0DCC1CA28}" dt="2023-02-28T18:00:03.633" v="1499" actId="1076"/>
          <ac:spMkLst>
            <pc:docMk/>
            <pc:sldMk cId="1985396647" sldId="2147469798"/>
            <ac:spMk id="5" creationId="{7F0A2287-1975-4B25-9676-F47A069D358D}"/>
          </ac:spMkLst>
        </pc:spChg>
        <pc:spChg chg="mod">
          <ac:chgData name="Jean-Luc" userId="dd9a3b97-ebaf-4ebf-9760-6c6f6d800026" providerId="ADAL" clId="{B1B053CB-FB84-42FB-9616-94D0DCC1CA28}" dt="2023-02-28T18:06:58.224" v="1558" actId="179"/>
          <ac:spMkLst>
            <pc:docMk/>
            <pc:sldMk cId="1985396647" sldId="2147469798"/>
            <ac:spMk id="6" creationId="{EF35A969-8E72-F9E2-E4DF-353E6BF5883F}"/>
          </ac:spMkLst>
        </pc:spChg>
        <pc:spChg chg="add del mod">
          <ac:chgData name="Jean-Luc" userId="dd9a3b97-ebaf-4ebf-9760-6c6f6d800026" providerId="ADAL" clId="{B1B053CB-FB84-42FB-9616-94D0DCC1CA28}" dt="2023-02-28T17:59:50.436" v="1497" actId="478"/>
          <ac:spMkLst>
            <pc:docMk/>
            <pc:sldMk cId="1985396647" sldId="2147469798"/>
            <ac:spMk id="7" creationId="{E2170F4A-5B0E-41A9-8DD2-A7E83CB72096}"/>
          </ac:spMkLst>
        </pc:spChg>
        <pc:spChg chg="add mod">
          <ac:chgData name="Jean-Luc" userId="dd9a3b97-ebaf-4ebf-9760-6c6f6d800026" providerId="ADAL" clId="{B1B053CB-FB84-42FB-9616-94D0DCC1CA28}" dt="2023-02-28T17:59:58.787" v="1498"/>
          <ac:spMkLst>
            <pc:docMk/>
            <pc:sldMk cId="1985396647" sldId="2147469798"/>
            <ac:spMk id="8" creationId="{2B25A593-5723-40DD-A4C9-99D9954E3C2C}"/>
          </ac:spMkLst>
        </pc:spChg>
      </pc:sldChg>
      <pc:sldChg chg="addSp modSp mod">
        <pc:chgData name="Jean-Luc" userId="dd9a3b97-ebaf-4ebf-9760-6c6f6d800026" providerId="ADAL" clId="{B1B053CB-FB84-42FB-9616-94D0DCC1CA28}" dt="2023-02-28T17:56:18.012" v="1465" actId="14100"/>
        <pc:sldMkLst>
          <pc:docMk/>
          <pc:sldMk cId="2540188229" sldId="2147469802"/>
        </pc:sldMkLst>
        <pc:spChg chg="add mod">
          <ac:chgData name="Jean-Luc" userId="dd9a3b97-ebaf-4ebf-9760-6c6f6d800026" providerId="ADAL" clId="{B1B053CB-FB84-42FB-9616-94D0DCC1CA28}" dt="2023-02-28T17:56:18.012" v="1465" actId="14100"/>
          <ac:spMkLst>
            <pc:docMk/>
            <pc:sldMk cId="2540188229" sldId="2147469802"/>
            <ac:spMk id="11" creationId="{E95C396E-F0D7-4AA2-A862-2CCF99F24D9F}"/>
          </ac:spMkLst>
        </pc:spChg>
      </pc:sldChg>
      <pc:sldChg chg="delSp modSp mod">
        <pc:chgData name="Jean-Luc" userId="dd9a3b97-ebaf-4ebf-9760-6c6f6d800026" providerId="ADAL" clId="{B1B053CB-FB84-42FB-9616-94D0DCC1CA28}" dt="2023-03-02T16:18:01.695" v="1953" actId="20577"/>
        <pc:sldMkLst>
          <pc:docMk/>
          <pc:sldMk cId="41662455" sldId="2147469804"/>
        </pc:sldMkLst>
        <pc:spChg chg="mod">
          <ac:chgData name="Jean-Luc" userId="dd9a3b97-ebaf-4ebf-9760-6c6f6d800026" providerId="ADAL" clId="{B1B053CB-FB84-42FB-9616-94D0DCC1CA28}" dt="2023-03-02T16:18:01.695" v="1953" actId="20577"/>
          <ac:spMkLst>
            <pc:docMk/>
            <pc:sldMk cId="41662455" sldId="2147469804"/>
            <ac:spMk id="3" creationId="{49E04204-AE45-4668-AAC4-25EFEE7BD311}"/>
          </ac:spMkLst>
        </pc:spChg>
        <pc:spChg chg="mod">
          <ac:chgData name="Jean-Luc" userId="dd9a3b97-ebaf-4ebf-9760-6c6f6d800026" providerId="ADAL" clId="{B1B053CB-FB84-42FB-9616-94D0DCC1CA28}" dt="2023-02-28T18:00:25.995" v="1502" actId="1076"/>
          <ac:spMkLst>
            <pc:docMk/>
            <pc:sldMk cId="41662455" sldId="2147469804"/>
            <ac:spMk id="7" creationId="{94BB8232-AD7E-462F-BE56-241969B26E05}"/>
          </ac:spMkLst>
        </pc:spChg>
        <pc:spChg chg="mod">
          <ac:chgData name="Jean-Luc" userId="dd9a3b97-ebaf-4ebf-9760-6c6f6d800026" providerId="ADAL" clId="{B1B053CB-FB84-42FB-9616-94D0DCC1CA28}" dt="2023-02-28T18:11:47.553" v="1629" actId="20577"/>
          <ac:spMkLst>
            <pc:docMk/>
            <pc:sldMk cId="41662455" sldId="2147469804"/>
            <ac:spMk id="8" creationId="{1DA7F924-50C4-433E-8798-9A79950F0BFC}"/>
          </ac:spMkLst>
        </pc:spChg>
        <pc:spChg chg="mod">
          <ac:chgData name="Jean-Luc" userId="dd9a3b97-ebaf-4ebf-9760-6c6f6d800026" providerId="ADAL" clId="{B1B053CB-FB84-42FB-9616-94D0DCC1CA28}" dt="2023-02-28T18:01:05.922" v="1527" actId="20577"/>
          <ac:spMkLst>
            <pc:docMk/>
            <pc:sldMk cId="41662455" sldId="2147469804"/>
            <ac:spMk id="16" creationId="{7541CBD0-325B-4294-8AF4-D726AC34B380}"/>
          </ac:spMkLst>
        </pc:spChg>
        <pc:spChg chg="mod">
          <ac:chgData name="Jean-Luc" userId="dd9a3b97-ebaf-4ebf-9760-6c6f6d800026" providerId="ADAL" clId="{B1B053CB-FB84-42FB-9616-94D0DCC1CA28}" dt="2023-02-28T18:09:15.484" v="1568" actId="20577"/>
          <ac:spMkLst>
            <pc:docMk/>
            <pc:sldMk cId="41662455" sldId="2147469804"/>
            <ac:spMk id="17" creationId="{4D63FED0-E0B3-479A-81F0-33323B7319B8}"/>
          </ac:spMkLst>
        </pc:spChg>
        <pc:spChg chg="mod">
          <ac:chgData name="Jean-Luc" userId="dd9a3b97-ebaf-4ebf-9760-6c6f6d800026" providerId="ADAL" clId="{B1B053CB-FB84-42FB-9616-94D0DCC1CA28}" dt="2023-02-28T18:12:09.695" v="1641" actId="20577"/>
          <ac:spMkLst>
            <pc:docMk/>
            <pc:sldMk cId="41662455" sldId="2147469804"/>
            <ac:spMk id="18" creationId="{EA39920B-A700-47FE-9EDF-B36F1EF4A762}"/>
          </ac:spMkLst>
        </pc:spChg>
        <pc:spChg chg="mod">
          <ac:chgData name="Jean-Luc" userId="dd9a3b97-ebaf-4ebf-9760-6c6f6d800026" providerId="ADAL" clId="{B1B053CB-FB84-42FB-9616-94D0DCC1CA28}" dt="2023-02-28T18:13:03.952" v="1684" actId="20577"/>
          <ac:spMkLst>
            <pc:docMk/>
            <pc:sldMk cId="41662455" sldId="2147469804"/>
            <ac:spMk id="20" creationId="{13D1B09E-2F79-402D-A8DD-25C8D1B0DC6A}"/>
          </ac:spMkLst>
        </pc:spChg>
        <pc:picChg chg="del mod">
          <ac:chgData name="Jean-Luc" userId="dd9a3b97-ebaf-4ebf-9760-6c6f6d800026" providerId="ADAL" clId="{B1B053CB-FB84-42FB-9616-94D0DCC1CA28}" dt="2023-02-28T18:01:25.662" v="1530" actId="478"/>
          <ac:picMkLst>
            <pc:docMk/>
            <pc:sldMk cId="41662455" sldId="2147469804"/>
            <ac:picMk id="9" creationId="{FBC021E2-CBF0-48CF-B897-79DBACA15399}"/>
          </ac:picMkLst>
        </pc:picChg>
      </pc:sldChg>
      <pc:sldChg chg="modSp mod">
        <pc:chgData name="Jean-Luc" userId="dd9a3b97-ebaf-4ebf-9760-6c6f6d800026" providerId="ADAL" clId="{B1B053CB-FB84-42FB-9616-94D0DCC1CA28}" dt="2023-02-28T17:31:22.386" v="1325" actId="20577"/>
        <pc:sldMkLst>
          <pc:docMk/>
          <pc:sldMk cId="1656768796" sldId="2147469851"/>
        </pc:sldMkLst>
        <pc:spChg chg="mod">
          <ac:chgData name="Jean-Luc" userId="dd9a3b97-ebaf-4ebf-9760-6c6f6d800026" providerId="ADAL" clId="{B1B053CB-FB84-42FB-9616-94D0DCC1CA28}" dt="2023-02-28T17:31:22.386" v="1325" actId="20577"/>
          <ac:spMkLst>
            <pc:docMk/>
            <pc:sldMk cId="1656768796" sldId="2147469851"/>
            <ac:spMk id="2" creationId="{3C5E6956-A15D-4B0C-879A-780E301A6FD2}"/>
          </ac:spMkLst>
        </pc:spChg>
      </pc:sldChg>
      <pc:sldChg chg="addSp delSp modSp new del mod ord">
        <pc:chgData name="Jean-Luc" userId="dd9a3b97-ebaf-4ebf-9760-6c6f6d800026" providerId="ADAL" clId="{B1B053CB-FB84-42FB-9616-94D0DCC1CA28}" dt="2023-02-28T17:20:08.457" v="1171" actId="47"/>
        <pc:sldMkLst>
          <pc:docMk/>
          <pc:sldMk cId="1979710449" sldId="2147469964"/>
        </pc:sldMkLst>
        <pc:spChg chg="mod">
          <ac:chgData name="Jean-Luc" userId="dd9a3b97-ebaf-4ebf-9760-6c6f6d800026" providerId="ADAL" clId="{B1B053CB-FB84-42FB-9616-94D0DCC1CA28}" dt="2023-02-28T17:03:30.436" v="799" actId="1076"/>
          <ac:spMkLst>
            <pc:docMk/>
            <pc:sldMk cId="1979710449" sldId="2147469964"/>
            <ac:spMk id="2" creationId="{EF28587F-EB64-4ACC-ABDF-8B562FBAC33C}"/>
          </ac:spMkLst>
        </pc:spChg>
        <pc:spChg chg="del">
          <ac:chgData name="Jean-Luc" userId="dd9a3b97-ebaf-4ebf-9760-6c6f6d800026" providerId="ADAL" clId="{B1B053CB-FB84-42FB-9616-94D0DCC1CA28}" dt="2023-02-28T16:31:10.059" v="11" actId="478"/>
          <ac:spMkLst>
            <pc:docMk/>
            <pc:sldMk cId="1979710449" sldId="2147469964"/>
            <ac:spMk id="3" creationId="{A9971F2A-0FF1-41F1-8CB4-1292417076B0}"/>
          </ac:spMkLst>
        </pc:spChg>
        <pc:spChg chg="add del mod">
          <ac:chgData name="Jean-Luc" userId="dd9a3b97-ebaf-4ebf-9760-6c6f6d800026" providerId="ADAL" clId="{B1B053CB-FB84-42FB-9616-94D0DCC1CA28}" dt="2023-02-28T16:32:11.328" v="19" actId="478"/>
          <ac:spMkLst>
            <pc:docMk/>
            <pc:sldMk cId="1979710449" sldId="2147469964"/>
            <ac:spMk id="4" creationId="{1312768E-FF9E-4290-A9F7-101142A1FD25}"/>
          </ac:spMkLst>
        </pc:spChg>
        <pc:spChg chg="add del mod">
          <ac:chgData name="Jean-Luc" userId="dd9a3b97-ebaf-4ebf-9760-6c6f6d800026" providerId="ADAL" clId="{B1B053CB-FB84-42FB-9616-94D0DCC1CA28}" dt="2023-02-28T16:35:29.206" v="42" actId="478"/>
          <ac:spMkLst>
            <pc:docMk/>
            <pc:sldMk cId="1979710449" sldId="2147469964"/>
            <ac:spMk id="5" creationId="{30ADE70F-5C77-43AB-BD12-F9B50D46F688}"/>
          </ac:spMkLst>
        </pc:spChg>
        <pc:spChg chg="add del mod">
          <ac:chgData name="Jean-Luc" userId="dd9a3b97-ebaf-4ebf-9760-6c6f6d800026" providerId="ADAL" clId="{B1B053CB-FB84-42FB-9616-94D0DCC1CA28}" dt="2023-02-28T16:35:28.468" v="41" actId="478"/>
          <ac:spMkLst>
            <pc:docMk/>
            <pc:sldMk cId="1979710449" sldId="2147469964"/>
            <ac:spMk id="6" creationId="{D7AC2853-BA79-47E4-81E4-3EDA643B2668}"/>
          </ac:spMkLst>
        </pc:spChg>
        <pc:spChg chg="add mod">
          <ac:chgData name="Jean-Luc" userId="dd9a3b97-ebaf-4ebf-9760-6c6f6d800026" providerId="ADAL" clId="{B1B053CB-FB84-42FB-9616-94D0DCC1CA28}" dt="2023-02-28T17:09:49.803" v="1100" actId="1076"/>
          <ac:spMkLst>
            <pc:docMk/>
            <pc:sldMk cId="1979710449" sldId="2147469964"/>
            <ac:spMk id="7" creationId="{75642BAA-E008-43F4-AF5E-933D0F2B6D1F}"/>
          </ac:spMkLst>
        </pc:spChg>
        <pc:spChg chg="add del mod">
          <ac:chgData name="Jean-Luc" userId="dd9a3b97-ebaf-4ebf-9760-6c6f6d800026" providerId="ADAL" clId="{B1B053CB-FB84-42FB-9616-94D0DCC1CA28}" dt="2023-02-28T16:36:11.299" v="51" actId="478"/>
          <ac:spMkLst>
            <pc:docMk/>
            <pc:sldMk cId="1979710449" sldId="2147469964"/>
            <ac:spMk id="8" creationId="{C40F990F-5424-48B1-8CDC-A3DCCE7FD3CF}"/>
          </ac:spMkLst>
        </pc:spChg>
        <pc:spChg chg="add del mod">
          <ac:chgData name="Jean-Luc" userId="dd9a3b97-ebaf-4ebf-9760-6c6f6d800026" providerId="ADAL" clId="{B1B053CB-FB84-42FB-9616-94D0DCC1CA28}" dt="2023-02-28T16:36:35.761" v="55" actId="478"/>
          <ac:spMkLst>
            <pc:docMk/>
            <pc:sldMk cId="1979710449" sldId="2147469964"/>
            <ac:spMk id="9" creationId="{914CBD47-C330-47B8-8AF9-AD2F92C4141C}"/>
          </ac:spMkLst>
        </pc:spChg>
        <pc:spChg chg="add mod">
          <ac:chgData name="Jean-Luc" userId="dd9a3b97-ebaf-4ebf-9760-6c6f6d800026" providerId="ADAL" clId="{B1B053CB-FB84-42FB-9616-94D0DCC1CA28}" dt="2023-02-28T17:09:49.803" v="1100" actId="1076"/>
          <ac:spMkLst>
            <pc:docMk/>
            <pc:sldMk cId="1979710449" sldId="2147469964"/>
            <ac:spMk id="10" creationId="{C987E032-0C0A-4A0D-BB9D-5EA4830C8078}"/>
          </ac:spMkLst>
        </pc:spChg>
        <pc:spChg chg="add mod">
          <ac:chgData name="Jean-Luc" userId="dd9a3b97-ebaf-4ebf-9760-6c6f6d800026" providerId="ADAL" clId="{B1B053CB-FB84-42FB-9616-94D0DCC1CA28}" dt="2023-02-28T17:09:49.803" v="1100" actId="1076"/>
          <ac:spMkLst>
            <pc:docMk/>
            <pc:sldMk cId="1979710449" sldId="2147469964"/>
            <ac:spMk id="11" creationId="{1D6431AA-35A9-4FBF-8DB6-C40CEE84C234}"/>
          </ac:spMkLst>
        </pc:spChg>
        <pc:spChg chg="add mod">
          <ac:chgData name="Jean-Luc" userId="dd9a3b97-ebaf-4ebf-9760-6c6f6d800026" providerId="ADAL" clId="{B1B053CB-FB84-42FB-9616-94D0DCC1CA28}" dt="2023-02-28T17:09:49.803" v="1100" actId="1076"/>
          <ac:spMkLst>
            <pc:docMk/>
            <pc:sldMk cId="1979710449" sldId="2147469964"/>
            <ac:spMk id="12" creationId="{61D6BD56-42EB-4AAC-A2D4-5CBA2AD98308}"/>
          </ac:spMkLst>
        </pc:spChg>
        <pc:spChg chg="add mod">
          <ac:chgData name="Jean-Luc" userId="dd9a3b97-ebaf-4ebf-9760-6c6f6d800026" providerId="ADAL" clId="{B1B053CB-FB84-42FB-9616-94D0DCC1CA28}" dt="2023-02-28T17:09:49.803" v="1100" actId="1076"/>
          <ac:spMkLst>
            <pc:docMk/>
            <pc:sldMk cId="1979710449" sldId="2147469964"/>
            <ac:spMk id="13" creationId="{E21103B8-F1DC-484A-96A2-36CAE3D4C83F}"/>
          </ac:spMkLst>
        </pc:spChg>
        <pc:spChg chg="add mod">
          <ac:chgData name="Jean-Luc" userId="dd9a3b97-ebaf-4ebf-9760-6c6f6d800026" providerId="ADAL" clId="{B1B053CB-FB84-42FB-9616-94D0DCC1CA28}" dt="2023-02-28T17:09:49.803" v="1100" actId="1076"/>
          <ac:spMkLst>
            <pc:docMk/>
            <pc:sldMk cId="1979710449" sldId="2147469964"/>
            <ac:spMk id="14" creationId="{4DD8E38D-D2DE-417B-B5C5-6AD632A5DCA2}"/>
          </ac:spMkLst>
        </pc:spChg>
        <pc:spChg chg="add mod">
          <ac:chgData name="Jean-Luc" userId="dd9a3b97-ebaf-4ebf-9760-6c6f6d800026" providerId="ADAL" clId="{B1B053CB-FB84-42FB-9616-94D0DCC1CA28}" dt="2023-02-28T17:09:49.803" v="1100" actId="1076"/>
          <ac:spMkLst>
            <pc:docMk/>
            <pc:sldMk cId="1979710449" sldId="2147469964"/>
            <ac:spMk id="16" creationId="{1A2C2A87-EAFC-41FD-8BEA-82841040AAA1}"/>
          </ac:spMkLst>
        </pc:spChg>
        <pc:spChg chg="add mod">
          <ac:chgData name="Jean-Luc" userId="dd9a3b97-ebaf-4ebf-9760-6c6f6d800026" providerId="ADAL" clId="{B1B053CB-FB84-42FB-9616-94D0DCC1CA28}" dt="2023-02-28T17:09:49.803" v="1100" actId="1076"/>
          <ac:spMkLst>
            <pc:docMk/>
            <pc:sldMk cId="1979710449" sldId="2147469964"/>
            <ac:spMk id="17" creationId="{B65662DE-B27D-49F8-BCB6-8CE698D7A879}"/>
          </ac:spMkLst>
        </pc:spChg>
        <pc:spChg chg="add mod">
          <ac:chgData name="Jean-Luc" userId="dd9a3b97-ebaf-4ebf-9760-6c6f6d800026" providerId="ADAL" clId="{B1B053CB-FB84-42FB-9616-94D0DCC1CA28}" dt="2023-02-28T17:09:49.803" v="1100" actId="1076"/>
          <ac:spMkLst>
            <pc:docMk/>
            <pc:sldMk cId="1979710449" sldId="2147469964"/>
            <ac:spMk id="18" creationId="{D186E9D9-91CF-44C5-AEE2-E05BBCA6AC9C}"/>
          </ac:spMkLst>
        </pc:spChg>
        <pc:spChg chg="add mod">
          <ac:chgData name="Jean-Luc" userId="dd9a3b97-ebaf-4ebf-9760-6c6f6d800026" providerId="ADAL" clId="{B1B053CB-FB84-42FB-9616-94D0DCC1CA28}" dt="2023-02-28T17:09:49.803" v="1100" actId="1076"/>
          <ac:spMkLst>
            <pc:docMk/>
            <pc:sldMk cId="1979710449" sldId="2147469964"/>
            <ac:spMk id="19" creationId="{71C2FDFE-0CF7-43A3-AC02-C559E03F471C}"/>
          </ac:spMkLst>
        </pc:spChg>
        <pc:spChg chg="add mod">
          <ac:chgData name="Jean-Luc" userId="dd9a3b97-ebaf-4ebf-9760-6c6f6d800026" providerId="ADAL" clId="{B1B053CB-FB84-42FB-9616-94D0DCC1CA28}" dt="2023-02-28T17:09:49.803" v="1100" actId="1076"/>
          <ac:spMkLst>
            <pc:docMk/>
            <pc:sldMk cId="1979710449" sldId="2147469964"/>
            <ac:spMk id="20" creationId="{0E484EC2-FE6B-40BD-8354-6464E8555F45}"/>
          </ac:spMkLst>
        </pc:spChg>
        <pc:spChg chg="add mod">
          <ac:chgData name="Jean-Luc" userId="dd9a3b97-ebaf-4ebf-9760-6c6f6d800026" providerId="ADAL" clId="{B1B053CB-FB84-42FB-9616-94D0DCC1CA28}" dt="2023-02-28T17:09:21.624" v="1097" actId="1076"/>
          <ac:spMkLst>
            <pc:docMk/>
            <pc:sldMk cId="1979710449" sldId="2147469964"/>
            <ac:spMk id="21" creationId="{613F941B-E09F-4E91-9C75-F074E7D538F6}"/>
          </ac:spMkLst>
        </pc:spChg>
      </pc:sldChg>
      <pc:sldChg chg="addSp delSp modSp add mod">
        <pc:chgData name="Jean-Luc" userId="dd9a3b97-ebaf-4ebf-9760-6c6f6d800026" providerId="ADAL" clId="{B1B053CB-FB84-42FB-9616-94D0DCC1CA28}" dt="2023-03-02T16:29:46.683" v="2128" actId="1076"/>
        <pc:sldMkLst>
          <pc:docMk/>
          <pc:sldMk cId="2990160546" sldId="2147469966"/>
        </pc:sldMkLst>
        <pc:spChg chg="del mod">
          <ac:chgData name="Jean-Luc" userId="dd9a3b97-ebaf-4ebf-9760-6c6f6d800026" providerId="ADAL" clId="{B1B053CB-FB84-42FB-9616-94D0DCC1CA28}" dt="2023-02-28T17:58:27.518" v="1484" actId="478"/>
          <ac:spMkLst>
            <pc:docMk/>
            <pc:sldMk cId="2990160546" sldId="2147469966"/>
            <ac:spMk id="2" creationId="{EF28587F-EB64-4ACC-ABDF-8B562FBAC33C}"/>
          </ac:spMkLst>
        </pc:spChg>
        <pc:spChg chg="add del mod">
          <ac:chgData name="Jean-Luc" userId="dd9a3b97-ebaf-4ebf-9760-6c6f6d800026" providerId="ADAL" clId="{B1B053CB-FB84-42FB-9616-94D0DCC1CA28}" dt="2023-02-28T17:58:29.883" v="1485" actId="478"/>
          <ac:spMkLst>
            <pc:docMk/>
            <pc:sldMk cId="2990160546" sldId="2147469966"/>
            <ac:spMk id="4" creationId="{36597A06-39B6-498E-8243-6DBC29C03ED5}"/>
          </ac:spMkLst>
        </pc:spChg>
        <pc:spChg chg="mod">
          <ac:chgData name="Jean-Luc" userId="dd9a3b97-ebaf-4ebf-9760-6c6f6d800026" providerId="ADAL" clId="{B1B053CB-FB84-42FB-9616-94D0DCC1CA28}" dt="2023-03-02T16:01:58.407" v="1919" actId="1076"/>
          <ac:spMkLst>
            <pc:docMk/>
            <pc:sldMk cId="2990160546" sldId="2147469966"/>
            <ac:spMk id="7" creationId="{75642BAA-E008-43F4-AF5E-933D0F2B6D1F}"/>
          </ac:spMkLst>
        </pc:spChg>
        <pc:spChg chg="del mod">
          <ac:chgData name="Jean-Luc" userId="dd9a3b97-ebaf-4ebf-9760-6c6f6d800026" providerId="ADAL" clId="{B1B053CB-FB84-42FB-9616-94D0DCC1CA28}" dt="2023-03-02T15:45:22.198" v="1743" actId="478"/>
          <ac:spMkLst>
            <pc:docMk/>
            <pc:sldMk cId="2990160546" sldId="2147469966"/>
            <ac:spMk id="10" creationId="{C987E032-0C0A-4A0D-BB9D-5EA4830C8078}"/>
          </ac:spMkLst>
        </pc:spChg>
        <pc:spChg chg="mod">
          <ac:chgData name="Jean-Luc" userId="dd9a3b97-ebaf-4ebf-9760-6c6f6d800026" providerId="ADAL" clId="{B1B053CB-FB84-42FB-9616-94D0DCC1CA28}" dt="2023-03-02T16:26:38.998" v="2069" actId="1076"/>
          <ac:spMkLst>
            <pc:docMk/>
            <pc:sldMk cId="2990160546" sldId="2147469966"/>
            <ac:spMk id="11" creationId="{1D6431AA-35A9-4FBF-8DB6-C40CEE84C234}"/>
          </ac:spMkLst>
        </pc:spChg>
        <pc:spChg chg="mod">
          <ac:chgData name="Jean-Luc" userId="dd9a3b97-ebaf-4ebf-9760-6c6f6d800026" providerId="ADAL" clId="{B1B053CB-FB84-42FB-9616-94D0DCC1CA28}" dt="2023-03-02T16:29:12.768" v="2124" actId="1076"/>
          <ac:spMkLst>
            <pc:docMk/>
            <pc:sldMk cId="2990160546" sldId="2147469966"/>
            <ac:spMk id="12" creationId="{61D6BD56-42EB-4AAC-A2D4-5CBA2AD98308}"/>
          </ac:spMkLst>
        </pc:spChg>
        <pc:spChg chg="mod">
          <ac:chgData name="Jean-Luc" userId="dd9a3b97-ebaf-4ebf-9760-6c6f6d800026" providerId="ADAL" clId="{B1B053CB-FB84-42FB-9616-94D0DCC1CA28}" dt="2023-03-02T16:29:22.812" v="2126" actId="1076"/>
          <ac:spMkLst>
            <pc:docMk/>
            <pc:sldMk cId="2990160546" sldId="2147469966"/>
            <ac:spMk id="13" creationId="{E21103B8-F1DC-484A-96A2-36CAE3D4C83F}"/>
          </ac:spMkLst>
        </pc:spChg>
        <pc:spChg chg="del mod">
          <ac:chgData name="Jean-Luc" userId="dd9a3b97-ebaf-4ebf-9760-6c6f6d800026" providerId="ADAL" clId="{B1B053CB-FB84-42FB-9616-94D0DCC1CA28}" dt="2023-03-02T16:27:23.146" v="2074" actId="478"/>
          <ac:spMkLst>
            <pc:docMk/>
            <pc:sldMk cId="2990160546" sldId="2147469966"/>
            <ac:spMk id="14" creationId="{4DD8E38D-D2DE-417B-B5C5-6AD632A5DCA2}"/>
          </ac:spMkLst>
        </pc:spChg>
        <pc:spChg chg="add mod">
          <ac:chgData name="Jean-Luc" userId="dd9a3b97-ebaf-4ebf-9760-6c6f6d800026" providerId="ADAL" clId="{B1B053CB-FB84-42FB-9616-94D0DCC1CA28}" dt="2023-03-02T16:29:46.683" v="2128" actId="1076"/>
          <ac:spMkLst>
            <pc:docMk/>
            <pc:sldMk cId="2990160546" sldId="2147469966"/>
            <ac:spMk id="15" creationId="{2790E4C7-0DD8-4A44-94D9-064E930B105C}"/>
          </ac:spMkLst>
        </pc:spChg>
        <pc:spChg chg="mod">
          <ac:chgData name="Jean-Luc" userId="dd9a3b97-ebaf-4ebf-9760-6c6f6d800026" providerId="ADAL" clId="{B1B053CB-FB84-42FB-9616-94D0DCC1CA28}" dt="2023-03-02T16:02:57.084" v="1930" actId="1076"/>
          <ac:spMkLst>
            <pc:docMk/>
            <pc:sldMk cId="2990160546" sldId="2147469966"/>
            <ac:spMk id="16" creationId="{1A2C2A87-EAFC-41FD-8BEA-82841040AAA1}"/>
          </ac:spMkLst>
        </pc:spChg>
        <pc:spChg chg="mod">
          <ac:chgData name="Jean-Luc" userId="dd9a3b97-ebaf-4ebf-9760-6c6f6d800026" providerId="ADAL" clId="{B1B053CB-FB84-42FB-9616-94D0DCC1CA28}" dt="2023-03-02T16:26:24.529" v="2064" actId="1076"/>
          <ac:spMkLst>
            <pc:docMk/>
            <pc:sldMk cId="2990160546" sldId="2147469966"/>
            <ac:spMk id="17" creationId="{B65662DE-B27D-49F8-BCB6-8CE698D7A879}"/>
          </ac:spMkLst>
        </pc:spChg>
        <pc:spChg chg="mod">
          <ac:chgData name="Jean-Luc" userId="dd9a3b97-ebaf-4ebf-9760-6c6f6d800026" providerId="ADAL" clId="{B1B053CB-FB84-42FB-9616-94D0DCC1CA28}" dt="2023-03-02T16:02:41.568" v="1927" actId="1076"/>
          <ac:spMkLst>
            <pc:docMk/>
            <pc:sldMk cId="2990160546" sldId="2147469966"/>
            <ac:spMk id="18" creationId="{D186E9D9-91CF-44C5-AEE2-E05BBCA6AC9C}"/>
          </ac:spMkLst>
        </pc:spChg>
        <pc:spChg chg="mod">
          <ac:chgData name="Jean-Luc" userId="dd9a3b97-ebaf-4ebf-9760-6c6f6d800026" providerId="ADAL" clId="{B1B053CB-FB84-42FB-9616-94D0DCC1CA28}" dt="2023-03-02T16:02:00.846" v="1920" actId="1076"/>
          <ac:spMkLst>
            <pc:docMk/>
            <pc:sldMk cId="2990160546" sldId="2147469966"/>
            <ac:spMk id="19" creationId="{71C2FDFE-0CF7-43A3-AC02-C559E03F471C}"/>
          </ac:spMkLst>
        </pc:spChg>
        <pc:spChg chg="mod">
          <ac:chgData name="Jean-Luc" userId="dd9a3b97-ebaf-4ebf-9760-6c6f6d800026" providerId="ADAL" clId="{B1B053CB-FB84-42FB-9616-94D0DCC1CA28}" dt="2023-03-02T16:02:19.716" v="1921" actId="1076"/>
          <ac:spMkLst>
            <pc:docMk/>
            <pc:sldMk cId="2990160546" sldId="2147469966"/>
            <ac:spMk id="20" creationId="{0E484EC2-FE6B-40BD-8354-6464E8555F45}"/>
          </ac:spMkLst>
        </pc:spChg>
        <pc:spChg chg="mod">
          <ac:chgData name="Jean-Luc" userId="dd9a3b97-ebaf-4ebf-9760-6c6f6d800026" providerId="ADAL" clId="{B1B053CB-FB84-42FB-9616-94D0DCC1CA28}" dt="2023-03-02T15:42:07.602" v="1686" actId="1076"/>
          <ac:spMkLst>
            <pc:docMk/>
            <pc:sldMk cId="2990160546" sldId="2147469966"/>
            <ac:spMk id="21" creationId="{613F941B-E09F-4E91-9C75-F074E7D538F6}"/>
          </ac:spMkLst>
        </pc:spChg>
        <pc:spChg chg="add mod">
          <ac:chgData name="Jean-Luc" userId="dd9a3b97-ebaf-4ebf-9760-6c6f6d800026" providerId="ADAL" clId="{B1B053CB-FB84-42FB-9616-94D0DCC1CA28}" dt="2023-02-28T17:58:33.835" v="1486" actId="1076"/>
          <ac:spMkLst>
            <pc:docMk/>
            <pc:sldMk cId="2990160546" sldId="2147469966"/>
            <ac:spMk id="22" creationId="{C7CC6788-B652-4050-B5A6-94FDA2B7F361}"/>
          </ac:spMkLst>
        </pc:spChg>
        <pc:spChg chg="add mod ord">
          <ac:chgData name="Jean-Luc" userId="dd9a3b97-ebaf-4ebf-9760-6c6f6d800026" providerId="ADAL" clId="{B1B053CB-FB84-42FB-9616-94D0DCC1CA28}" dt="2023-03-02T16:27:55.393" v="2084" actId="1076"/>
          <ac:spMkLst>
            <pc:docMk/>
            <pc:sldMk cId="2990160546" sldId="2147469966"/>
            <ac:spMk id="23" creationId="{E1114F1F-1C91-4E34-AC47-135CE4A8B3F5}"/>
          </ac:spMkLst>
        </pc:spChg>
        <pc:spChg chg="add del mod">
          <ac:chgData name="Jean-Luc" userId="dd9a3b97-ebaf-4ebf-9760-6c6f6d800026" providerId="ADAL" clId="{B1B053CB-FB84-42FB-9616-94D0DCC1CA28}" dt="2023-03-02T16:23:23.679" v="2006" actId="478"/>
          <ac:spMkLst>
            <pc:docMk/>
            <pc:sldMk cId="2990160546" sldId="2147469966"/>
            <ac:spMk id="24" creationId="{1927D3C6-86E9-48BF-B5B5-49959D6D07BF}"/>
          </ac:spMkLst>
        </pc:spChg>
        <pc:spChg chg="add del mod">
          <ac:chgData name="Jean-Luc" userId="dd9a3b97-ebaf-4ebf-9760-6c6f6d800026" providerId="ADAL" clId="{B1B053CB-FB84-42FB-9616-94D0DCC1CA28}" dt="2023-03-02T16:29:37.601" v="2127" actId="478"/>
          <ac:spMkLst>
            <pc:docMk/>
            <pc:sldMk cId="2990160546" sldId="2147469966"/>
            <ac:spMk id="25" creationId="{7C984C6D-C4EC-406C-BCF2-E1FD861C8334}"/>
          </ac:spMkLst>
        </pc:spChg>
        <pc:spChg chg="add mod">
          <ac:chgData name="Jean-Luc" userId="dd9a3b97-ebaf-4ebf-9760-6c6f6d800026" providerId="ADAL" clId="{B1B053CB-FB84-42FB-9616-94D0DCC1CA28}" dt="2023-03-02T16:29:18.407" v="2125" actId="1076"/>
          <ac:spMkLst>
            <pc:docMk/>
            <pc:sldMk cId="2990160546" sldId="2147469966"/>
            <ac:spMk id="26" creationId="{B6EC0E25-6939-4A2E-B56C-5E2F44FE6572}"/>
          </ac:spMkLst>
        </pc:spChg>
      </pc:sldChg>
    </pc:docChg>
  </pc:docChgLst>
  <pc:docChgLst>
    <pc:chgData name="Jean GRANDEMANGE" userId="faf07584-8716-430e-b66d-4ceae2fe8450" providerId="ADAL" clId="{50BDBC0F-387F-410F-83A2-D2F2FE73FB9B}"/>
    <pc:docChg chg="undo custSel addSld delSld modSld sldOrd modSection">
      <pc:chgData name="Jean GRANDEMANGE" userId="faf07584-8716-430e-b66d-4ceae2fe8450" providerId="ADAL" clId="{50BDBC0F-387F-410F-83A2-D2F2FE73FB9B}" dt="2023-03-20T22:02:40.269" v="6340" actId="20577"/>
      <pc:docMkLst>
        <pc:docMk/>
      </pc:docMkLst>
      <pc:sldChg chg="addSp delSp mod">
        <pc:chgData name="Jean GRANDEMANGE" userId="faf07584-8716-430e-b66d-4ceae2fe8450" providerId="ADAL" clId="{50BDBC0F-387F-410F-83A2-D2F2FE73FB9B}" dt="2023-03-20T17:54:54.754" v="4961" actId="22"/>
        <pc:sldMkLst>
          <pc:docMk/>
          <pc:sldMk cId="2027156521" sldId="2012"/>
        </pc:sldMkLst>
        <pc:spChg chg="add del">
          <ac:chgData name="Jean GRANDEMANGE" userId="faf07584-8716-430e-b66d-4ceae2fe8450" providerId="ADAL" clId="{50BDBC0F-387F-410F-83A2-D2F2FE73FB9B}" dt="2023-03-20T17:54:54.754" v="4961" actId="22"/>
          <ac:spMkLst>
            <pc:docMk/>
            <pc:sldMk cId="2027156521" sldId="2012"/>
            <ac:spMk id="6" creationId="{EC1D6E79-31F2-9752-E3BB-A72B5BF7D24D}"/>
          </ac:spMkLst>
        </pc:spChg>
      </pc:sldChg>
      <pc:sldChg chg="addSp delSp modSp mod modClrScheme chgLayout">
        <pc:chgData name="Jean GRANDEMANGE" userId="faf07584-8716-430e-b66d-4ceae2fe8450" providerId="ADAL" clId="{50BDBC0F-387F-410F-83A2-D2F2FE73FB9B}" dt="2023-03-20T22:02:40.269" v="6340" actId="20577"/>
        <pc:sldMkLst>
          <pc:docMk/>
          <pc:sldMk cId="4107027684" sldId="2014"/>
        </pc:sldMkLst>
        <pc:spChg chg="add mod">
          <ac:chgData name="Jean GRANDEMANGE" userId="faf07584-8716-430e-b66d-4ceae2fe8450" providerId="ADAL" clId="{50BDBC0F-387F-410F-83A2-D2F2FE73FB9B}" dt="2023-03-20T18:12:38.262" v="6076" actId="1076"/>
          <ac:spMkLst>
            <pc:docMk/>
            <pc:sldMk cId="4107027684" sldId="2014"/>
            <ac:spMk id="2" creationId="{A416304E-9028-C006-C7F7-2E43BFF342C2}"/>
          </ac:spMkLst>
        </pc:spChg>
        <pc:spChg chg="mod ord">
          <ac:chgData name="Jean GRANDEMANGE" userId="faf07584-8716-430e-b66d-4ceae2fe8450" providerId="ADAL" clId="{50BDBC0F-387F-410F-83A2-D2F2FE73FB9B}" dt="2023-03-20T22:02:01.371" v="6336" actId="700"/>
          <ac:spMkLst>
            <pc:docMk/>
            <pc:sldMk cId="4107027684" sldId="2014"/>
            <ac:spMk id="3" creationId="{8265107A-3EE1-4565-907E-262A70BA3F46}"/>
          </ac:spMkLst>
        </pc:spChg>
        <pc:spChg chg="add mod">
          <ac:chgData name="Jean GRANDEMANGE" userId="faf07584-8716-430e-b66d-4ceae2fe8450" providerId="ADAL" clId="{50BDBC0F-387F-410F-83A2-D2F2FE73FB9B}" dt="2023-03-20T18:14:51.780" v="6335" actId="20577"/>
          <ac:spMkLst>
            <pc:docMk/>
            <pc:sldMk cId="4107027684" sldId="2014"/>
            <ac:spMk id="4" creationId="{EC588D4C-1ED2-CFBD-1DCB-13D55B5C853C}"/>
          </ac:spMkLst>
        </pc:spChg>
        <pc:spChg chg="add del mod ord">
          <ac:chgData name="Jean GRANDEMANGE" userId="faf07584-8716-430e-b66d-4ceae2fe8450" providerId="ADAL" clId="{50BDBC0F-387F-410F-83A2-D2F2FE73FB9B}" dt="2023-03-20T22:02:30.446" v="6339" actId="478"/>
          <ac:spMkLst>
            <pc:docMk/>
            <pc:sldMk cId="4107027684" sldId="2014"/>
            <ac:spMk id="5" creationId="{55E12468-7103-D902-9259-DDFE2E1D1D1B}"/>
          </ac:spMkLst>
        </pc:spChg>
        <pc:graphicFrameChg chg="mod modGraphic">
          <ac:chgData name="Jean GRANDEMANGE" userId="faf07584-8716-430e-b66d-4ceae2fe8450" providerId="ADAL" clId="{50BDBC0F-387F-410F-83A2-D2F2FE73FB9B}" dt="2023-03-20T22:02:40.269" v="6340" actId="20577"/>
          <ac:graphicFrameMkLst>
            <pc:docMk/>
            <pc:sldMk cId="4107027684" sldId="2014"/>
            <ac:graphicFrameMk id="36" creationId="{F1C1D90F-95B6-57C8-FFF7-3B8F309684FC}"/>
          </ac:graphicFrameMkLst>
        </pc:graphicFrameChg>
      </pc:sldChg>
      <pc:sldChg chg="addSp modSp mod">
        <pc:chgData name="Jean GRANDEMANGE" userId="faf07584-8716-430e-b66d-4ceae2fe8450" providerId="ADAL" clId="{50BDBC0F-387F-410F-83A2-D2F2FE73FB9B}" dt="2023-03-20T18:12:31.810" v="6074" actId="20577"/>
        <pc:sldMkLst>
          <pc:docMk/>
          <pc:sldMk cId="1301648618" sldId="2147469831"/>
        </pc:sldMkLst>
        <pc:spChg chg="add mod">
          <ac:chgData name="Jean GRANDEMANGE" userId="faf07584-8716-430e-b66d-4ceae2fe8450" providerId="ADAL" clId="{50BDBC0F-387F-410F-83A2-D2F2FE73FB9B}" dt="2023-03-20T18:12:31.810" v="6074" actId="20577"/>
          <ac:spMkLst>
            <pc:docMk/>
            <pc:sldMk cId="1301648618" sldId="2147469831"/>
            <ac:spMk id="2" creationId="{19AEFA74-A891-7B6B-9186-331C04D66119}"/>
          </ac:spMkLst>
        </pc:spChg>
        <pc:spChg chg="mod">
          <ac:chgData name="Jean GRANDEMANGE" userId="faf07584-8716-430e-b66d-4ceae2fe8450" providerId="ADAL" clId="{50BDBC0F-387F-410F-83A2-D2F2FE73FB9B}" dt="2023-03-20T18:05:55.585" v="5532" actId="20577"/>
          <ac:spMkLst>
            <pc:docMk/>
            <pc:sldMk cId="1301648618" sldId="2147469831"/>
            <ac:spMk id="9" creationId="{BD6433EC-D9EB-4716-B094-2038D14B5EE7}"/>
          </ac:spMkLst>
        </pc:spChg>
      </pc:sldChg>
      <pc:sldChg chg="delCm">
        <pc:chgData name="Jean GRANDEMANGE" userId="faf07584-8716-430e-b66d-4ceae2fe8450" providerId="ADAL" clId="{50BDBC0F-387F-410F-83A2-D2F2FE73FB9B}" dt="2023-03-18T20:00:02.397" v="362"/>
        <pc:sldMkLst>
          <pc:docMk/>
          <pc:sldMk cId="3239217406" sldId="2147469993"/>
        </pc:sldMkLst>
        <pc:extLst>
          <p:ext xmlns:p="http://schemas.openxmlformats.org/presentationml/2006/main" uri="{D6D511B9-2390-475A-947B-AFAB55BFBCF1}">
            <pc226:cmChg xmlns:pc226="http://schemas.microsoft.com/office/powerpoint/2022/06/main/command" chg="del">
              <pc226:chgData name="Jean GRANDEMANGE" userId="faf07584-8716-430e-b66d-4ceae2fe8450" providerId="ADAL" clId="{50BDBC0F-387F-410F-83A2-D2F2FE73FB9B}" dt="2023-03-18T20:00:01.415" v="361"/>
              <pc2:cmMkLst xmlns:pc2="http://schemas.microsoft.com/office/powerpoint/2019/9/main/command">
                <pc:docMk/>
                <pc:sldMk cId="3239217406" sldId="2147469993"/>
                <pc2:cmMk id="{0B812D21-00B7-42F1-A2C2-F377B86E36DD}"/>
              </pc2:cmMkLst>
            </pc226:cmChg>
            <pc226:cmChg xmlns:pc226="http://schemas.microsoft.com/office/powerpoint/2022/06/main/command" chg="del">
              <pc226:chgData name="Jean GRANDEMANGE" userId="faf07584-8716-430e-b66d-4ceae2fe8450" providerId="ADAL" clId="{50BDBC0F-387F-410F-83A2-D2F2FE73FB9B}" dt="2023-03-18T20:00:02.397" v="362"/>
              <pc2:cmMkLst xmlns:pc2="http://schemas.microsoft.com/office/powerpoint/2019/9/main/command">
                <pc:docMk/>
                <pc:sldMk cId="3239217406" sldId="2147469993"/>
                <pc2:cmMk id="{066D37CF-F56E-4381-A2E8-A67115426352}"/>
              </pc2:cmMkLst>
            </pc226:cmChg>
          </p:ext>
        </pc:extLst>
      </pc:sldChg>
      <pc:sldChg chg="modSp mod">
        <pc:chgData name="Jean GRANDEMANGE" userId="faf07584-8716-430e-b66d-4ceae2fe8450" providerId="ADAL" clId="{50BDBC0F-387F-410F-83A2-D2F2FE73FB9B}" dt="2023-03-20T16:25:34.525" v="3772" actId="2711"/>
        <pc:sldMkLst>
          <pc:docMk/>
          <pc:sldMk cId="3475287604" sldId="2147469996"/>
        </pc:sldMkLst>
        <pc:spChg chg="mod">
          <ac:chgData name="Jean GRANDEMANGE" userId="faf07584-8716-430e-b66d-4ceae2fe8450" providerId="ADAL" clId="{50BDBC0F-387F-410F-83A2-D2F2FE73FB9B}" dt="2023-03-18T19:53:16.202" v="62" actId="13926"/>
          <ac:spMkLst>
            <pc:docMk/>
            <pc:sldMk cId="3475287604" sldId="2147469996"/>
            <ac:spMk id="2" creationId="{E11BF5BD-75C4-4E77-9598-7225EFF82CC5}"/>
          </ac:spMkLst>
        </pc:spChg>
        <pc:spChg chg="mod">
          <ac:chgData name="Jean GRANDEMANGE" userId="faf07584-8716-430e-b66d-4ceae2fe8450" providerId="ADAL" clId="{50BDBC0F-387F-410F-83A2-D2F2FE73FB9B}" dt="2023-03-18T19:53:36.510" v="67" actId="207"/>
          <ac:spMkLst>
            <pc:docMk/>
            <pc:sldMk cId="3475287604" sldId="2147469996"/>
            <ac:spMk id="3" creationId="{D346C06B-E16C-6F24-EEC2-C8BCC622F0C3}"/>
          </ac:spMkLst>
        </pc:spChg>
        <pc:spChg chg="mod">
          <ac:chgData name="Jean GRANDEMANGE" userId="faf07584-8716-430e-b66d-4ceae2fe8450" providerId="ADAL" clId="{50BDBC0F-387F-410F-83A2-D2F2FE73FB9B}" dt="2023-03-18T19:54:12.777" v="77" actId="207"/>
          <ac:spMkLst>
            <pc:docMk/>
            <pc:sldMk cId="3475287604" sldId="2147469996"/>
            <ac:spMk id="22" creationId="{B58F78E0-5485-CB04-5B71-42CF98DDFEDC}"/>
          </ac:spMkLst>
        </pc:spChg>
        <pc:graphicFrameChg chg="modGraphic">
          <ac:chgData name="Jean GRANDEMANGE" userId="faf07584-8716-430e-b66d-4ceae2fe8450" providerId="ADAL" clId="{50BDBC0F-387F-410F-83A2-D2F2FE73FB9B}" dt="2023-03-20T16:25:34.525" v="3772" actId="2711"/>
          <ac:graphicFrameMkLst>
            <pc:docMk/>
            <pc:sldMk cId="3475287604" sldId="2147469996"/>
            <ac:graphicFrameMk id="4" creationId="{47035697-1F52-1231-AB96-78ECCB31EB51}"/>
          </ac:graphicFrameMkLst>
        </pc:graphicFrameChg>
        <pc:graphicFrameChg chg="modGraphic">
          <ac:chgData name="Jean GRANDEMANGE" userId="faf07584-8716-430e-b66d-4ceae2fe8450" providerId="ADAL" clId="{50BDBC0F-387F-410F-83A2-D2F2FE73FB9B}" dt="2023-03-18T19:54:05.359" v="74" actId="207"/>
          <ac:graphicFrameMkLst>
            <pc:docMk/>
            <pc:sldMk cId="3475287604" sldId="2147469996"/>
            <ac:graphicFrameMk id="19" creationId="{918C2788-4FB2-A160-8567-038F4488845F}"/>
          </ac:graphicFrameMkLst>
        </pc:graphicFrameChg>
      </pc:sldChg>
      <pc:sldChg chg="addSp delSp modSp mod">
        <pc:chgData name="Jean GRANDEMANGE" userId="faf07584-8716-430e-b66d-4ceae2fe8450" providerId="ADAL" clId="{50BDBC0F-387F-410F-83A2-D2F2FE73FB9B}" dt="2023-03-20T17:01:43.752" v="3773" actId="478"/>
        <pc:sldMkLst>
          <pc:docMk/>
          <pc:sldMk cId="660731328" sldId="2147469997"/>
        </pc:sldMkLst>
        <pc:spChg chg="add mod">
          <ac:chgData name="Jean GRANDEMANGE" userId="faf07584-8716-430e-b66d-4ceae2fe8450" providerId="ADAL" clId="{50BDBC0F-387F-410F-83A2-D2F2FE73FB9B}" dt="2023-03-18T20:22:16.456" v="2422" actId="14100"/>
          <ac:spMkLst>
            <pc:docMk/>
            <pc:sldMk cId="660731328" sldId="2147469997"/>
            <ac:spMk id="2" creationId="{8B5101D2-DAF7-CF90-395F-8B61660FF303}"/>
          </ac:spMkLst>
        </pc:spChg>
        <pc:spChg chg="mod">
          <ac:chgData name="Jean GRANDEMANGE" userId="faf07584-8716-430e-b66d-4ceae2fe8450" providerId="ADAL" clId="{50BDBC0F-387F-410F-83A2-D2F2FE73FB9B}" dt="2023-03-18T20:06:17.249" v="781" actId="20577"/>
          <ac:spMkLst>
            <pc:docMk/>
            <pc:sldMk cId="660731328" sldId="2147469997"/>
            <ac:spMk id="3" creationId="{4CED5CC6-D44D-46CF-87ED-9F93BCBA6175}"/>
          </ac:spMkLst>
        </pc:spChg>
        <pc:spChg chg="del mod">
          <ac:chgData name="Jean GRANDEMANGE" userId="faf07584-8716-430e-b66d-4ceae2fe8450" providerId="ADAL" clId="{50BDBC0F-387F-410F-83A2-D2F2FE73FB9B}" dt="2023-03-18T20:21:52.813" v="2418" actId="478"/>
          <ac:spMkLst>
            <pc:docMk/>
            <pc:sldMk cId="660731328" sldId="2147469997"/>
            <ac:spMk id="4" creationId="{EF378B07-1900-D821-E6F5-F474AF69FE60}"/>
          </ac:spMkLst>
        </pc:spChg>
        <pc:spChg chg="del">
          <ac:chgData name="Jean GRANDEMANGE" userId="faf07584-8716-430e-b66d-4ceae2fe8450" providerId="ADAL" clId="{50BDBC0F-387F-410F-83A2-D2F2FE73FB9B}" dt="2023-03-18T20:06:19.353" v="782" actId="478"/>
          <ac:spMkLst>
            <pc:docMk/>
            <pc:sldMk cId="660731328" sldId="2147469997"/>
            <ac:spMk id="5" creationId="{10E29C04-3A2E-8352-0F45-9D886CECEE75}"/>
          </ac:spMkLst>
        </pc:spChg>
        <pc:spChg chg="add mod">
          <ac:chgData name="Jean GRANDEMANGE" userId="faf07584-8716-430e-b66d-4ceae2fe8450" providerId="ADAL" clId="{50BDBC0F-387F-410F-83A2-D2F2FE73FB9B}" dt="2023-03-18T20:22:56.857" v="2442" actId="14100"/>
          <ac:spMkLst>
            <pc:docMk/>
            <pc:sldMk cId="660731328" sldId="2147469997"/>
            <ac:spMk id="6" creationId="{AC61C03A-299B-5F5F-8A52-1DB050430CF7}"/>
          </ac:spMkLst>
        </pc:spChg>
        <pc:spChg chg="add mod">
          <ac:chgData name="Jean GRANDEMANGE" userId="faf07584-8716-430e-b66d-4ceae2fe8450" providerId="ADAL" clId="{50BDBC0F-387F-410F-83A2-D2F2FE73FB9B}" dt="2023-03-18T20:35:18.398" v="3005" actId="1076"/>
          <ac:spMkLst>
            <pc:docMk/>
            <pc:sldMk cId="660731328" sldId="2147469997"/>
            <ac:spMk id="8" creationId="{A496CFCB-9EC3-0B3D-0AD6-652CB291C56B}"/>
          </ac:spMkLst>
        </pc:spChg>
        <pc:spChg chg="add mod">
          <ac:chgData name="Jean GRANDEMANGE" userId="faf07584-8716-430e-b66d-4ceae2fe8450" providerId="ADAL" clId="{50BDBC0F-387F-410F-83A2-D2F2FE73FB9B}" dt="2023-03-18T20:35:18.398" v="3005" actId="1076"/>
          <ac:spMkLst>
            <pc:docMk/>
            <pc:sldMk cId="660731328" sldId="2147469997"/>
            <ac:spMk id="9" creationId="{D99DAC38-0BCA-A129-C0BF-35EE235920F3}"/>
          </ac:spMkLst>
        </pc:spChg>
        <pc:spChg chg="add mod">
          <ac:chgData name="Jean GRANDEMANGE" userId="faf07584-8716-430e-b66d-4ceae2fe8450" providerId="ADAL" clId="{50BDBC0F-387F-410F-83A2-D2F2FE73FB9B}" dt="2023-03-18T20:35:18.398" v="3005" actId="1076"/>
          <ac:spMkLst>
            <pc:docMk/>
            <pc:sldMk cId="660731328" sldId="2147469997"/>
            <ac:spMk id="10" creationId="{DADBC813-1279-0F78-D618-067B31E4284A}"/>
          </ac:spMkLst>
        </pc:spChg>
        <pc:spChg chg="add mod">
          <ac:chgData name="Jean GRANDEMANGE" userId="faf07584-8716-430e-b66d-4ceae2fe8450" providerId="ADAL" clId="{50BDBC0F-387F-410F-83A2-D2F2FE73FB9B}" dt="2023-03-18T20:35:18.398" v="3005" actId="1076"/>
          <ac:spMkLst>
            <pc:docMk/>
            <pc:sldMk cId="660731328" sldId="2147469997"/>
            <ac:spMk id="11" creationId="{F3CA07DA-DE90-A3F4-E1DC-FBE5CA174BEC}"/>
          </ac:spMkLst>
        </pc:spChg>
        <pc:spChg chg="add mod">
          <ac:chgData name="Jean GRANDEMANGE" userId="faf07584-8716-430e-b66d-4ceae2fe8450" providerId="ADAL" clId="{50BDBC0F-387F-410F-83A2-D2F2FE73FB9B}" dt="2023-03-18T20:35:18.398" v="3005" actId="1076"/>
          <ac:spMkLst>
            <pc:docMk/>
            <pc:sldMk cId="660731328" sldId="2147469997"/>
            <ac:spMk id="12" creationId="{323FEF41-E459-3776-1ABE-CCD92D9EC380}"/>
          </ac:spMkLst>
        </pc:spChg>
        <pc:spChg chg="add del mod">
          <ac:chgData name="Jean GRANDEMANGE" userId="faf07584-8716-430e-b66d-4ceae2fe8450" providerId="ADAL" clId="{50BDBC0F-387F-410F-83A2-D2F2FE73FB9B}" dt="2023-03-20T17:01:43.752" v="3773" actId="478"/>
          <ac:spMkLst>
            <pc:docMk/>
            <pc:sldMk cId="660731328" sldId="2147469997"/>
            <ac:spMk id="13" creationId="{025DCFEE-23C2-BBBA-892D-32414F2A05E9}"/>
          </ac:spMkLst>
        </pc:spChg>
        <pc:spChg chg="add del mod">
          <ac:chgData name="Jean GRANDEMANGE" userId="faf07584-8716-430e-b66d-4ceae2fe8450" providerId="ADAL" clId="{50BDBC0F-387F-410F-83A2-D2F2FE73FB9B}" dt="2023-03-18T20:26:09.042" v="2575" actId="478"/>
          <ac:spMkLst>
            <pc:docMk/>
            <pc:sldMk cId="660731328" sldId="2147469997"/>
            <ac:spMk id="14" creationId="{4D6094F2-3E4E-FC3C-41A0-547B3B6E20C0}"/>
          </ac:spMkLst>
        </pc:spChg>
        <pc:spChg chg="add del mod">
          <ac:chgData name="Jean GRANDEMANGE" userId="faf07584-8716-430e-b66d-4ceae2fe8450" providerId="ADAL" clId="{50BDBC0F-387F-410F-83A2-D2F2FE73FB9B}" dt="2023-03-18T20:27:35.460" v="2598" actId="478"/>
          <ac:spMkLst>
            <pc:docMk/>
            <pc:sldMk cId="660731328" sldId="2147469997"/>
            <ac:spMk id="15" creationId="{B769A1DA-5AA3-B97E-EE82-89CF16F76BCD}"/>
          </ac:spMkLst>
        </pc:spChg>
        <pc:spChg chg="add del mod">
          <ac:chgData name="Jean GRANDEMANGE" userId="faf07584-8716-430e-b66d-4ceae2fe8450" providerId="ADAL" clId="{50BDBC0F-387F-410F-83A2-D2F2FE73FB9B}" dt="2023-03-18T20:24:55.710" v="2505" actId="478"/>
          <ac:spMkLst>
            <pc:docMk/>
            <pc:sldMk cId="660731328" sldId="2147469997"/>
            <ac:spMk id="16" creationId="{4A385A42-077D-A183-74ED-A2DC14910D36}"/>
          </ac:spMkLst>
        </pc:spChg>
        <pc:spChg chg="add del mod">
          <ac:chgData name="Jean GRANDEMANGE" userId="faf07584-8716-430e-b66d-4ceae2fe8450" providerId="ADAL" clId="{50BDBC0F-387F-410F-83A2-D2F2FE73FB9B}" dt="2023-03-18T20:29:22.049" v="2627" actId="478"/>
          <ac:spMkLst>
            <pc:docMk/>
            <pc:sldMk cId="660731328" sldId="2147469997"/>
            <ac:spMk id="17" creationId="{44B1EDD5-336E-DC82-0DA2-29C3A2F88114}"/>
          </ac:spMkLst>
        </pc:spChg>
        <pc:spChg chg="add del mod">
          <ac:chgData name="Jean GRANDEMANGE" userId="faf07584-8716-430e-b66d-4ceae2fe8450" providerId="ADAL" clId="{50BDBC0F-387F-410F-83A2-D2F2FE73FB9B}" dt="2023-03-18T20:34:28.015" v="2992" actId="478"/>
          <ac:spMkLst>
            <pc:docMk/>
            <pc:sldMk cId="660731328" sldId="2147469997"/>
            <ac:spMk id="18" creationId="{B3D34516-FCE0-F591-4ACD-2DB916D7EB99}"/>
          </ac:spMkLst>
        </pc:spChg>
        <pc:spChg chg="add del mod">
          <ac:chgData name="Jean GRANDEMANGE" userId="faf07584-8716-430e-b66d-4ceae2fe8450" providerId="ADAL" clId="{50BDBC0F-387F-410F-83A2-D2F2FE73FB9B}" dt="2023-03-18T20:39:01.395" v="3104" actId="478"/>
          <ac:spMkLst>
            <pc:docMk/>
            <pc:sldMk cId="660731328" sldId="2147469997"/>
            <ac:spMk id="19" creationId="{24207E7F-5531-AD6B-1722-874AC4071DF9}"/>
          </ac:spMkLst>
        </pc:spChg>
        <pc:spChg chg="add del mod">
          <ac:chgData name="Jean GRANDEMANGE" userId="faf07584-8716-430e-b66d-4ceae2fe8450" providerId="ADAL" clId="{50BDBC0F-387F-410F-83A2-D2F2FE73FB9B}" dt="2023-03-18T20:23:58.369" v="2457" actId="478"/>
          <ac:spMkLst>
            <pc:docMk/>
            <pc:sldMk cId="660731328" sldId="2147469997"/>
            <ac:spMk id="20" creationId="{D8213026-362F-79B8-7403-611D535FEACC}"/>
          </ac:spMkLst>
        </pc:spChg>
        <pc:spChg chg="add mod">
          <ac:chgData name="Jean GRANDEMANGE" userId="faf07584-8716-430e-b66d-4ceae2fe8450" providerId="ADAL" clId="{50BDBC0F-387F-410F-83A2-D2F2FE73FB9B}" dt="2023-03-18T20:38:30.759" v="3099" actId="207"/>
          <ac:spMkLst>
            <pc:docMk/>
            <pc:sldMk cId="660731328" sldId="2147469997"/>
            <ac:spMk id="22" creationId="{CD878F96-3DB0-C17F-8077-986F7D793AA7}"/>
          </ac:spMkLst>
        </pc:spChg>
        <pc:spChg chg="add del mod">
          <ac:chgData name="Jean GRANDEMANGE" userId="faf07584-8716-430e-b66d-4ceae2fe8450" providerId="ADAL" clId="{50BDBC0F-387F-410F-83A2-D2F2FE73FB9B}" dt="2023-03-18T20:29:46.793" v="2640" actId="478"/>
          <ac:spMkLst>
            <pc:docMk/>
            <pc:sldMk cId="660731328" sldId="2147469997"/>
            <ac:spMk id="23" creationId="{491E7E66-860F-79EA-2668-D4565A6084E3}"/>
          </ac:spMkLst>
        </pc:spChg>
        <pc:spChg chg="add mod">
          <ac:chgData name="Jean GRANDEMANGE" userId="faf07584-8716-430e-b66d-4ceae2fe8450" providerId="ADAL" clId="{50BDBC0F-387F-410F-83A2-D2F2FE73FB9B}" dt="2023-03-18T20:38:30.759" v="3099" actId="207"/>
          <ac:spMkLst>
            <pc:docMk/>
            <pc:sldMk cId="660731328" sldId="2147469997"/>
            <ac:spMk id="24" creationId="{627063FE-AD88-C6D6-F3F2-5371A5B00E27}"/>
          </ac:spMkLst>
        </pc:spChg>
        <pc:spChg chg="add del">
          <ac:chgData name="Jean GRANDEMANGE" userId="faf07584-8716-430e-b66d-4ceae2fe8450" providerId="ADAL" clId="{50BDBC0F-387F-410F-83A2-D2F2FE73FB9B}" dt="2023-03-18T20:28:16.212" v="2609" actId="22"/>
          <ac:spMkLst>
            <pc:docMk/>
            <pc:sldMk cId="660731328" sldId="2147469997"/>
            <ac:spMk id="27" creationId="{E4832520-0E78-65BD-9A02-BC834B8CABA6}"/>
          </ac:spMkLst>
        </pc:spChg>
        <pc:spChg chg="add del">
          <ac:chgData name="Jean GRANDEMANGE" userId="faf07584-8716-430e-b66d-4ceae2fe8450" providerId="ADAL" clId="{50BDBC0F-387F-410F-83A2-D2F2FE73FB9B}" dt="2023-03-18T20:28:18.871" v="2611" actId="22"/>
          <ac:spMkLst>
            <pc:docMk/>
            <pc:sldMk cId="660731328" sldId="2147469997"/>
            <ac:spMk id="29" creationId="{A469F63E-864B-BEAB-56D6-A6C10C3B94EA}"/>
          </ac:spMkLst>
        </pc:spChg>
        <pc:spChg chg="mod">
          <ac:chgData name="Jean GRANDEMANGE" userId="faf07584-8716-430e-b66d-4ceae2fe8450" providerId="ADAL" clId="{50BDBC0F-387F-410F-83A2-D2F2FE73FB9B}" dt="2023-03-18T20:29:40.040" v="2635" actId="571"/>
          <ac:spMkLst>
            <pc:docMk/>
            <pc:sldMk cId="660731328" sldId="2147469997"/>
            <ac:spMk id="32" creationId="{9C8D1717-8725-A0CB-4BB7-17929E358283}"/>
          </ac:spMkLst>
        </pc:spChg>
        <pc:spChg chg="mod">
          <ac:chgData name="Jean GRANDEMANGE" userId="faf07584-8716-430e-b66d-4ceae2fe8450" providerId="ADAL" clId="{50BDBC0F-387F-410F-83A2-D2F2FE73FB9B}" dt="2023-03-18T20:29:40.040" v="2635" actId="571"/>
          <ac:spMkLst>
            <pc:docMk/>
            <pc:sldMk cId="660731328" sldId="2147469997"/>
            <ac:spMk id="33" creationId="{B29DC30D-2458-CCC1-7894-530ED1636857}"/>
          </ac:spMkLst>
        </pc:spChg>
        <pc:spChg chg="mod">
          <ac:chgData name="Jean GRANDEMANGE" userId="faf07584-8716-430e-b66d-4ceae2fe8450" providerId="ADAL" clId="{50BDBC0F-387F-410F-83A2-D2F2FE73FB9B}" dt="2023-03-18T20:38:41.452" v="3101" actId="207"/>
          <ac:spMkLst>
            <pc:docMk/>
            <pc:sldMk cId="660731328" sldId="2147469997"/>
            <ac:spMk id="35" creationId="{FFE541DF-8273-D437-120B-753657BF8A8A}"/>
          </ac:spMkLst>
        </pc:spChg>
        <pc:spChg chg="mod">
          <ac:chgData name="Jean GRANDEMANGE" userId="faf07584-8716-430e-b66d-4ceae2fe8450" providerId="ADAL" clId="{50BDBC0F-387F-410F-83A2-D2F2FE73FB9B}" dt="2023-03-18T20:38:41.452" v="3101" actId="207"/>
          <ac:spMkLst>
            <pc:docMk/>
            <pc:sldMk cId="660731328" sldId="2147469997"/>
            <ac:spMk id="36" creationId="{1F3FCBA8-C840-C8BC-383B-38157C13F334}"/>
          </ac:spMkLst>
        </pc:spChg>
        <pc:spChg chg="add mod">
          <ac:chgData name="Jean GRANDEMANGE" userId="faf07584-8716-430e-b66d-4ceae2fe8450" providerId="ADAL" clId="{50BDBC0F-387F-410F-83A2-D2F2FE73FB9B}" dt="2023-03-18T20:37:18.272" v="3079" actId="1076"/>
          <ac:spMkLst>
            <pc:docMk/>
            <pc:sldMk cId="660731328" sldId="2147469997"/>
            <ac:spMk id="37" creationId="{5FEB1869-0EED-C294-9727-93147EDAE732}"/>
          </ac:spMkLst>
        </pc:spChg>
        <pc:spChg chg="add mod">
          <ac:chgData name="Jean GRANDEMANGE" userId="faf07584-8716-430e-b66d-4ceae2fe8450" providerId="ADAL" clId="{50BDBC0F-387F-410F-83A2-D2F2FE73FB9B}" dt="2023-03-18T20:37:21.262" v="3080" actId="1076"/>
          <ac:spMkLst>
            <pc:docMk/>
            <pc:sldMk cId="660731328" sldId="2147469997"/>
            <ac:spMk id="38" creationId="{002D94F9-D96D-1B43-DE80-5EB82DF8F000}"/>
          </ac:spMkLst>
        </pc:spChg>
        <pc:spChg chg="add mod">
          <ac:chgData name="Jean GRANDEMANGE" userId="faf07584-8716-430e-b66d-4ceae2fe8450" providerId="ADAL" clId="{50BDBC0F-387F-410F-83A2-D2F2FE73FB9B}" dt="2023-03-18T20:36:55.222" v="3072" actId="404"/>
          <ac:spMkLst>
            <pc:docMk/>
            <pc:sldMk cId="660731328" sldId="2147469997"/>
            <ac:spMk id="39" creationId="{33C54485-DEE3-4D61-D382-D2B842F1C065}"/>
          </ac:spMkLst>
        </pc:spChg>
        <pc:spChg chg="mod">
          <ac:chgData name="Jean GRANDEMANGE" userId="faf07584-8716-430e-b66d-4ceae2fe8450" providerId="ADAL" clId="{50BDBC0F-387F-410F-83A2-D2F2FE73FB9B}" dt="2023-03-18T20:38:36.770" v="3100" actId="207"/>
          <ac:spMkLst>
            <pc:docMk/>
            <pc:sldMk cId="660731328" sldId="2147469997"/>
            <ac:spMk id="41" creationId="{395D4C78-4481-80DC-7692-8368CCED6625}"/>
          </ac:spMkLst>
        </pc:spChg>
        <pc:spChg chg="mod">
          <ac:chgData name="Jean GRANDEMANGE" userId="faf07584-8716-430e-b66d-4ceae2fe8450" providerId="ADAL" clId="{50BDBC0F-387F-410F-83A2-D2F2FE73FB9B}" dt="2023-03-18T20:44:09.472" v="3770" actId="20577"/>
          <ac:spMkLst>
            <pc:docMk/>
            <pc:sldMk cId="660731328" sldId="2147469997"/>
            <ac:spMk id="42" creationId="{AA831D26-A8B5-0902-8DF7-C4637B0715D4}"/>
          </ac:spMkLst>
        </pc:spChg>
        <pc:spChg chg="add mod">
          <ac:chgData name="Jean GRANDEMANGE" userId="faf07584-8716-430e-b66d-4ceae2fe8450" providerId="ADAL" clId="{50BDBC0F-387F-410F-83A2-D2F2FE73FB9B}" dt="2023-03-18T20:38:48.760" v="3102" actId="1076"/>
          <ac:spMkLst>
            <pc:docMk/>
            <pc:sldMk cId="660731328" sldId="2147469997"/>
            <ac:spMk id="43" creationId="{E12CF6D4-577F-A0BB-6DD8-355F2E3A2995}"/>
          </ac:spMkLst>
        </pc:spChg>
        <pc:spChg chg="add mod">
          <ac:chgData name="Jean GRANDEMANGE" userId="faf07584-8716-430e-b66d-4ceae2fe8450" providerId="ADAL" clId="{50BDBC0F-387F-410F-83A2-D2F2FE73FB9B}" dt="2023-03-18T20:37:23.663" v="3081" actId="1076"/>
          <ac:spMkLst>
            <pc:docMk/>
            <pc:sldMk cId="660731328" sldId="2147469997"/>
            <ac:spMk id="44" creationId="{28211847-3CDA-1EE9-405C-00C2224494D0}"/>
          </ac:spMkLst>
        </pc:spChg>
        <pc:spChg chg="add mod">
          <ac:chgData name="Jean GRANDEMANGE" userId="faf07584-8716-430e-b66d-4ceae2fe8450" providerId="ADAL" clId="{50BDBC0F-387F-410F-83A2-D2F2FE73FB9B}" dt="2023-03-18T20:38:11.252" v="3097" actId="1076"/>
          <ac:spMkLst>
            <pc:docMk/>
            <pc:sldMk cId="660731328" sldId="2147469997"/>
            <ac:spMk id="45" creationId="{70912063-8410-1C01-380E-F547555C1060}"/>
          </ac:spMkLst>
        </pc:spChg>
        <pc:grpChg chg="add mod">
          <ac:chgData name="Jean GRANDEMANGE" userId="faf07584-8716-430e-b66d-4ceae2fe8450" providerId="ADAL" clId="{50BDBC0F-387F-410F-83A2-D2F2FE73FB9B}" dt="2023-03-18T20:34:45.781" v="2996" actId="1076"/>
          <ac:grpSpMkLst>
            <pc:docMk/>
            <pc:sldMk cId="660731328" sldId="2147469997"/>
            <ac:grpSpMk id="25" creationId="{E2A74D82-5088-6DC3-BB6B-D48AE9CA9BE6}"/>
          </ac:grpSpMkLst>
        </pc:grpChg>
        <pc:grpChg chg="add mod">
          <ac:chgData name="Jean GRANDEMANGE" userId="faf07584-8716-430e-b66d-4ceae2fe8450" providerId="ADAL" clId="{50BDBC0F-387F-410F-83A2-D2F2FE73FB9B}" dt="2023-03-18T20:29:40.040" v="2635" actId="571"/>
          <ac:grpSpMkLst>
            <pc:docMk/>
            <pc:sldMk cId="660731328" sldId="2147469997"/>
            <ac:grpSpMk id="31" creationId="{EB748C1E-CB1F-FB16-4F34-E5921B9331AB}"/>
          </ac:grpSpMkLst>
        </pc:grpChg>
        <pc:grpChg chg="add mod">
          <ac:chgData name="Jean GRANDEMANGE" userId="faf07584-8716-430e-b66d-4ceae2fe8450" providerId="ADAL" clId="{50BDBC0F-387F-410F-83A2-D2F2FE73FB9B}" dt="2023-03-18T20:34:38.392" v="2995" actId="465"/>
          <ac:grpSpMkLst>
            <pc:docMk/>
            <pc:sldMk cId="660731328" sldId="2147469997"/>
            <ac:grpSpMk id="34" creationId="{657A2EA6-0ACA-27DE-0A81-81BFBD9787C4}"/>
          </ac:grpSpMkLst>
        </pc:grpChg>
        <pc:grpChg chg="add mod ord">
          <ac:chgData name="Jean GRANDEMANGE" userId="faf07584-8716-430e-b66d-4ceae2fe8450" providerId="ADAL" clId="{50BDBC0F-387F-410F-83A2-D2F2FE73FB9B}" dt="2023-03-18T20:35:45.231" v="3010" actId="1076"/>
          <ac:grpSpMkLst>
            <pc:docMk/>
            <pc:sldMk cId="660731328" sldId="2147469997"/>
            <ac:grpSpMk id="40" creationId="{56706D40-930D-753B-C1D7-D2117A8A4AFB}"/>
          </ac:grpSpMkLst>
        </pc:grpChg>
        <pc:graphicFrameChg chg="add mod modGraphic">
          <ac:chgData name="Jean GRANDEMANGE" userId="faf07584-8716-430e-b66d-4ceae2fe8450" providerId="ADAL" clId="{50BDBC0F-387F-410F-83A2-D2F2FE73FB9B}" dt="2023-03-18T20:35:01.398" v="3002" actId="1076"/>
          <ac:graphicFrameMkLst>
            <pc:docMk/>
            <pc:sldMk cId="660731328" sldId="2147469997"/>
            <ac:graphicFrameMk id="7" creationId="{D24DC548-A6DF-9E5F-5B40-7DF0177890F2}"/>
          </ac:graphicFrameMkLst>
        </pc:graphicFrameChg>
        <pc:graphicFrameChg chg="add mod modGraphic">
          <ac:chgData name="Jean GRANDEMANGE" userId="faf07584-8716-430e-b66d-4ceae2fe8450" providerId="ADAL" clId="{50BDBC0F-387F-410F-83A2-D2F2FE73FB9B}" dt="2023-03-18T20:43:23.921" v="3741" actId="20577"/>
          <ac:graphicFrameMkLst>
            <pc:docMk/>
            <pc:sldMk cId="660731328" sldId="2147469997"/>
            <ac:graphicFrameMk id="21" creationId="{CFB67227-3164-05B2-FD12-B25C7589BB01}"/>
          </ac:graphicFrameMkLst>
        </pc:graphicFrameChg>
        <pc:graphicFrameChg chg="add mod">
          <ac:chgData name="Jean GRANDEMANGE" userId="faf07584-8716-430e-b66d-4ceae2fe8450" providerId="ADAL" clId="{50BDBC0F-387F-410F-83A2-D2F2FE73FB9B}" dt="2023-03-18T20:29:40.040" v="2635" actId="571"/>
          <ac:graphicFrameMkLst>
            <pc:docMk/>
            <pc:sldMk cId="660731328" sldId="2147469997"/>
            <ac:graphicFrameMk id="30" creationId="{39803478-3952-FBA8-B7E6-9B4D5E33EEC5}"/>
          </ac:graphicFrameMkLst>
        </pc:graphicFrameChg>
      </pc:sldChg>
      <pc:sldChg chg="modSp del mod">
        <pc:chgData name="Jean GRANDEMANGE" userId="faf07584-8716-430e-b66d-4ceae2fe8450" providerId="ADAL" clId="{50BDBC0F-387F-410F-83A2-D2F2FE73FB9B}" dt="2023-03-20T17:31:03.926" v="4721" actId="47"/>
        <pc:sldMkLst>
          <pc:docMk/>
          <pc:sldMk cId="2776949053" sldId="2147470000"/>
        </pc:sldMkLst>
        <pc:spChg chg="mod">
          <ac:chgData name="Jean GRANDEMANGE" userId="faf07584-8716-430e-b66d-4ceae2fe8450" providerId="ADAL" clId="{50BDBC0F-387F-410F-83A2-D2F2FE73FB9B}" dt="2023-03-20T17:05:30.738" v="3808" actId="1076"/>
          <ac:spMkLst>
            <pc:docMk/>
            <pc:sldMk cId="2776949053" sldId="2147470000"/>
            <ac:spMk id="3" creationId="{6C7D176A-5F7D-31D7-BEFE-845B0EC8861A}"/>
          </ac:spMkLst>
        </pc:spChg>
      </pc:sldChg>
      <pc:sldChg chg="modSp mod ord">
        <pc:chgData name="Jean GRANDEMANGE" userId="faf07584-8716-430e-b66d-4ceae2fe8450" providerId="ADAL" clId="{50BDBC0F-387F-410F-83A2-D2F2FE73FB9B}" dt="2023-03-20T17:46:13.132" v="4851" actId="403"/>
        <pc:sldMkLst>
          <pc:docMk/>
          <pc:sldMk cId="3288950320" sldId="2147470001"/>
        </pc:sldMkLst>
        <pc:spChg chg="mod">
          <ac:chgData name="Jean GRANDEMANGE" userId="faf07584-8716-430e-b66d-4ceae2fe8450" providerId="ADAL" clId="{50BDBC0F-387F-410F-83A2-D2F2FE73FB9B}" dt="2023-03-20T17:46:13.132" v="4851" actId="403"/>
          <ac:spMkLst>
            <pc:docMk/>
            <pc:sldMk cId="3288950320" sldId="2147470001"/>
            <ac:spMk id="12" creationId="{F6FA3F40-789E-9E80-EB7D-40996691B8DF}"/>
          </ac:spMkLst>
        </pc:spChg>
        <pc:spChg chg="mod">
          <ac:chgData name="Jean GRANDEMANGE" userId="faf07584-8716-430e-b66d-4ceae2fe8450" providerId="ADAL" clId="{50BDBC0F-387F-410F-83A2-D2F2FE73FB9B}" dt="2023-03-20T17:32:15.195" v="4825" actId="20577"/>
          <ac:spMkLst>
            <pc:docMk/>
            <pc:sldMk cId="3288950320" sldId="2147470001"/>
            <ac:spMk id="17" creationId="{EEF56FE3-E971-BDE5-FE44-30170D5D643C}"/>
          </ac:spMkLst>
        </pc:spChg>
        <pc:spChg chg="mod">
          <ac:chgData name="Jean GRANDEMANGE" userId="faf07584-8716-430e-b66d-4ceae2fe8450" providerId="ADAL" clId="{50BDBC0F-387F-410F-83A2-D2F2FE73FB9B}" dt="2023-03-20T17:45:19.641" v="4841" actId="13900"/>
          <ac:spMkLst>
            <pc:docMk/>
            <pc:sldMk cId="3288950320" sldId="2147470001"/>
            <ac:spMk id="3993" creationId="{8853F7B2-45E5-AEB3-1450-AA27EE128996}"/>
          </ac:spMkLst>
        </pc:spChg>
        <pc:graphicFrameChg chg="mod modGraphic">
          <ac:chgData name="Jean GRANDEMANGE" userId="faf07584-8716-430e-b66d-4ceae2fe8450" providerId="ADAL" clId="{50BDBC0F-387F-410F-83A2-D2F2FE73FB9B}" dt="2023-03-20T17:46:03.882" v="4850" actId="403"/>
          <ac:graphicFrameMkLst>
            <pc:docMk/>
            <pc:sldMk cId="3288950320" sldId="2147470001"/>
            <ac:graphicFrameMk id="3310" creationId="{09C0683D-98AC-1F47-3599-080A574C7937}"/>
          </ac:graphicFrameMkLst>
        </pc:graphicFrameChg>
      </pc:sldChg>
      <pc:sldChg chg="del ord">
        <pc:chgData name="Jean GRANDEMANGE" userId="faf07584-8716-430e-b66d-4ceae2fe8450" providerId="ADAL" clId="{50BDBC0F-387F-410F-83A2-D2F2FE73FB9B}" dt="2023-03-20T17:48:47.678" v="4894" actId="47"/>
        <pc:sldMkLst>
          <pc:docMk/>
          <pc:sldMk cId="1523717364" sldId="2147470004"/>
        </pc:sldMkLst>
      </pc:sldChg>
      <pc:sldChg chg="modSp mod">
        <pc:chgData name="Jean GRANDEMANGE" userId="faf07584-8716-430e-b66d-4ceae2fe8450" providerId="ADAL" clId="{50BDBC0F-387F-410F-83A2-D2F2FE73FB9B}" dt="2023-03-20T18:03:33.148" v="5466" actId="20577"/>
        <pc:sldMkLst>
          <pc:docMk/>
          <pc:sldMk cId="3417808031" sldId="2147470006"/>
        </pc:sldMkLst>
        <pc:spChg chg="mod">
          <ac:chgData name="Jean GRANDEMANGE" userId="faf07584-8716-430e-b66d-4ceae2fe8450" providerId="ADAL" clId="{50BDBC0F-387F-410F-83A2-D2F2FE73FB9B}" dt="2023-03-20T18:03:33.148" v="5466" actId="20577"/>
          <ac:spMkLst>
            <pc:docMk/>
            <pc:sldMk cId="3417808031" sldId="2147470006"/>
            <ac:spMk id="3" creationId="{4CED5CC6-D44D-46CF-87ED-9F93BCBA6175}"/>
          </ac:spMkLst>
        </pc:spChg>
      </pc:sldChg>
      <pc:sldChg chg="del ord">
        <pc:chgData name="Jean GRANDEMANGE" userId="faf07584-8716-430e-b66d-4ceae2fe8450" providerId="ADAL" clId="{50BDBC0F-387F-410F-83A2-D2F2FE73FB9B}" dt="2023-03-20T18:04:37.351" v="5516" actId="47"/>
        <pc:sldMkLst>
          <pc:docMk/>
          <pc:sldMk cId="2874102614" sldId="2147470007"/>
        </pc:sldMkLst>
      </pc:sldChg>
      <pc:sldChg chg="addSp delSp modSp mod">
        <pc:chgData name="Jean GRANDEMANGE" userId="faf07584-8716-430e-b66d-4ceae2fe8450" providerId="ADAL" clId="{50BDBC0F-387F-410F-83A2-D2F2FE73FB9B}" dt="2023-03-20T18:12:11" v="6066" actId="20577"/>
        <pc:sldMkLst>
          <pc:docMk/>
          <pc:sldMk cId="3681582597" sldId="2147470008"/>
        </pc:sldMkLst>
        <pc:spChg chg="mod">
          <ac:chgData name="Jean GRANDEMANGE" userId="faf07584-8716-430e-b66d-4ceae2fe8450" providerId="ADAL" clId="{50BDBC0F-387F-410F-83A2-D2F2FE73FB9B}" dt="2023-03-20T17:05:05.109" v="3806" actId="20577"/>
          <ac:spMkLst>
            <pc:docMk/>
            <pc:sldMk cId="3681582597" sldId="2147470008"/>
            <ac:spMk id="2" creationId="{E11BF5BD-75C4-4E77-9598-7225EFF82CC5}"/>
          </ac:spMkLst>
        </pc:spChg>
        <pc:spChg chg="add mod">
          <ac:chgData name="Jean GRANDEMANGE" userId="faf07584-8716-430e-b66d-4ceae2fe8450" providerId="ADAL" clId="{50BDBC0F-387F-410F-83A2-D2F2FE73FB9B}" dt="2023-03-20T17:25:14.407" v="4518" actId="1076"/>
          <ac:spMkLst>
            <pc:docMk/>
            <pc:sldMk cId="3681582597" sldId="2147470008"/>
            <ac:spMk id="4" creationId="{D6DD8018-3588-1364-4BE8-4D6D2C939839}"/>
          </ac:spMkLst>
        </pc:spChg>
        <pc:spChg chg="add mod">
          <ac:chgData name="Jean GRANDEMANGE" userId="faf07584-8716-430e-b66d-4ceae2fe8450" providerId="ADAL" clId="{50BDBC0F-387F-410F-83A2-D2F2FE73FB9B}" dt="2023-03-20T17:23:30.734" v="4502" actId="1076"/>
          <ac:spMkLst>
            <pc:docMk/>
            <pc:sldMk cId="3681582597" sldId="2147470008"/>
            <ac:spMk id="6" creationId="{3655B0AE-143E-4B44-090E-E5F2E4F16D55}"/>
          </ac:spMkLst>
        </pc:spChg>
        <pc:spChg chg="add mod">
          <ac:chgData name="Jean GRANDEMANGE" userId="faf07584-8716-430e-b66d-4ceae2fe8450" providerId="ADAL" clId="{50BDBC0F-387F-410F-83A2-D2F2FE73FB9B}" dt="2023-03-20T17:23:30.734" v="4502" actId="1076"/>
          <ac:spMkLst>
            <pc:docMk/>
            <pc:sldMk cId="3681582597" sldId="2147470008"/>
            <ac:spMk id="19" creationId="{06375281-7A39-0C01-D2B6-A0784ABD7EE4}"/>
          </ac:spMkLst>
        </pc:spChg>
        <pc:spChg chg="add mod">
          <ac:chgData name="Jean GRANDEMANGE" userId="faf07584-8716-430e-b66d-4ceae2fe8450" providerId="ADAL" clId="{50BDBC0F-387F-410F-83A2-D2F2FE73FB9B}" dt="2023-03-20T17:23:30.734" v="4502" actId="1076"/>
          <ac:spMkLst>
            <pc:docMk/>
            <pc:sldMk cId="3681582597" sldId="2147470008"/>
            <ac:spMk id="20" creationId="{8BD59BBF-AB17-077C-FFE9-B638E6B8F0C3}"/>
          </ac:spMkLst>
        </pc:spChg>
        <pc:spChg chg="add mod">
          <ac:chgData name="Jean GRANDEMANGE" userId="faf07584-8716-430e-b66d-4ceae2fe8450" providerId="ADAL" clId="{50BDBC0F-387F-410F-83A2-D2F2FE73FB9B}" dt="2023-03-20T17:23:30.734" v="4502" actId="1076"/>
          <ac:spMkLst>
            <pc:docMk/>
            <pc:sldMk cId="3681582597" sldId="2147470008"/>
            <ac:spMk id="21" creationId="{6BC299F5-985F-827E-0FD3-AEE1F2FFC60A}"/>
          </ac:spMkLst>
        </pc:spChg>
        <pc:spChg chg="add mod">
          <ac:chgData name="Jean GRANDEMANGE" userId="faf07584-8716-430e-b66d-4ceae2fe8450" providerId="ADAL" clId="{50BDBC0F-387F-410F-83A2-D2F2FE73FB9B}" dt="2023-03-20T17:23:30.734" v="4502" actId="1076"/>
          <ac:spMkLst>
            <pc:docMk/>
            <pc:sldMk cId="3681582597" sldId="2147470008"/>
            <ac:spMk id="22" creationId="{6D192ED4-A945-36F6-14CC-113D632DC07F}"/>
          </ac:spMkLst>
        </pc:spChg>
        <pc:spChg chg="add mod">
          <ac:chgData name="Jean GRANDEMANGE" userId="faf07584-8716-430e-b66d-4ceae2fe8450" providerId="ADAL" clId="{50BDBC0F-387F-410F-83A2-D2F2FE73FB9B}" dt="2023-03-20T17:23:34.140" v="4503" actId="1076"/>
          <ac:spMkLst>
            <pc:docMk/>
            <pc:sldMk cId="3681582597" sldId="2147470008"/>
            <ac:spMk id="31" creationId="{5BD48A0E-9965-A997-954F-6EA156E23022}"/>
          </ac:spMkLst>
        </pc:spChg>
        <pc:spChg chg="add del mod ord">
          <ac:chgData name="Jean GRANDEMANGE" userId="faf07584-8716-430e-b66d-4ceae2fe8450" providerId="ADAL" clId="{50BDBC0F-387F-410F-83A2-D2F2FE73FB9B}" dt="2023-03-20T17:20:12.904" v="4241" actId="478"/>
          <ac:spMkLst>
            <pc:docMk/>
            <pc:sldMk cId="3681582597" sldId="2147470008"/>
            <ac:spMk id="32" creationId="{B548D762-22CC-8492-6726-C397CB08ACB7}"/>
          </ac:spMkLst>
        </pc:spChg>
        <pc:spChg chg="add del mod ord">
          <ac:chgData name="Jean GRANDEMANGE" userId="faf07584-8716-430e-b66d-4ceae2fe8450" providerId="ADAL" clId="{50BDBC0F-387F-410F-83A2-D2F2FE73FB9B}" dt="2023-03-20T17:20:12.904" v="4241" actId="478"/>
          <ac:spMkLst>
            <pc:docMk/>
            <pc:sldMk cId="3681582597" sldId="2147470008"/>
            <ac:spMk id="33" creationId="{26F0063C-70D5-7A97-E26C-C65F7EF1CF16}"/>
          </ac:spMkLst>
        </pc:spChg>
        <pc:spChg chg="add del mod ord">
          <ac:chgData name="Jean GRANDEMANGE" userId="faf07584-8716-430e-b66d-4ceae2fe8450" providerId="ADAL" clId="{50BDBC0F-387F-410F-83A2-D2F2FE73FB9B}" dt="2023-03-20T17:20:12.904" v="4241" actId="478"/>
          <ac:spMkLst>
            <pc:docMk/>
            <pc:sldMk cId="3681582597" sldId="2147470008"/>
            <ac:spMk id="35" creationId="{9C2CD120-1B63-DA1F-5E01-C8DD8A4C48DE}"/>
          </ac:spMkLst>
        </pc:spChg>
        <pc:spChg chg="add del mod ord">
          <ac:chgData name="Jean GRANDEMANGE" userId="faf07584-8716-430e-b66d-4ceae2fe8450" providerId="ADAL" clId="{50BDBC0F-387F-410F-83A2-D2F2FE73FB9B}" dt="2023-03-20T17:20:12.904" v="4241" actId="478"/>
          <ac:spMkLst>
            <pc:docMk/>
            <pc:sldMk cId="3681582597" sldId="2147470008"/>
            <ac:spMk id="36" creationId="{537CFF57-E353-2708-ABCA-303A9BB0716A}"/>
          </ac:spMkLst>
        </pc:spChg>
        <pc:spChg chg="add del mod ord">
          <ac:chgData name="Jean GRANDEMANGE" userId="faf07584-8716-430e-b66d-4ceae2fe8450" providerId="ADAL" clId="{50BDBC0F-387F-410F-83A2-D2F2FE73FB9B}" dt="2023-03-20T17:20:11.242" v="4240" actId="478"/>
          <ac:spMkLst>
            <pc:docMk/>
            <pc:sldMk cId="3681582597" sldId="2147470008"/>
            <ac:spMk id="37" creationId="{6D34D31C-8D2C-1CA9-BCB1-BA7827562221}"/>
          </ac:spMkLst>
        </pc:spChg>
        <pc:spChg chg="add del mod">
          <ac:chgData name="Jean GRANDEMANGE" userId="faf07584-8716-430e-b66d-4ceae2fe8450" providerId="ADAL" clId="{50BDBC0F-387F-410F-83A2-D2F2FE73FB9B}" dt="2023-03-20T17:20:11.242" v="4240" actId="478"/>
          <ac:spMkLst>
            <pc:docMk/>
            <pc:sldMk cId="3681582597" sldId="2147470008"/>
            <ac:spMk id="38" creationId="{A406FD49-FFF6-A446-FC7A-4EAAB8497F00}"/>
          </ac:spMkLst>
        </pc:spChg>
        <pc:spChg chg="del">
          <ac:chgData name="Jean GRANDEMANGE" userId="faf07584-8716-430e-b66d-4ceae2fe8450" providerId="ADAL" clId="{50BDBC0F-387F-410F-83A2-D2F2FE73FB9B}" dt="2023-03-20T17:10:20.794" v="3817" actId="478"/>
          <ac:spMkLst>
            <pc:docMk/>
            <pc:sldMk cId="3681582597" sldId="2147470008"/>
            <ac:spMk id="40" creationId="{71A3CFC1-F6E9-5DCA-2E3B-F02C17577D06}"/>
          </ac:spMkLst>
        </pc:spChg>
        <pc:spChg chg="del">
          <ac:chgData name="Jean GRANDEMANGE" userId="faf07584-8716-430e-b66d-4ceae2fe8450" providerId="ADAL" clId="{50BDBC0F-387F-410F-83A2-D2F2FE73FB9B}" dt="2023-03-20T17:10:20.794" v="3817" actId="478"/>
          <ac:spMkLst>
            <pc:docMk/>
            <pc:sldMk cId="3681582597" sldId="2147470008"/>
            <ac:spMk id="41" creationId="{A4DBF431-F95F-E3B8-2834-6CFB5F5D6D23}"/>
          </ac:spMkLst>
        </pc:spChg>
        <pc:spChg chg="add del mod">
          <ac:chgData name="Jean GRANDEMANGE" userId="faf07584-8716-430e-b66d-4ceae2fe8450" providerId="ADAL" clId="{50BDBC0F-387F-410F-83A2-D2F2FE73FB9B}" dt="2023-03-20T17:20:12.904" v="4241" actId="478"/>
          <ac:spMkLst>
            <pc:docMk/>
            <pc:sldMk cId="3681582597" sldId="2147470008"/>
            <ac:spMk id="43" creationId="{97B434C6-E5B0-F4A8-030B-D32320B5D4E5}"/>
          </ac:spMkLst>
        </pc:spChg>
        <pc:spChg chg="add del mod">
          <ac:chgData name="Jean GRANDEMANGE" userId="faf07584-8716-430e-b66d-4ceae2fe8450" providerId="ADAL" clId="{50BDBC0F-387F-410F-83A2-D2F2FE73FB9B}" dt="2023-03-20T17:20:12.904" v="4241" actId="478"/>
          <ac:spMkLst>
            <pc:docMk/>
            <pc:sldMk cId="3681582597" sldId="2147470008"/>
            <ac:spMk id="44" creationId="{3B834158-6B86-ED6D-628F-80287E9D3232}"/>
          </ac:spMkLst>
        </pc:spChg>
        <pc:spChg chg="add del mod">
          <ac:chgData name="Jean GRANDEMANGE" userId="faf07584-8716-430e-b66d-4ceae2fe8450" providerId="ADAL" clId="{50BDBC0F-387F-410F-83A2-D2F2FE73FB9B}" dt="2023-03-20T17:20:11.242" v="4240" actId="478"/>
          <ac:spMkLst>
            <pc:docMk/>
            <pc:sldMk cId="3681582597" sldId="2147470008"/>
            <ac:spMk id="45" creationId="{5B7476E7-A134-B18D-3EDC-EBC40D5D5B94}"/>
          </ac:spMkLst>
        </pc:spChg>
        <pc:spChg chg="add del mod">
          <ac:chgData name="Jean GRANDEMANGE" userId="faf07584-8716-430e-b66d-4ceae2fe8450" providerId="ADAL" clId="{50BDBC0F-387F-410F-83A2-D2F2FE73FB9B}" dt="2023-03-20T17:20:11.242" v="4240" actId="478"/>
          <ac:spMkLst>
            <pc:docMk/>
            <pc:sldMk cId="3681582597" sldId="2147470008"/>
            <ac:spMk id="46" creationId="{2B00D682-8461-77FE-B4F3-4C7667F84A15}"/>
          </ac:spMkLst>
        </pc:spChg>
        <pc:spChg chg="add del mod">
          <ac:chgData name="Jean GRANDEMANGE" userId="faf07584-8716-430e-b66d-4ceae2fe8450" providerId="ADAL" clId="{50BDBC0F-387F-410F-83A2-D2F2FE73FB9B}" dt="2023-03-20T17:20:11.242" v="4240" actId="478"/>
          <ac:spMkLst>
            <pc:docMk/>
            <pc:sldMk cId="3681582597" sldId="2147470008"/>
            <ac:spMk id="47" creationId="{CE143358-52D7-7F46-5FB1-BDF4AA4868AD}"/>
          </ac:spMkLst>
        </pc:spChg>
        <pc:spChg chg="add del mod">
          <ac:chgData name="Jean GRANDEMANGE" userId="faf07584-8716-430e-b66d-4ceae2fe8450" providerId="ADAL" clId="{50BDBC0F-387F-410F-83A2-D2F2FE73FB9B}" dt="2023-03-20T17:20:11.242" v="4240" actId="478"/>
          <ac:spMkLst>
            <pc:docMk/>
            <pc:sldMk cId="3681582597" sldId="2147470008"/>
            <ac:spMk id="48" creationId="{8B1D2AE7-ECFF-3B2F-0487-C3E2D7A08C68}"/>
          </ac:spMkLst>
        </pc:spChg>
        <pc:spChg chg="add mod">
          <ac:chgData name="Jean GRANDEMANGE" userId="faf07584-8716-430e-b66d-4ceae2fe8450" providerId="ADAL" clId="{50BDBC0F-387F-410F-83A2-D2F2FE73FB9B}" dt="2023-03-20T17:25:14.407" v="4518" actId="1076"/>
          <ac:spMkLst>
            <pc:docMk/>
            <pc:sldMk cId="3681582597" sldId="2147470008"/>
            <ac:spMk id="50" creationId="{0ACB4FB7-B568-B9E3-375F-A2A73E3CDD18}"/>
          </ac:spMkLst>
        </pc:spChg>
        <pc:spChg chg="add mod ord">
          <ac:chgData name="Jean GRANDEMANGE" userId="faf07584-8716-430e-b66d-4ceae2fe8450" providerId="ADAL" clId="{50BDBC0F-387F-410F-83A2-D2F2FE73FB9B}" dt="2023-03-20T18:12:11" v="6066" actId="20577"/>
          <ac:spMkLst>
            <pc:docMk/>
            <pc:sldMk cId="3681582597" sldId="2147470008"/>
            <ac:spMk id="51" creationId="{E75ED240-FCDC-08B5-DEDD-583498EA288C}"/>
          </ac:spMkLst>
        </pc:spChg>
        <pc:graphicFrameChg chg="add del mod">
          <ac:chgData name="Jean GRANDEMANGE" userId="faf07584-8716-430e-b66d-4ceae2fe8450" providerId="ADAL" clId="{50BDBC0F-387F-410F-83A2-D2F2FE73FB9B}" dt="2023-03-20T17:21:48.855" v="4470" actId="478"/>
          <ac:graphicFrameMkLst>
            <pc:docMk/>
            <pc:sldMk cId="3681582597" sldId="2147470008"/>
            <ac:graphicFrameMk id="5" creationId="{5E5719A6-F735-61B1-2323-500B7FF4A8B9}"/>
          </ac:graphicFrameMkLst>
        </pc:graphicFrameChg>
        <pc:graphicFrameChg chg="add del mod modGraphic">
          <ac:chgData name="Jean GRANDEMANGE" userId="faf07584-8716-430e-b66d-4ceae2fe8450" providerId="ADAL" clId="{50BDBC0F-387F-410F-83A2-D2F2FE73FB9B}" dt="2023-03-20T17:16:01.385" v="4073" actId="478"/>
          <ac:graphicFrameMkLst>
            <pc:docMk/>
            <pc:sldMk cId="3681582597" sldId="2147470008"/>
            <ac:graphicFrameMk id="34" creationId="{3BDCAC93-AD06-5D96-58C7-54CADAEEE776}"/>
          </ac:graphicFrameMkLst>
        </pc:graphicFrameChg>
        <pc:graphicFrameChg chg="add del mod modGraphic">
          <ac:chgData name="Jean GRANDEMANGE" userId="faf07584-8716-430e-b66d-4ceae2fe8450" providerId="ADAL" clId="{50BDBC0F-387F-410F-83A2-D2F2FE73FB9B}" dt="2023-03-20T17:29:48.123" v="4574" actId="478"/>
          <ac:graphicFrameMkLst>
            <pc:docMk/>
            <pc:sldMk cId="3681582597" sldId="2147470008"/>
            <ac:graphicFrameMk id="49" creationId="{35D71AD9-8FD7-BE74-5FA3-5F309C32FCD6}"/>
          </ac:graphicFrameMkLst>
        </pc:graphicFrameChg>
      </pc:sldChg>
      <pc:sldChg chg="addSp delSp modSp add mod">
        <pc:chgData name="Jean GRANDEMANGE" userId="faf07584-8716-430e-b66d-4ceae2fe8450" providerId="ADAL" clId="{50BDBC0F-387F-410F-83A2-D2F2FE73FB9B}" dt="2023-03-20T18:10:45.880" v="5934" actId="14100"/>
        <pc:sldMkLst>
          <pc:docMk/>
          <pc:sldMk cId="3923171717" sldId="2147470009"/>
        </pc:sldMkLst>
        <pc:spChg chg="del">
          <ac:chgData name="Jean GRANDEMANGE" userId="faf07584-8716-430e-b66d-4ceae2fe8450" providerId="ADAL" clId="{50BDBC0F-387F-410F-83A2-D2F2FE73FB9B}" dt="2023-03-20T17:30:07.048" v="4578" actId="478"/>
          <ac:spMkLst>
            <pc:docMk/>
            <pc:sldMk cId="3923171717" sldId="2147470009"/>
            <ac:spMk id="3" creationId="{D346C06B-E16C-6F24-EEC2-C8BCC622F0C3}"/>
          </ac:spMkLst>
        </pc:spChg>
        <pc:spChg chg="del">
          <ac:chgData name="Jean GRANDEMANGE" userId="faf07584-8716-430e-b66d-4ceae2fe8450" providerId="ADAL" clId="{50BDBC0F-387F-410F-83A2-D2F2FE73FB9B}" dt="2023-03-20T17:30:07.048" v="4578" actId="478"/>
          <ac:spMkLst>
            <pc:docMk/>
            <pc:sldMk cId="3923171717" sldId="2147470009"/>
            <ac:spMk id="4" creationId="{D6DD8018-3588-1364-4BE8-4D6D2C939839}"/>
          </ac:spMkLst>
        </pc:spChg>
        <pc:spChg chg="add mod">
          <ac:chgData name="Jean GRANDEMANGE" userId="faf07584-8716-430e-b66d-4ceae2fe8450" providerId="ADAL" clId="{50BDBC0F-387F-410F-83A2-D2F2FE73FB9B}" dt="2023-03-20T18:10:45.880" v="5934" actId="14100"/>
          <ac:spMkLst>
            <pc:docMk/>
            <pc:sldMk cId="3923171717" sldId="2147470009"/>
            <ac:spMk id="5" creationId="{F200A66F-4C28-A359-8B43-480FA4CA0D36}"/>
          </ac:spMkLst>
        </pc:spChg>
        <pc:spChg chg="del">
          <ac:chgData name="Jean GRANDEMANGE" userId="faf07584-8716-430e-b66d-4ceae2fe8450" providerId="ADAL" clId="{50BDBC0F-387F-410F-83A2-D2F2FE73FB9B}" dt="2023-03-20T17:30:07.048" v="4578" actId="478"/>
          <ac:spMkLst>
            <pc:docMk/>
            <pc:sldMk cId="3923171717" sldId="2147470009"/>
            <ac:spMk id="6" creationId="{3655B0AE-143E-4B44-090E-E5F2E4F16D55}"/>
          </ac:spMkLst>
        </pc:spChg>
        <pc:spChg chg="del">
          <ac:chgData name="Jean GRANDEMANGE" userId="faf07584-8716-430e-b66d-4ceae2fe8450" providerId="ADAL" clId="{50BDBC0F-387F-410F-83A2-D2F2FE73FB9B}" dt="2023-03-20T17:30:07.048" v="4578" actId="478"/>
          <ac:spMkLst>
            <pc:docMk/>
            <pc:sldMk cId="3923171717" sldId="2147470009"/>
            <ac:spMk id="7" creationId="{E0219AF7-485E-09B4-A5B0-BE7399CA6115}"/>
          </ac:spMkLst>
        </pc:spChg>
        <pc:spChg chg="del">
          <ac:chgData name="Jean GRANDEMANGE" userId="faf07584-8716-430e-b66d-4ceae2fe8450" providerId="ADAL" clId="{50BDBC0F-387F-410F-83A2-D2F2FE73FB9B}" dt="2023-03-20T17:30:07.048" v="4578" actId="478"/>
          <ac:spMkLst>
            <pc:docMk/>
            <pc:sldMk cId="3923171717" sldId="2147470009"/>
            <ac:spMk id="13" creationId="{16F8E287-F544-B77C-BAD7-DA33F9C93088}"/>
          </ac:spMkLst>
        </pc:spChg>
        <pc:spChg chg="del">
          <ac:chgData name="Jean GRANDEMANGE" userId="faf07584-8716-430e-b66d-4ceae2fe8450" providerId="ADAL" clId="{50BDBC0F-387F-410F-83A2-D2F2FE73FB9B}" dt="2023-03-20T17:30:07.048" v="4578" actId="478"/>
          <ac:spMkLst>
            <pc:docMk/>
            <pc:sldMk cId="3923171717" sldId="2147470009"/>
            <ac:spMk id="14" creationId="{883FEA16-2A87-A061-7730-83F6775898DF}"/>
          </ac:spMkLst>
        </pc:spChg>
        <pc:spChg chg="del">
          <ac:chgData name="Jean GRANDEMANGE" userId="faf07584-8716-430e-b66d-4ceae2fe8450" providerId="ADAL" clId="{50BDBC0F-387F-410F-83A2-D2F2FE73FB9B}" dt="2023-03-20T17:30:07.048" v="4578" actId="478"/>
          <ac:spMkLst>
            <pc:docMk/>
            <pc:sldMk cId="3923171717" sldId="2147470009"/>
            <ac:spMk id="15" creationId="{79BC4F5E-D898-5860-6C7B-78D7E87E47E1}"/>
          </ac:spMkLst>
        </pc:spChg>
        <pc:spChg chg="del">
          <ac:chgData name="Jean GRANDEMANGE" userId="faf07584-8716-430e-b66d-4ceae2fe8450" providerId="ADAL" clId="{50BDBC0F-387F-410F-83A2-D2F2FE73FB9B}" dt="2023-03-20T17:30:07.048" v="4578" actId="478"/>
          <ac:spMkLst>
            <pc:docMk/>
            <pc:sldMk cId="3923171717" sldId="2147470009"/>
            <ac:spMk id="16" creationId="{A2ACE051-848A-6C3C-DE5C-485B880B8072}"/>
          </ac:spMkLst>
        </pc:spChg>
        <pc:spChg chg="del">
          <ac:chgData name="Jean GRANDEMANGE" userId="faf07584-8716-430e-b66d-4ceae2fe8450" providerId="ADAL" clId="{50BDBC0F-387F-410F-83A2-D2F2FE73FB9B}" dt="2023-03-20T17:30:07.048" v="4578" actId="478"/>
          <ac:spMkLst>
            <pc:docMk/>
            <pc:sldMk cId="3923171717" sldId="2147470009"/>
            <ac:spMk id="17" creationId="{6D77FAD0-7628-0C82-8616-20D6DA6C59B3}"/>
          </ac:spMkLst>
        </pc:spChg>
        <pc:spChg chg="del">
          <ac:chgData name="Jean GRANDEMANGE" userId="faf07584-8716-430e-b66d-4ceae2fe8450" providerId="ADAL" clId="{50BDBC0F-387F-410F-83A2-D2F2FE73FB9B}" dt="2023-03-20T17:30:07.048" v="4578" actId="478"/>
          <ac:spMkLst>
            <pc:docMk/>
            <pc:sldMk cId="3923171717" sldId="2147470009"/>
            <ac:spMk id="19" creationId="{06375281-7A39-0C01-D2B6-A0784ABD7EE4}"/>
          </ac:spMkLst>
        </pc:spChg>
        <pc:spChg chg="del">
          <ac:chgData name="Jean GRANDEMANGE" userId="faf07584-8716-430e-b66d-4ceae2fe8450" providerId="ADAL" clId="{50BDBC0F-387F-410F-83A2-D2F2FE73FB9B}" dt="2023-03-20T17:30:07.048" v="4578" actId="478"/>
          <ac:spMkLst>
            <pc:docMk/>
            <pc:sldMk cId="3923171717" sldId="2147470009"/>
            <ac:spMk id="20" creationId="{8BD59BBF-AB17-077C-FFE9-B638E6B8F0C3}"/>
          </ac:spMkLst>
        </pc:spChg>
        <pc:spChg chg="del">
          <ac:chgData name="Jean GRANDEMANGE" userId="faf07584-8716-430e-b66d-4ceae2fe8450" providerId="ADAL" clId="{50BDBC0F-387F-410F-83A2-D2F2FE73FB9B}" dt="2023-03-20T17:30:07.048" v="4578" actId="478"/>
          <ac:spMkLst>
            <pc:docMk/>
            <pc:sldMk cId="3923171717" sldId="2147470009"/>
            <ac:spMk id="21" creationId="{6BC299F5-985F-827E-0FD3-AEE1F2FFC60A}"/>
          </ac:spMkLst>
        </pc:spChg>
        <pc:spChg chg="del">
          <ac:chgData name="Jean GRANDEMANGE" userId="faf07584-8716-430e-b66d-4ceae2fe8450" providerId="ADAL" clId="{50BDBC0F-387F-410F-83A2-D2F2FE73FB9B}" dt="2023-03-20T17:30:07.048" v="4578" actId="478"/>
          <ac:spMkLst>
            <pc:docMk/>
            <pc:sldMk cId="3923171717" sldId="2147470009"/>
            <ac:spMk id="22" creationId="{6D192ED4-A945-36F6-14CC-113D632DC07F}"/>
          </ac:spMkLst>
        </pc:spChg>
        <pc:spChg chg="del">
          <ac:chgData name="Jean GRANDEMANGE" userId="faf07584-8716-430e-b66d-4ceae2fe8450" providerId="ADAL" clId="{50BDBC0F-387F-410F-83A2-D2F2FE73FB9B}" dt="2023-03-20T17:30:07.048" v="4578" actId="478"/>
          <ac:spMkLst>
            <pc:docMk/>
            <pc:sldMk cId="3923171717" sldId="2147470009"/>
            <ac:spMk id="31" creationId="{5BD48A0E-9965-A997-954F-6EA156E23022}"/>
          </ac:spMkLst>
        </pc:spChg>
        <pc:spChg chg="add mod">
          <ac:chgData name="Jean GRANDEMANGE" userId="faf07584-8716-430e-b66d-4ceae2fe8450" providerId="ADAL" clId="{50BDBC0F-387F-410F-83A2-D2F2FE73FB9B}" dt="2023-03-20T18:10:41.694" v="5931" actId="1076"/>
          <ac:spMkLst>
            <pc:docMk/>
            <pc:sldMk cId="3923171717" sldId="2147470009"/>
            <ac:spMk id="33" creationId="{72462091-7040-039A-B0AA-1A6242A19AA7}"/>
          </ac:spMkLst>
        </pc:spChg>
        <pc:spChg chg="del">
          <ac:chgData name="Jean GRANDEMANGE" userId="faf07584-8716-430e-b66d-4ceae2fe8450" providerId="ADAL" clId="{50BDBC0F-387F-410F-83A2-D2F2FE73FB9B}" dt="2023-03-20T17:30:07.048" v="4578" actId="478"/>
          <ac:spMkLst>
            <pc:docMk/>
            <pc:sldMk cId="3923171717" sldId="2147470009"/>
            <ac:spMk id="50" creationId="{0ACB4FB7-B568-B9E3-375F-A2A73E3CDD18}"/>
          </ac:spMkLst>
        </pc:spChg>
        <pc:spChg chg="del">
          <ac:chgData name="Jean GRANDEMANGE" userId="faf07584-8716-430e-b66d-4ceae2fe8450" providerId="ADAL" clId="{50BDBC0F-387F-410F-83A2-D2F2FE73FB9B}" dt="2023-03-20T17:30:07.048" v="4578" actId="478"/>
          <ac:spMkLst>
            <pc:docMk/>
            <pc:sldMk cId="3923171717" sldId="2147470009"/>
            <ac:spMk id="51" creationId="{E75ED240-FCDC-08B5-DEDD-583498EA288C}"/>
          </ac:spMkLst>
        </pc:spChg>
        <pc:grpChg chg="del">
          <ac:chgData name="Jean GRANDEMANGE" userId="faf07584-8716-430e-b66d-4ceae2fe8450" providerId="ADAL" clId="{50BDBC0F-387F-410F-83A2-D2F2FE73FB9B}" dt="2023-03-20T17:30:07.048" v="4578" actId="478"/>
          <ac:grpSpMkLst>
            <pc:docMk/>
            <pc:sldMk cId="3923171717" sldId="2147470009"/>
            <ac:grpSpMk id="8" creationId="{F5A274C5-E874-65EB-6093-E1A5AF1315BC}"/>
          </ac:grpSpMkLst>
        </pc:grpChg>
        <pc:graphicFrameChg chg="del">
          <ac:chgData name="Jean GRANDEMANGE" userId="faf07584-8716-430e-b66d-4ceae2fe8450" providerId="ADAL" clId="{50BDBC0F-387F-410F-83A2-D2F2FE73FB9B}" dt="2023-03-20T17:30:07.048" v="4578" actId="478"/>
          <ac:graphicFrameMkLst>
            <pc:docMk/>
            <pc:sldMk cId="3923171717" sldId="2147470009"/>
            <ac:graphicFrameMk id="49" creationId="{35D71AD9-8FD7-BE74-5FA3-5F309C32FCD6}"/>
          </ac:graphicFrameMkLst>
        </pc:graphicFrameChg>
        <pc:picChg chg="del">
          <ac:chgData name="Jean GRANDEMANGE" userId="faf07584-8716-430e-b66d-4ceae2fe8450" providerId="ADAL" clId="{50BDBC0F-387F-410F-83A2-D2F2FE73FB9B}" dt="2023-03-20T17:30:07.048" v="4578" actId="478"/>
          <ac:picMkLst>
            <pc:docMk/>
            <pc:sldMk cId="3923171717" sldId="2147470009"/>
            <ac:picMk id="18" creationId="{99C9C4D0-CF08-FD6E-EC42-4B1FD3C04062}"/>
          </ac:picMkLst>
        </pc:picChg>
        <pc:picChg chg="del">
          <ac:chgData name="Jean GRANDEMANGE" userId="faf07584-8716-430e-b66d-4ceae2fe8450" providerId="ADAL" clId="{50BDBC0F-387F-410F-83A2-D2F2FE73FB9B}" dt="2023-03-20T17:30:07.048" v="4578" actId="478"/>
          <ac:picMkLst>
            <pc:docMk/>
            <pc:sldMk cId="3923171717" sldId="2147470009"/>
            <ac:picMk id="27" creationId="{5E656671-9E62-3916-45AF-78EAC2FE77E6}"/>
          </ac:picMkLst>
        </pc:picChg>
        <pc:picChg chg="del">
          <ac:chgData name="Jean GRANDEMANGE" userId="faf07584-8716-430e-b66d-4ceae2fe8450" providerId="ADAL" clId="{50BDBC0F-387F-410F-83A2-D2F2FE73FB9B}" dt="2023-03-20T17:30:07.048" v="4578" actId="478"/>
          <ac:picMkLst>
            <pc:docMk/>
            <pc:sldMk cId="3923171717" sldId="2147470009"/>
            <ac:picMk id="28" creationId="{F9D45798-D534-C6B6-9EA5-B9746FEDE260}"/>
          </ac:picMkLst>
        </pc:picChg>
        <pc:picChg chg="del">
          <ac:chgData name="Jean GRANDEMANGE" userId="faf07584-8716-430e-b66d-4ceae2fe8450" providerId="ADAL" clId="{50BDBC0F-387F-410F-83A2-D2F2FE73FB9B}" dt="2023-03-20T17:30:07.048" v="4578" actId="478"/>
          <ac:picMkLst>
            <pc:docMk/>
            <pc:sldMk cId="3923171717" sldId="2147470009"/>
            <ac:picMk id="29" creationId="{9BD9577E-A386-C715-B79D-9490ECFEC550}"/>
          </ac:picMkLst>
        </pc:picChg>
        <pc:picChg chg="del">
          <ac:chgData name="Jean GRANDEMANGE" userId="faf07584-8716-430e-b66d-4ceae2fe8450" providerId="ADAL" clId="{50BDBC0F-387F-410F-83A2-D2F2FE73FB9B}" dt="2023-03-20T17:30:07.048" v="4578" actId="478"/>
          <ac:picMkLst>
            <pc:docMk/>
            <pc:sldMk cId="3923171717" sldId="2147470009"/>
            <ac:picMk id="30" creationId="{2B1AA6EC-F80F-D151-8948-7FEA28679D09}"/>
          </ac:picMkLst>
        </pc:picChg>
        <pc:cxnChg chg="del">
          <ac:chgData name="Jean GRANDEMANGE" userId="faf07584-8716-430e-b66d-4ceae2fe8450" providerId="ADAL" clId="{50BDBC0F-387F-410F-83A2-D2F2FE73FB9B}" dt="2023-03-20T17:30:07.048" v="4578" actId="478"/>
          <ac:cxnSpMkLst>
            <pc:docMk/>
            <pc:sldMk cId="3923171717" sldId="2147470009"/>
            <ac:cxnSpMk id="23" creationId="{284DB7CB-7FB7-F98B-82FC-CE52E154587D}"/>
          </ac:cxnSpMkLst>
        </pc:cxnChg>
        <pc:cxnChg chg="del">
          <ac:chgData name="Jean GRANDEMANGE" userId="faf07584-8716-430e-b66d-4ceae2fe8450" providerId="ADAL" clId="{50BDBC0F-387F-410F-83A2-D2F2FE73FB9B}" dt="2023-03-20T17:30:07.048" v="4578" actId="478"/>
          <ac:cxnSpMkLst>
            <pc:docMk/>
            <pc:sldMk cId="3923171717" sldId="2147470009"/>
            <ac:cxnSpMk id="24" creationId="{468B5450-1198-9DBD-97DD-9366856F84AD}"/>
          </ac:cxnSpMkLst>
        </pc:cxnChg>
        <pc:cxnChg chg="del">
          <ac:chgData name="Jean GRANDEMANGE" userId="faf07584-8716-430e-b66d-4ceae2fe8450" providerId="ADAL" clId="{50BDBC0F-387F-410F-83A2-D2F2FE73FB9B}" dt="2023-03-20T17:30:07.048" v="4578" actId="478"/>
          <ac:cxnSpMkLst>
            <pc:docMk/>
            <pc:sldMk cId="3923171717" sldId="2147470009"/>
            <ac:cxnSpMk id="25" creationId="{DD095C7B-AD2B-9BB6-956D-BA2BE93DECA4}"/>
          </ac:cxnSpMkLst>
        </pc:cxnChg>
        <pc:cxnChg chg="del">
          <ac:chgData name="Jean GRANDEMANGE" userId="faf07584-8716-430e-b66d-4ceae2fe8450" providerId="ADAL" clId="{50BDBC0F-387F-410F-83A2-D2F2FE73FB9B}" dt="2023-03-20T17:30:07.048" v="4578" actId="478"/>
          <ac:cxnSpMkLst>
            <pc:docMk/>
            <pc:sldMk cId="3923171717" sldId="2147470009"/>
            <ac:cxnSpMk id="26" creationId="{C9944B73-9078-B423-DEDB-6689021D0E6E}"/>
          </ac:cxnSpMkLst>
        </pc:cxnChg>
      </pc:sldChg>
      <pc:sldChg chg="addSp delSp modSp add mod">
        <pc:chgData name="Jean GRANDEMANGE" userId="faf07584-8716-430e-b66d-4ceae2fe8450" providerId="ADAL" clId="{50BDBC0F-387F-410F-83A2-D2F2FE73FB9B}" dt="2023-03-20T17:48:43.708" v="4893" actId="14100"/>
        <pc:sldMkLst>
          <pc:docMk/>
          <pc:sldMk cId="3941280938" sldId="2147470010"/>
        </pc:sldMkLst>
        <pc:spChg chg="mod">
          <ac:chgData name="Jean GRANDEMANGE" userId="faf07584-8716-430e-b66d-4ceae2fe8450" providerId="ADAL" clId="{50BDBC0F-387F-410F-83A2-D2F2FE73FB9B}" dt="2023-03-20T17:46:37.956" v="4878"/>
          <ac:spMkLst>
            <pc:docMk/>
            <pc:sldMk cId="3941280938" sldId="2147470010"/>
            <ac:spMk id="6" creationId="{F5D4DEF4-39F4-D407-80A4-0B9A93A04562}"/>
          </ac:spMkLst>
        </pc:spChg>
        <pc:spChg chg="mod">
          <ac:chgData name="Jean GRANDEMANGE" userId="faf07584-8716-430e-b66d-4ceae2fe8450" providerId="ADAL" clId="{50BDBC0F-387F-410F-83A2-D2F2FE73FB9B}" dt="2023-03-20T17:46:37.956" v="4878"/>
          <ac:spMkLst>
            <pc:docMk/>
            <pc:sldMk cId="3941280938" sldId="2147470010"/>
            <ac:spMk id="9" creationId="{7A028791-D3E4-153B-9AC6-8C3FDD99AE05}"/>
          </ac:spMkLst>
        </pc:spChg>
        <pc:spChg chg="add mod">
          <ac:chgData name="Jean GRANDEMANGE" userId="faf07584-8716-430e-b66d-4ceae2fe8450" providerId="ADAL" clId="{50BDBC0F-387F-410F-83A2-D2F2FE73FB9B}" dt="2023-03-20T17:48:09.464" v="4884" actId="790"/>
          <ac:spMkLst>
            <pc:docMk/>
            <pc:sldMk cId="3941280938" sldId="2147470010"/>
            <ac:spMk id="10" creationId="{F0CC91F2-10E0-92F2-2F6A-58CE36134D5A}"/>
          </ac:spMkLst>
        </pc:spChg>
        <pc:spChg chg="del">
          <ac:chgData name="Jean GRANDEMANGE" userId="faf07584-8716-430e-b66d-4ceae2fe8450" providerId="ADAL" clId="{50BDBC0F-387F-410F-83A2-D2F2FE73FB9B}" dt="2023-03-20T17:46:31.741" v="4877" actId="478"/>
          <ac:spMkLst>
            <pc:docMk/>
            <pc:sldMk cId="3941280938" sldId="2147470010"/>
            <ac:spMk id="12" creationId="{F6FA3F40-789E-9E80-EB7D-40996691B8DF}"/>
          </ac:spMkLst>
        </pc:spChg>
        <pc:spChg chg="mod">
          <ac:chgData name="Jean GRANDEMANGE" userId="faf07584-8716-430e-b66d-4ceae2fe8450" providerId="ADAL" clId="{50BDBC0F-387F-410F-83A2-D2F2FE73FB9B}" dt="2023-03-20T17:48:22.979" v="4887" actId="113"/>
          <ac:spMkLst>
            <pc:docMk/>
            <pc:sldMk cId="3941280938" sldId="2147470010"/>
            <ac:spMk id="14" creationId="{6303CB7F-6D9B-8EC0-2D2F-BEAE9376DB6B}"/>
          </ac:spMkLst>
        </pc:spChg>
        <pc:spChg chg="mod">
          <ac:chgData name="Jean GRANDEMANGE" userId="faf07584-8716-430e-b66d-4ceae2fe8450" providerId="ADAL" clId="{50BDBC0F-387F-410F-83A2-D2F2FE73FB9B}" dt="2023-03-20T17:46:37.956" v="4878"/>
          <ac:spMkLst>
            <pc:docMk/>
            <pc:sldMk cId="3941280938" sldId="2147470010"/>
            <ac:spMk id="15" creationId="{686C81B2-D99A-E98F-664F-A92A66CE6EA9}"/>
          </ac:spMkLst>
        </pc:spChg>
        <pc:spChg chg="mod">
          <ac:chgData name="Jean GRANDEMANGE" userId="faf07584-8716-430e-b66d-4ceae2fe8450" providerId="ADAL" clId="{50BDBC0F-387F-410F-83A2-D2F2FE73FB9B}" dt="2023-03-20T17:46:28.926" v="4876" actId="20577"/>
          <ac:spMkLst>
            <pc:docMk/>
            <pc:sldMk cId="3941280938" sldId="2147470010"/>
            <ac:spMk id="17" creationId="{EEF56FE3-E971-BDE5-FE44-30170D5D643C}"/>
          </ac:spMkLst>
        </pc:spChg>
        <pc:spChg chg="add mod">
          <ac:chgData name="Jean GRANDEMANGE" userId="faf07584-8716-430e-b66d-4ceae2fe8450" providerId="ADAL" clId="{50BDBC0F-387F-410F-83A2-D2F2FE73FB9B}" dt="2023-03-20T17:48:43.708" v="4893" actId="14100"/>
          <ac:spMkLst>
            <pc:docMk/>
            <pc:sldMk cId="3941280938" sldId="2147470010"/>
            <ac:spMk id="18" creationId="{81771090-950E-0F12-08C9-3F8E4FE81722}"/>
          </ac:spMkLst>
        </pc:spChg>
        <pc:spChg chg="del">
          <ac:chgData name="Jean GRANDEMANGE" userId="faf07584-8716-430e-b66d-4ceae2fe8450" providerId="ADAL" clId="{50BDBC0F-387F-410F-83A2-D2F2FE73FB9B}" dt="2023-03-20T17:46:31.741" v="4877" actId="478"/>
          <ac:spMkLst>
            <pc:docMk/>
            <pc:sldMk cId="3941280938" sldId="2147470010"/>
            <ac:spMk id="3989" creationId="{69120E86-3C4C-2FAD-F95A-DC3E0EA4D655}"/>
          </ac:spMkLst>
        </pc:spChg>
        <pc:spChg chg="del">
          <ac:chgData name="Jean GRANDEMANGE" userId="faf07584-8716-430e-b66d-4ceae2fe8450" providerId="ADAL" clId="{50BDBC0F-387F-410F-83A2-D2F2FE73FB9B}" dt="2023-03-20T17:46:31.741" v="4877" actId="478"/>
          <ac:spMkLst>
            <pc:docMk/>
            <pc:sldMk cId="3941280938" sldId="2147470010"/>
            <ac:spMk id="3993" creationId="{8853F7B2-45E5-AEB3-1450-AA27EE128996}"/>
          </ac:spMkLst>
        </pc:spChg>
        <pc:grpChg chg="add mod">
          <ac:chgData name="Jean GRANDEMANGE" userId="faf07584-8716-430e-b66d-4ceae2fe8450" providerId="ADAL" clId="{50BDBC0F-387F-410F-83A2-D2F2FE73FB9B}" dt="2023-03-20T17:46:37.956" v="4878"/>
          <ac:grpSpMkLst>
            <pc:docMk/>
            <pc:sldMk cId="3941280938" sldId="2147470010"/>
            <ac:grpSpMk id="2" creationId="{81289972-155A-1E53-A1F0-A959C092B118}"/>
          </ac:grpSpMkLst>
        </pc:grpChg>
        <pc:grpChg chg="mod">
          <ac:chgData name="Jean GRANDEMANGE" userId="faf07584-8716-430e-b66d-4ceae2fe8450" providerId="ADAL" clId="{50BDBC0F-387F-410F-83A2-D2F2FE73FB9B}" dt="2023-03-20T17:46:37.956" v="4878"/>
          <ac:grpSpMkLst>
            <pc:docMk/>
            <pc:sldMk cId="3941280938" sldId="2147470010"/>
            <ac:grpSpMk id="3" creationId="{265164BB-053E-DFBF-8C49-F67D69236B8A}"/>
          </ac:grpSpMkLst>
        </pc:grpChg>
        <pc:grpChg chg="mod">
          <ac:chgData name="Jean GRANDEMANGE" userId="faf07584-8716-430e-b66d-4ceae2fe8450" providerId="ADAL" clId="{50BDBC0F-387F-410F-83A2-D2F2FE73FB9B}" dt="2023-03-20T17:46:37.956" v="4878"/>
          <ac:grpSpMkLst>
            <pc:docMk/>
            <pc:sldMk cId="3941280938" sldId="2147470010"/>
            <ac:grpSpMk id="7" creationId="{619187E7-88F7-3849-EE56-FE9754355DB3}"/>
          </ac:grpSpMkLst>
        </pc:grpChg>
        <pc:grpChg chg="add mod">
          <ac:chgData name="Jean GRANDEMANGE" userId="faf07584-8716-430e-b66d-4ceae2fe8450" providerId="ADAL" clId="{50BDBC0F-387F-410F-83A2-D2F2FE73FB9B}" dt="2023-03-20T17:46:37.956" v="4878"/>
          <ac:grpSpMkLst>
            <pc:docMk/>
            <pc:sldMk cId="3941280938" sldId="2147470010"/>
            <ac:grpSpMk id="11" creationId="{463679B1-D9D8-1DA3-426F-2E59215692DA}"/>
          </ac:grpSpMkLst>
        </pc:grpChg>
        <pc:graphicFrameChg chg="del">
          <ac:chgData name="Jean GRANDEMANGE" userId="faf07584-8716-430e-b66d-4ceae2fe8450" providerId="ADAL" clId="{50BDBC0F-387F-410F-83A2-D2F2FE73FB9B}" dt="2023-03-20T17:46:31.741" v="4877" actId="478"/>
          <ac:graphicFrameMkLst>
            <pc:docMk/>
            <pc:sldMk cId="3941280938" sldId="2147470010"/>
            <ac:graphicFrameMk id="3310" creationId="{09C0683D-98AC-1F47-3599-080A574C7937}"/>
          </ac:graphicFrameMkLst>
        </pc:graphicFrameChg>
        <pc:picChg chg="mod">
          <ac:chgData name="Jean GRANDEMANGE" userId="faf07584-8716-430e-b66d-4ceae2fe8450" providerId="ADAL" clId="{50BDBC0F-387F-410F-83A2-D2F2FE73FB9B}" dt="2023-03-20T17:46:37.956" v="4878"/>
          <ac:picMkLst>
            <pc:docMk/>
            <pc:sldMk cId="3941280938" sldId="2147470010"/>
            <ac:picMk id="4" creationId="{E94AC4A6-8AB3-6B11-FA35-B9EE4E4FA0C8}"/>
          </ac:picMkLst>
        </pc:picChg>
        <pc:picChg chg="mod">
          <ac:chgData name="Jean GRANDEMANGE" userId="faf07584-8716-430e-b66d-4ceae2fe8450" providerId="ADAL" clId="{50BDBC0F-387F-410F-83A2-D2F2FE73FB9B}" dt="2023-03-20T17:46:37.956" v="4878"/>
          <ac:picMkLst>
            <pc:docMk/>
            <pc:sldMk cId="3941280938" sldId="2147470010"/>
            <ac:picMk id="8" creationId="{F6165DA0-30F2-E2A5-0B7E-99C52CB04212}"/>
          </ac:picMkLst>
        </pc:picChg>
        <pc:picChg chg="mod">
          <ac:chgData name="Jean GRANDEMANGE" userId="faf07584-8716-430e-b66d-4ceae2fe8450" providerId="ADAL" clId="{50BDBC0F-387F-410F-83A2-D2F2FE73FB9B}" dt="2023-03-20T17:46:37.956" v="4878"/>
          <ac:picMkLst>
            <pc:docMk/>
            <pc:sldMk cId="3941280938" sldId="2147470010"/>
            <ac:picMk id="13" creationId="{86604955-2EC4-FA1A-7D00-81608CE1ECA8}"/>
          </ac:picMkLst>
        </pc:picChg>
        <pc:picChg chg="add mod">
          <ac:chgData name="Jean GRANDEMANGE" userId="faf07584-8716-430e-b66d-4ceae2fe8450" providerId="ADAL" clId="{50BDBC0F-387F-410F-83A2-D2F2FE73FB9B}" dt="2023-03-20T17:46:37.956" v="4878"/>
          <ac:picMkLst>
            <pc:docMk/>
            <pc:sldMk cId="3941280938" sldId="2147470010"/>
            <ac:picMk id="16" creationId="{F1C2C41F-AC0F-B043-E2DD-478AD5E7F17B}"/>
          </ac:picMkLst>
        </pc:picChg>
        <pc:picChg chg="add del mod">
          <ac:chgData name="Jean GRANDEMANGE" userId="faf07584-8716-430e-b66d-4ceae2fe8450" providerId="ADAL" clId="{50BDBC0F-387F-410F-83A2-D2F2FE73FB9B}" dt="2023-03-20T17:48:18.172" v="4886" actId="478"/>
          <ac:picMkLst>
            <pc:docMk/>
            <pc:sldMk cId="3941280938" sldId="2147470010"/>
            <ac:picMk id="19" creationId="{C4E5FCD4-74C7-D35C-A635-2C09CA30FEED}"/>
          </ac:picMkLst>
        </pc:picChg>
        <pc:picChg chg="del">
          <ac:chgData name="Jean GRANDEMANGE" userId="faf07584-8716-430e-b66d-4ceae2fe8450" providerId="ADAL" clId="{50BDBC0F-387F-410F-83A2-D2F2FE73FB9B}" dt="2023-03-20T17:46:31.741" v="4877" actId="478"/>
          <ac:picMkLst>
            <pc:docMk/>
            <pc:sldMk cId="3941280938" sldId="2147470010"/>
            <ac:picMk id="3995" creationId="{B02622AA-2F08-0BB9-B37A-D024577312BF}"/>
          </ac:picMkLst>
        </pc:picChg>
        <pc:cxnChg chg="mod">
          <ac:chgData name="Jean GRANDEMANGE" userId="faf07584-8716-430e-b66d-4ceae2fe8450" providerId="ADAL" clId="{50BDBC0F-387F-410F-83A2-D2F2FE73FB9B}" dt="2023-03-20T17:46:37.956" v="4878"/>
          <ac:cxnSpMkLst>
            <pc:docMk/>
            <pc:sldMk cId="3941280938" sldId="2147470010"/>
            <ac:cxnSpMk id="5" creationId="{493459F0-AFE9-5245-BE58-0EEEE410C0B2}"/>
          </ac:cxnSpMkLst>
        </pc:cxnChg>
        <pc:cxnChg chg="del">
          <ac:chgData name="Jean GRANDEMANGE" userId="faf07584-8716-430e-b66d-4ceae2fe8450" providerId="ADAL" clId="{50BDBC0F-387F-410F-83A2-D2F2FE73FB9B}" dt="2023-03-20T17:46:31.741" v="4877" actId="478"/>
          <ac:cxnSpMkLst>
            <pc:docMk/>
            <pc:sldMk cId="3941280938" sldId="2147470010"/>
            <ac:cxnSpMk id="3991" creationId="{23C23B9B-0ADE-B2FE-B726-BF9D809B914E}"/>
          </ac:cxnSpMkLst>
        </pc:cxnChg>
      </pc:sldChg>
      <pc:sldChg chg="addSp delSp modSp add mod">
        <pc:chgData name="Jean GRANDEMANGE" userId="faf07584-8716-430e-b66d-4ceae2fe8450" providerId="ADAL" clId="{50BDBC0F-387F-410F-83A2-D2F2FE73FB9B}" dt="2023-03-20T17:49:06.474" v="4901" actId="113"/>
        <pc:sldMkLst>
          <pc:docMk/>
          <pc:sldMk cId="1204238432" sldId="2147470011"/>
        </pc:sldMkLst>
        <pc:spChg chg="del">
          <ac:chgData name="Jean GRANDEMANGE" userId="faf07584-8716-430e-b66d-4ceae2fe8450" providerId="ADAL" clId="{50BDBC0F-387F-410F-83A2-D2F2FE73FB9B}" dt="2023-03-20T17:48:54.806" v="4897" actId="478"/>
          <ac:spMkLst>
            <pc:docMk/>
            <pc:sldMk cId="1204238432" sldId="2147470011"/>
            <ac:spMk id="10" creationId="{F0CC91F2-10E0-92F2-2F6A-58CE36134D5A}"/>
          </ac:spMkLst>
        </pc:spChg>
        <pc:spChg chg="mod">
          <ac:chgData name="Jean GRANDEMANGE" userId="faf07584-8716-430e-b66d-4ceae2fe8450" providerId="ADAL" clId="{50BDBC0F-387F-410F-83A2-D2F2FE73FB9B}" dt="2023-03-20T17:48:52.297" v="4896" actId="20577"/>
          <ac:spMkLst>
            <pc:docMk/>
            <pc:sldMk cId="1204238432" sldId="2147470011"/>
            <ac:spMk id="17" creationId="{EEF56FE3-E971-BDE5-FE44-30170D5D643C}"/>
          </ac:spMkLst>
        </pc:spChg>
        <pc:spChg chg="del">
          <ac:chgData name="Jean GRANDEMANGE" userId="faf07584-8716-430e-b66d-4ceae2fe8450" providerId="ADAL" clId="{50BDBC0F-387F-410F-83A2-D2F2FE73FB9B}" dt="2023-03-20T17:48:54.806" v="4897" actId="478"/>
          <ac:spMkLst>
            <pc:docMk/>
            <pc:sldMk cId="1204238432" sldId="2147470011"/>
            <ac:spMk id="18" creationId="{81771090-950E-0F12-08C9-3F8E4FE81722}"/>
          </ac:spMkLst>
        </pc:spChg>
        <pc:spChg chg="mod">
          <ac:chgData name="Jean GRANDEMANGE" userId="faf07584-8716-430e-b66d-4ceae2fe8450" providerId="ADAL" clId="{50BDBC0F-387F-410F-83A2-D2F2FE73FB9B}" dt="2023-03-20T17:49:01.137" v="4899"/>
          <ac:spMkLst>
            <pc:docMk/>
            <pc:sldMk cId="1204238432" sldId="2147470011"/>
            <ac:spMk id="20" creationId="{597F31F7-D13E-3747-B353-3AE941139172}"/>
          </ac:spMkLst>
        </pc:spChg>
        <pc:spChg chg="mod">
          <ac:chgData name="Jean GRANDEMANGE" userId="faf07584-8716-430e-b66d-4ceae2fe8450" providerId="ADAL" clId="{50BDBC0F-387F-410F-83A2-D2F2FE73FB9B}" dt="2023-03-20T17:49:06.474" v="4901" actId="113"/>
          <ac:spMkLst>
            <pc:docMk/>
            <pc:sldMk cId="1204238432" sldId="2147470011"/>
            <ac:spMk id="21" creationId="{8B89C02B-2DD5-A348-B966-DE191F79A614}"/>
          </ac:spMkLst>
        </pc:spChg>
        <pc:spChg chg="mod">
          <ac:chgData name="Jean GRANDEMANGE" userId="faf07584-8716-430e-b66d-4ceae2fe8450" providerId="ADAL" clId="{50BDBC0F-387F-410F-83A2-D2F2FE73FB9B}" dt="2023-03-20T17:49:01.137" v="4899"/>
          <ac:spMkLst>
            <pc:docMk/>
            <pc:sldMk cId="1204238432" sldId="2147470011"/>
            <ac:spMk id="24" creationId="{CF69E2F0-D965-AC9D-9A74-DFA53660805B}"/>
          </ac:spMkLst>
        </pc:spChg>
        <pc:spChg chg="mod">
          <ac:chgData name="Jean GRANDEMANGE" userId="faf07584-8716-430e-b66d-4ceae2fe8450" providerId="ADAL" clId="{50BDBC0F-387F-410F-83A2-D2F2FE73FB9B}" dt="2023-03-20T17:49:01.137" v="4899"/>
          <ac:spMkLst>
            <pc:docMk/>
            <pc:sldMk cId="1204238432" sldId="2147470011"/>
            <ac:spMk id="25" creationId="{077A200B-7FF9-30FE-49C6-DEDC82238176}"/>
          </ac:spMkLst>
        </pc:spChg>
        <pc:spChg chg="mod">
          <ac:chgData name="Jean GRANDEMANGE" userId="faf07584-8716-430e-b66d-4ceae2fe8450" providerId="ADAL" clId="{50BDBC0F-387F-410F-83A2-D2F2FE73FB9B}" dt="2023-03-20T17:49:01.137" v="4899"/>
          <ac:spMkLst>
            <pc:docMk/>
            <pc:sldMk cId="1204238432" sldId="2147470011"/>
            <ac:spMk id="26" creationId="{B6E25579-6720-70D8-E01A-0207DDA9C0C7}"/>
          </ac:spMkLst>
        </pc:spChg>
        <pc:grpChg chg="del">
          <ac:chgData name="Jean GRANDEMANGE" userId="faf07584-8716-430e-b66d-4ceae2fe8450" providerId="ADAL" clId="{50BDBC0F-387F-410F-83A2-D2F2FE73FB9B}" dt="2023-03-20T17:48:54.806" v="4897" actId="478"/>
          <ac:grpSpMkLst>
            <pc:docMk/>
            <pc:sldMk cId="1204238432" sldId="2147470011"/>
            <ac:grpSpMk id="2" creationId="{81289972-155A-1E53-A1F0-A959C092B118}"/>
          </ac:grpSpMkLst>
        </pc:grpChg>
        <pc:grpChg chg="del">
          <ac:chgData name="Jean GRANDEMANGE" userId="faf07584-8716-430e-b66d-4ceae2fe8450" providerId="ADAL" clId="{50BDBC0F-387F-410F-83A2-D2F2FE73FB9B}" dt="2023-03-20T17:48:55.423" v="4898" actId="478"/>
          <ac:grpSpMkLst>
            <pc:docMk/>
            <pc:sldMk cId="1204238432" sldId="2147470011"/>
            <ac:grpSpMk id="11" creationId="{463679B1-D9D8-1DA3-426F-2E59215692DA}"/>
          </ac:grpSpMkLst>
        </pc:grpChg>
        <pc:grpChg chg="add mod">
          <ac:chgData name="Jean GRANDEMANGE" userId="faf07584-8716-430e-b66d-4ceae2fe8450" providerId="ADAL" clId="{50BDBC0F-387F-410F-83A2-D2F2FE73FB9B}" dt="2023-03-20T17:49:01.137" v="4899"/>
          <ac:grpSpMkLst>
            <pc:docMk/>
            <pc:sldMk cId="1204238432" sldId="2147470011"/>
            <ac:grpSpMk id="12" creationId="{114C7209-4437-D0B4-CE75-B4E76EA545D4}"/>
          </ac:grpSpMkLst>
        </pc:grpChg>
        <pc:grpChg chg="mod">
          <ac:chgData name="Jean GRANDEMANGE" userId="faf07584-8716-430e-b66d-4ceae2fe8450" providerId="ADAL" clId="{50BDBC0F-387F-410F-83A2-D2F2FE73FB9B}" dt="2023-03-20T17:49:01.137" v="4899"/>
          <ac:grpSpMkLst>
            <pc:docMk/>
            <pc:sldMk cId="1204238432" sldId="2147470011"/>
            <ac:grpSpMk id="19" creationId="{EE6AFB1C-732C-DC57-7CA6-63B0BABC12F6}"/>
          </ac:grpSpMkLst>
        </pc:grpChg>
        <pc:picChg chg="del">
          <ac:chgData name="Jean GRANDEMANGE" userId="faf07584-8716-430e-b66d-4ceae2fe8450" providerId="ADAL" clId="{50BDBC0F-387F-410F-83A2-D2F2FE73FB9B}" dt="2023-03-20T17:48:54.806" v="4897" actId="478"/>
          <ac:picMkLst>
            <pc:docMk/>
            <pc:sldMk cId="1204238432" sldId="2147470011"/>
            <ac:picMk id="16" creationId="{F1C2C41F-AC0F-B043-E2DD-478AD5E7F17B}"/>
          </ac:picMkLst>
        </pc:picChg>
        <pc:picChg chg="mod">
          <ac:chgData name="Jean GRANDEMANGE" userId="faf07584-8716-430e-b66d-4ceae2fe8450" providerId="ADAL" clId="{50BDBC0F-387F-410F-83A2-D2F2FE73FB9B}" dt="2023-03-20T17:49:01.137" v="4899"/>
          <ac:picMkLst>
            <pc:docMk/>
            <pc:sldMk cId="1204238432" sldId="2147470011"/>
            <ac:picMk id="22" creationId="{457978CA-A61E-BF71-247C-F3694C9CA583}"/>
          </ac:picMkLst>
        </pc:picChg>
        <pc:picChg chg="mod">
          <ac:chgData name="Jean GRANDEMANGE" userId="faf07584-8716-430e-b66d-4ceae2fe8450" providerId="ADAL" clId="{50BDBC0F-387F-410F-83A2-D2F2FE73FB9B}" dt="2023-03-20T17:49:01.137" v="4899"/>
          <ac:picMkLst>
            <pc:docMk/>
            <pc:sldMk cId="1204238432" sldId="2147470011"/>
            <ac:picMk id="23" creationId="{21514E3E-DD2E-B461-DAD9-F68595EF4D99}"/>
          </ac:picMkLst>
        </pc:picChg>
      </pc:sldChg>
      <pc:sldChg chg="addSp delSp modSp add mod">
        <pc:chgData name="Jean GRANDEMANGE" userId="faf07584-8716-430e-b66d-4ceae2fe8450" providerId="ADAL" clId="{50BDBC0F-387F-410F-83A2-D2F2FE73FB9B}" dt="2023-03-20T18:02:26.144" v="5426" actId="14100"/>
        <pc:sldMkLst>
          <pc:docMk/>
          <pc:sldMk cId="1290858375" sldId="2147470012"/>
        </pc:sldMkLst>
        <pc:spChg chg="del">
          <ac:chgData name="Jean GRANDEMANGE" userId="faf07584-8716-430e-b66d-4ceae2fe8450" providerId="ADAL" clId="{50BDBC0F-387F-410F-83A2-D2F2FE73FB9B}" dt="2023-03-20T17:55:22.239" v="4987" actId="478"/>
          <ac:spMkLst>
            <pc:docMk/>
            <pc:sldMk cId="1290858375" sldId="2147470012"/>
            <ac:spMk id="3" creationId="{EC48ED7E-9F58-9F45-3CB6-A3C02E719B86}"/>
          </ac:spMkLst>
        </pc:spChg>
        <pc:spChg chg="del">
          <ac:chgData name="Jean GRANDEMANGE" userId="faf07584-8716-430e-b66d-4ceae2fe8450" providerId="ADAL" clId="{50BDBC0F-387F-410F-83A2-D2F2FE73FB9B}" dt="2023-03-20T17:55:22.239" v="4987" actId="478"/>
          <ac:spMkLst>
            <pc:docMk/>
            <pc:sldMk cId="1290858375" sldId="2147470012"/>
            <ac:spMk id="4" creationId="{51A5D56B-DC75-4304-91E8-1A160DBEEB3E}"/>
          </ac:spMkLst>
        </pc:spChg>
        <pc:spChg chg="del">
          <ac:chgData name="Jean GRANDEMANGE" userId="faf07584-8716-430e-b66d-4ceae2fe8450" providerId="ADAL" clId="{50BDBC0F-387F-410F-83A2-D2F2FE73FB9B}" dt="2023-03-20T17:55:22.239" v="4987" actId="478"/>
          <ac:spMkLst>
            <pc:docMk/>
            <pc:sldMk cId="1290858375" sldId="2147470012"/>
            <ac:spMk id="5" creationId="{86003A0A-DB97-4C93-A824-76C33B7B9C82}"/>
          </ac:spMkLst>
        </pc:spChg>
        <pc:spChg chg="del">
          <ac:chgData name="Jean GRANDEMANGE" userId="faf07584-8716-430e-b66d-4ceae2fe8450" providerId="ADAL" clId="{50BDBC0F-387F-410F-83A2-D2F2FE73FB9B}" dt="2023-03-20T17:55:22.239" v="4987" actId="478"/>
          <ac:spMkLst>
            <pc:docMk/>
            <pc:sldMk cId="1290858375" sldId="2147470012"/>
            <ac:spMk id="6" creationId="{D21872A7-FA51-4AE1-9BE0-641C7428361A}"/>
          </ac:spMkLst>
        </pc:spChg>
        <pc:spChg chg="del">
          <ac:chgData name="Jean GRANDEMANGE" userId="faf07584-8716-430e-b66d-4ceae2fe8450" providerId="ADAL" clId="{50BDBC0F-387F-410F-83A2-D2F2FE73FB9B}" dt="2023-03-20T17:55:22.239" v="4987" actId="478"/>
          <ac:spMkLst>
            <pc:docMk/>
            <pc:sldMk cId="1290858375" sldId="2147470012"/>
            <ac:spMk id="8" creationId="{40FDCFEB-94C1-4364-8A24-8CF1F4E5ACD6}"/>
          </ac:spMkLst>
        </pc:spChg>
        <pc:spChg chg="del">
          <ac:chgData name="Jean GRANDEMANGE" userId="faf07584-8716-430e-b66d-4ceae2fe8450" providerId="ADAL" clId="{50BDBC0F-387F-410F-83A2-D2F2FE73FB9B}" dt="2023-03-20T17:55:22.239" v="4987" actId="478"/>
          <ac:spMkLst>
            <pc:docMk/>
            <pc:sldMk cId="1290858375" sldId="2147470012"/>
            <ac:spMk id="9" creationId="{0520A868-5049-425D-B679-4BA221E97D54}"/>
          </ac:spMkLst>
        </pc:spChg>
        <pc:spChg chg="del">
          <ac:chgData name="Jean GRANDEMANGE" userId="faf07584-8716-430e-b66d-4ceae2fe8450" providerId="ADAL" clId="{50BDBC0F-387F-410F-83A2-D2F2FE73FB9B}" dt="2023-03-20T17:55:22.239" v="4987" actId="478"/>
          <ac:spMkLst>
            <pc:docMk/>
            <pc:sldMk cId="1290858375" sldId="2147470012"/>
            <ac:spMk id="10" creationId="{266D93E3-C205-4C7E-B123-F4184ABE181A}"/>
          </ac:spMkLst>
        </pc:spChg>
        <pc:spChg chg="add mod">
          <ac:chgData name="Jean GRANDEMANGE" userId="faf07584-8716-430e-b66d-4ceae2fe8450" providerId="ADAL" clId="{50BDBC0F-387F-410F-83A2-D2F2FE73FB9B}" dt="2023-03-20T18:02:26.144" v="5426" actId="14100"/>
          <ac:spMkLst>
            <pc:docMk/>
            <pc:sldMk cId="1290858375" sldId="2147470012"/>
            <ac:spMk id="11" creationId="{705CF308-90E4-5389-F04C-8C091EC37AC8}"/>
          </ac:spMkLst>
        </pc:spChg>
        <pc:spChg chg="add mod">
          <ac:chgData name="Jean GRANDEMANGE" userId="faf07584-8716-430e-b66d-4ceae2fe8450" providerId="ADAL" clId="{50BDBC0F-387F-410F-83A2-D2F2FE73FB9B}" dt="2023-03-20T18:02:26.144" v="5426" actId="14100"/>
          <ac:spMkLst>
            <pc:docMk/>
            <pc:sldMk cId="1290858375" sldId="2147470012"/>
            <ac:spMk id="12" creationId="{B87CB29D-7093-D592-826F-4F6F6D9EBB21}"/>
          </ac:spMkLst>
        </pc:spChg>
        <pc:spChg chg="del">
          <ac:chgData name="Jean GRANDEMANGE" userId="faf07584-8716-430e-b66d-4ceae2fe8450" providerId="ADAL" clId="{50BDBC0F-387F-410F-83A2-D2F2FE73FB9B}" dt="2023-03-20T17:55:22.239" v="4987" actId="478"/>
          <ac:spMkLst>
            <pc:docMk/>
            <pc:sldMk cId="1290858375" sldId="2147470012"/>
            <ac:spMk id="13" creationId="{2D8B0E4F-32EA-4629-9D69-E3E324F9CC73}"/>
          </ac:spMkLst>
        </pc:spChg>
        <pc:spChg chg="del">
          <ac:chgData name="Jean GRANDEMANGE" userId="faf07584-8716-430e-b66d-4ceae2fe8450" providerId="ADAL" clId="{50BDBC0F-387F-410F-83A2-D2F2FE73FB9B}" dt="2023-03-20T17:55:22.239" v="4987" actId="478"/>
          <ac:spMkLst>
            <pc:docMk/>
            <pc:sldMk cId="1290858375" sldId="2147470012"/>
            <ac:spMk id="21" creationId="{1D3EA3B3-0152-49A7-B342-314106F9328B}"/>
          </ac:spMkLst>
        </pc:spChg>
        <pc:spChg chg="del">
          <ac:chgData name="Jean GRANDEMANGE" userId="faf07584-8716-430e-b66d-4ceae2fe8450" providerId="ADAL" clId="{50BDBC0F-387F-410F-83A2-D2F2FE73FB9B}" dt="2023-03-20T17:55:22.239" v="4987" actId="478"/>
          <ac:spMkLst>
            <pc:docMk/>
            <pc:sldMk cId="1290858375" sldId="2147470012"/>
            <ac:spMk id="27" creationId="{AB1C50DF-B242-4637-85B8-AFF33AF6FCDA}"/>
          </ac:spMkLst>
        </pc:spChg>
        <pc:spChg chg="mod">
          <ac:chgData name="Jean GRANDEMANGE" userId="faf07584-8716-430e-b66d-4ceae2fe8450" providerId="ADAL" clId="{50BDBC0F-387F-410F-83A2-D2F2FE73FB9B}" dt="2023-03-20T17:57:15.883" v="5185" actId="13926"/>
          <ac:spMkLst>
            <pc:docMk/>
            <pc:sldMk cId="1290858375" sldId="2147470012"/>
            <ac:spMk id="37" creationId="{7AF0E430-CDB8-4B45-8379-46CBA595C178}"/>
          </ac:spMkLst>
        </pc:spChg>
        <pc:spChg chg="del">
          <ac:chgData name="Jean GRANDEMANGE" userId="faf07584-8716-430e-b66d-4ceae2fe8450" providerId="ADAL" clId="{50BDBC0F-387F-410F-83A2-D2F2FE73FB9B}" dt="2023-03-20T17:55:22.239" v="4987" actId="478"/>
          <ac:spMkLst>
            <pc:docMk/>
            <pc:sldMk cId="1290858375" sldId="2147470012"/>
            <ac:spMk id="39" creationId="{79339183-0722-4C64-A1CF-A021ABD95820}"/>
          </ac:spMkLst>
        </pc:spChg>
        <pc:spChg chg="del">
          <ac:chgData name="Jean GRANDEMANGE" userId="faf07584-8716-430e-b66d-4ceae2fe8450" providerId="ADAL" clId="{50BDBC0F-387F-410F-83A2-D2F2FE73FB9B}" dt="2023-03-20T17:55:22.239" v="4987" actId="478"/>
          <ac:spMkLst>
            <pc:docMk/>
            <pc:sldMk cId="1290858375" sldId="2147470012"/>
            <ac:spMk id="40" creationId="{61434720-D051-4849-ACA0-52B93A6BFAFA}"/>
          </ac:spMkLst>
        </pc:spChg>
        <pc:spChg chg="add mod">
          <ac:chgData name="Jean GRANDEMANGE" userId="faf07584-8716-430e-b66d-4ceae2fe8450" providerId="ADAL" clId="{50BDBC0F-387F-410F-83A2-D2F2FE73FB9B}" dt="2023-03-20T18:02:24.581" v="5425" actId="571"/>
          <ac:spMkLst>
            <pc:docMk/>
            <pc:sldMk cId="1290858375" sldId="2147470012"/>
            <ac:spMk id="50" creationId="{F3FB877D-9A38-ED51-6DAE-CFE94EF99328}"/>
          </ac:spMkLst>
        </pc:spChg>
        <pc:spChg chg="add mod">
          <ac:chgData name="Jean GRANDEMANGE" userId="faf07584-8716-430e-b66d-4ceae2fe8450" providerId="ADAL" clId="{50BDBC0F-387F-410F-83A2-D2F2FE73FB9B}" dt="2023-03-20T18:02:24.581" v="5425" actId="571"/>
          <ac:spMkLst>
            <pc:docMk/>
            <pc:sldMk cId="1290858375" sldId="2147470012"/>
            <ac:spMk id="51" creationId="{1E9F9665-A49C-8C4B-6AC1-D0B5DF63A1F0}"/>
          </ac:spMkLst>
        </pc:spChg>
        <pc:grpChg chg="del">
          <ac:chgData name="Jean GRANDEMANGE" userId="faf07584-8716-430e-b66d-4ceae2fe8450" providerId="ADAL" clId="{50BDBC0F-387F-410F-83A2-D2F2FE73FB9B}" dt="2023-03-20T17:55:22.239" v="4987" actId="478"/>
          <ac:grpSpMkLst>
            <pc:docMk/>
            <pc:sldMk cId="1290858375" sldId="2147470012"/>
            <ac:grpSpMk id="15" creationId="{2FA91D2C-216A-4302-91C3-A236EBBBA892}"/>
          </ac:grpSpMkLst>
        </pc:grpChg>
        <pc:grpChg chg="del">
          <ac:chgData name="Jean GRANDEMANGE" userId="faf07584-8716-430e-b66d-4ceae2fe8450" providerId="ADAL" clId="{50BDBC0F-387F-410F-83A2-D2F2FE73FB9B}" dt="2023-03-20T17:55:22.239" v="4987" actId="478"/>
          <ac:grpSpMkLst>
            <pc:docMk/>
            <pc:sldMk cId="1290858375" sldId="2147470012"/>
            <ac:grpSpMk id="22" creationId="{C8D42E14-7E5F-488E-B43D-EED9604FB1F6}"/>
          </ac:grpSpMkLst>
        </pc:grpChg>
        <pc:grpChg chg="del">
          <ac:chgData name="Jean GRANDEMANGE" userId="faf07584-8716-430e-b66d-4ceae2fe8450" providerId="ADAL" clId="{50BDBC0F-387F-410F-83A2-D2F2FE73FB9B}" dt="2023-03-20T17:55:22.239" v="4987" actId="478"/>
          <ac:grpSpMkLst>
            <pc:docMk/>
            <pc:sldMk cId="1290858375" sldId="2147470012"/>
            <ac:grpSpMk id="29" creationId="{A39F0604-8228-46C3-810C-CB30D772CE77}"/>
          </ac:grpSpMkLst>
        </pc:grpChg>
        <pc:grpChg chg="del">
          <ac:chgData name="Jean GRANDEMANGE" userId="faf07584-8716-430e-b66d-4ceae2fe8450" providerId="ADAL" clId="{50BDBC0F-387F-410F-83A2-D2F2FE73FB9B}" dt="2023-03-20T17:55:22.239" v="4987" actId="478"/>
          <ac:grpSpMkLst>
            <pc:docMk/>
            <pc:sldMk cId="1290858375" sldId="2147470012"/>
            <ac:grpSpMk id="41" creationId="{83A23B5F-9C90-4837-B479-1EBE4631E50D}"/>
          </ac:grpSpMkLst>
        </pc:grpChg>
        <pc:picChg chg="add mod">
          <ac:chgData name="Jean GRANDEMANGE" userId="faf07584-8716-430e-b66d-4ceae2fe8450" providerId="ADAL" clId="{50BDBC0F-387F-410F-83A2-D2F2FE73FB9B}" dt="2023-03-20T18:00:59.311" v="5238" actId="14100"/>
          <ac:picMkLst>
            <pc:docMk/>
            <pc:sldMk cId="1290858375" sldId="2147470012"/>
            <ac:picMk id="2" creationId="{5BFDA17D-2D45-70B3-1C08-71DEF9C5A900}"/>
          </ac:picMkLst>
        </pc:picChg>
        <pc:picChg chg="add mod">
          <ac:chgData name="Jean GRANDEMANGE" userId="faf07584-8716-430e-b66d-4ceae2fe8450" providerId="ADAL" clId="{50BDBC0F-387F-410F-83A2-D2F2FE73FB9B}" dt="2023-03-20T18:01:17.818" v="5243" actId="1076"/>
          <ac:picMkLst>
            <pc:docMk/>
            <pc:sldMk cId="1290858375" sldId="2147470012"/>
            <ac:picMk id="49" creationId="{CBD090C6-A525-446D-274A-CDA0E4C08F87}"/>
          </ac:picMkLst>
        </pc:picChg>
        <pc:cxnChg chg="del">
          <ac:chgData name="Jean GRANDEMANGE" userId="faf07584-8716-430e-b66d-4ceae2fe8450" providerId="ADAL" clId="{50BDBC0F-387F-410F-83A2-D2F2FE73FB9B}" dt="2023-03-20T17:55:22.239" v="4987" actId="478"/>
          <ac:cxnSpMkLst>
            <pc:docMk/>
            <pc:sldMk cId="1290858375" sldId="2147470012"/>
            <ac:cxnSpMk id="7" creationId="{D3449B44-710C-43BE-ADD9-DD9BFB56579E}"/>
          </ac:cxnSpMkLst>
        </pc:cxnChg>
        <pc:cxnChg chg="del">
          <ac:chgData name="Jean GRANDEMANGE" userId="faf07584-8716-430e-b66d-4ceae2fe8450" providerId="ADAL" clId="{50BDBC0F-387F-410F-83A2-D2F2FE73FB9B}" dt="2023-03-20T17:55:22.239" v="4987" actId="478"/>
          <ac:cxnSpMkLst>
            <pc:docMk/>
            <pc:sldMk cId="1290858375" sldId="2147470012"/>
            <ac:cxnSpMk id="14" creationId="{094F96C2-6152-4392-81B8-6B832186751A}"/>
          </ac:cxnSpMkLst>
        </pc:cxnChg>
        <pc:cxnChg chg="del">
          <ac:chgData name="Jean GRANDEMANGE" userId="faf07584-8716-430e-b66d-4ceae2fe8450" providerId="ADAL" clId="{50BDBC0F-387F-410F-83A2-D2F2FE73FB9B}" dt="2023-03-20T17:55:22.239" v="4987" actId="478"/>
          <ac:cxnSpMkLst>
            <pc:docMk/>
            <pc:sldMk cId="1290858375" sldId="2147470012"/>
            <ac:cxnSpMk id="28" creationId="{076E9DA1-04E0-40D7-9E9E-34760800A390}"/>
          </ac:cxnSpMkLst>
        </pc:cxnChg>
        <pc:cxnChg chg="del">
          <ac:chgData name="Jean GRANDEMANGE" userId="faf07584-8716-430e-b66d-4ceae2fe8450" providerId="ADAL" clId="{50BDBC0F-387F-410F-83A2-D2F2FE73FB9B}" dt="2023-03-20T17:55:22.239" v="4987" actId="478"/>
          <ac:cxnSpMkLst>
            <pc:docMk/>
            <pc:sldMk cId="1290858375" sldId="2147470012"/>
            <ac:cxnSpMk id="38" creationId="{91025DE0-102C-4CF5-AB7C-EB7281E6D5CE}"/>
          </ac:cxnSpMkLst>
        </pc:cxnChg>
      </pc:sldChg>
    </pc:docChg>
  </pc:docChgLst>
  <pc:docChgLst>
    <pc:chgData name="Simone NERI" userId="S::simone.neri@talan.com::2a00f2ad-68d9-45e6-b604-268bfad9cc5e" providerId="AD" clId="Web-{F5DD4273-1558-F841-0CED-3C7A7B7D946C}"/>
    <pc:docChg chg="">
      <pc:chgData name="Simone NERI" userId="S::simone.neri@talan.com::2a00f2ad-68d9-45e6-b604-268bfad9cc5e" providerId="AD" clId="Web-{F5DD4273-1558-F841-0CED-3C7A7B7D946C}" dt="2023-03-03T07:31:18.778" v="0"/>
      <pc:docMkLst>
        <pc:docMk/>
      </pc:docMkLst>
      <pc:sldChg chg="modCm">
        <pc:chgData name="Simone NERI" userId="S::simone.neri@talan.com::2a00f2ad-68d9-45e6-b604-268bfad9cc5e" providerId="AD" clId="Web-{F5DD4273-1558-F841-0CED-3C7A7B7D946C}" dt="2023-03-03T07:31:18.778" v="0"/>
        <pc:sldMkLst>
          <pc:docMk/>
          <pc:sldMk cId="4185517883" sldId="2147469859"/>
        </pc:sldMkLst>
        <pc:extLst>
          <p:ext xmlns:p="http://schemas.openxmlformats.org/presentationml/2006/main" uri="{D6D511B9-2390-475A-947B-AFAB55BFBCF1}">
            <pc226:cmChg xmlns:pc226="http://schemas.microsoft.com/office/powerpoint/2022/06/main/command" chg="">
              <pc226:chgData name="Simone NERI" userId="S::simone.neri@talan.com::2a00f2ad-68d9-45e6-b604-268bfad9cc5e" providerId="AD" clId="Web-{F5DD4273-1558-F841-0CED-3C7A7B7D946C}" dt="2023-03-03T07:31:18.778" v="0"/>
              <pc2:cmMkLst xmlns:pc2="http://schemas.microsoft.com/office/powerpoint/2019/9/main/command">
                <pc:docMk/>
                <pc:sldMk cId="4185517883" sldId="2147469859"/>
                <pc2:cmMk id="{54481519-5DDD-46AD-B67C-0569BBFDE86B}"/>
              </pc2:cmMkLst>
              <pc226:cmRplyChg chg="add">
                <pc226:chgData name="Simone NERI" userId="S::simone.neri@talan.com::2a00f2ad-68d9-45e6-b604-268bfad9cc5e" providerId="AD" clId="Web-{F5DD4273-1558-F841-0CED-3C7A7B7D946C}" dt="2023-03-03T07:31:18.778" v="0"/>
                <pc2:cmRplyMkLst xmlns:pc2="http://schemas.microsoft.com/office/powerpoint/2019/9/main/command">
                  <pc:docMk/>
                  <pc:sldMk cId="4185517883" sldId="2147469859"/>
                  <pc2:cmMk id="{54481519-5DDD-46AD-B67C-0569BBFDE86B}"/>
                  <pc2:cmRplyMk id="{31F52E22-0545-4D13-ABF2-0FDD537F4A45}"/>
                </pc2:cmRplyMkLst>
              </pc226:cmRplyChg>
            </pc226:cmChg>
          </p:ext>
        </pc:extLst>
      </pc:sldChg>
    </pc:docChg>
  </pc:docChgLst>
  <pc:docChgLst>
    <pc:chgData name="Sonia KDOUS" userId="S::sonia.kdous@talan.com::922c21f9-520b-4b99-b1eb-529f55231251" providerId="AD" clId="Web-{B7E49E8A-A112-4441-BE78-03D556412535}"/>
    <pc:docChg chg="modSld">
      <pc:chgData name="Sonia KDOUS" userId="S::sonia.kdous@talan.com::922c21f9-520b-4b99-b1eb-529f55231251" providerId="AD" clId="Web-{B7E49E8A-A112-4441-BE78-03D556412535}" dt="2022-11-25T16:02:31.404" v="23"/>
      <pc:docMkLst>
        <pc:docMk/>
      </pc:docMkLst>
      <pc:sldChg chg="modSp addCm modCm">
        <pc:chgData name="Sonia KDOUS" userId="S::sonia.kdous@talan.com::922c21f9-520b-4b99-b1eb-529f55231251" providerId="AD" clId="Web-{B7E49E8A-A112-4441-BE78-03D556412535}" dt="2022-11-25T15:36:46.391" v="6"/>
        <pc:sldMkLst>
          <pc:docMk/>
          <pc:sldMk cId="3018744438" sldId="2076138191"/>
        </pc:sldMkLst>
        <pc:spChg chg="mod">
          <ac:chgData name="Sonia KDOUS" userId="S::sonia.kdous@talan.com::922c21f9-520b-4b99-b1eb-529f55231251" providerId="AD" clId="Web-{B7E49E8A-A112-4441-BE78-03D556412535}" dt="2022-11-25T15:26:28.819" v="2" actId="1076"/>
          <ac:spMkLst>
            <pc:docMk/>
            <pc:sldMk cId="3018744438" sldId="2076138191"/>
            <ac:spMk id="3" creationId="{EEF33552-917D-488C-9446-5955267F49CA}"/>
          </ac:spMkLst>
        </pc:spChg>
      </pc:sldChg>
      <pc:sldChg chg="modSp addCm modCm">
        <pc:chgData name="Sonia KDOUS" userId="S::sonia.kdous@talan.com::922c21f9-520b-4b99-b1eb-529f55231251" providerId="AD" clId="Web-{B7E49E8A-A112-4441-BE78-03D556412535}" dt="2022-11-25T16:02:31.404" v="23"/>
        <pc:sldMkLst>
          <pc:docMk/>
          <pc:sldMk cId="4202844115" sldId="2076138192"/>
        </pc:sldMkLst>
        <pc:spChg chg="mod">
          <ac:chgData name="Sonia KDOUS" userId="S::sonia.kdous@talan.com::922c21f9-520b-4b99-b1eb-529f55231251" providerId="AD" clId="Web-{B7E49E8A-A112-4441-BE78-03D556412535}" dt="2022-11-25T15:58:24.963" v="19" actId="20577"/>
          <ac:spMkLst>
            <pc:docMk/>
            <pc:sldMk cId="4202844115" sldId="2076138192"/>
            <ac:spMk id="19" creationId="{32196ADF-F3F0-B69C-C2FA-C7DE71894B97}"/>
          </ac:spMkLst>
        </pc:spChg>
      </pc:sldChg>
    </pc:docChg>
  </pc:docChgLst>
  <pc:docChgLst>
    <pc:chgData name="Kawtar SADIQ" userId="S::kawtar.sadiq@talan.com::65df04e4-2d23-4bab-afb0-40df8a2c1b9f" providerId="AD" clId="Web-{6EB69443-51E4-5DDB-F809-4C55FC6D3CF8}"/>
    <pc:docChg chg="modSld">
      <pc:chgData name="Kawtar SADIQ" userId="S::kawtar.sadiq@talan.com::65df04e4-2d23-4bab-afb0-40df8a2c1b9f" providerId="AD" clId="Web-{6EB69443-51E4-5DDB-F809-4C55FC6D3CF8}" dt="2022-11-10T13:30:51.062" v="30"/>
      <pc:docMkLst>
        <pc:docMk/>
      </pc:docMkLst>
      <pc:sldChg chg="modSp">
        <pc:chgData name="Kawtar SADIQ" userId="S::kawtar.sadiq@talan.com::65df04e4-2d23-4bab-afb0-40df8a2c1b9f" providerId="AD" clId="Web-{6EB69443-51E4-5DDB-F809-4C55FC6D3CF8}" dt="2022-11-10T13:30:51.062" v="30"/>
        <pc:sldMkLst>
          <pc:docMk/>
          <pc:sldMk cId="597395649" sldId="2076138151"/>
        </pc:sldMkLst>
        <pc:graphicFrameChg chg="mod modGraphic">
          <ac:chgData name="Kawtar SADIQ" userId="S::kawtar.sadiq@talan.com::65df04e4-2d23-4bab-afb0-40df8a2c1b9f" providerId="AD" clId="Web-{6EB69443-51E4-5DDB-F809-4C55FC6D3CF8}" dt="2022-11-10T13:30:51.062" v="30"/>
          <ac:graphicFrameMkLst>
            <pc:docMk/>
            <pc:sldMk cId="597395649" sldId="2076138151"/>
            <ac:graphicFrameMk id="4" creationId="{56B5E6AA-A3D6-4848-B567-F17A8508B457}"/>
          </ac:graphicFrameMkLst>
        </pc:graphicFrameChg>
      </pc:sldChg>
    </pc:docChg>
  </pc:docChgLst>
  <pc:docChgLst>
    <pc:chgData name="Jean GRANDEMANGE" userId="S::jean.grandemange@talan.com::faf07584-8716-430e-b66d-4ceae2fe8450" providerId="AD" clId="Web-{84A36FCD-F809-9D3C-1013-3A9EE0F95CE8}"/>
    <pc:docChg chg="">
      <pc:chgData name="Jean GRANDEMANGE" userId="S::jean.grandemange@talan.com::faf07584-8716-430e-b66d-4ceae2fe8450" providerId="AD" clId="Web-{84A36FCD-F809-9D3C-1013-3A9EE0F95CE8}" dt="2023-03-14T07:57:27.314" v="0"/>
      <pc:docMkLst>
        <pc:docMk/>
      </pc:docMkLst>
      <pc:sldChg chg="modCm">
        <pc:chgData name="Jean GRANDEMANGE" userId="S::jean.grandemange@talan.com::faf07584-8716-430e-b66d-4ceae2fe8450" providerId="AD" clId="Web-{84A36FCD-F809-9D3C-1013-3A9EE0F95CE8}" dt="2023-03-14T07:57:27.314" v="0"/>
        <pc:sldMkLst>
          <pc:docMk/>
          <pc:sldMk cId="3239217406" sldId="2147469993"/>
        </pc:sldMkLst>
        <pc:extLst>
          <p:ext xmlns:p="http://schemas.openxmlformats.org/presentationml/2006/main" uri="{D6D511B9-2390-475A-947B-AFAB55BFBCF1}">
            <pc226:cmChg xmlns:pc226="http://schemas.microsoft.com/office/powerpoint/2022/06/main/command" chg="">
              <pc226:chgData name="Jean GRANDEMANGE" userId="S::jean.grandemange@talan.com::faf07584-8716-430e-b66d-4ceae2fe8450" providerId="AD" clId="Web-{84A36FCD-F809-9D3C-1013-3A9EE0F95CE8}" dt="2023-03-14T07:57:27.314" v="0"/>
              <pc2:cmMkLst xmlns:pc2="http://schemas.microsoft.com/office/powerpoint/2019/9/main/command">
                <pc:docMk/>
                <pc:sldMk cId="3239217406" sldId="2147469993"/>
                <pc2:cmMk id="{0B812D21-00B7-42F1-A2C2-F377B86E36DD}"/>
              </pc2:cmMkLst>
              <pc226:cmRplyChg chg="add">
                <pc226:chgData name="Jean GRANDEMANGE" userId="S::jean.grandemange@talan.com::faf07584-8716-430e-b66d-4ceae2fe8450" providerId="AD" clId="Web-{84A36FCD-F809-9D3C-1013-3A9EE0F95CE8}" dt="2023-03-14T07:57:27.314" v="0"/>
                <pc2:cmRplyMkLst xmlns:pc2="http://schemas.microsoft.com/office/powerpoint/2019/9/main/command">
                  <pc:docMk/>
                  <pc:sldMk cId="3239217406" sldId="2147469993"/>
                  <pc2:cmMk id="{0B812D21-00B7-42F1-A2C2-F377B86E36DD}"/>
                  <pc2:cmRplyMk id="{A2F6643F-3EED-4C69-BF74-99217903D949}"/>
                </pc2:cmRplyMkLst>
              </pc226:cmRplyChg>
            </pc226:cmChg>
          </p:ext>
        </pc:extLst>
      </pc:sldChg>
    </pc:docChg>
  </pc:docChgLst>
  <pc:docChgLst>
    <pc:chgData name="Simone NERI" userId="2a00f2ad-68d9-45e6-b604-268bfad9cc5e" providerId="ADAL" clId="{AA50B555-AE1D-4CBD-83F9-26626EDC2C17}"/>
    <pc:docChg chg="sldOrd">
      <pc:chgData name="Simone NERI" userId="2a00f2ad-68d9-45e6-b604-268bfad9cc5e" providerId="ADAL" clId="{AA50B555-AE1D-4CBD-83F9-26626EDC2C17}" dt="2023-02-08T16:14:03.614" v="0" actId="20578"/>
      <pc:docMkLst>
        <pc:docMk/>
      </pc:docMkLst>
      <pc:sldChg chg="ord">
        <pc:chgData name="Simone NERI" userId="2a00f2ad-68d9-45e6-b604-268bfad9cc5e" providerId="ADAL" clId="{AA50B555-AE1D-4CBD-83F9-26626EDC2C17}" dt="2023-02-08T16:14:03.614" v="0" actId="20578"/>
        <pc:sldMkLst>
          <pc:docMk/>
          <pc:sldMk cId="1458308701" sldId="2147469776"/>
        </pc:sldMkLst>
      </pc:sldChg>
    </pc:docChg>
  </pc:docChgLst>
  <pc:docChgLst>
    <pc:chgData name="Oriane LE GAVRIAN" userId="1ee00f59-07ab-493e-ac89-27a9fad1a751" providerId="ADAL" clId="{F5CD3EA1-21D3-4BEC-A408-A43EF898F83F}"/>
    <pc:docChg chg="undo custSel addSld delSld modSld modSection">
      <pc:chgData name="Oriane LE GAVRIAN" userId="1ee00f59-07ab-493e-ac89-27a9fad1a751" providerId="ADAL" clId="{F5CD3EA1-21D3-4BEC-A408-A43EF898F83F}" dt="2023-01-26T16:12:12.474" v="12204" actId="164"/>
      <pc:docMkLst>
        <pc:docMk/>
      </pc:docMkLst>
      <pc:sldChg chg="add mod modShow">
        <pc:chgData name="Oriane LE GAVRIAN" userId="1ee00f59-07ab-493e-ac89-27a9fad1a751" providerId="ADAL" clId="{F5CD3EA1-21D3-4BEC-A408-A43EF898F83F}" dt="2023-01-26T13:44:45.079" v="9971" actId="729"/>
        <pc:sldMkLst>
          <pc:docMk/>
          <pc:sldMk cId="887608307" sldId="266"/>
        </pc:sldMkLst>
      </pc:sldChg>
      <pc:sldChg chg="modSp add del mod modShow">
        <pc:chgData name="Oriane LE GAVRIAN" userId="1ee00f59-07ab-493e-ac89-27a9fad1a751" providerId="ADAL" clId="{F5CD3EA1-21D3-4BEC-A408-A43EF898F83F}" dt="2023-01-26T13:19:10.689" v="8117" actId="47"/>
        <pc:sldMkLst>
          <pc:docMk/>
          <pc:sldMk cId="0" sldId="274"/>
        </pc:sldMkLst>
        <pc:spChg chg="mod">
          <ac:chgData name="Oriane LE GAVRIAN" userId="1ee00f59-07ab-493e-ac89-27a9fad1a751" providerId="ADAL" clId="{F5CD3EA1-21D3-4BEC-A408-A43EF898F83F}" dt="2023-01-26T13:14:40.575" v="8008" actId="1076"/>
          <ac:spMkLst>
            <pc:docMk/>
            <pc:sldMk cId="0" sldId="274"/>
            <ac:spMk id="1289" creationId="{00000000-0000-0000-0000-000000000000}"/>
          </ac:spMkLst>
        </pc:spChg>
        <pc:spChg chg="mod">
          <ac:chgData name="Oriane LE GAVRIAN" userId="1ee00f59-07ab-493e-ac89-27a9fad1a751" providerId="ADAL" clId="{F5CD3EA1-21D3-4BEC-A408-A43EF898F83F}" dt="2023-01-26T13:14:40.575" v="8008" actId="1076"/>
          <ac:spMkLst>
            <pc:docMk/>
            <pc:sldMk cId="0" sldId="274"/>
            <ac:spMk id="1297" creationId="{00000000-0000-0000-0000-000000000000}"/>
          </ac:spMkLst>
        </pc:spChg>
        <pc:spChg chg="mod">
          <ac:chgData name="Oriane LE GAVRIAN" userId="1ee00f59-07ab-493e-ac89-27a9fad1a751" providerId="ADAL" clId="{F5CD3EA1-21D3-4BEC-A408-A43EF898F83F}" dt="2023-01-26T13:14:40.575" v="8008" actId="1076"/>
          <ac:spMkLst>
            <pc:docMk/>
            <pc:sldMk cId="0" sldId="274"/>
            <ac:spMk id="1299" creationId="{00000000-0000-0000-0000-000000000000}"/>
          </ac:spMkLst>
        </pc:spChg>
        <pc:picChg chg="mod">
          <ac:chgData name="Oriane LE GAVRIAN" userId="1ee00f59-07ab-493e-ac89-27a9fad1a751" providerId="ADAL" clId="{F5CD3EA1-21D3-4BEC-A408-A43EF898F83F}" dt="2023-01-26T13:14:40.575" v="8008" actId="1076"/>
          <ac:picMkLst>
            <pc:docMk/>
            <pc:sldMk cId="0" sldId="274"/>
            <ac:picMk id="1290" creationId="{00000000-0000-0000-0000-000000000000}"/>
          </ac:picMkLst>
        </pc:picChg>
        <pc:picChg chg="mod">
          <ac:chgData name="Oriane LE GAVRIAN" userId="1ee00f59-07ab-493e-ac89-27a9fad1a751" providerId="ADAL" clId="{F5CD3EA1-21D3-4BEC-A408-A43EF898F83F}" dt="2023-01-26T13:14:40.575" v="8008" actId="1076"/>
          <ac:picMkLst>
            <pc:docMk/>
            <pc:sldMk cId="0" sldId="274"/>
            <ac:picMk id="1292" creationId="{00000000-0000-0000-0000-000000000000}"/>
          </ac:picMkLst>
        </pc:picChg>
        <pc:picChg chg="mod">
          <ac:chgData name="Oriane LE GAVRIAN" userId="1ee00f59-07ab-493e-ac89-27a9fad1a751" providerId="ADAL" clId="{F5CD3EA1-21D3-4BEC-A408-A43EF898F83F}" dt="2023-01-26T13:14:40.575" v="8008" actId="1076"/>
          <ac:picMkLst>
            <pc:docMk/>
            <pc:sldMk cId="0" sldId="274"/>
            <ac:picMk id="1296" creationId="{00000000-0000-0000-0000-000000000000}"/>
          </ac:picMkLst>
        </pc:picChg>
        <pc:picChg chg="mod">
          <ac:chgData name="Oriane LE GAVRIAN" userId="1ee00f59-07ab-493e-ac89-27a9fad1a751" providerId="ADAL" clId="{F5CD3EA1-21D3-4BEC-A408-A43EF898F83F}" dt="2023-01-26T13:14:40.575" v="8008" actId="1076"/>
          <ac:picMkLst>
            <pc:docMk/>
            <pc:sldMk cId="0" sldId="274"/>
            <ac:picMk id="1298" creationId="{00000000-0000-0000-0000-000000000000}"/>
          </ac:picMkLst>
        </pc:picChg>
        <pc:picChg chg="mod">
          <ac:chgData name="Oriane LE GAVRIAN" userId="1ee00f59-07ab-493e-ac89-27a9fad1a751" providerId="ADAL" clId="{F5CD3EA1-21D3-4BEC-A408-A43EF898F83F}" dt="2023-01-26T13:14:40.575" v="8008" actId="1076"/>
          <ac:picMkLst>
            <pc:docMk/>
            <pc:sldMk cId="0" sldId="274"/>
            <ac:picMk id="1300" creationId="{00000000-0000-0000-0000-000000000000}"/>
          </ac:picMkLst>
        </pc:picChg>
      </pc:sldChg>
      <pc:sldChg chg="add mod modShow">
        <pc:chgData name="Oriane LE GAVRIAN" userId="1ee00f59-07ab-493e-ac89-27a9fad1a751" providerId="ADAL" clId="{F5CD3EA1-21D3-4BEC-A408-A43EF898F83F}" dt="2023-01-26T13:44:45.079" v="9971" actId="729"/>
        <pc:sldMkLst>
          <pc:docMk/>
          <pc:sldMk cId="1296752126" sldId="1441"/>
        </pc:sldMkLst>
      </pc:sldChg>
      <pc:sldChg chg="add mod modShow">
        <pc:chgData name="Oriane LE GAVRIAN" userId="1ee00f59-07ab-493e-ac89-27a9fad1a751" providerId="ADAL" clId="{F5CD3EA1-21D3-4BEC-A408-A43EF898F83F}" dt="2023-01-26T13:44:45.079" v="9971" actId="729"/>
        <pc:sldMkLst>
          <pc:docMk/>
          <pc:sldMk cId="979364678" sldId="1442"/>
        </pc:sldMkLst>
      </pc:sldChg>
      <pc:sldChg chg="mod modShow">
        <pc:chgData name="Oriane LE GAVRIAN" userId="1ee00f59-07ab-493e-ac89-27a9fad1a751" providerId="ADAL" clId="{F5CD3EA1-21D3-4BEC-A408-A43EF898F83F}" dt="2023-01-26T10:01:08.557" v="81" actId="729"/>
        <pc:sldMkLst>
          <pc:docMk/>
          <pc:sldMk cId="1631352921" sldId="2147469871"/>
        </pc:sldMkLst>
      </pc:sldChg>
      <pc:sldChg chg="mod modShow">
        <pc:chgData name="Oriane LE GAVRIAN" userId="1ee00f59-07ab-493e-ac89-27a9fad1a751" providerId="ADAL" clId="{F5CD3EA1-21D3-4BEC-A408-A43EF898F83F}" dt="2023-01-26T10:01:08.557" v="81" actId="729"/>
        <pc:sldMkLst>
          <pc:docMk/>
          <pc:sldMk cId="1174100690" sldId="2147469873"/>
        </pc:sldMkLst>
      </pc:sldChg>
      <pc:sldChg chg="addSp delSp modSp mod">
        <pc:chgData name="Oriane LE GAVRIAN" userId="1ee00f59-07ab-493e-ac89-27a9fad1a751" providerId="ADAL" clId="{F5CD3EA1-21D3-4BEC-A408-A43EF898F83F}" dt="2023-01-26T16:08:25.754" v="11986" actId="113"/>
        <pc:sldMkLst>
          <pc:docMk/>
          <pc:sldMk cId="697415066" sldId="2147469877"/>
        </pc:sldMkLst>
        <pc:spChg chg="add del mod">
          <ac:chgData name="Oriane LE GAVRIAN" userId="1ee00f59-07ab-493e-ac89-27a9fad1a751" providerId="ADAL" clId="{F5CD3EA1-21D3-4BEC-A408-A43EF898F83F}" dt="2023-01-26T10:00:55.834" v="80" actId="478"/>
          <ac:spMkLst>
            <pc:docMk/>
            <pc:sldMk cId="697415066" sldId="2147469877"/>
            <ac:spMk id="3" creationId="{502D25B2-BF60-C5AB-2CED-E510DA0F4B58}"/>
          </ac:spMkLst>
        </pc:spChg>
        <pc:spChg chg="add mod">
          <ac:chgData name="Oriane LE GAVRIAN" userId="1ee00f59-07ab-493e-ac89-27a9fad1a751" providerId="ADAL" clId="{F5CD3EA1-21D3-4BEC-A408-A43EF898F83F}" dt="2023-01-26T16:08:25.754" v="11986" actId="113"/>
          <ac:spMkLst>
            <pc:docMk/>
            <pc:sldMk cId="697415066" sldId="2147469877"/>
            <ac:spMk id="3" creationId="{E1D1B862-5879-8A81-62E3-D8EA5E7B57C0}"/>
          </ac:spMkLst>
        </pc:spChg>
        <pc:spChg chg="add del mod">
          <ac:chgData name="Oriane LE GAVRIAN" userId="1ee00f59-07ab-493e-ac89-27a9fad1a751" providerId="ADAL" clId="{F5CD3EA1-21D3-4BEC-A408-A43EF898F83F}" dt="2023-01-26T15:38:11.580" v="11318" actId="478"/>
          <ac:spMkLst>
            <pc:docMk/>
            <pc:sldMk cId="697415066" sldId="2147469877"/>
            <ac:spMk id="12" creationId="{9E9FC33F-5310-CF2C-C1D2-6B0D41F4D282}"/>
          </ac:spMkLst>
        </pc:spChg>
      </pc:sldChg>
      <pc:sldChg chg="addSp delSp modSp new mod modNotesTx">
        <pc:chgData name="Oriane LE GAVRIAN" userId="1ee00f59-07ab-493e-ac89-27a9fad1a751" providerId="ADAL" clId="{F5CD3EA1-21D3-4BEC-A408-A43EF898F83F}" dt="2023-01-26T13:30:26.644" v="8924" actId="14100"/>
        <pc:sldMkLst>
          <pc:docMk/>
          <pc:sldMk cId="1699032143" sldId="2147469878"/>
        </pc:sldMkLst>
        <pc:spChg chg="mod">
          <ac:chgData name="Oriane LE GAVRIAN" userId="1ee00f59-07ab-493e-ac89-27a9fad1a751" providerId="ADAL" clId="{F5CD3EA1-21D3-4BEC-A408-A43EF898F83F}" dt="2023-01-26T13:30:00.779" v="8912" actId="20577"/>
          <ac:spMkLst>
            <pc:docMk/>
            <pc:sldMk cId="1699032143" sldId="2147469878"/>
            <ac:spMk id="2" creationId="{172F09DD-32B4-9A0A-5449-68CF40F4F99E}"/>
          </ac:spMkLst>
        </pc:spChg>
        <pc:spChg chg="del">
          <ac:chgData name="Oriane LE GAVRIAN" userId="1ee00f59-07ab-493e-ac89-27a9fad1a751" providerId="ADAL" clId="{F5CD3EA1-21D3-4BEC-A408-A43EF898F83F}" dt="2023-01-26T10:02:44.527" v="151" actId="478"/>
          <ac:spMkLst>
            <pc:docMk/>
            <pc:sldMk cId="1699032143" sldId="2147469878"/>
            <ac:spMk id="3" creationId="{D2BC9080-60EE-ABB0-0FCA-4453D9246F4B}"/>
          </ac:spMkLst>
        </pc:spChg>
        <pc:spChg chg="add mod">
          <ac:chgData name="Oriane LE GAVRIAN" userId="1ee00f59-07ab-493e-ac89-27a9fad1a751" providerId="ADAL" clId="{F5CD3EA1-21D3-4BEC-A408-A43EF898F83F}" dt="2023-01-26T13:23:17.226" v="8261" actId="14100"/>
          <ac:spMkLst>
            <pc:docMk/>
            <pc:sldMk cId="1699032143" sldId="2147469878"/>
            <ac:spMk id="4" creationId="{DA9D5579-E39F-97C3-A030-0C0A1745EA76}"/>
          </ac:spMkLst>
        </pc:spChg>
        <pc:spChg chg="add del mod">
          <ac:chgData name="Oriane LE GAVRIAN" userId="1ee00f59-07ab-493e-ac89-27a9fad1a751" providerId="ADAL" clId="{F5CD3EA1-21D3-4BEC-A408-A43EF898F83F}" dt="2023-01-26T10:34:50.115" v="3389" actId="21"/>
          <ac:spMkLst>
            <pc:docMk/>
            <pc:sldMk cId="1699032143" sldId="2147469878"/>
            <ac:spMk id="5" creationId="{4B05ED59-E472-21CD-DE2B-3617C0FE6BE2}"/>
          </ac:spMkLst>
        </pc:spChg>
        <pc:spChg chg="add del mod">
          <ac:chgData name="Oriane LE GAVRIAN" userId="1ee00f59-07ab-493e-ac89-27a9fad1a751" providerId="ADAL" clId="{F5CD3EA1-21D3-4BEC-A408-A43EF898F83F}" dt="2023-01-26T10:38:21.005" v="3631" actId="21"/>
          <ac:spMkLst>
            <pc:docMk/>
            <pc:sldMk cId="1699032143" sldId="2147469878"/>
            <ac:spMk id="6" creationId="{1D288D2D-5C92-9428-0D62-88F36AEDD9D3}"/>
          </ac:spMkLst>
        </pc:spChg>
        <pc:spChg chg="add del mod">
          <ac:chgData name="Oriane LE GAVRIAN" userId="1ee00f59-07ab-493e-ac89-27a9fad1a751" providerId="ADAL" clId="{F5CD3EA1-21D3-4BEC-A408-A43EF898F83F}" dt="2023-01-26T10:09:44.699" v="855" actId="478"/>
          <ac:spMkLst>
            <pc:docMk/>
            <pc:sldMk cId="1699032143" sldId="2147469878"/>
            <ac:spMk id="7" creationId="{F75F20A6-F1FD-7360-4D90-352EF929BBFB}"/>
          </ac:spMkLst>
        </pc:spChg>
        <pc:spChg chg="add mod">
          <ac:chgData name="Oriane LE GAVRIAN" userId="1ee00f59-07ab-493e-ac89-27a9fad1a751" providerId="ADAL" clId="{F5CD3EA1-21D3-4BEC-A408-A43EF898F83F}" dt="2023-01-26T13:30:26.644" v="8924" actId="14100"/>
          <ac:spMkLst>
            <pc:docMk/>
            <pc:sldMk cId="1699032143" sldId="2147469878"/>
            <ac:spMk id="8" creationId="{F6CF3BD5-7979-689C-5BFD-D687C8D0DE4C}"/>
          </ac:spMkLst>
        </pc:spChg>
        <pc:spChg chg="add del mod">
          <ac:chgData name="Oriane LE GAVRIAN" userId="1ee00f59-07ab-493e-ac89-27a9fad1a751" providerId="ADAL" clId="{F5CD3EA1-21D3-4BEC-A408-A43EF898F83F}" dt="2023-01-26T10:31:12.267" v="2922" actId="478"/>
          <ac:spMkLst>
            <pc:docMk/>
            <pc:sldMk cId="1699032143" sldId="2147469878"/>
            <ac:spMk id="10" creationId="{F1EA94DC-CA2C-D69E-3A47-F0DC19202FC7}"/>
          </ac:spMkLst>
        </pc:spChg>
        <pc:spChg chg="add mod">
          <ac:chgData name="Oriane LE GAVRIAN" userId="1ee00f59-07ab-493e-ac89-27a9fad1a751" providerId="ADAL" clId="{F5CD3EA1-21D3-4BEC-A408-A43EF898F83F}" dt="2023-01-26T13:23:03.250" v="8260" actId="1036"/>
          <ac:spMkLst>
            <pc:docMk/>
            <pc:sldMk cId="1699032143" sldId="2147469878"/>
            <ac:spMk id="11" creationId="{D9ADDB20-7449-D1F1-883F-065D87BA8B18}"/>
          </ac:spMkLst>
        </pc:spChg>
        <pc:spChg chg="add mod">
          <ac:chgData name="Oriane LE GAVRIAN" userId="1ee00f59-07ab-493e-ac89-27a9fad1a751" providerId="ADAL" clId="{F5CD3EA1-21D3-4BEC-A408-A43EF898F83F}" dt="2023-01-26T13:23:29.736" v="8272" actId="14100"/>
          <ac:spMkLst>
            <pc:docMk/>
            <pc:sldMk cId="1699032143" sldId="2147469878"/>
            <ac:spMk id="12" creationId="{337438D7-81B4-6B02-1AE8-5C4DB8019AD4}"/>
          </ac:spMkLst>
        </pc:spChg>
        <pc:spChg chg="del mod">
          <ac:chgData name="Oriane LE GAVRIAN" userId="1ee00f59-07ab-493e-ac89-27a9fad1a751" providerId="ADAL" clId="{F5CD3EA1-21D3-4BEC-A408-A43EF898F83F}" dt="2023-01-26T10:44:42.509" v="4218" actId="478"/>
          <ac:spMkLst>
            <pc:docMk/>
            <pc:sldMk cId="1699032143" sldId="2147469878"/>
            <ac:spMk id="15" creationId="{2C9CFD0C-7CEC-3748-5AE4-2FEB5EED6FE2}"/>
          </ac:spMkLst>
        </pc:spChg>
        <pc:spChg chg="mod">
          <ac:chgData name="Oriane LE GAVRIAN" userId="1ee00f59-07ab-493e-ac89-27a9fad1a751" providerId="ADAL" clId="{F5CD3EA1-21D3-4BEC-A408-A43EF898F83F}" dt="2023-01-26T10:44:50.652" v="4220" actId="165"/>
          <ac:spMkLst>
            <pc:docMk/>
            <pc:sldMk cId="1699032143" sldId="2147469878"/>
            <ac:spMk id="17" creationId="{1F0B3634-2D59-BD24-0E30-262A4CF348BA}"/>
          </ac:spMkLst>
        </pc:spChg>
        <pc:spChg chg="mod">
          <ac:chgData name="Oriane LE GAVRIAN" userId="1ee00f59-07ab-493e-ac89-27a9fad1a751" providerId="ADAL" clId="{F5CD3EA1-21D3-4BEC-A408-A43EF898F83F}" dt="2023-01-26T10:44:50.652" v="4220" actId="165"/>
          <ac:spMkLst>
            <pc:docMk/>
            <pc:sldMk cId="1699032143" sldId="2147469878"/>
            <ac:spMk id="18" creationId="{1F5BBC8F-59D4-20A1-25B5-474970C7D186}"/>
          </ac:spMkLst>
        </pc:spChg>
        <pc:spChg chg="del mod topLvl">
          <ac:chgData name="Oriane LE GAVRIAN" userId="1ee00f59-07ab-493e-ac89-27a9fad1a751" providerId="ADAL" clId="{F5CD3EA1-21D3-4BEC-A408-A43EF898F83F}" dt="2023-01-26T10:45:27.137" v="4226" actId="478"/>
          <ac:spMkLst>
            <pc:docMk/>
            <pc:sldMk cId="1699032143" sldId="2147469878"/>
            <ac:spMk id="19" creationId="{4327422C-263E-BE49-279B-A24ECC506AE3}"/>
          </ac:spMkLst>
        </pc:spChg>
        <pc:spChg chg="del mod">
          <ac:chgData name="Oriane LE GAVRIAN" userId="1ee00f59-07ab-493e-ac89-27a9fad1a751" providerId="ADAL" clId="{F5CD3EA1-21D3-4BEC-A408-A43EF898F83F}" dt="2023-01-26T10:44:39.303" v="4217" actId="478"/>
          <ac:spMkLst>
            <pc:docMk/>
            <pc:sldMk cId="1699032143" sldId="2147469878"/>
            <ac:spMk id="20" creationId="{FA9ED631-490F-5FB7-09E1-AF725E0D802C}"/>
          </ac:spMkLst>
        </pc:spChg>
        <pc:spChg chg="del mod">
          <ac:chgData name="Oriane LE GAVRIAN" userId="1ee00f59-07ab-493e-ac89-27a9fad1a751" providerId="ADAL" clId="{F5CD3EA1-21D3-4BEC-A408-A43EF898F83F}" dt="2023-01-26T10:44:33.163" v="4216" actId="478"/>
          <ac:spMkLst>
            <pc:docMk/>
            <pc:sldMk cId="1699032143" sldId="2147469878"/>
            <ac:spMk id="23" creationId="{829B793C-3E73-1F63-BDBD-29B8525334C5}"/>
          </ac:spMkLst>
        </pc:spChg>
        <pc:spChg chg="mod">
          <ac:chgData name="Oriane LE GAVRIAN" userId="1ee00f59-07ab-493e-ac89-27a9fad1a751" providerId="ADAL" clId="{F5CD3EA1-21D3-4BEC-A408-A43EF898F83F}" dt="2023-01-26T10:44:53.973" v="4222" actId="165"/>
          <ac:spMkLst>
            <pc:docMk/>
            <pc:sldMk cId="1699032143" sldId="2147469878"/>
            <ac:spMk id="25" creationId="{7C30C541-0B96-4267-296C-EB1BFD5F82D4}"/>
          </ac:spMkLst>
        </pc:spChg>
        <pc:spChg chg="mod">
          <ac:chgData name="Oriane LE GAVRIAN" userId="1ee00f59-07ab-493e-ac89-27a9fad1a751" providerId="ADAL" clId="{F5CD3EA1-21D3-4BEC-A408-A43EF898F83F}" dt="2023-01-26T10:44:53.973" v="4222" actId="165"/>
          <ac:spMkLst>
            <pc:docMk/>
            <pc:sldMk cId="1699032143" sldId="2147469878"/>
            <ac:spMk id="26" creationId="{0F44EB45-C41F-A7CA-FCBF-4FDE5A95AFE5}"/>
          </ac:spMkLst>
        </pc:spChg>
        <pc:spChg chg="mod">
          <ac:chgData name="Oriane LE GAVRIAN" userId="1ee00f59-07ab-493e-ac89-27a9fad1a751" providerId="ADAL" clId="{F5CD3EA1-21D3-4BEC-A408-A43EF898F83F}" dt="2023-01-26T10:44:53.973" v="4222" actId="165"/>
          <ac:spMkLst>
            <pc:docMk/>
            <pc:sldMk cId="1699032143" sldId="2147469878"/>
            <ac:spMk id="27" creationId="{A9DDDC07-703E-7213-CBF2-F31047E36985}"/>
          </ac:spMkLst>
        </pc:spChg>
        <pc:spChg chg="del mod topLvl">
          <ac:chgData name="Oriane LE GAVRIAN" userId="1ee00f59-07ab-493e-ac89-27a9fad1a751" providerId="ADAL" clId="{F5CD3EA1-21D3-4BEC-A408-A43EF898F83F}" dt="2023-01-26T10:45:27.137" v="4226" actId="478"/>
          <ac:spMkLst>
            <pc:docMk/>
            <pc:sldMk cId="1699032143" sldId="2147469878"/>
            <ac:spMk id="28" creationId="{C00C15B2-EE2C-BB49-0AE6-CEE26039AAEA}"/>
          </ac:spMkLst>
        </pc:spChg>
        <pc:spChg chg="del mod">
          <ac:chgData name="Oriane LE GAVRIAN" userId="1ee00f59-07ab-493e-ac89-27a9fad1a751" providerId="ADAL" clId="{F5CD3EA1-21D3-4BEC-A408-A43EF898F83F}" dt="2023-01-26T10:44:29.640" v="4213" actId="478"/>
          <ac:spMkLst>
            <pc:docMk/>
            <pc:sldMk cId="1699032143" sldId="2147469878"/>
            <ac:spMk id="29" creationId="{0AD3B6B9-9490-B6C8-96A8-234ED7C2B427}"/>
          </ac:spMkLst>
        </pc:spChg>
        <pc:spChg chg="del mod">
          <ac:chgData name="Oriane LE GAVRIAN" userId="1ee00f59-07ab-493e-ac89-27a9fad1a751" providerId="ADAL" clId="{F5CD3EA1-21D3-4BEC-A408-A43EF898F83F}" dt="2023-01-26T10:45:48.869" v="4236" actId="478"/>
          <ac:spMkLst>
            <pc:docMk/>
            <pc:sldMk cId="1699032143" sldId="2147469878"/>
            <ac:spMk id="32" creationId="{EAB384FA-FEA1-C7C2-EC7A-2359A2D0A864}"/>
          </ac:spMkLst>
        </pc:spChg>
        <pc:spChg chg="del mod">
          <ac:chgData name="Oriane LE GAVRIAN" userId="1ee00f59-07ab-493e-ac89-27a9fad1a751" providerId="ADAL" clId="{F5CD3EA1-21D3-4BEC-A408-A43EF898F83F}" dt="2023-01-26T10:45:46.851" v="4235" actId="478"/>
          <ac:spMkLst>
            <pc:docMk/>
            <pc:sldMk cId="1699032143" sldId="2147469878"/>
            <ac:spMk id="33" creationId="{7F4D6EA2-C574-260C-EF3B-82E61165FE7B}"/>
          </ac:spMkLst>
        </pc:spChg>
        <pc:spChg chg="del mod topLvl">
          <ac:chgData name="Oriane LE GAVRIAN" userId="1ee00f59-07ab-493e-ac89-27a9fad1a751" providerId="ADAL" clId="{F5CD3EA1-21D3-4BEC-A408-A43EF898F83F}" dt="2023-01-26T10:45:51.121" v="4237" actId="478"/>
          <ac:spMkLst>
            <pc:docMk/>
            <pc:sldMk cId="1699032143" sldId="2147469878"/>
            <ac:spMk id="34" creationId="{F4EB162F-7F28-43AF-A84E-5DDEDCAD3D19}"/>
          </ac:spMkLst>
        </pc:spChg>
        <pc:spChg chg="mod">
          <ac:chgData name="Oriane LE GAVRIAN" userId="1ee00f59-07ab-493e-ac89-27a9fad1a751" providerId="ADAL" clId="{F5CD3EA1-21D3-4BEC-A408-A43EF898F83F}" dt="2023-01-26T10:48:00.902" v="4289" actId="207"/>
          <ac:spMkLst>
            <pc:docMk/>
            <pc:sldMk cId="1699032143" sldId="2147469878"/>
            <ac:spMk id="35" creationId="{A81D78B7-ADB7-E180-A986-FBD1049F616F}"/>
          </ac:spMkLst>
        </pc:spChg>
        <pc:spChg chg="mod">
          <ac:chgData name="Oriane LE GAVRIAN" userId="1ee00f59-07ab-493e-ac89-27a9fad1a751" providerId="ADAL" clId="{F5CD3EA1-21D3-4BEC-A408-A43EF898F83F}" dt="2023-01-26T10:47:58.409" v="4288" actId="207"/>
          <ac:spMkLst>
            <pc:docMk/>
            <pc:sldMk cId="1699032143" sldId="2147469878"/>
            <ac:spMk id="36" creationId="{4ACE1B04-5199-D359-6BF1-A9D92BFDC757}"/>
          </ac:spMkLst>
        </pc:spChg>
        <pc:spChg chg="del mod topLvl">
          <ac:chgData name="Oriane LE GAVRIAN" userId="1ee00f59-07ab-493e-ac89-27a9fad1a751" providerId="ADAL" clId="{F5CD3EA1-21D3-4BEC-A408-A43EF898F83F}" dt="2023-01-26T10:45:43.619" v="4234" actId="478"/>
          <ac:spMkLst>
            <pc:docMk/>
            <pc:sldMk cId="1699032143" sldId="2147469878"/>
            <ac:spMk id="39" creationId="{8EA76A58-659B-B045-3407-A4C487D6F96D}"/>
          </ac:spMkLst>
        </pc:spChg>
        <pc:spChg chg="del mod">
          <ac:chgData name="Oriane LE GAVRIAN" userId="1ee00f59-07ab-493e-ac89-27a9fad1a751" providerId="ADAL" clId="{F5CD3EA1-21D3-4BEC-A408-A43EF898F83F}" dt="2023-01-26T10:45:41.837" v="4233" actId="478"/>
          <ac:spMkLst>
            <pc:docMk/>
            <pc:sldMk cId="1699032143" sldId="2147469878"/>
            <ac:spMk id="40" creationId="{59C4327C-59BE-5839-10A9-ACEDA3EBD4F8}"/>
          </ac:spMkLst>
        </pc:spChg>
        <pc:spChg chg="del mod">
          <ac:chgData name="Oriane LE GAVRIAN" userId="1ee00f59-07ab-493e-ac89-27a9fad1a751" providerId="ADAL" clId="{F5CD3EA1-21D3-4BEC-A408-A43EF898F83F}" dt="2023-01-26T10:45:39.369" v="4232" actId="478"/>
          <ac:spMkLst>
            <pc:docMk/>
            <pc:sldMk cId="1699032143" sldId="2147469878"/>
            <ac:spMk id="41" creationId="{34E449A2-A95B-542B-82D6-5F2A4E154403}"/>
          </ac:spMkLst>
        </pc:spChg>
        <pc:spChg chg="mod">
          <ac:chgData name="Oriane LE GAVRIAN" userId="1ee00f59-07ab-493e-ac89-27a9fad1a751" providerId="ADAL" clId="{F5CD3EA1-21D3-4BEC-A408-A43EF898F83F}" dt="2023-01-26T10:48:16.186" v="4291" actId="207"/>
          <ac:spMkLst>
            <pc:docMk/>
            <pc:sldMk cId="1699032143" sldId="2147469878"/>
            <ac:spMk id="42" creationId="{AE88DCA1-7956-85CE-8CDC-D24C6B4383B2}"/>
          </ac:spMkLst>
        </pc:spChg>
        <pc:spChg chg="mod">
          <ac:chgData name="Oriane LE GAVRIAN" userId="1ee00f59-07ab-493e-ac89-27a9fad1a751" providerId="ADAL" clId="{F5CD3EA1-21D3-4BEC-A408-A43EF898F83F}" dt="2023-01-26T10:48:14.008" v="4290" actId="207"/>
          <ac:spMkLst>
            <pc:docMk/>
            <pc:sldMk cId="1699032143" sldId="2147469878"/>
            <ac:spMk id="43" creationId="{32AE8485-35D5-4A52-6FE5-7D58E76A45DD}"/>
          </ac:spMkLst>
        </pc:spChg>
        <pc:spChg chg="add del mod">
          <ac:chgData name="Oriane LE GAVRIAN" userId="1ee00f59-07ab-493e-ac89-27a9fad1a751" providerId="ADAL" clId="{F5CD3EA1-21D3-4BEC-A408-A43EF898F83F}" dt="2023-01-26T10:50:42.722" v="4395" actId="478"/>
          <ac:spMkLst>
            <pc:docMk/>
            <pc:sldMk cId="1699032143" sldId="2147469878"/>
            <ac:spMk id="47" creationId="{B08B6587-6CBA-E603-579E-B85DF98F09A3}"/>
          </ac:spMkLst>
        </pc:spChg>
        <pc:spChg chg="add del mod">
          <ac:chgData name="Oriane LE GAVRIAN" userId="1ee00f59-07ab-493e-ac89-27a9fad1a751" providerId="ADAL" clId="{F5CD3EA1-21D3-4BEC-A408-A43EF898F83F}" dt="2023-01-26T10:50:48.080" v="4398" actId="478"/>
          <ac:spMkLst>
            <pc:docMk/>
            <pc:sldMk cId="1699032143" sldId="2147469878"/>
            <ac:spMk id="48" creationId="{6853F3DE-B1F8-91CE-EE7F-B9A9B158C4EA}"/>
          </ac:spMkLst>
        </pc:spChg>
        <pc:spChg chg="add mod">
          <ac:chgData name="Oriane LE GAVRIAN" userId="1ee00f59-07ab-493e-ac89-27a9fad1a751" providerId="ADAL" clId="{F5CD3EA1-21D3-4BEC-A408-A43EF898F83F}" dt="2023-01-26T13:23:03.250" v="8260" actId="1036"/>
          <ac:spMkLst>
            <pc:docMk/>
            <pc:sldMk cId="1699032143" sldId="2147469878"/>
            <ac:spMk id="49" creationId="{5C6F4D5E-1848-F58D-9E20-E29FB0417AE9}"/>
          </ac:spMkLst>
        </pc:spChg>
        <pc:spChg chg="add del mod">
          <ac:chgData name="Oriane LE GAVRIAN" userId="1ee00f59-07ab-493e-ac89-27a9fad1a751" providerId="ADAL" clId="{F5CD3EA1-21D3-4BEC-A408-A43EF898F83F}" dt="2023-01-26T10:55:53.321" v="4457" actId="478"/>
          <ac:spMkLst>
            <pc:docMk/>
            <pc:sldMk cId="1699032143" sldId="2147469878"/>
            <ac:spMk id="52" creationId="{A85B71A4-1F58-1E2C-F7A7-B671B6914A87}"/>
          </ac:spMkLst>
        </pc:spChg>
        <pc:spChg chg="mod">
          <ac:chgData name="Oriane LE GAVRIAN" userId="1ee00f59-07ab-493e-ac89-27a9fad1a751" providerId="ADAL" clId="{F5CD3EA1-21D3-4BEC-A408-A43EF898F83F}" dt="2023-01-26T10:56:53.218" v="4517" actId="14100"/>
          <ac:spMkLst>
            <pc:docMk/>
            <pc:sldMk cId="1699032143" sldId="2147469878"/>
            <ac:spMk id="55" creationId="{6FAA728C-DE0F-8DCB-005A-EF0E9137D683}"/>
          </ac:spMkLst>
        </pc:spChg>
        <pc:spChg chg="mod">
          <ac:chgData name="Oriane LE GAVRIAN" userId="1ee00f59-07ab-493e-ac89-27a9fad1a751" providerId="ADAL" clId="{F5CD3EA1-21D3-4BEC-A408-A43EF898F83F}" dt="2023-01-26T10:56:00.154" v="4458"/>
          <ac:spMkLst>
            <pc:docMk/>
            <pc:sldMk cId="1699032143" sldId="2147469878"/>
            <ac:spMk id="56" creationId="{F408DA23-19E5-9B42-527F-76CB16D5CB8C}"/>
          </ac:spMkLst>
        </pc:spChg>
        <pc:spChg chg="mod">
          <ac:chgData name="Oriane LE GAVRIAN" userId="1ee00f59-07ab-493e-ac89-27a9fad1a751" providerId="ADAL" clId="{F5CD3EA1-21D3-4BEC-A408-A43EF898F83F}" dt="2023-01-26T10:56:00.154" v="4458"/>
          <ac:spMkLst>
            <pc:docMk/>
            <pc:sldMk cId="1699032143" sldId="2147469878"/>
            <ac:spMk id="57" creationId="{1D7A273D-9ED7-D7EA-2D3A-014F9BB5A44B}"/>
          </ac:spMkLst>
        </pc:spChg>
        <pc:spChg chg="mod">
          <ac:chgData name="Oriane LE GAVRIAN" userId="1ee00f59-07ab-493e-ac89-27a9fad1a751" providerId="ADAL" clId="{F5CD3EA1-21D3-4BEC-A408-A43EF898F83F}" dt="2023-01-26T10:56:41.388" v="4515"/>
          <ac:spMkLst>
            <pc:docMk/>
            <pc:sldMk cId="1699032143" sldId="2147469878"/>
            <ac:spMk id="60" creationId="{FC07674D-65F2-1031-7D78-172DDE0F2192}"/>
          </ac:spMkLst>
        </pc:spChg>
        <pc:spChg chg="mod">
          <ac:chgData name="Oriane LE GAVRIAN" userId="1ee00f59-07ab-493e-ac89-27a9fad1a751" providerId="ADAL" clId="{F5CD3EA1-21D3-4BEC-A408-A43EF898F83F}" dt="2023-01-26T10:56:41.388" v="4515"/>
          <ac:spMkLst>
            <pc:docMk/>
            <pc:sldMk cId="1699032143" sldId="2147469878"/>
            <ac:spMk id="61" creationId="{E86CEB66-149B-0284-7A5A-5C2C9B6C827D}"/>
          </ac:spMkLst>
        </pc:spChg>
        <pc:spChg chg="mod">
          <ac:chgData name="Oriane LE GAVRIAN" userId="1ee00f59-07ab-493e-ac89-27a9fad1a751" providerId="ADAL" clId="{F5CD3EA1-21D3-4BEC-A408-A43EF898F83F}" dt="2023-01-26T10:56:41.388" v="4515"/>
          <ac:spMkLst>
            <pc:docMk/>
            <pc:sldMk cId="1699032143" sldId="2147469878"/>
            <ac:spMk id="62" creationId="{622778B6-FA10-5475-7388-956809AD18E0}"/>
          </ac:spMkLst>
        </pc:spChg>
        <pc:spChg chg="mod">
          <ac:chgData name="Oriane LE GAVRIAN" userId="1ee00f59-07ab-493e-ac89-27a9fad1a751" providerId="ADAL" clId="{F5CD3EA1-21D3-4BEC-A408-A43EF898F83F}" dt="2023-01-26T11:02:10.734" v="4658" actId="20577"/>
          <ac:spMkLst>
            <pc:docMk/>
            <pc:sldMk cId="1699032143" sldId="2147469878"/>
            <ac:spMk id="65" creationId="{04FB2FBF-91E7-9EC4-3199-739966275DE4}"/>
          </ac:spMkLst>
        </pc:spChg>
        <pc:spChg chg="mod">
          <ac:chgData name="Oriane LE GAVRIAN" userId="1ee00f59-07ab-493e-ac89-27a9fad1a751" providerId="ADAL" clId="{F5CD3EA1-21D3-4BEC-A408-A43EF898F83F}" dt="2023-01-26T10:57:08.848" v="4519"/>
          <ac:spMkLst>
            <pc:docMk/>
            <pc:sldMk cId="1699032143" sldId="2147469878"/>
            <ac:spMk id="66" creationId="{9228DCF3-E55C-31CC-B90D-57B447BB6809}"/>
          </ac:spMkLst>
        </pc:spChg>
        <pc:spChg chg="mod">
          <ac:chgData name="Oriane LE GAVRIAN" userId="1ee00f59-07ab-493e-ac89-27a9fad1a751" providerId="ADAL" clId="{F5CD3EA1-21D3-4BEC-A408-A43EF898F83F}" dt="2023-01-26T10:57:08.848" v="4519"/>
          <ac:spMkLst>
            <pc:docMk/>
            <pc:sldMk cId="1699032143" sldId="2147469878"/>
            <ac:spMk id="67" creationId="{D8A8E8FB-DC0D-73A3-02BB-1D0C3B7A8D65}"/>
          </ac:spMkLst>
        </pc:spChg>
        <pc:spChg chg="add mod">
          <ac:chgData name="Oriane LE GAVRIAN" userId="1ee00f59-07ab-493e-ac89-27a9fad1a751" providerId="ADAL" clId="{F5CD3EA1-21D3-4BEC-A408-A43EF898F83F}" dt="2023-01-26T11:25:21.380" v="5513" actId="207"/>
          <ac:spMkLst>
            <pc:docMk/>
            <pc:sldMk cId="1699032143" sldId="2147469878"/>
            <ac:spMk id="79" creationId="{AE7C0868-FD1D-1021-77CD-DB37A980F839}"/>
          </ac:spMkLst>
        </pc:spChg>
        <pc:spChg chg="add mod">
          <ac:chgData name="Oriane LE GAVRIAN" userId="1ee00f59-07ab-493e-ac89-27a9fad1a751" providerId="ADAL" clId="{F5CD3EA1-21D3-4BEC-A408-A43EF898F83F}" dt="2023-01-26T11:22:18.530" v="5337" actId="1038"/>
          <ac:spMkLst>
            <pc:docMk/>
            <pc:sldMk cId="1699032143" sldId="2147469878"/>
            <ac:spMk id="80" creationId="{37E96C6F-72DE-9A38-0F8E-736B258DB594}"/>
          </ac:spMkLst>
        </pc:spChg>
        <pc:spChg chg="add mod">
          <ac:chgData name="Oriane LE GAVRIAN" userId="1ee00f59-07ab-493e-ac89-27a9fad1a751" providerId="ADAL" clId="{F5CD3EA1-21D3-4BEC-A408-A43EF898F83F}" dt="2023-01-26T11:22:17.051" v="5336" actId="1037"/>
          <ac:spMkLst>
            <pc:docMk/>
            <pc:sldMk cId="1699032143" sldId="2147469878"/>
            <ac:spMk id="81" creationId="{9B2F83F9-D191-3C81-21CC-A2AB428A7909}"/>
          </ac:spMkLst>
        </pc:spChg>
        <pc:spChg chg="add mod">
          <ac:chgData name="Oriane LE GAVRIAN" userId="1ee00f59-07ab-493e-ac89-27a9fad1a751" providerId="ADAL" clId="{F5CD3EA1-21D3-4BEC-A408-A43EF898F83F}" dt="2023-01-26T11:22:08.669" v="5329" actId="164"/>
          <ac:spMkLst>
            <pc:docMk/>
            <pc:sldMk cId="1699032143" sldId="2147469878"/>
            <ac:spMk id="82" creationId="{89A06724-6BC0-F77E-1A04-ABED0252C4AF}"/>
          </ac:spMkLst>
        </pc:spChg>
        <pc:spChg chg="add mod">
          <ac:chgData name="Oriane LE GAVRIAN" userId="1ee00f59-07ab-493e-ac89-27a9fad1a751" providerId="ADAL" clId="{F5CD3EA1-21D3-4BEC-A408-A43EF898F83F}" dt="2023-01-26T11:22:03.628" v="5328" actId="164"/>
          <ac:spMkLst>
            <pc:docMk/>
            <pc:sldMk cId="1699032143" sldId="2147469878"/>
            <ac:spMk id="83" creationId="{3BCE246C-CCAC-7161-2284-622F331D9891}"/>
          </ac:spMkLst>
        </pc:spChg>
        <pc:spChg chg="add mod">
          <ac:chgData name="Oriane LE GAVRIAN" userId="1ee00f59-07ab-493e-ac89-27a9fad1a751" providerId="ADAL" clId="{F5CD3EA1-21D3-4BEC-A408-A43EF898F83F}" dt="2023-01-26T12:37:25.196" v="6492" actId="20577"/>
          <ac:spMkLst>
            <pc:docMk/>
            <pc:sldMk cId="1699032143" sldId="2147469878"/>
            <ac:spMk id="88" creationId="{6E208B60-07B7-12B6-9721-20B9EEBBBD00}"/>
          </ac:spMkLst>
        </pc:spChg>
        <pc:grpChg chg="add del mod">
          <ac:chgData name="Oriane LE GAVRIAN" userId="1ee00f59-07ab-493e-ac89-27a9fad1a751" providerId="ADAL" clId="{F5CD3EA1-21D3-4BEC-A408-A43EF898F83F}" dt="2023-01-26T10:44:50.652" v="4220" actId="165"/>
          <ac:grpSpMkLst>
            <pc:docMk/>
            <pc:sldMk cId="1699032143" sldId="2147469878"/>
            <ac:grpSpMk id="13" creationId="{4D5BED6E-F624-DD39-2B25-986C8009375E}"/>
          </ac:grpSpMkLst>
        </pc:grpChg>
        <pc:grpChg chg="del mod">
          <ac:chgData name="Oriane LE GAVRIAN" userId="1ee00f59-07ab-493e-ac89-27a9fad1a751" providerId="ADAL" clId="{F5CD3EA1-21D3-4BEC-A408-A43EF898F83F}" dt="2023-01-26T10:44:39.303" v="4217" actId="478"/>
          <ac:grpSpMkLst>
            <pc:docMk/>
            <pc:sldMk cId="1699032143" sldId="2147469878"/>
            <ac:grpSpMk id="14" creationId="{58522513-B9CC-42F3-3BCE-47E7D365C691}"/>
          </ac:grpSpMkLst>
        </pc:grpChg>
        <pc:grpChg chg="del mod topLvl">
          <ac:chgData name="Oriane LE GAVRIAN" userId="1ee00f59-07ab-493e-ac89-27a9fad1a751" providerId="ADAL" clId="{F5CD3EA1-21D3-4BEC-A408-A43EF898F83F}" dt="2023-01-26T10:44:52.220" v="4221" actId="478"/>
          <ac:grpSpMkLst>
            <pc:docMk/>
            <pc:sldMk cId="1699032143" sldId="2147469878"/>
            <ac:grpSpMk id="16" creationId="{04DD2EFC-1D53-5DBB-5D10-76A43F890F70}"/>
          </ac:grpSpMkLst>
        </pc:grpChg>
        <pc:grpChg chg="add del mod">
          <ac:chgData name="Oriane LE GAVRIAN" userId="1ee00f59-07ab-493e-ac89-27a9fad1a751" providerId="ADAL" clId="{F5CD3EA1-21D3-4BEC-A408-A43EF898F83F}" dt="2023-01-26T10:44:53.973" v="4222" actId="165"/>
          <ac:grpSpMkLst>
            <pc:docMk/>
            <pc:sldMk cId="1699032143" sldId="2147469878"/>
            <ac:grpSpMk id="21" creationId="{312ECE9B-3A98-0278-D5E8-7A4626435905}"/>
          </ac:grpSpMkLst>
        </pc:grpChg>
        <pc:grpChg chg="del mod">
          <ac:chgData name="Oriane LE GAVRIAN" userId="1ee00f59-07ab-493e-ac89-27a9fad1a751" providerId="ADAL" clId="{F5CD3EA1-21D3-4BEC-A408-A43EF898F83F}" dt="2023-01-26T10:44:29.640" v="4213" actId="478"/>
          <ac:grpSpMkLst>
            <pc:docMk/>
            <pc:sldMk cId="1699032143" sldId="2147469878"/>
            <ac:grpSpMk id="22" creationId="{5DA203EB-4491-8330-F607-08509ABBE838}"/>
          </ac:grpSpMkLst>
        </pc:grpChg>
        <pc:grpChg chg="del mod topLvl">
          <ac:chgData name="Oriane LE GAVRIAN" userId="1ee00f59-07ab-493e-ac89-27a9fad1a751" providerId="ADAL" clId="{F5CD3EA1-21D3-4BEC-A408-A43EF898F83F}" dt="2023-01-26T10:44:57.100" v="4223" actId="478"/>
          <ac:grpSpMkLst>
            <pc:docMk/>
            <pc:sldMk cId="1699032143" sldId="2147469878"/>
            <ac:grpSpMk id="24" creationId="{5714014C-BA6E-AAEB-C288-56C733ACA8E5}"/>
          </ac:grpSpMkLst>
        </pc:grpChg>
        <pc:grpChg chg="add del mod topLvl">
          <ac:chgData name="Oriane LE GAVRIAN" userId="1ee00f59-07ab-493e-ac89-27a9fad1a751" providerId="ADAL" clId="{F5CD3EA1-21D3-4BEC-A408-A43EF898F83F}" dt="2023-01-26T10:45:51.121" v="4237" actId="478"/>
          <ac:grpSpMkLst>
            <pc:docMk/>
            <pc:sldMk cId="1699032143" sldId="2147469878"/>
            <ac:grpSpMk id="30" creationId="{FA15BEC0-F9C8-47A4-84DB-FFF5BCF97F05}"/>
          </ac:grpSpMkLst>
        </pc:grpChg>
        <pc:grpChg chg="mod topLvl">
          <ac:chgData name="Oriane LE GAVRIAN" userId="1ee00f59-07ab-493e-ac89-27a9fad1a751" providerId="ADAL" clId="{F5CD3EA1-21D3-4BEC-A408-A43EF898F83F}" dt="2023-01-26T10:46:19.619" v="4245" actId="164"/>
          <ac:grpSpMkLst>
            <pc:docMk/>
            <pc:sldMk cId="1699032143" sldId="2147469878"/>
            <ac:grpSpMk id="31" creationId="{0362B2D6-BC1C-4F54-1FF7-6A0AC281732C}"/>
          </ac:grpSpMkLst>
        </pc:grpChg>
        <pc:grpChg chg="add del mod topLvl">
          <ac:chgData name="Oriane LE GAVRIAN" userId="1ee00f59-07ab-493e-ac89-27a9fad1a751" providerId="ADAL" clId="{F5CD3EA1-21D3-4BEC-A408-A43EF898F83F}" dt="2023-01-26T10:45:43.619" v="4234" actId="478"/>
          <ac:grpSpMkLst>
            <pc:docMk/>
            <pc:sldMk cId="1699032143" sldId="2147469878"/>
            <ac:grpSpMk id="37" creationId="{3B535538-3AC2-6EAD-D5A0-6DC0EBB9F517}"/>
          </ac:grpSpMkLst>
        </pc:grpChg>
        <pc:grpChg chg="mod topLvl">
          <ac:chgData name="Oriane LE GAVRIAN" userId="1ee00f59-07ab-493e-ac89-27a9fad1a751" providerId="ADAL" clId="{F5CD3EA1-21D3-4BEC-A408-A43EF898F83F}" dt="2023-01-26T10:46:19.619" v="4245" actId="164"/>
          <ac:grpSpMkLst>
            <pc:docMk/>
            <pc:sldMk cId="1699032143" sldId="2147469878"/>
            <ac:grpSpMk id="38" creationId="{20AD75A8-2C05-B01A-02DA-5FF13FF0CD03}"/>
          </ac:grpSpMkLst>
        </pc:grpChg>
        <pc:grpChg chg="add del mod">
          <ac:chgData name="Oriane LE GAVRIAN" userId="1ee00f59-07ab-493e-ac89-27a9fad1a751" providerId="ADAL" clId="{F5CD3EA1-21D3-4BEC-A408-A43EF898F83F}" dt="2023-01-26T10:45:36.452" v="4231" actId="165"/>
          <ac:grpSpMkLst>
            <pc:docMk/>
            <pc:sldMk cId="1699032143" sldId="2147469878"/>
            <ac:grpSpMk id="44" creationId="{4F3788BA-CD0E-0929-1120-9FECBA34FCC8}"/>
          </ac:grpSpMkLst>
        </pc:grpChg>
        <pc:grpChg chg="add del mod">
          <ac:chgData name="Oriane LE GAVRIAN" userId="1ee00f59-07ab-493e-ac89-27a9fad1a751" providerId="ADAL" clId="{F5CD3EA1-21D3-4BEC-A408-A43EF898F83F}" dt="2023-01-26T10:48:54.669" v="4299" actId="478"/>
          <ac:grpSpMkLst>
            <pc:docMk/>
            <pc:sldMk cId="1699032143" sldId="2147469878"/>
            <ac:grpSpMk id="45" creationId="{1CF83165-710F-75AF-3117-A2226D869B84}"/>
          </ac:grpSpMkLst>
        </pc:grpChg>
        <pc:grpChg chg="add mod">
          <ac:chgData name="Oriane LE GAVRIAN" userId="1ee00f59-07ab-493e-ac89-27a9fad1a751" providerId="ADAL" clId="{F5CD3EA1-21D3-4BEC-A408-A43EF898F83F}" dt="2023-01-26T13:23:23.746" v="8271" actId="1035"/>
          <ac:grpSpMkLst>
            <pc:docMk/>
            <pc:sldMk cId="1699032143" sldId="2147469878"/>
            <ac:grpSpMk id="53" creationId="{6339B7D4-3991-8FCF-DE88-DA7F1404E889}"/>
          </ac:grpSpMkLst>
        </pc:grpChg>
        <pc:grpChg chg="mod">
          <ac:chgData name="Oriane LE GAVRIAN" userId="1ee00f59-07ab-493e-ac89-27a9fad1a751" providerId="ADAL" clId="{F5CD3EA1-21D3-4BEC-A408-A43EF898F83F}" dt="2023-01-26T10:56:00.154" v="4458"/>
          <ac:grpSpMkLst>
            <pc:docMk/>
            <pc:sldMk cId="1699032143" sldId="2147469878"/>
            <ac:grpSpMk id="54" creationId="{25E62451-B149-0782-869A-8BCBAEF9EF8E}"/>
          </ac:grpSpMkLst>
        </pc:grpChg>
        <pc:grpChg chg="add del mod">
          <ac:chgData name="Oriane LE GAVRIAN" userId="1ee00f59-07ab-493e-ac89-27a9fad1a751" providerId="ADAL" clId="{F5CD3EA1-21D3-4BEC-A408-A43EF898F83F}" dt="2023-01-26T10:57:06.178" v="4518" actId="478"/>
          <ac:grpSpMkLst>
            <pc:docMk/>
            <pc:sldMk cId="1699032143" sldId="2147469878"/>
            <ac:grpSpMk id="58" creationId="{7BD41B2C-6F05-B224-D674-8DA22D6F7515}"/>
          </ac:grpSpMkLst>
        </pc:grpChg>
        <pc:grpChg chg="mod">
          <ac:chgData name="Oriane LE GAVRIAN" userId="1ee00f59-07ab-493e-ac89-27a9fad1a751" providerId="ADAL" clId="{F5CD3EA1-21D3-4BEC-A408-A43EF898F83F}" dt="2023-01-26T10:56:41.388" v="4515"/>
          <ac:grpSpMkLst>
            <pc:docMk/>
            <pc:sldMk cId="1699032143" sldId="2147469878"/>
            <ac:grpSpMk id="59" creationId="{4942DACC-5725-BE88-ABC6-CFD9CDDF7EC0}"/>
          </ac:grpSpMkLst>
        </pc:grpChg>
        <pc:grpChg chg="add mod">
          <ac:chgData name="Oriane LE GAVRIAN" userId="1ee00f59-07ab-493e-ac89-27a9fad1a751" providerId="ADAL" clId="{F5CD3EA1-21D3-4BEC-A408-A43EF898F83F}" dt="2023-01-26T13:23:23.746" v="8271" actId="1035"/>
          <ac:grpSpMkLst>
            <pc:docMk/>
            <pc:sldMk cId="1699032143" sldId="2147469878"/>
            <ac:grpSpMk id="63" creationId="{9BCEAC4E-1E50-ED5A-82C5-8C176AD1AEDB}"/>
          </ac:grpSpMkLst>
        </pc:grpChg>
        <pc:grpChg chg="mod">
          <ac:chgData name="Oriane LE GAVRIAN" userId="1ee00f59-07ab-493e-ac89-27a9fad1a751" providerId="ADAL" clId="{F5CD3EA1-21D3-4BEC-A408-A43EF898F83F}" dt="2023-01-26T10:57:08.848" v="4519"/>
          <ac:grpSpMkLst>
            <pc:docMk/>
            <pc:sldMk cId="1699032143" sldId="2147469878"/>
            <ac:grpSpMk id="64" creationId="{A37F3BE2-4B43-B619-345D-B36645D41CE0}"/>
          </ac:grpSpMkLst>
        </pc:grpChg>
        <pc:grpChg chg="add mod">
          <ac:chgData name="Oriane LE GAVRIAN" userId="1ee00f59-07ab-493e-ac89-27a9fad1a751" providerId="ADAL" clId="{F5CD3EA1-21D3-4BEC-A408-A43EF898F83F}" dt="2023-01-26T11:22:33.147" v="5341" actId="1076"/>
          <ac:grpSpMkLst>
            <pc:docMk/>
            <pc:sldMk cId="1699032143" sldId="2147469878"/>
            <ac:grpSpMk id="89" creationId="{FE2D7E9A-11CE-84CD-C446-F74EF23B62BE}"/>
          </ac:grpSpMkLst>
        </pc:grpChg>
        <pc:grpChg chg="add mod">
          <ac:chgData name="Oriane LE GAVRIAN" userId="1ee00f59-07ab-493e-ac89-27a9fad1a751" providerId="ADAL" clId="{F5CD3EA1-21D3-4BEC-A408-A43EF898F83F}" dt="2023-01-26T11:22:22.246" v="5338" actId="1076"/>
          <ac:grpSpMkLst>
            <pc:docMk/>
            <pc:sldMk cId="1699032143" sldId="2147469878"/>
            <ac:grpSpMk id="90" creationId="{956B0E7B-1939-76AE-DC33-D16C12A0F4EA}"/>
          </ac:grpSpMkLst>
        </pc:grpChg>
        <pc:picChg chg="add mod">
          <ac:chgData name="Oriane LE GAVRIAN" userId="1ee00f59-07ab-493e-ac89-27a9fad1a751" providerId="ADAL" clId="{F5CD3EA1-21D3-4BEC-A408-A43EF898F83F}" dt="2023-01-26T13:23:03.250" v="8260" actId="1036"/>
          <ac:picMkLst>
            <pc:docMk/>
            <pc:sldMk cId="1699032143" sldId="2147469878"/>
            <ac:picMk id="51" creationId="{10311AF4-EDFE-4490-F790-4B44609B352F}"/>
          </ac:picMkLst>
        </pc:picChg>
        <pc:picChg chg="add mod">
          <ac:chgData name="Oriane LE GAVRIAN" userId="1ee00f59-07ab-493e-ac89-27a9fad1a751" providerId="ADAL" clId="{F5CD3EA1-21D3-4BEC-A408-A43EF898F83F}" dt="2023-01-26T13:23:23.746" v="8271" actId="1035"/>
          <ac:picMkLst>
            <pc:docMk/>
            <pc:sldMk cId="1699032143" sldId="2147469878"/>
            <ac:picMk id="69" creationId="{82057E5F-E506-9451-903D-2875BBF18704}"/>
          </ac:picMkLst>
        </pc:picChg>
        <pc:picChg chg="add mod">
          <ac:chgData name="Oriane LE GAVRIAN" userId="1ee00f59-07ab-493e-ac89-27a9fad1a751" providerId="ADAL" clId="{F5CD3EA1-21D3-4BEC-A408-A43EF898F83F}" dt="2023-01-26T13:23:23.746" v="8271" actId="1035"/>
          <ac:picMkLst>
            <pc:docMk/>
            <pc:sldMk cId="1699032143" sldId="2147469878"/>
            <ac:picMk id="71" creationId="{4D21D103-FE65-B439-1F51-DCF38F0ACA23}"/>
          </ac:picMkLst>
        </pc:picChg>
        <pc:picChg chg="add del mod">
          <ac:chgData name="Oriane LE GAVRIAN" userId="1ee00f59-07ab-493e-ac89-27a9fad1a751" providerId="ADAL" clId="{F5CD3EA1-21D3-4BEC-A408-A43EF898F83F}" dt="2023-01-26T11:03:15.300" v="4671" actId="478"/>
          <ac:picMkLst>
            <pc:docMk/>
            <pc:sldMk cId="1699032143" sldId="2147469878"/>
            <ac:picMk id="73" creationId="{E22038A4-D474-F9F4-B826-F73ADED932B0}"/>
          </ac:picMkLst>
        </pc:picChg>
        <pc:picChg chg="add mod">
          <ac:chgData name="Oriane LE GAVRIAN" userId="1ee00f59-07ab-493e-ac89-27a9fad1a751" providerId="ADAL" clId="{F5CD3EA1-21D3-4BEC-A408-A43EF898F83F}" dt="2023-01-26T11:18:31.137" v="5159" actId="1076"/>
          <ac:picMkLst>
            <pc:docMk/>
            <pc:sldMk cId="1699032143" sldId="2147469878"/>
            <ac:picMk id="75" creationId="{04A1A227-BA14-1D13-CB50-CD59F23930C4}"/>
          </ac:picMkLst>
        </pc:picChg>
        <pc:picChg chg="add del mod">
          <ac:chgData name="Oriane LE GAVRIAN" userId="1ee00f59-07ab-493e-ac89-27a9fad1a751" providerId="ADAL" clId="{F5CD3EA1-21D3-4BEC-A408-A43EF898F83F}" dt="2023-01-26T11:03:33.209" v="4675" actId="478"/>
          <ac:picMkLst>
            <pc:docMk/>
            <pc:sldMk cId="1699032143" sldId="2147469878"/>
            <ac:picMk id="77" creationId="{6DFDDD1B-D59B-32A4-85CB-72AFBA0B48C2}"/>
          </ac:picMkLst>
        </pc:picChg>
        <pc:picChg chg="add mod">
          <ac:chgData name="Oriane LE GAVRIAN" userId="1ee00f59-07ab-493e-ac89-27a9fad1a751" providerId="ADAL" clId="{F5CD3EA1-21D3-4BEC-A408-A43EF898F83F}" dt="2023-01-26T11:22:03.628" v="5328" actId="164"/>
          <ac:picMkLst>
            <pc:docMk/>
            <pc:sldMk cId="1699032143" sldId="2147469878"/>
            <ac:picMk id="85" creationId="{36E1451B-5739-F64D-F493-15F4D93BED5C}"/>
          </ac:picMkLst>
        </pc:picChg>
        <pc:picChg chg="add mod">
          <ac:chgData name="Oriane LE GAVRIAN" userId="1ee00f59-07ab-493e-ac89-27a9fad1a751" providerId="ADAL" clId="{F5CD3EA1-21D3-4BEC-A408-A43EF898F83F}" dt="2023-01-26T11:22:08.669" v="5329" actId="164"/>
          <ac:picMkLst>
            <pc:docMk/>
            <pc:sldMk cId="1699032143" sldId="2147469878"/>
            <ac:picMk id="87" creationId="{6CF6F293-F9A5-C42D-00C2-39E62E22936D}"/>
          </ac:picMkLst>
        </pc:picChg>
        <pc:picChg chg="add mod">
          <ac:chgData name="Oriane LE GAVRIAN" userId="1ee00f59-07ab-493e-ac89-27a9fad1a751" providerId="ADAL" clId="{F5CD3EA1-21D3-4BEC-A408-A43EF898F83F}" dt="2023-01-26T12:37:48.907" v="6499" actId="207"/>
          <ac:picMkLst>
            <pc:docMk/>
            <pc:sldMk cId="1699032143" sldId="2147469878"/>
            <ac:picMk id="92" creationId="{F0B5800E-0817-22ED-9588-C3B16EED179F}"/>
          </ac:picMkLst>
        </pc:picChg>
      </pc:sldChg>
      <pc:sldChg chg="addSp delSp modSp add mod">
        <pc:chgData name="Oriane LE GAVRIAN" userId="1ee00f59-07ab-493e-ac89-27a9fad1a751" providerId="ADAL" clId="{F5CD3EA1-21D3-4BEC-A408-A43EF898F83F}" dt="2023-01-26T16:12:12.474" v="12204" actId="164"/>
        <pc:sldMkLst>
          <pc:docMk/>
          <pc:sldMk cId="1045340878" sldId="2147469879"/>
        </pc:sldMkLst>
        <pc:spChg chg="mod">
          <ac:chgData name="Oriane LE GAVRIAN" userId="1ee00f59-07ab-493e-ac89-27a9fad1a751" providerId="ADAL" clId="{F5CD3EA1-21D3-4BEC-A408-A43EF898F83F}" dt="2023-01-26T12:52:25.465" v="7375" actId="20577"/>
          <ac:spMkLst>
            <pc:docMk/>
            <pc:sldMk cId="1045340878" sldId="2147469879"/>
            <ac:spMk id="2" creationId="{172F09DD-32B4-9A0A-5449-68CF40F4F99E}"/>
          </ac:spMkLst>
        </pc:spChg>
        <pc:spChg chg="add mod">
          <ac:chgData name="Oriane LE GAVRIAN" userId="1ee00f59-07ab-493e-ac89-27a9fad1a751" providerId="ADAL" clId="{F5CD3EA1-21D3-4BEC-A408-A43EF898F83F}" dt="2023-01-26T16:10:47.759" v="12179" actId="207"/>
          <ac:spMkLst>
            <pc:docMk/>
            <pc:sldMk cId="1045340878" sldId="2147469879"/>
            <ac:spMk id="3" creationId="{30B9CDCB-963F-CDE8-47B4-8D337244A230}"/>
          </ac:spMkLst>
        </pc:spChg>
        <pc:spChg chg="add del mod">
          <ac:chgData name="Oriane LE GAVRIAN" userId="1ee00f59-07ab-493e-ac89-27a9fad1a751" providerId="ADAL" clId="{F5CD3EA1-21D3-4BEC-A408-A43EF898F83F}" dt="2023-01-26T12:38:25.684" v="6513" actId="21"/>
          <ac:spMkLst>
            <pc:docMk/>
            <pc:sldMk cId="1045340878" sldId="2147469879"/>
            <ac:spMk id="3" creationId="{A244CA01-9A65-24C0-3E86-53475A609634}"/>
          </ac:spMkLst>
        </pc:spChg>
        <pc:spChg chg="del">
          <ac:chgData name="Oriane LE GAVRIAN" userId="1ee00f59-07ab-493e-ac89-27a9fad1a751" providerId="ADAL" clId="{F5CD3EA1-21D3-4BEC-A408-A43EF898F83F}" dt="2023-01-26T10:06:38.176" v="456" actId="478"/>
          <ac:spMkLst>
            <pc:docMk/>
            <pc:sldMk cId="1045340878" sldId="2147469879"/>
            <ac:spMk id="4" creationId="{DA9D5579-E39F-97C3-A030-0C0A1745EA76}"/>
          </ac:spMkLst>
        </pc:spChg>
        <pc:spChg chg="del">
          <ac:chgData name="Oriane LE GAVRIAN" userId="1ee00f59-07ab-493e-ac89-27a9fad1a751" providerId="ADAL" clId="{F5CD3EA1-21D3-4BEC-A408-A43EF898F83F}" dt="2023-01-26T10:06:38.176" v="456" actId="478"/>
          <ac:spMkLst>
            <pc:docMk/>
            <pc:sldMk cId="1045340878" sldId="2147469879"/>
            <ac:spMk id="5" creationId="{4B05ED59-E472-21CD-DE2B-3617C0FE6BE2}"/>
          </ac:spMkLst>
        </pc:spChg>
        <pc:spChg chg="add del mod">
          <ac:chgData name="Oriane LE GAVRIAN" userId="1ee00f59-07ab-493e-ac89-27a9fad1a751" providerId="ADAL" clId="{F5CD3EA1-21D3-4BEC-A408-A43EF898F83F}" dt="2023-01-26T11:24:22.525" v="5492" actId="478"/>
          <ac:spMkLst>
            <pc:docMk/>
            <pc:sldMk cId="1045340878" sldId="2147469879"/>
            <ac:spMk id="6" creationId="{848AB73B-1807-C8F3-1709-EC0C614D0871}"/>
          </ac:spMkLst>
        </pc:spChg>
        <pc:spChg chg="add del mod">
          <ac:chgData name="Oriane LE GAVRIAN" userId="1ee00f59-07ab-493e-ac89-27a9fad1a751" providerId="ADAL" clId="{F5CD3EA1-21D3-4BEC-A408-A43EF898F83F}" dt="2023-01-26T12:38:25.684" v="6513" actId="21"/>
          <ac:spMkLst>
            <pc:docMk/>
            <pc:sldMk cId="1045340878" sldId="2147469879"/>
            <ac:spMk id="7" creationId="{272A6FAF-1663-78D6-215D-EBEE1EE6072D}"/>
          </ac:spMkLst>
        </pc:spChg>
        <pc:spChg chg="add del mod">
          <ac:chgData name="Oriane LE GAVRIAN" userId="1ee00f59-07ab-493e-ac89-27a9fad1a751" providerId="ADAL" clId="{F5CD3EA1-21D3-4BEC-A408-A43EF898F83F}" dt="2023-01-26T10:38:10.877" v="3628" actId="21"/>
          <ac:spMkLst>
            <pc:docMk/>
            <pc:sldMk cId="1045340878" sldId="2147469879"/>
            <ac:spMk id="8" creationId="{8F9BB89E-D9D3-1E41-84C6-88753B3AF5C0}"/>
          </ac:spMkLst>
        </pc:spChg>
        <pc:spChg chg="add mod">
          <ac:chgData name="Oriane LE GAVRIAN" userId="1ee00f59-07ab-493e-ac89-27a9fad1a751" providerId="ADAL" clId="{F5CD3EA1-21D3-4BEC-A408-A43EF898F83F}" dt="2023-01-26T16:09:39.779" v="12167" actId="114"/>
          <ac:spMkLst>
            <pc:docMk/>
            <pc:sldMk cId="1045340878" sldId="2147469879"/>
            <ac:spMk id="9" creationId="{2E996F80-2BDF-01A8-9481-EAC64F4C9452}"/>
          </ac:spMkLst>
        </pc:spChg>
        <pc:spChg chg="add del mod">
          <ac:chgData name="Oriane LE GAVRIAN" userId="1ee00f59-07ab-493e-ac89-27a9fad1a751" providerId="ADAL" clId="{F5CD3EA1-21D3-4BEC-A408-A43EF898F83F}" dt="2023-01-26T13:30:32.127" v="8925" actId="478"/>
          <ac:spMkLst>
            <pc:docMk/>
            <pc:sldMk cId="1045340878" sldId="2147469879"/>
            <ac:spMk id="10" creationId="{AD933BCD-473A-8C9B-A134-81C2463EC60D}"/>
          </ac:spMkLst>
        </pc:spChg>
        <pc:spChg chg="mod">
          <ac:chgData name="Oriane LE GAVRIAN" userId="1ee00f59-07ab-493e-ac89-27a9fad1a751" providerId="ADAL" clId="{F5CD3EA1-21D3-4BEC-A408-A43EF898F83F}" dt="2023-01-26T12:41:47.122" v="7053"/>
          <ac:spMkLst>
            <pc:docMk/>
            <pc:sldMk cId="1045340878" sldId="2147469879"/>
            <ac:spMk id="12" creationId="{AD98F98D-70AB-6C29-8B09-55B3761F497F}"/>
          </ac:spMkLst>
        </pc:spChg>
        <pc:spChg chg="mod">
          <ac:chgData name="Oriane LE GAVRIAN" userId="1ee00f59-07ab-493e-ac89-27a9fad1a751" providerId="ADAL" clId="{F5CD3EA1-21D3-4BEC-A408-A43EF898F83F}" dt="2023-01-26T12:41:47.122" v="7053"/>
          <ac:spMkLst>
            <pc:docMk/>
            <pc:sldMk cId="1045340878" sldId="2147469879"/>
            <ac:spMk id="13" creationId="{5BDF7AFE-EA73-41B1-85E6-86560C0BB759}"/>
          </ac:spMkLst>
        </pc:spChg>
        <pc:spChg chg="mod">
          <ac:chgData name="Oriane LE GAVRIAN" userId="1ee00f59-07ab-493e-ac89-27a9fad1a751" providerId="ADAL" clId="{F5CD3EA1-21D3-4BEC-A408-A43EF898F83F}" dt="2023-01-26T12:41:47.122" v="7053"/>
          <ac:spMkLst>
            <pc:docMk/>
            <pc:sldMk cId="1045340878" sldId="2147469879"/>
            <ac:spMk id="16" creationId="{924AE1CC-9BFE-D46B-65FA-A3750B12CA09}"/>
          </ac:spMkLst>
        </pc:spChg>
        <pc:spChg chg="mod">
          <ac:chgData name="Oriane LE GAVRIAN" userId="1ee00f59-07ab-493e-ac89-27a9fad1a751" providerId="ADAL" clId="{F5CD3EA1-21D3-4BEC-A408-A43EF898F83F}" dt="2023-01-26T12:41:47.122" v="7053"/>
          <ac:spMkLst>
            <pc:docMk/>
            <pc:sldMk cId="1045340878" sldId="2147469879"/>
            <ac:spMk id="17" creationId="{04983510-200A-8CA9-8D2A-8EA4BE9ADC0B}"/>
          </ac:spMkLst>
        </pc:spChg>
        <pc:spChg chg="mod topLvl">
          <ac:chgData name="Oriane LE GAVRIAN" userId="1ee00f59-07ab-493e-ac89-27a9fad1a751" providerId="ADAL" clId="{F5CD3EA1-21D3-4BEC-A408-A43EF898F83F}" dt="2023-01-26T16:10:45.365" v="12178" actId="164"/>
          <ac:spMkLst>
            <pc:docMk/>
            <pc:sldMk cId="1045340878" sldId="2147469879"/>
            <ac:spMk id="20" creationId="{F0196E85-8882-614E-A170-5673F9113643}"/>
          </ac:spMkLst>
        </pc:spChg>
        <pc:spChg chg="del mod topLvl">
          <ac:chgData name="Oriane LE GAVRIAN" userId="1ee00f59-07ab-493e-ac89-27a9fad1a751" providerId="ADAL" clId="{F5CD3EA1-21D3-4BEC-A408-A43EF898F83F}" dt="2023-01-26T12:42:17.564" v="7060" actId="478"/>
          <ac:spMkLst>
            <pc:docMk/>
            <pc:sldMk cId="1045340878" sldId="2147469879"/>
            <ac:spMk id="21" creationId="{7B2A9073-7E5B-2BD0-9BED-190F61E1DCB9}"/>
          </ac:spMkLst>
        </pc:spChg>
        <pc:spChg chg="mod topLvl">
          <ac:chgData name="Oriane LE GAVRIAN" userId="1ee00f59-07ab-493e-ac89-27a9fad1a751" providerId="ADAL" clId="{F5CD3EA1-21D3-4BEC-A408-A43EF898F83F}" dt="2023-01-26T16:10:45.365" v="12178" actId="164"/>
          <ac:spMkLst>
            <pc:docMk/>
            <pc:sldMk cId="1045340878" sldId="2147469879"/>
            <ac:spMk id="22" creationId="{111D8CA6-F8AA-CEE6-2F14-78FBCEBE9381}"/>
          </ac:spMkLst>
        </pc:spChg>
        <pc:spChg chg="del mod topLvl">
          <ac:chgData name="Oriane LE GAVRIAN" userId="1ee00f59-07ab-493e-ac89-27a9fad1a751" providerId="ADAL" clId="{F5CD3EA1-21D3-4BEC-A408-A43EF898F83F}" dt="2023-01-26T12:42:17.564" v="7060" actId="478"/>
          <ac:spMkLst>
            <pc:docMk/>
            <pc:sldMk cId="1045340878" sldId="2147469879"/>
            <ac:spMk id="23" creationId="{C6F12149-FEEE-B9EC-0390-2B88761E3FCD}"/>
          </ac:spMkLst>
        </pc:spChg>
        <pc:spChg chg="mod topLvl">
          <ac:chgData name="Oriane LE GAVRIAN" userId="1ee00f59-07ab-493e-ac89-27a9fad1a751" providerId="ADAL" clId="{F5CD3EA1-21D3-4BEC-A408-A43EF898F83F}" dt="2023-01-26T16:10:45.365" v="12178" actId="164"/>
          <ac:spMkLst>
            <pc:docMk/>
            <pc:sldMk cId="1045340878" sldId="2147469879"/>
            <ac:spMk id="24" creationId="{F8A61981-602A-7EC2-B0B5-413A23226EF0}"/>
          </ac:spMkLst>
        </pc:spChg>
        <pc:spChg chg="del mod topLvl">
          <ac:chgData name="Oriane LE GAVRIAN" userId="1ee00f59-07ab-493e-ac89-27a9fad1a751" providerId="ADAL" clId="{F5CD3EA1-21D3-4BEC-A408-A43EF898F83F}" dt="2023-01-26T12:42:17.564" v="7060" actId="478"/>
          <ac:spMkLst>
            <pc:docMk/>
            <pc:sldMk cId="1045340878" sldId="2147469879"/>
            <ac:spMk id="25" creationId="{D976ADD6-F38A-5621-97BC-287A05FB78EA}"/>
          </ac:spMkLst>
        </pc:spChg>
        <pc:spChg chg="mod topLvl">
          <ac:chgData name="Oriane LE GAVRIAN" userId="1ee00f59-07ab-493e-ac89-27a9fad1a751" providerId="ADAL" clId="{F5CD3EA1-21D3-4BEC-A408-A43EF898F83F}" dt="2023-01-26T16:10:50.887" v="12180" actId="207"/>
          <ac:spMkLst>
            <pc:docMk/>
            <pc:sldMk cId="1045340878" sldId="2147469879"/>
            <ac:spMk id="26" creationId="{533F2EDF-3231-1EC4-0662-69DDA6875E11}"/>
          </ac:spMkLst>
        </pc:spChg>
        <pc:spChg chg="del mod topLvl">
          <ac:chgData name="Oriane LE GAVRIAN" userId="1ee00f59-07ab-493e-ac89-27a9fad1a751" providerId="ADAL" clId="{F5CD3EA1-21D3-4BEC-A408-A43EF898F83F}" dt="2023-01-26T12:42:17.564" v="7060" actId="478"/>
          <ac:spMkLst>
            <pc:docMk/>
            <pc:sldMk cId="1045340878" sldId="2147469879"/>
            <ac:spMk id="27" creationId="{FBF81FBA-82DA-CFAF-4334-E207331D2737}"/>
          </ac:spMkLst>
        </pc:spChg>
        <pc:spChg chg="add mod topLvl">
          <ac:chgData name="Oriane LE GAVRIAN" userId="1ee00f59-07ab-493e-ac89-27a9fad1a751" providerId="ADAL" clId="{F5CD3EA1-21D3-4BEC-A408-A43EF898F83F}" dt="2023-01-26T16:10:45.365" v="12178" actId="164"/>
          <ac:spMkLst>
            <pc:docMk/>
            <pc:sldMk cId="1045340878" sldId="2147469879"/>
            <ac:spMk id="28" creationId="{166AEBB2-5921-022E-12DD-194DDC2481B0}"/>
          </ac:spMkLst>
        </pc:spChg>
        <pc:spChg chg="add mod topLvl">
          <ac:chgData name="Oriane LE GAVRIAN" userId="1ee00f59-07ab-493e-ac89-27a9fad1a751" providerId="ADAL" clId="{F5CD3EA1-21D3-4BEC-A408-A43EF898F83F}" dt="2023-01-26T16:10:45.365" v="12178" actId="164"/>
          <ac:spMkLst>
            <pc:docMk/>
            <pc:sldMk cId="1045340878" sldId="2147469879"/>
            <ac:spMk id="29" creationId="{9CA62AA8-F05D-1F06-E8CF-69C73E2298B2}"/>
          </ac:spMkLst>
        </pc:spChg>
        <pc:spChg chg="add mod topLvl">
          <ac:chgData name="Oriane LE GAVRIAN" userId="1ee00f59-07ab-493e-ac89-27a9fad1a751" providerId="ADAL" clId="{F5CD3EA1-21D3-4BEC-A408-A43EF898F83F}" dt="2023-01-26T16:10:45.365" v="12178" actId="164"/>
          <ac:spMkLst>
            <pc:docMk/>
            <pc:sldMk cId="1045340878" sldId="2147469879"/>
            <ac:spMk id="30" creationId="{FE502D2E-505D-B588-27CB-26E0BEB31697}"/>
          </ac:spMkLst>
        </pc:spChg>
        <pc:spChg chg="add mod">
          <ac:chgData name="Oriane LE GAVRIAN" userId="1ee00f59-07ab-493e-ac89-27a9fad1a751" providerId="ADAL" clId="{F5CD3EA1-21D3-4BEC-A408-A43EF898F83F}" dt="2023-01-26T13:30:32.413" v="8926"/>
          <ac:spMkLst>
            <pc:docMk/>
            <pc:sldMk cId="1045340878" sldId="2147469879"/>
            <ac:spMk id="47" creationId="{78A6B511-830A-F295-2BBC-48B32A4B367E}"/>
          </ac:spMkLst>
        </pc:spChg>
        <pc:grpChg chg="add mod ord">
          <ac:chgData name="Oriane LE GAVRIAN" userId="1ee00f59-07ab-493e-ac89-27a9fad1a751" providerId="ADAL" clId="{F5CD3EA1-21D3-4BEC-A408-A43EF898F83F}" dt="2023-01-26T16:12:12.474" v="12204" actId="164"/>
          <ac:grpSpMkLst>
            <pc:docMk/>
            <pc:sldMk cId="1045340878" sldId="2147469879"/>
            <ac:grpSpMk id="4" creationId="{A013EC60-C010-63F1-8E9C-DA35030695FD}"/>
          </ac:grpSpMkLst>
        </pc:grpChg>
        <pc:grpChg chg="add mod">
          <ac:chgData name="Oriane LE GAVRIAN" userId="1ee00f59-07ab-493e-ac89-27a9fad1a751" providerId="ADAL" clId="{F5CD3EA1-21D3-4BEC-A408-A43EF898F83F}" dt="2023-01-26T16:12:12.474" v="12204" actId="164"/>
          <ac:grpSpMkLst>
            <pc:docMk/>
            <pc:sldMk cId="1045340878" sldId="2147469879"/>
            <ac:grpSpMk id="7" creationId="{2AC27913-BBB5-09E9-1316-EBFC0BB858BF}"/>
          </ac:grpSpMkLst>
        </pc:grpChg>
        <pc:grpChg chg="add del mod">
          <ac:chgData name="Oriane LE GAVRIAN" userId="1ee00f59-07ab-493e-ac89-27a9fad1a751" providerId="ADAL" clId="{F5CD3EA1-21D3-4BEC-A408-A43EF898F83F}" dt="2023-01-26T12:41:52.525" v="7056" actId="478"/>
          <ac:grpSpMkLst>
            <pc:docMk/>
            <pc:sldMk cId="1045340878" sldId="2147469879"/>
            <ac:grpSpMk id="11" creationId="{3546B95E-AE91-2B2A-01B7-B9D825494508}"/>
          </ac:grpSpMkLst>
        </pc:grpChg>
        <pc:grpChg chg="add del mod">
          <ac:chgData name="Oriane LE GAVRIAN" userId="1ee00f59-07ab-493e-ac89-27a9fad1a751" providerId="ADAL" clId="{F5CD3EA1-21D3-4BEC-A408-A43EF898F83F}" dt="2023-01-26T12:41:52.525" v="7056" actId="478"/>
          <ac:grpSpMkLst>
            <pc:docMk/>
            <pc:sldMk cId="1045340878" sldId="2147469879"/>
            <ac:grpSpMk id="15" creationId="{69655298-1E2A-446C-4C80-38394DCBA4A4}"/>
          </ac:grpSpMkLst>
        </pc:grpChg>
        <pc:grpChg chg="add del mod">
          <ac:chgData name="Oriane LE GAVRIAN" userId="1ee00f59-07ab-493e-ac89-27a9fad1a751" providerId="ADAL" clId="{F5CD3EA1-21D3-4BEC-A408-A43EF898F83F}" dt="2023-01-26T12:42:14.438" v="7059" actId="165"/>
          <ac:grpSpMkLst>
            <pc:docMk/>
            <pc:sldMk cId="1045340878" sldId="2147469879"/>
            <ac:grpSpMk id="19" creationId="{B2012E4C-F6E5-AEA1-5F23-44699B95E827}"/>
          </ac:grpSpMkLst>
        </pc:grpChg>
        <pc:grpChg chg="add del mod">
          <ac:chgData name="Oriane LE GAVRIAN" userId="1ee00f59-07ab-493e-ac89-27a9fad1a751" providerId="ADAL" clId="{F5CD3EA1-21D3-4BEC-A408-A43EF898F83F}" dt="2023-01-26T12:42:54.159" v="7065" actId="165"/>
          <ac:grpSpMkLst>
            <pc:docMk/>
            <pc:sldMk cId="1045340878" sldId="2147469879"/>
            <ac:grpSpMk id="31" creationId="{196A922E-8D14-A508-C9B7-0BF902024B66}"/>
          </ac:grpSpMkLst>
        </pc:grpChg>
        <pc:grpChg chg="add del mod">
          <ac:chgData name="Oriane LE GAVRIAN" userId="1ee00f59-07ab-493e-ac89-27a9fad1a751" providerId="ADAL" clId="{F5CD3EA1-21D3-4BEC-A408-A43EF898F83F}" dt="2023-01-26T16:10:13.981" v="12170" actId="165"/>
          <ac:grpSpMkLst>
            <pc:docMk/>
            <pc:sldMk cId="1045340878" sldId="2147469879"/>
            <ac:grpSpMk id="32" creationId="{97D85718-1961-2157-5F1A-47B3DFA80866}"/>
          </ac:grpSpMkLst>
        </pc:grpChg>
        <pc:picChg chg="add mod">
          <ac:chgData name="Oriane LE GAVRIAN" userId="1ee00f59-07ab-493e-ac89-27a9fad1a751" providerId="ADAL" clId="{F5CD3EA1-21D3-4BEC-A408-A43EF898F83F}" dt="2023-01-26T16:12:12.474" v="12204" actId="164"/>
          <ac:picMkLst>
            <pc:docMk/>
            <pc:sldMk cId="1045340878" sldId="2147469879"/>
            <ac:picMk id="6" creationId="{49ADAD65-FDE8-1B0A-B308-BF4ED59FFA46}"/>
          </ac:picMkLst>
        </pc:picChg>
        <pc:picChg chg="add mod">
          <ac:chgData name="Oriane LE GAVRIAN" userId="1ee00f59-07ab-493e-ac89-27a9fad1a751" providerId="ADAL" clId="{F5CD3EA1-21D3-4BEC-A408-A43EF898F83F}" dt="2023-01-26T16:12:12.474" v="12204" actId="164"/>
          <ac:picMkLst>
            <pc:docMk/>
            <pc:sldMk cId="1045340878" sldId="2147469879"/>
            <ac:picMk id="34" creationId="{24C04516-B48D-588C-C7F4-28D7EEFB7CEC}"/>
          </ac:picMkLst>
        </pc:picChg>
        <pc:picChg chg="add mod">
          <ac:chgData name="Oriane LE GAVRIAN" userId="1ee00f59-07ab-493e-ac89-27a9fad1a751" providerId="ADAL" clId="{F5CD3EA1-21D3-4BEC-A408-A43EF898F83F}" dt="2023-01-26T16:12:12.474" v="12204" actId="164"/>
          <ac:picMkLst>
            <pc:docMk/>
            <pc:sldMk cId="1045340878" sldId="2147469879"/>
            <ac:picMk id="36" creationId="{3201ABBF-5A3B-BD3B-78AE-84ABDDFAF3B7}"/>
          </ac:picMkLst>
        </pc:picChg>
        <pc:picChg chg="add mod">
          <ac:chgData name="Oriane LE GAVRIAN" userId="1ee00f59-07ab-493e-ac89-27a9fad1a751" providerId="ADAL" clId="{F5CD3EA1-21D3-4BEC-A408-A43EF898F83F}" dt="2023-01-26T16:12:12.474" v="12204" actId="164"/>
          <ac:picMkLst>
            <pc:docMk/>
            <pc:sldMk cId="1045340878" sldId="2147469879"/>
            <ac:picMk id="38" creationId="{1E8625A7-DAA1-E659-D088-D42F0F1120D1}"/>
          </ac:picMkLst>
        </pc:picChg>
        <pc:picChg chg="add mod">
          <ac:chgData name="Oriane LE GAVRIAN" userId="1ee00f59-07ab-493e-ac89-27a9fad1a751" providerId="ADAL" clId="{F5CD3EA1-21D3-4BEC-A408-A43EF898F83F}" dt="2023-01-26T16:12:12.474" v="12204" actId="164"/>
          <ac:picMkLst>
            <pc:docMk/>
            <pc:sldMk cId="1045340878" sldId="2147469879"/>
            <ac:picMk id="40" creationId="{F230BEC3-0182-C43A-D3FD-1C7D3E29E80B}"/>
          </ac:picMkLst>
        </pc:picChg>
        <pc:picChg chg="add mod">
          <ac:chgData name="Oriane LE GAVRIAN" userId="1ee00f59-07ab-493e-ac89-27a9fad1a751" providerId="ADAL" clId="{F5CD3EA1-21D3-4BEC-A408-A43EF898F83F}" dt="2023-01-26T16:12:12.474" v="12204" actId="164"/>
          <ac:picMkLst>
            <pc:docMk/>
            <pc:sldMk cId="1045340878" sldId="2147469879"/>
            <ac:picMk id="42" creationId="{567209CC-280A-F961-752D-7CE5385A4C34}"/>
          </ac:picMkLst>
        </pc:picChg>
        <pc:picChg chg="add mod">
          <ac:chgData name="Oriane LE GAVRIAN" userId="1ee00f59-07ab-493e-ac89-27a9fad1a751" providerId="ADAL" clId="{F5CD3EA1-21D3-4BEC-A408-A43EF898F83F}" dt="2023-01-26T16:12:12.474" v="12204" actId="164"/>
          <ac:picMkLst>
            <pc:docMk/>
            <pc:sldMk cId="1045340878" sldId="2147469879"/>
            <ac:picMk id="44" creationId="{F0AA33A0-B1D6-F40B-CE73-57955512FD47}"/>
          </ac:picMkLst>
        </pc:picChg>
        <pc:picChg chg="add mod">
          <ac:chgData name="Oriane LE GAVRIAN" userId="1ee00f59-07ab-493e-ac89-27a9fad1a751" providerId="ADAL" clId="{F5CD3EA1-21D3-4BEC-A408-A43EF898F83F}" dt="2023-01-26T16:12:12.474" v="12204" actId="164"/>
          <ac:picMkLst>
            <pc:docMk/>
            <pc:sldMk cId="1045340878" sldId="2147469879"/>
            <ac:picMk id="46" creationId="{A76AB58E-C3AE-80D8-039B-8F465914BE44}"/>
          </ac:picMkLst>
        </pc:picChg>
        <pc:cxnChg chg="mod">
          <ac:chgData name="Oriane LE GAVRIAN" userId="1ee00f59-07ab-493e-ac89-27a9fad1a751" providerId="ADAL" clId="{F5CD3EA1-21D3-4BEC-A408-A43EF898F83F}" dt="2023-01-26T12:41:47.122" v="7053"/>
          <ac:cxnSpMkLst>
            <pc:docMk/>
            <pc:sldMk cId="1045340878" sldId="2147469879"/>
            <ac:cxnSpMk id="14" creationId="{2CE61BC5-1063-1E3F-EC3E-B1CB88132829}"/>
          </ac:cxnSpMkLst>
        </pc:cxnChg>
        <pc:cxnChg chg="mod">
          <ac:chgData name="Oriane LE GAVRIAN" userId="1ee00f59-07ab-493e-ac89-27a9fad1a751" providerId="ADAL" clId="{F5CD3EA1-21D3-4BEC-A408-A43EF898F83F}" dt="2023-01-26T12:41:47.122" v="7053"/>
          <ac:cxnSpMkLst>
            <pc:docMk/>
            <pc:sldMk cId="1045340878" sldId="2147469879"/>
            <ac:cxnSpMk id="18" creationId="{6E644189-8CDF-E6AB-E0AF-FC120BEF202D}"/>
          </ac:cxnSpMkLst>
        </pc:cxnChg>
      </pc:sldChg>
      <pc:sldChg chg="addSp delSp modSp add mod">
        <pc:chgData name="Oriane LE GAVRIAN" userId="1ee00f59-07ab-493e-ac89-27a9fad1a751" providerId="ADAL" clId="{F5CD3EA1-21D3-4BEC-A408-A43EF898F83F}" dt="2023-01-26T13:40:50.786" v="9967" actId="478"/>
        <pc:sldMkLst>
          <pc:docMk/>
          <pc:sldMk cId="3936089025" sldId="2147469880"/>
        </pc:sldMkLst>
        <pc:spChg chg="mod">
          <ac:chgData name="Oriane LE GAVRIAN" userId="1ee00f59-07ab-493e-ac89-27a9fad1a751" providerId="ADAL" clId="{F5CD3EA1-21D3-4BEC-A408-A43EF898F83F}" dt="2023-01-26T13:13:13.264" v="7879" actId="207"/>
          <ac:spMkLst>
            <pc:docMk/>
            <pc:sldMk cId="3936089025" sldId="2147469880"/>
            <ac:spMk id="2" creationId="{172F09DD-32B4-9A0A-5449-68CF40F4F99E}"/>
          </ac:spMkLst>
        </pc:spChg>
        <pc:spChg chg="add del mod">
          <ac:chgData name="Oriane LE GAVRIAN" userId="1ee00f59-07ab-493e-ac89-27a9fad1a751" providerId="ADAL" clId="{F5CD3EA1-21D3-4BEC-A408-A43EF898F83F}" dt="2023-01-26T13:10:48.465" v="7864" actId="478"/>
          <ac:spMkLst>
            <pc:docMk/>
            <pc:sldMk cId="3936089025" sldId="2147469880"/>
            <ac:spMk id="3" creationId="{075EA6FF-CFA1-C7FB-2D94-4144F409F52E}"/>
          </ac:spMkLst>
        </pc:spChg>
        <pc:spChg chg="add del mod">
          <ac:chgData name="Oriane LE GAVRIAN" userId="1ee00f59-07ab-493e-ac89-27a9fad1a751" providerId="ADAL" clId="{F5CD3EA1-21D3-4BEC-A408-A43EF898F83F}" dt="2023-01-26T12:52:33.366" v="7376" actId="478"/>
          <ac:spMkLst>
            <pc:docMk/>
            <pc:sldMk cId="3936089025" sldId="2147469880"/>
            <ac:spMk id="4" creationId="{1BF54999-8B9D-3B4B-61EF-C792238801A3}"/>
          </ac:spMkLst>
        </pc:spChg>
        <pc:spChg chg="add del mod">
          <ac:chgData name="Oriane LE GAVRIAN" userId="1ee00f59-07ab-493e-ac89-27a9fad1a751" providerId="ADAL" clId="{F5CD3EA1-21D3-4BEC-A408-A43EF898F83F}" dt="2023-01-26T13:40:50.786" v="9967" actId="478"/>
          <ac:spMkLst>
            <pc:docMk/>
            <pc:sldMk cId="3936089025" sldId="2147469880"/>
            <ac:spMk id="5" creationId="{3BF12CA4-5494-A9E5-B00D-3564BD102FF9}"/>
          </ac:spMkLst>
        </pc:spChg>
        <pc:spChg chg="add del mod">
          <ac:chgData name="Oriane LE GAVRIAN" userId="1ee00f59-07ab-493e-ac89-27a9fad1a751" providerId="ADAL" clId="{F5CD3EA1-21D3-4BEC-A408-A43EF898F83F}" dt="2023-01-26T13:40:50.786" v="9967" actId="478"/>
          <ac:spMkLst>
            <pc:docMk/>
            <pc:sldMk cId="3936089025" sldId="2147469880"/>
            <ac:spMk id="6" creationId="{DB584F60-AD36-4837-7B97-5A71783C547A}"/>
          </ac:spMkLst>
        </pc:spChg>
        <pc:spChg chg="add del mod">
          <ac:chgData name="Oriane LE GAVRIAN" userId="1ee00f59-07ab-493e-ac89-27a9fad1a751" providerId="ADAL" clId="{F5CD3EA1-21D3-4BEC-A408-A43EF898F83F}" dt="2023-01-26T13:30:36.394" v="8927" actId="478"/>
          <ac:spMkLst>
            <pc:docMk/>
            <pc:sldMk cId="3936089025" sldId="2147469880"/>
            <ac:spMk id="7" creationId="{AD1E31F1-6548-A89B-CFBD-70F6185A8912}"/>
          </ac:spMkLst>
        </pc:spChg>
        <pc:spChg chg="add mod">
          <ac:chgData name="Oriane LE GAVRIAN" userId="1ee00f59-07ab-493e-ac89-27a9fad1a751" providerId="ADAL" clId="{F5CD3EA1-21D3-4BEC-A408-A43EF898F83F}" dt="2023-01-26T13:23:56.994" v="8273" actId="207"/>
          <ac:spMkLst>
            <pc:docMk/>
            <pc:sldMk cId="3936089025" sldId="2147469880"/>
            <ac:spMk id="8" creationId="{EF28B35C-BD07-4AEF-9B76-0F4944D75D38}"/>
          </ac:spMkLst>
        </pc:spChg>
        <pc:spChg chg="add mod">
          <ac:chgData name="Oriane LE GAVRIAN" userId="1ee00f59-07ab-493e-ac89-27a9fad1a751" providerId="ADAL" clId="{F5CD3EA1-21D3-4BEC-A408-A43EF898F83F}" dt="2023-01-26T13:10:41.772" v="7862" actId="1037"/>
          <ac:spMkLst>
            <pc:docMk/>
            <pc:sldMk cId="3936089025" sldId="2147469880"/>
            <ac:spMk id="11" creationId="{0BA03D39-F1C7-7496-16CE-5EB58CA5F078}"/>
          </ac:spMkLst>
        </pc:spChg>
        <pc:spChg chg="add mod">
          <ac:chgData name="Oriane LE GAVRIAN" userId="1ee00f59-07ab-493e-ac89-27a9fad1a751" providerId="ADAL" clId="{F5CD3EA1-21D3-4BEC-A408-A43EF898F83F}" dt="2023-01-26T13:10:04.375" v="7850" actId="113"/>
          <ac:spMkLst>
            <pc:docMk/>
            <pc:sldMk cId="3936089025" sldId="2147469880"/>
            <ac:spMk id="12" creationId="{BC754A1A-0F0A-6F58-E731-99EFBD1BE69C}"/>
          </ac:spMkLst>
        </pc:spChg>
        <pc:spChg chg="add mod">
          <ac:chgData name="Oriane LE GAVRIAN" userId="1ee00f59-07ab-493e-ac89-27a9fad1a751" providerId="ADAL" clId="{F5CD3EA1-21D3-4BEC-A408-A43EF898F83F}" dt="2023-01-26T13:10:04.375" v="7850" actId="113"/>
          <ac:spMkLst>
            <pc:docMk/>
            <pc:sldMk cId="3936089025" sldId="2147469880"/>
            <ac:spMk id="13" creationId="{642D9F62-023F-EB00-F4CD-8977159B6D8A}"/>
          </ac:spMkLst>
        </pc:spChg>
        <pc:spChg chg="add del mod">
          <ac:chgData name="Oriane LE GAVRIAN" userId="1ee00f59-07ab-493e-ac89-27a9fad1a751" providerId="ADAL" clId="{F5CD3EA1-21D3-4BEC-A408-A43EF898F83F}" dt="2023-01-26T13:05:59.159" v="7695" actId="478"/>
          <ac:spMkLst>
            <pc:docMk/>
            <pc:sldMk cId="3936089025" sldId="2147469880"/>
            <ac:spMk id="16" creationId="{CE937CBE-2C61-9C57-6E15-FBF3B351C5EB}"/>
          </ac:spMkLst>
        </pc:spChg>
        <pc:spChg chg="add del mod">
          <ac:chgData name="Oriane LE GAVRIAN" userId="1ee00f59-07ab-493e-ac89-27a9fad1a751" providerId="ADAL" clId="{F5CD3EA1-21D3-4BEC-A408-A43EF898F83F}" dt="2023-01-26T12:59:57.215" v="7547" actId="478"/>
          <ac:spMkLst>
            <pc:docMk/>
            <pc:sldMk cId="3936089025" sldId="2147469880"/>
            <ac:spMk id="19" creationId="{3FF16EFD-A87A-4C99-AB48-E12E3A53A640}"/>
          </ac:spMkLst>
        </pc:spChg>
        <pc:spChg chg="add mod">
          <ac:chgData name="Oriane LE GAVRIAN" userId="1ee00f59-07ab-493e-ac89-27a9fad1a751" providerId="ADAL" clId="{F5CD3EA1-21D3-4BEC-A408-A43EF898F83F}" dt="2023-01-26T13:10:41.772" v="7862" actId="1037"/>
          <ac:spMkLst>
            <pc:docMk/>
            <pc:sldMk cId="3936089025" sldId="2147469880"/>
            <ac:spMk id="22" creationId="{DA9A9384-3400-A920-1929-F8EB2BA00B70}"/>
          </ac:spMkLst>
        </pc:spChg>
        <pc:spChg chg="add mod">
          <ac:chgData name="Oriane LE GAVRIAN" userId="1ee00f59-07ab-493e-ac89-27a9fad1a751" providerId="ADAL" clId="{F5CD3EA1-21D3-4BEC-A408-A43EF898F83F}" dt="2023-01-26T13:10:41.772" v="7862" actId="1037"/>
          <ac:spMkLst>
            <pc:docMk/>
            <pc:sldMk cId="3936089025" sldId="2147469880"/>
            <ac:spMk id="23" creationId="{0D4A952E-4A12-3B81-851E-B09648B1177D}"/>
          </ac:spMkLst>
        </pc:spChg>
        <pc:spChg chg="add mod">
          <ac:chgData name="Oriane LE GAVRIAN" userId="1ee00f59-07ab-493e-ac89-27a9fad1a751" providerId="ADAL" clId="{F5CD3EA1-21D3-4BEC-A408-A43EF898F83F}" dt="2023-01-26T13:23:56.994" v="8273" actId="207"/>
          <ac:spMkLst>
            <pc:docMk/>
            <pc:sldMk cId="3936089025" sldId="2147469880"/>
            <ac:spMk id="29" creationId="{1B00B79E-E8E9-1622-BC6D-422A96BEDA35}"/>
          </ac:spMkLst>
        </pc:spChg>
        <pc:spChg chg="add del mod">
          <ac:chgData name="Oriane LE GAVRIAN" userId="1ee00f59-07ab-493e-ac89-27a9fad1a751" providerId="ADAL" clId="{F5CD3EA1-21D3-4BEC-A408-A43EF898F83F}" dt="2023-01-26T13:20:43" v="8176" actId="478"/>
          <ac:spMkLst>
            <pc:docMk/>
            <pc:sldMk cId="3936089025" sldId="2147469880"/>
            <ac:spMk id="31" creationId="{025F0049-DA85-1865-9C75-3701AE4B3BD3}"/>
          </ac:spMkLst>
        </pc:spChg>
        <pc:spChg chg="add mod">
          <ac:chgData name="Oriane LE GAVRIAN" userId="1ee00f59-07ab-493e-ac89-27a9fad1a751" providerId="ADAL" clId="{F5CD3EA1-21D3-4BEC-A408-A43EF898F83F}" dt="2023-01-26T13:10:04.375" v="7850" actId="113"/>
          <ac:spMkLst>
            <pc:docMk/>
            <pc:sldMk cId="3936089025" sldId="2147469880"/>
            <ac:spMk id="34" creationId="{B8CF7C5E-4CBF-8743-56D9-A97046174CF8}"/>
          </ac:spMkLst>
        </pc:spChg>
        <pc:spChg chg="add mod">
          <ac:chgData name="Oriane LE GAVRIAN" userId="1ee00f59-07ab-493e-ac89-27a9fad1a751" providerId="ADAL" clId="{F5CD3EA1-21D3-4BEC-A408-A43EF898F83F}" dt="2023-01-26T13:16:48.542" v="8053" actId="1076"/>
          <ac:spMkLst>
            <pc:docMk/>
            <pc:sldMk cId="3936089025" sldId="2147469880"/>
            <ac:spMk id="39" creationId="{1AEA1A1D-ADF4-C65A-7239-CF327CFA0189}"/>
          </ac:spMkLst>
        </pc:spChg>
        <pc:spChg chg="add mod">
          <ac:chgData name="Oriane LE GAVRIAN" userId="1ee00f59-07ab-493e-ac89-27a9fad1a751" providerId="ADAL" clId="{F5CD3EA1-21D3-4BEC-A408-A43EF898F83F}" dt="2023-01-26T13:16:52.448" v="8054" actId="1076"/>
          <ac:spMkLst>
            <pc:docMk/>
            <pc:sldMk cId="3936089025" sldId="2147469880"/>
            <ac:spMk id="41" creationId="{F85FB045-84CC-FE34-D72A-DD0A02F12E71}"/>
          </ac:spMkLst>
        </pc:spChg>
        <pc:spChg chg="add mod">
          <ac:chgData name="Oriane LE GAVRIAN" userId="1ee00f59-07ab-493e-ac89-27a9fad1a751" providerId="ADAL" clId="{F5CD3EA1-21D3-4BEC-A408-A43EF898F83F}" dt="2023-01-26T13:18:24.272" v="8102" actId="1035"/>
          <ac:spMkLst>
            <pc:docMk/>
            <pc:sldMk cId="3936089025" sldId="2147469880"/>
            <ac:spMk id="47" creationId="{26453F49-5513-18D2-3386-CCA5DEBB2F65}"/>
          </ac:spMkLst>
        </pc:spChg>
        <pc:spChg chg="add mod">
          <ac:chgData name="Oriane LE GAVRIAN" userId="1ee00f59-07ab-493e-ac89-27a9fad1a751" providerId="ADAL" clId="{F5CD3EA1-21D3-4BEC-A408-A43EF898F83F}" dt="2023-01-26T13:19:03.171" v="8116" actId="20577"/>
          <ac:spMkLst>
            <pc:docMk/>
            <pc:sldMk cId="3936089025" sldId="2147469880"/>
            <ac:spMk id="51" creationId="{F23C338F-E5AE-0457-290D-58A76B206B24}"/>
          </ac:spMkLst>
        </pc:spChg>
        <pc:spChg chg="add mod">
          <ac:chgData name="Oriane LE GAVRIAN" userId="1ee00f59-07ab-493e-ac89-27a9fad1a751" providerId="ADAL" clId="{F5CD3EA1-21D3-4BEC-A408-A43EF898F83F}" dt="2023-01-26T13:18:24.272" v="8102" actId="1035"/>
          <ac:spMkLst>
            <pc:docMk/>
            <pc:sldMk cId="3936089025" sldId="2147469880"/>
            <ac:spMk id="53" creationId="{DEC7592D-BD3D-B31E-3AAB-8A350F1F252E}"/>
          </ac:spMkLst>
        </pc:spChg>
        <pc:spChg chg="add mod">
          <ac:chgData name="Oriane LE GAVRIAN" userId="1ee00f59-07ab-493e-ac89-27a9fad1a751" providerId="ADAL" clId="{F5CD3EA1-21D3-4BEC-A408-A43EF898F83F}" dt="2023-01-26T13:30:36.704" v="8928"/>
          <ac:spMkLst>
            <pc:docMk/>
            <pc:sldMk cId="3936089025" sldId="2147469880"/>
            <ac:spMk id="55" creationId="{E0D30696-4712-B352-7B94-A6F2585AB3C6}"/>
          </ac:spMkLst>
        </pc:spChg>
        <pc:picChg chg="add mod">
          <ac:chgData name="Oriane LE GAVRIAN" userId="1ee00f59-07ab-493e-ac89-27a9fad1a751" providerId="ADAL" clId="{F5CD3EA1-21D3-4BEC-A408-A43EF898F83F}" dt="2023-01-26T13:11:54.663" v="7873" actId="14100"/>
          <ac:picMkLst>
            <pc:docMk/>
            <pc:sldMk cId="3936089025" sldId="2147469880"/>
            <ac:picMk id="9" creationId="{556430BF-8382-3BBA-8700-9AC2ACC3B5E6}"/>
          </ac:picMkLst>
        </pc:picChg>
        <pc:picChg chg="add mod">
          <ac:chgData name="Oriane LE GAVRIAN" userId="1ee00f59-07ab-493e-ac89-27a9fad1a751" providerId="ADAL" clId="{F5CD3EA1-21D3-4BEC-A408-A43EF898F83F}" dt="2023-01-26T13:10:41.772" v="7862" actId="1037"/>
          <ac:picMkLst>
            <pc:docMk/>
            <pc:sldMk cId="3936089025" sldId="2147469880"/>
            <ac:picMk id="10" creationId="{54A6E5B2-EC9D-E845-22E6-6D58E01705B5}"/>
          </ac:picMkLst>
        </pc:picChg>
        <pc:picChg chg="add mod ord">
          <ac:chgData name="Oriane LE GAVRIAN" userId="1ee00f59-07ab-493e-ac89-27a9fad1a751" providerId="ADAL" clId="{F5CD3EA1-21D3-4BEC-A408-A43EF898F83F}" dt="2023-01-26T13:10:19.377" v="7853" actId="14861"/>
          <ac:picMkLst>
            <pc:docMk/>
            <pc:sldMk cId="3936089025" sldId="2147469880"/>
            <ac:picMk id="14" creationId="{220F65D6-11FB-4713-40BD-2E6D14D1F6F6}"/>
          </ac:picMkLst>
        </pc:picChg>
        <pc:picChg chg="add mod">
          <ac:chgData name="Oriane LE GAVRIAN" userId="1ee00f59-07ab-493e-ac89-27a9fad1a751" providerId="ADAL" clId="{F5CD3EA1-21D3-4BEC-A408-A43EF898F83F}" dt="2023-01-26T13:10:19.377" v="7853" actId="14861"/>
          <ac:picMkLst>
            <pc:docMk/>
            <pc:sldMk cId="3936089025" sldId="2147469880"/>
            <ac:picMk id="15" creationId="{A42FD08D-8DCB-B226-2BB1-B3024C2C68D8}"/>
          </ac:picMkLst>
        </pc:picChg>
        <pc:picChg chg="add mod">
          <ac:chgData name="Oriane LE GAVRIAN" userId="1ee00f59-07ab-493e-ac89-27a9fad1a751" providerId="ADAL" clId="{F5CD3EA1-21D3-4BEC-A408-A43EF898F83F}" dt="2023-01-26T13:10:41.772" v="7862" actId="1037"/>
          <ac:picMkLst>
            <pc:docMk/>
            <pc:sldMk cId="3936089025" sldId="2147469880"/>
            <ac:picMk id="17" creationId="{99EC3E20-28EF-8F24-054B-0563857CD47A}"/>
          </ac:picMkLst>
        </pc:picChg>
        <pc:picChg chg="add del mod">
          <ac:chgData name="Oriane LE GAVRIAN" userId="1ee00f59-07ab-493e-ac89-27a9fad1a751" providerId="ADAL" clId="{F5CD3EA1-21D3-4BEC-A408-A43EF898F83F}" dt="2023-01-26T13:05:53.652" v="7692" actId="478"/>
          <ac:picMkLst>
            <pc:docMk/>
            <pc:sldMk cId="3936089025" sldId="2147469880"/>
            <ac:picMk id="18" creationId="{A805EA02-224C-F585-293C-2E68609A5269}"/>
          </ac:picMkLst>
        </pc:picChg>
        <pc:picChg chg="add del mod">
          <ac:chgData name="Oriane LE GAVRIAN" userId="1ee00f59-07ab-493e-ac89-27a9fad1a751" providerId="ADAL" clId="{F5CD3EA1-21D3-4BEC-A408-A43EF898F83F}" dt="2023-01-26T13:05:53.652" v="7692" actId="478"/>
          <ac:picMkLst>
            <pc:docMk/>
            <pc:sldMk cId="3936089025" sldId="2147469880"/>
            <ac:picMk id="20" creationId="{7F011216-1BE3-5848-E84A-86B0A2CAE48B}"/>
          </ac:picMkLst>
        </pc:picChg>
        <pc:picChg chg="add mod">
          <ac:chgData name="Oriane LE GAVRIAN" userId="1ee00f59-07ab-493e-ac89-27a9fad1a751" providerId="ADAL" clId="{F5CD3EA1-21D3-4BEC-A408-A43EF898F83F}" dt="2023-01-26T13:10:41.772" v="7862" actId="1037"/>
          <ac:picMkLst>
            <pc:docMk/>
            <pc:sldMk cId="3936089025" sldId="2147469880"/>
            <ac:picMk id="21" creationId="{5C8AA37B-42A0-1B13-AA33-CBD1F284EC3A}"/>
          </ac:picMkLst>
        </pc:picChg>
        <pc:picChg chg="add mod">
          <ac:chgData name="Oriane LE GAVRIAN" userId="1ee00f59-07ab-493e-ac89-27a9fad1a751" providerId="ADAL" clId="{F5CD3EA1-21D3-4BEC-A408-A43EF898F83F}" dt="2023-01-26T13:10:41.772" v="7862" actId="1037"/>
          <ac:picMkLst>
            <pc:docMk/>
            <pc:sldMk cId="3936089025" sldId="2147469880"/>
            <ac:picMk id="24" creationId="{9C767443-478F-F013-02C0-CD185BFF8C2A}"/>
          </ac:picMkLst>
        </pc:picChg>
        <pc:picChg chg="add del mod">
          <ac:chgData name="Oriane LE GAVRIAN" userId="1ee00f59-07ab-493e-ac89-27a9fad1a751" providerId="ADAL" clId="{F5CD3EA1-21D3-4BEC-A408-A43EF898F83F}" dt="2023-01-26T13:04:02.845" v="7648" actId="478"/>
          <ac:picMkLst>
            <pc:docMk/>
            <pc:sldMk cId="3936089025" sldId="2147469880"/>
            <ac:picMk id="25" creationId="{42D461B4-5425-24EE-27DA-A9F5E808C75D}"/>
          </ac:picMkLst>
        </pc:picChg>
        <pc:picChg chg="add mod">
          <ac:chgData name="Oriane LE GAVRIAN" userId="1ee00f59-07ab-493e-ac89-27a9fad1a751" providerId="ADAL" clId="{F5CD3EA1-21D3-4BEC-A408-A43EF898F83F}" dt="2023-01-26T13:10:41.772" v="7862" actId="1037"/>
          <ac:picMkLst>
            <pc:docMk/>
            <pc:sldMk cId="3936089025" sldId="2147469880"/>
            <ac:picMk id="26" creationId="{010D9B01-7847-C534-EBD7-573C528FA769}"/>
          </ac:picMkLst>
        </pc:picChg>
        <pc:picChg chg="add mod">
          <ac:chgData name="Oriane LE GAVRIAN" userId="1ee00f59-07ab-493e-ac89-27a9fad1a751" providerId="ADAL" clId="{F5CD3EA1-21D3-4BEC-A408-A43EF898F83F}" dt="2023-01-26T13:10:19.377" v="7853" actId="14861"/>
          <ac:picMkLst>
            <pc:docMk/>
            <pc:sldMk cId="3936089025" sldId="2147469880"/>
            <ac:picMk id="27" creationId="{E2426402-7965-55E4-C921-C8400A4266EB}"/>
          </ac:picMkLst>
        </pc:picChg>
        <pc:picChg chg="add mod">
          <ac:chgData name="Oriane LE GAVRIAN" userId="1ee00f59-07ab-493e-ac89-27a9fad1a751" providerId="ADAL" clId="{F5CD3EA1-21D3-4BEC-A408-A43EF898F83F}" dt="2023-01-26T13:10:41.772" v="7862" actId="1037"/>
          <ac:picMkLst>
            <pc:docMk/>
            <pc:sldMk cId="3936089025" sldId="2147469880"/>
            <ac:picMk id="28" creationId="{FB151E6F-8446-A4E1-00D1-6524073D04E2}"/>
          </ac:picMkLst>
        </pc:picChg>
        <pc:picChg chg="add del mod">
          <ac:chgData name="Oriane LE GAVRIAN" userId="1ee00f59-07ab-493e-ac89-27a9fad1a751" providerId="ADAL" clId="{F5CD3EA1-21D3-4BEC-A408-A43EF898F83F}" dt="2023-01-26T13:06:04.821" v="7697" actId="478"/>
          <ac:picMkLst>
            <pc:docMk/>
            <pc:sldMk cId="3936089025" sldId="2147469880"/>
            <ac:picMk id="30" creationId="{8D99A736-8191-C24B-BD34-131ED57293AF}"/>
          </ac:picMkLst>
        </pc:picChg>
        <pc:picChg chg="add mod">
          <ac:chgData name="Oriane LE GAVRIAN" userId="1ee00f59-07ab-493e-ac89-27a9fad1a751" providerId="ADAL" clId="{F5CD3EA1-21D3-4BEC-A408-A43EF898F83F}" dt="2023-01-26T13:10:19.377" v="7853" actId="14861"/>
          <ac:picMkLst>
            <pc:docMk/>
            <pc:sldMk cId="3936089025" sldId="2147469880"/>
            <ac:picMk id="32" creationId="{2479962F-7185-11AD-2D29-CCF39651038D}"/>
          </ac:picMkLst>
        </pc:picChg>
        <pc:picChg chg="add mod">
          <ac:chgData name="Oriane LE GAVRIAN" userId="1ee00f59-07ab-493e-ac89-27a9fad1a751" providerId="ADAL" clId="{F5CD3EA1-21D3-4BEC-A408-A43EF898F83F}" dt="2023-01-26T13:10:19.377" v="7853" actId="14861"/>
          <ac:picMkLst>
            <pc:docMk/>
            <pc:sldMk cId="3936089025" sldId="2147469880"/>
            <ac:picMk id="33" creationId="{D8CA8CC6-2842-3AE3-68DA-F11A98E53C7A}"/>
          </ac:picMkLst>
        </pc:picChg>
        <pc:picChg chg="add mod ord">
          <ac:chgData name="Oriane LE GAVRIAN" userId="1ee00f59-07ab-493e-ac89-27a9fad1a751" providerId="ADAL" clId="{F5CD3EA1-21D3-4BEC-A408-A43EF898F83F}" dt="2023-01-26T13:16:32.823" v="8050" actId="14861"/>
          <ac:picMkLst>
            <pc:docMk/>
            <pc:sldMk cId="3936089025" sldId="2147469880"/>
            <ac:picMk id="35" creationId="{A1CAEB47-3378-C95B-178D-A5619699BE0E}"/>
          </ac:picMkLst>
        </pc:picChg>
        <pc:picChg chg="add mod">
          <ac:chgData name="Oriane LE GAVRIAN" userId="1ee00f59-07ab-493e-ac89-27a9fad1a751" providerId="ADAL" clId="{F5CD3EA1-21D3-4BEC-A408-A43EF898F83F}" dt="2023-01-26T13:16:32.823" v="8050" actId="14861"/>
          <ac:picMkLst>
            <pc:docMk/>
            <pc:sldMk cId="3936089025" sldId="2147469880"/>
            <ac:picMk id="36" creationId="{69ED84F2-8DA6-C0CD-891B-543946FDC18D}"/>
          </ac:picMkLst>
        </pc:picChg>
        <pc:picChg chg="add del mod">
          <ac:chgData name="Oriane LE GAVRIAN" userId="1ee00f59-07ab-493e-ac89-27a9fad1a751" providerId="ADAL" clId="{F5CD3EA1-21D3-4BEC-A408-A43EF898F83F}" dt="2023-01-26T13:15:50.325" v="8034" actId="478"/>
          <ac:picMkLst>
            <pc:docMk/>
            <pc:sldMk cId="3936089025" sldId="2147469880"/>
            <ac:picMk id="37" creationId="{EE05ABBC-8C30-614B-2268-5DB1DDA9A723}"/>
          </ac:picMkLst>
        </pc:picChg>
        <pc:picChg chg="add mod">
          <ac:chgData name="Oriane LE GAVRIAN" userId="1ee00f59-07ab-493e-ac89-27a9fad1a751" providerId="ADAL" clId="{F5CD3EA1-21D3-4BEC-A408-A43EF898F83F}" dt="2023-01-26T13:16:32.823" v="8050" actId="14861"/>
          <ac:picMkLst>
            <pc:docMk/>
            <pc:sldMk cId="3936089025" sldId="2147469880"/>
            <ac:picMk id="38" creationId="{441D49FF-8E98-1C0A-FCF1-95A101CFA868}"/>
          </ac:picMkLst>
        </pc:picChg>
        <pc:picChg chg="add mod">
          <ac:chgData name="Oriane LE GAVRIAN" userId="1ee00f59-07ab-493e-ac89-27a9fad1a751" providerId="ADAL" clId="{F5CD3EA1-21D3-4BEC-A408-A43EF898F83F}" dt="2023-01-26T13:11:33.436" v="7872" actId="14861"/>
          <ac:picMkLst>
            <pc:docMk/>
            <pc:sldMk cId="3936089025" sldId="2147469880"/>
            <ac:picMk id="40" creationId="{54382321-F420-E462-3FEA-D070603BFC91}"/>
          </ac:picMkLst>
        </pc:picChg>
        <pc:picChg chg="add mod">
          <ac:chgData name="Oriane LE GAVRIAN" userId="1ee00f59-07ab-493e-ac89-27a9fad1a751" providerId="ADAL" clId="{F5CD3EA1-21D3-4BEC-A408-A43EF898F83F}" dt="2023-01-26T13:17:25.905" v="8069" actId="14861"/>
          <ac:picMkLst>
            <pc:docMk/>
            <pc:sldMk cId="3936089025" sldId="2147469880"/>
            <ac:picMk id="42" creationId="{77CD8CC3-9059-102C-D39D-7448B2D31075}"/>
          </ac:picMkLst>
        </pc:picChg>
        <pc:picChg chg="add mod">
          <ac:chgData name="Oriane LE GAVRIAN" userId="1ee00f59-07ab-493e-ac89-27a9fad1a751" providerId="ADAL" clId="{F5CD3EA1-21D3-4BEC-A408-A43EF898F83F}" dt="2023-01-26T13:17:25.905" v="8069" actId="14861"/>
          <ac:picMkLst>
            <pc:docMk/>
            <pc:sldMk cId="3936089025" sldId="2147469880"/>
            <ac:picMk id="43" creationId="{02D0072C-C0F4-4A81-31C1-4EF92405E559}"/>
          </ac:picMkLst>
        </pc:picChg>
        <pc:picChg chg="add mod">
          <ac:chgData name="Oriane LE GAVRIAN" userId="1ee00f59-07ab-493e-ac89-27a9fad1a751" providerId="ADAL" clId="{F5CD3EA1-21D3-4BEC-A408-A43EF898F83F}" dt="2023-01-26T13:17:25.905" v="8069" actId="14861"/>
          <ac:picMkLst>
            <pc:docMk/>
            <pc:sldMk cId="3936089025" sldId="2147469880"/>
            <ac:picMk id="44" creationId="{A3D77D18-0749-035B-DC86-ECE31BF355CE}"/>
          </ac:picMkLst>
        </pc:picChg>
        <pc:picChg chg="add mod">
          <ac:chgData name="Oriane LE GAVRIAN" userId="1ee00f59-07ab-493e-ac89-27a9fad1a751" providerId="ADAL" clId="{F5CD3EA1-21D3-4BEC-A408-A43EF898F83F}" dt="2023-01-26T13:16:32.823" v="8050" actId="14861"/>
          <ac:picMkLst>
            <pc:docMk/>
            <pc:sldMk cId="3936089025" sldId="2147469880"/>
            <ac:picMk id="45" creationId="{A407E201-CBDA-EAF9-896C-6AE4D2594ECE}"/>
          </ac:picMkLst>
        </pc:picChg>
        <pc:picChg chg="add mod">
          <ac:chgData name="Oriane LE GAVRIAN" userId="1ee00f59-07ab-493e-ac89-27a9fad1a751" providerId="ADAL" clId="{F5CD3EA1-21D3-4BEC-A408-A43EF898F83F}" dt="2023-01-26T13:16:32.823" v="8050" actId="14861"/>
          <ac:picMkLst>
            <pc:docMk/>
            <pc:sldMk cId="3936089025" sldId="2147469880"/>
            <ac:picMk id="46" creationId="{78D09556-C157-4104-BAA9-27B783E83ED0}"/>
          </ac:picMkLst>
        </pc:picChg>
        <pc:picChg chg="add mod">
          <ac:chgData name="Oriane LE GAVRIAN" userId="1ee00f59-07ab-493e-ac89-27a9fad1a751" providerId="ADAL" clId="{F5CD3EA1-21D3-4BEC-A408-A43EF898F83F}" dt="2023-01-26T13:18:53.977" v="8112" actId="14861"/>
          <ac:picMkLst>
            <pc:docMk/>
            <pc:sldMk cId="3936089025" sldId="2147469880"/>
            <ac:picMk id="48" creationId="{AE34D63F-CABF-AC0F-D212-E56513613D66}"/>
          </ac:picMkLst>
        </pc:picChg>
        <pc:picChg chg="add mod">
          <ac:chgData name="Oriane LE GAVRIAN" userId="1ee00f59-07ab-493e-ac89-27a9fad1a751" providerId="ADAL" clId="{F5CD3EA1-21D3-4BEC-A408-A43EF898F83F}" dt="2023-01-26T13:18:53.977" v="8112" actId="14861"/>
          <ac:picMkLst>
            <pc:docMk/>
            <pc:sldMk cId="3936089025" sldId="2147469880"/>
            <ac:picMk id="49" creationId="{3BA41B7A-2323-5924-A816-EB9E758D0C38}"/>
          </ac:picMkLst>
        </pc:picChg>
        <pc:picChg chg="add mod">
          <ac:chgData name="Oriane LE GAVRIAN" userId="1ee00f59-07ab-493e-ac89-27a9fad1a751" providerId="ADAL" clId="{F5CD3EA1-21D3-4BEC-A408-A43EF898F83F}" dt="2023-01-26T13:18:53.977" v="8112" actId="14861"/>
          <ac:picMkLst>
            <pc:docMk/>
            <pc:sldMk cId="3936089025" sldId="2147469880"/>
            <ac:picMk id="50" creationId="{F70329AF-F6A0-77BD-3DE8-9C2946BB82CA}"/>
          </ac:picMkLst>
        </pc:picChg>
        <pc:picChg chg="add mod">
          <ac:chgData name="Oriane LE GAVRIAN" userId="1ee00f59-07ab-493e-ac89-27a9fad1a751" providerId="ADAL" clId="{F5CD3EA1-21D3-4BEC-A408-A43EF898F83F}" dt="2023-01-26T13:18:53.977" v="8112" actId="14861"/>
          <ac:picMkLst>
            <pc:docMk/>
            <pc:sldMk cId="3936089025" sldId="2147469880"/>
            <ac:picMk id="52" creationId="{1B9AF06D-01D3-7889-0DBB-F9CBB7C19CB9}"/>
          </ac:picMkLst>
        </pc:picChg>
        <pc:picChg chg="add mod modCrop">
          <ac:chgData name="Oriane LE GAVRIAN" userId="1ee00f59-07ab-493e-ac89-27a9fad1a751" providerId="ADAL" clId="{F5CD3EA1-21D3-4BEC-A408-A43EF898F83F}" dt="2023-01-26T13:18:53.977" v="8112" actId="14861"/>
          <ac:picMkLst>
            <pc:docMk/>
            <pc:sldMk cId="3936089025" sldId="2147469880"/>
            <ac:picMk id="54" creationId="{EC45520C-F3D3-9D79-B32C-33D10AAC738E}"/>
          </ac:picMkLst>
        </pc:picChg>
      </pc:sldChg>
      <pc:sldChg chg="add del">
        <pc:chgData name="Oriane LE GAVRIAN" userId="1ee00f59-07ab-493e-ac89-27a9fad1a751" providerId="ADAL" clId="{F5CD3EA1-21D3-4BEC-A408-A43EF898F83F}" dt="2023-01-26T10:07:32.411" v="565"/>
        <pc:sldMkLst>
          <pc:docMk/>
          <pc:sldMk cId="1624514571" sldId="2147469881"/>
        </pc:sldMkLst>
      </pc:sldChg>
      <pc:sldChg chg="addSp delSp modSp add del mod">
        <pc:chgData name="Oriane LE GAVRIAN" userId="1ee00f59-07ab-493e-ac89-27a9fad1a751" providerId="ADAL" clId="{F5CD3EA1-21D3-4BEC-A408-A43EF898F83F}" dt="2023-01-26T10:15:04.436" v="1322" actId="47"/>
        <pc:sldMkLst>
          <pc:docMk/>
          <pc:sldMk cId="2866134780" sldId="2147469881"/>
        </pc:sldMkLst>
        <pc:spChg chg="mod">
          <ac:chgData name="Oriane LE GAVRIAN" userId="1ee00f59-07ab-493e-ac89-27a9fad1a751" providerId="ADAL" clId="{F5CD3EA1-21D3-4BEC-A408-A43EF898F83F}" dt="2023-01-26T10:14:35.612" v="1297" actId="20577"/>
          <ac:spMkLst>
            <pc:docMk/>
            <pc:sldMk cId="2866134780" sldId="2147469881"/>
            <ac:spMk id="2" creationId="{172F09DD-32B4-9A0A-5449-68CF40F4F99E}"/>
          </ac:spMkLst>
        </pc:spChg>
        <pc:spChg chg="del">
          <ac:chgData name="Oriane LE GAVRIAN" userId="1ee00f59-07ab-493e-ac89-27a9fad1a751" providerId="ADAL" clId="{F5CD3EA1-21D3-4BEC-A408-A43EF898F83F}" dt="2023-01-26T10:14:30.861" v="1285" actId="478"/>
          <ac:spMkLst>
            <pc:docMk/>
            <pc:sldMk cId="2866134780" sldId="2147469881"/>
            <ac:spMk id="3" creationId="{075EA6FF-CFA1-C7FB-2D94-4144F409F52E}"/>
          </ac:spMkLst>
        </pc:spChg>
        <pc:spChg chg="add mod">
          <ac:chgData name="Oriane LE GAVRIAN" userId="1ee00f59-07ab-493e-ac89-27a9fad1a751" providerId="ADAL" clId="{F5CD3EA1-21D3-4BEC-A408-A43EF898F83F}" dt="2023-01-26T10:14:42.959" v="1300"/>
          <ac:spMkLst>
            <pc:docMk/>
            <pc:sldMk cId="2866134780" sldId="2147469881"/>
            <ac:spMk id="4" creationId="{85B157D7-2E5C-63EE-7665-25F0E168A239}"/>
          </ac:spMkLst>
        </pc:spChg>
      </pc:sldChg>
      <pc:sldChg chg="addSp delSp modSp add mod">
        <pc:chgData name="Oriane LE GAVRIAN" userId="1ee00f59-07ab-493e-ac89-27a9fad1a751" providerId="ADAL" clId="{F5CD3EA1-21D3-4BEC-A408-A43EF898F83F}" dt="2023-01-26T15:52:07.278" v="11348" actId="1038"/>
        <pc:sldMkLst>
          <pc:docMk/>
          <pc:sldMk cId="2287963091" sldId="2147469882"/>
        </pc:sldMkLst>
        <pc:spChg chg="mod">
          <ac:chgData name="Oriane LE GAVRIAN" userId="1ee00f59-07ab-493e-ac89-27a9fad1a751" providerId="ADAL" clId="{F5CD3EA1-21D3-4BEC-A408-A43EF898F83F}" dt="2023-01-26T13:25:03.428" v="8351" actId="20577"/>
          <ac:spMkLst>
            <pc:docMk/>
            <pc:sldMk cId="2287963091" sldId="2147469882"/>
            <ac:spMk id="2" creationId="{172F09DD-32B4-9A0A-5449-68CF40F4F99E}"/>
          </ac:spMkLst>
        </pc:spChg>
        <pc:spChg chg="add mod">
          <ac:chgData name="Oriane LE GAVRIAN" userId="1ee00f59-07ab-493e-ac89-27a9fad1a751" providerId="ADAL" clId="{F5CD3EA1-21D3-4BEC-A408-A43EF898F83F}" dt="2023-01-26T13:31:59.104" v="8934" actId="20577"/>
          <ac:spMkLst>
            <pc:docMk/>
            <pc:sldMk cId="2287963091" sldId="2147469882"/>
            <ac:spMk id="4" creationId="{4EB500D0-76D6-F3C9-FAEA-74E68483DCC6}"/>
          </ac:spMkLst>
        </pc:spChg>
        <pc:spChg chg="del mod">
          <ac:chgData name="Oriane LE GAVRIAN" userId="1ee00f59-07ab-493e-ac89-27a9fad1a751" providerId="ADAL" clId="{F5CD3EA1-21D3-4BEC-A408-A43EF898F83F}" dt="2023-01-26T13:49:22.200" v="10369" actId="478"/>
          <ac:spMkLst>
            <pc:docMk/>
            <pc:sldMk cId="2287963091" sldId="2147469882"/>
            <ac:spMk id="5" creationId="{3BF12CA4-5494-A9E5-B00D-3564BD102FF9}"/>
          </ac:spMkLst>
        </pc:spChg>
        <pc:spChg chg="del">
          <ac:chgData name="Oriane LE GAVRIAN" userId="1ee00f59-07ab-493e-ac89-27a9fad1a751" providerId="ADAL" clId="{F5CD3EA1-21D3-4BEC-A408-A43EF898F83F}" dt="2023-01-26T13:40:36.037" v="9966" actId="478"/>
          <ac:spMkLst>
            <pc:docMk/>
            <pc:sldMk cId="2287963091" sldId="2147469882"/>
            <ac:spMk id="6" creationId="{DB584F60-AD36-4837-7B97-5A71783C547A}"/>
          </ac:spMkLst>
        </pc:spChg>
        <pc:spChg chg="del">
          <ac:chgData name="Oriane LE GAVRIAN" userId="1ee00f59-07ab-493e-ac89-27a9fad1a751" providerId="ADAL" clId="{F5CD3EA1-21D3-4BEC-A408-A43EF898F83F}" dt="2023-01-26T13:30:40.830" v="8929" actId="478"/>
          <ac:spMkLst>
            <pc:docMk/>
            <pc:sldMk cId="2287963091" sldId="2147469882"/>
            <ac:spMk id="7" creationId="{AD1E31F1-6548-A89B-CFBD-70F6185A8912}"/>
          </ac:spMkLst>
        </pc:spChg>
        <pc:spChg chg="del">
          <ac:chgData name="Oriane LE GAVRIAN" userId="1ee00f59-07ab-493e-ac89-27a9fad1a751" providerId="ADAL" clId="{F5CD3EA1-21D3-4BEC-A408-A43EF898F83F}" dt="2023-01-26T13:20:46.241" v="8177" actId="478"/>
          <ac:spMkLst>
            <pc:docMk/>
            <pc:sldMk cId="2287963091" sldId="2147469882"/>
            <ac:spMk id="8" creationId="{EF28B35C-BD07-4AEF-9B76-0F4944D75D38}"/>
          </ac:spMkLst>
        </pc:spChg>
        <pc:spChg chg="del">
          <ac:chgData name="Oriane LE GAVRIAN" userId="1ee00f59-07ab-493e-ac89-27a9fad1a751" providerId="ADAL" clId="{F5CD3EA1-21D3-4BEC-A408-A43EF898F83F}" dt="2023-01-26T13:20:46.241" v="8177" actId="478"/>
          <ac:spMkLst>
            <pc:docMk/>
            <pc:sldMk cId="2287963091" sldId="2147469882"/>
            <ac:spMk id="11" creationId="{0BA03D39-F1C7-7496-16CE-5EB58CA5F078}"/>
          </ac:spMkLst>
        </pc:spChg>
        <pc:spChg chg="del">
          <ac:chgData name="Oriane LE GAVRIAN" userId="1ee00f59-07ab-493e-ac89-27a9fad1a751" providerId="ADAL" clId="{F5CD3EA1-21D3-4BEC-A408-A43EF898F83F}" dt="2023-01-26T13:20:46.241" v="8177" actId="478"/>
          <ac:spMkLst>
            <pc:docMk/>
            <pc:sldMk cId="2287963091" sldId="2147469882"/>
            <ac:spMk id="12" creationId="{BC754A1A-0F0A-6F58-E731-99EFBD1BE69C}"/>
          </ac:spMkLst>
        </pc:spChg>
        <pc:spChg chg="del">
          <ac:chgData name="Oriane LE GAVRIAN" userId="1ee00f59-07ab-493e-ac89-27a9fad1a751" providerId="ADAL" clId="{F5CD3EA1-21D3-4BEC-A408-A43EF898F83F}" dt="2023-01-26T13:20:46.241" v="8177" actId="478"/>
          <ac:spMkLst>
            <pc:docMk/>
            <pc:sldMk cId="2287963091" sldId="2147469882"/>
            <ac:spMk id="13" creationId="{642D9F62-023F-EB00-F4CD-8977159B6D8A}"/>
          </ac:spMkLst>
        </pc:spChg>
        <pc:spChg chg="add mod">
          <ac:chgData name="Oriane LE GAVRIAN" userId="1ee00f59-07ab-493e-ac89-27a9fad1a751" providerId="ADAL" clId="{F5CD3EA1-21D3-4BEC-A408-A43EF898F83F}" dt="2023-01-26T13:30:41.097" v="8930"/>
          <ac:spMkLst>
            <pc:docMk/>
            <pc:sldMk cId="2287963091" sldId="2147469882"/>
            <ac:spMk id="16" creationId="{0AF3D729-530E-F1CC-7EAF-2172C0DF88B4}"/>
          </ac:spMkLst>
        </pc:spChg>
        <pc:spChg chg="add mod">
          <ac:chgData name="Oriane LE GAVRIAN" userId="1ee00f59-07ab-493e-ac89-27a9fad1a751" providerId="ADAL" clId="{F5CD3EA1-21D3-4BEC-A408-A43EF898F83F}" dt="2023-01-26T15:51:57.375" v="11343" actId="14100"/>
          <ac:spMkLst>
            <pc:docMk/>
            <pc:sldMk cId="2287963091" sldId="2147469882"/>
            <ac:spMk id="19" creationId="{F3408D78-B1C0-285A-3BD0-48D8F0D6CE10}"/>
          </ac:spMkLst>
        </pc:spChg>
        <pc:spChg chg="add mod">
          <ac:chgData name="Oriane LE GAVRIAN" userId="1ee00f59-07ab-493e-ac89-27a9fad1a751" providerId="ADAL" clId="{F5CD3EA1-21D3-4BEC-A408-A43EF898F83F}" dt="2023-01-26T13:48:15.943" v="10228" actId="1076"/>
          <ac:spMkLst>
            <pc:docMk/>
            <pc:sldMk cId="2287963091" sldId="2147469882"/>
            <ac:spMk id="20" creationId="{4C41B95C-0AE2-A94F-382F-CD1A98D5BC6E}"/>
          </ac:spMkLst>
        </pc:spChg>
        <pc:spChg chg="del">
          <ac:chgData name="Oriane LE GAVRIAN" userId="1ee00f59-07ab-493e-ac89-27a9fad1a751" providerId="ADAL" clId="{F5CD3EA1-21D3-4BEC-A408-A43EF898F83F}" dt="2023-01-26T13:20:46.241" v="8177" actId="478"/>
          <ac:spMkLst>
            <pc:docMk/>
            <pc:sldMk cId="2287963091" sldId="2147469882"/>
            <ac:spMk id="22" creationId="{DA9A9384-3400-A920-1929-F8EB2BA00B70}"/>
          </ac:spMkLst>
        </pc:spChg>
        <pc:spChg chg="del">
          <ac:chgData name="Oriane LE GAVRIAN" userId="1ee00f59-07ab-493e-ac89-27a9fad1a751" providerId="ADAL" clId="{F5CD3EA1-21D3-4BEC-A408-A43EF898F83F}" dt="2023-01-26T13:20:46.241" v="8177" actId="478"/>
          <ac:spMkLst>
            <pc:docMk/>
            <pc:sldMk cId="2287963091" sldId="2147469882"/>
            <ac:spMk id="23" creationId="{0D4A952E-4A12-3B81-851E-B09648B1177D}"/>
          </ac:spMkLst>
        </pc:spChg>
        <pc:spChg chg="add mod">
          <ac:chgData name="Oriane LE GAVRIAN" userId="1ee00f59-07ab-493e-ac89-27a9fad1a751" providerId="ADAL" clId="{F5CD3EA1-21D3-4BEC-A408-A43EF898F83F}" dt="2023-01-26T15:52:04.252" v="11347" actId="1035"/>
          <ac:spMkLst>
            <pc:docMk/>
            <pc:sldMk cId="2287963091" sldId="2147469882"/>
            <ac:spMk id="25" creationId="{80E5C1A7-7E88-E5EC-98D7-A70060C4A34D}"/>
          </ac:spMkLst>
        </pc:spChg>
        <pc:spChg chg="del">
          <ac:chgData name="Oriane LE GAVRIAN" userId="1ee00f59-07ab-493e-ac89-27a9fad1a751" providerId="ADAL" clId="{F5CD3EA1-21D3-4BEC-A408-A43EF898F83F}" dt="2023-01-26T13:20:46.241" v="8177" actId="478"/>
          <ac:spMkLst>
            <pc:docMk/>
            <pc:sldMk cId="2287963091" sldId="2147469882"/>
            <ac:spMk id="29" creationId="{1B00B79E-E8E9-1622-BC6D-422A96BEDA35}"/>
          </ac:spMkLst>
        </pc:spChg>
        <pc:spChg chg="add mod">
          <ac:chgData name="Oriane LE GAVRIAN" userId="1ee00f59-07ab-493e-ac89-27a9fad1a751" providerId="ADAL" clId="{F5CD3EA1-21D3-4BEC-A408-A43EF898F83F}" dt="2023-01-26T15:52:07.278" v="11348" actId="1038"/>
          <ac:spMkLst>
            <pc:docMk/>
            <pc:sldMk cId="2287963091" sldId="2147469882"/>
            <ac:spMk id="30" creationId="{4081B849-98B4-6B1A-26A8-EF35879093C6}"/>
          </ac:spMkLst>
        </pc:spChg>
        <pc:spChg chg="del">
          <ac:chgData name="Oriane LE GAVRIAN" userId="1ee00f59-07ab-493e-ac89-27a9fad1a751" providerId="ADAL" clId="{F5CD3EA1-21D3-4BEC-A408-A43EF898F83F}" dt="2023-01-26T13:20:39.769" v="8175" actId="478"/>
          <ac:spMkLst>
            <pc:docMk/>
            <pc:sldMk cId="2287963091" sldId="2147469882"/>
            <ac:spMk id="31" creationId="{025F0049-DA85-1865-9C75-3701AE4B3BD3}"/>
          </ac:spMkLst>
        </pc:spChg>
        <pc:spChg chg="del">
          <ac:chgData name="Oriane LE GAVRIAN" userId="1ee00f59-07ab-493e-ac89-27a9fad1a751" providerId="ADAL" clId="{F5CD3EA1-21D3-4BEC-A408-A43EF898F83F}" dt="2023-01-26T13:20:46.241" v="8177" actId="478"/>
          <ac:spMkLst>
            <pc:docMk/>
            <pc:sldMk cId="2287963091" sldId="2147469882"/>
            <ac:spMk id="34" creationId="{B8CF7C5E-4CBF-8743-56D9-A97046174CF8}"/>
          </ac:spMkLst>
        </pc:spChg>
        <pc:spChg chg="add mod">
          <ac:chgData name="Oriane LE GAVRIAN" userId="1ee00f59-07ab-493e-ac89-27a9fad1a751" providerId="ADAL" clId="{F5CD3EA1-21D3-4BEC-A408-A43EF898F83F}" dt="2023-01-26T15:50:22.796" v="11336" actId="1036"/>
          <ac:spMkLst>
            <pc:docMk/>
            <pc:sldMk cId="2287963091" sldId="2147469882"/>
            <ac:spMk id="37" creationId="{69D17FBE-FA95-89CD-AFC6-9C63A23DDB6F}"/>
          </ac:spMkLst>
        </pc:spChg>
        <pc:spChg chg="del">
          <ac:chgData name="Oriane LE GAVRIAN" userId="1ee00f59-07ab-493e-ac89-27a9fad1a751" providerId="ADAL" clId="{F5CD3EA1-21D3-4BEC-A408-A43EF898F83F}" dt="2023-01-26T13:20:46.241" v="8177" actId="478"/>
          <ac:spMkLst>
            <pc:docMk/>
            <pc:sldMk cId="2287963091" sldId="2147469882"/>
            <ac:spMk id="39" creationId="{1AEA1A1D-ADF4-C65A-7239-CF327CFA0189}"/>
          </ac:spMkLst>
        </pc:spChg>
        <pc:spChg chg="del">
          <ac:chgData name="Oriane LE GAVRIAN" userId="1ee00f59-07ab-493e-ac89-27a9fad1a751" providerId="ADAL" clId="{F5CD3EA1-21D3-4BEC-A408-A43EF898F83F}" dt="2023-01-26T13:20:46.241" v="8177" actId="478"/>
          <ac:spMkLst>
            <pc:docMk/>
            <pc:sldMk cId="2287963091" sldId="2147469882"/>
            <ac:spMk id="41" creationId="{F85FB045-84CC-FE34-D72A-DD0A02F12E71}"/>
          </ac:spMkLst>
        </pc:spChg>
        <pc:spChg chg="del">
          <ac:chgData name="Oriane LE GAVRIAN" userId="1ee00f59-07ab-493e-ac89-27a9fad1a751" providerId="ADAL" clId="{F5CD3EA1-21D3-4BEC-A408-A43EF898F83F}" dt="2023-01-26T13:20:46.241" v="8177" actId="478"/>
          <ac:spMkLst>
            <pc:docMk/>
            <pc:sldMk cId="2287963091" sldId="2147469882"/>
            <ac:spMk id="47" creationId="{26453F49-5513-18D2-3386-CCA5DEBB2F65}"/>
          </ac:spMkLst>
        </pc:spChg>
        <pc:spChg chg="del">
          <ac:chgData name="Oriane LE GAVRIAN" userId="1ee00f59-07ab-493e-ac89-27a9fad1a751" providerId="ADAL" clId="{F5CD3EA1-21D3-4BEC-A408-A43EF898F83F}" dt="2023-01-26T13:20:46.241" v="8177" actId="478"/>
          <ac:spMkLst>
            <pc:docMk/>
            <pc:sldMk cId="2287963091" sldId="2147469882"/>
            <ac:spMk id="51" creationId="{F23C338F-E5AE-0457-290D-58A76B206B24}"/>
          </ac:spMkLst>
        </pc:spChg>
        <pc:spChg chg="del">
          <ac:chgData name="Oriane LE GAVRIAN" userId="1ee00f59-07ab-493e-ac89-27a9fad1a751" providerId="ADAL" clId="{F5CD3EA1-21D3-4BEC-A408-A43EF898F83F}" dt="2023-01-26T13:20:46.241" v="8177" actId="478"/>
          <ac:spMkLst>
            <pc:docMk/>
            <pc:sldMk cId="2287963091" sldId="2147469882"/>
            <ac:spMk id="53" creationId="{DEC7592D-BD3D-B31E-3AAB-8A350F1F252E}"/>
          </ac:spMkLst>
        </pc:spChg>
        <pc:spChg chg="add mod">
          <ac:chgData name="Oriane LE GAVRIAN" userId="1ee00f59-07ab-493e-ac89-27a9fad1a751" providerId="ADAL" clId="{F5CD3EA1-21D3-4BEC-A408-A43EF898F83F}" dt="2023-01-26T13:48:15.943" v="10228" actId="1076"/>
          <ac:spMkLst>
            <pc:docMk/>
            <pc:sldMk cId="2287963091" sldId="2147469882"/>
            <ac:spMk id="55" creationId="{1EADECE2-9501-483E-9B27-F790D9EF586A}"/>
          </ac:spMkLst>
        </pc:spChg>
        <pc:spChg chg="add mod">
          <ac:chgData name="Oriane LE GAVRIAN" userId="1ee00f59-07ab-493e-ac89-27a9fad1a751" providerId="ADAL" clId="{F5CD3EA1-21D3-4BEC-A408-A43EF898F83F}" dt="2023-01-26T13:48:15.943" v="10228" actId="1076"/>
          <ac:spMkLst>
            <pc:docMk/>
            <pc:sldMk cId="2287963091" sldId="2147469882"/>
            <ac:spMk id="56" creationId="{DAE5D0B7-9383-1D0A-FB7B-A8CFAE1572C6}"/>
          </ac:spMkLst>
        </pc:spChg>
        <pc:spChg chg="add mod">
          <ac:chgData name="Oriane LE GAVRIAN" userId="1ee00f59-07ab-493e-ac89-27a9fad1a751" providerId="ADAL" clId="{F5CD3EA1-21D3-4BEC-A408-A43EF898F83F}" dt="2023-01-26T13:48:15.943" v="10228" actId="1076"/>
          <ac:spMkLst>
            <pc:docMk/>
            <pc:sldMk cId="2287963091" sldId="2147469882"/>
            <ac:spMk id="57" creationId="{253F65E7-D20E-C031-DE3D-F1979CDD52D9}"/>
          </ac:spMkLst>
        </pc:spChg>
        <pc:spChg chg="add mod ord">
          <ac:chgData name="Oriane LE GAVRIAN" userId="1ee00f59-07ab-493e-ac89-27a9fad1a751" providerId="ADAL" clId="{F5CD3EA1-21D3-4BEC-A408-A43EF898F83F}" dt="2023-01-26T13:48:06.139" v="10227" actId="14100"/>
          <ac:spMkLst>
            <pc:docMk/>
            <pc:sldMk cId="2287963091" sldId="2147469882"/>
            <ac:spMk id="58" creationId="{C8F7969A-0F3B-F2F3-391E-173E0DA767DF}"/>
          </ac:spMkLst>
        </pc:spChg>
        <pc:spChg chg="add mod">
          <ac:chgData name="Oriane LE GAVRIAN" userId="1ee00f59-07ab-493e-ac89-27a9fad1a751" providerId="ADAL" clId="{F5CD3EA1-21D3-4BEC-A408-A43EF898F83F}" dt="2023-01-26T13:58:55.936" v="11270" actId="113"/>
          <ac:spMkLst>
            <pc:docMk/>
            <pc:sldMk cId="2287963091" sldId="2147469882"/>
            <ac:spMk id="59" creationId="{0A493F52-72E1-DA20-DEE1-0D1E5FF4F642}"/>
          </ac:spMkLst>
        </pc:spChg>
        <pc:spChg chg="add del mod">
          <ac:chgData name="Oriane LE GAVRIAN" userId="1ee00f59-07ab-493e-ac89-27a9fad1a751" providerId="ADAL" clId="{F5CD3EA1-21D3-4BEC-A408-A43EF898F83F}" dt="2023-01-26T13:53:35.490" v="11073" actId="478"/>
          <ac:spMkLst>
            <pc:docMk/>
            <pc:sldMk cId="2287963091" sldId="2147469882"/>
            <ac:spMk id="60" creationId="{01F1120B-8290-1D98-4C4F-E376A103B2B6}"/>
          </ac:spMkLst>
        </pc:spChg>
        <pc:spChg chg="add mod">
          <ac:chgData name="Oriane LE GAVRIAN" userId="1ee00f59-07ab-493e-ac89-27a9fad1a751" providerId="ADAL" clId="{F5CD3EA1-21D3-4BEC-A408-A43EF898F83F}" dt="2023-01-26T13:56:28.612" v="11233" actId="14100"/>
          <ac:spMkLst>
            <pc:docMk/>
            <pc:sldMk cId="2287963091" sldId="2147469882"/>
            <ac:spMk id="61" creationId="{5B9041A4-1575-1D60-2C20-8B6DF022E32A}"/>
          </ac:spMkLst>
        </pc:spChg>
        <pc:spChg chg="add mod">
          <ac:chgData name="Oriane LE GAVRIAN" userId="1ee00f59-07ab-493e-ac89-27a9fad1a751" providerId="ADAL" clId="{F5CD3EA1-21D3-4BEC-A408-A43EF898F83F}" dt="2023-01-26T13:57:16.099" v="11247" actId="1037"/>
          <ac:spMkLst>
            <pc:docMk/>
            <pc:sldMk cId="2287963091" sldId="2147469882"/>
            <ac:spMk id="62" creationId="{F8103BD5-1021-D71A-C4AA-6C859A7EA9CA}"/>
          </ac:spMkLst>
        </pc:spChg>
        <pc:spChg chg="add mod">
          <ac:chgData name="Oriane LE GAVRIAN" userId="1ee00f59-07ab-493e-ac89-27a9fad1a751" providerId="ADAL" clId="{F5CD3EA1-21D3-4BEC-A408-A43EF898F83F}" dt="2023-01-26T13:57:16.099" v="11247" actId="1037"/>
          <ac:spMkLst>
            <pc:docMk/>
            <pc:sldMk cId="2287963091" sldId="2147469882"/>
            <ac:spMk id="63" creationId="{0603C3E7-572F-353E-AA5A-CF1D0B3FDDF8}"/>
          </ac:spMkLst>
        </pc:spChg>
        <pc:spChg chg="add mod">
          <ac:chgData name="Oriane LE GAVRIAN" userId="1ee00f59-07ab-493e-ac89-27a9fad1a751" providerId="ADAL" clId="{F5CD3EA1-21D3-4BEC-A408-A43EF898F83F}" dt="2023-01-26T13:57:16.099" v="11247" actId="1037"/>
          <ac:spMkLst>
            <pc:docMk/>
            <pc:sldMk cId="2287963091" sldId="2147469882"/>
            <ac:spMk id="64" creationId="{6BF554E2-A764-B1C8-8B89-76E3A640812C}"/>
          </ac:spMkLst>
        </pc:spChg>
        <pc:spChg chg="add mod">
          <ac:chgData name="Oriane LE GAVRIAN" userId="1ee00f59-07ab-493e-ac89-27a9fad1a751" providerId="ADAL" clId="{F5CD3EA1-21D3-4BEC-A408-A43EF898F83F}" dt="2023-01-26T13:57:16.099" v="11247" actId="1037"/>
          <ac:spMkLst>
            <pc:docMk/>
            <pc:sldMk cId="2287963091" sldId="2147469882"/>
            <ac:spMk id="65" creationId="{556FBDA7-7C17-8859-BDDD-A9673375AC6B}"/>
          </ac:spMkLst>
        </pc:spChg>
        <pc:graphicFrameChg chg="add mod modGraphic">
          <ac:chgData name="Oriane LE GAVRIAN" userId="1ee00f59-07ab-493e-ac89-27a9fad1a751" providerId="ADAL" clId="{F5CD3EA1-21D3-4BEC-A408-A43EF898F83F}" dt="2023-01-26T13:48:15.943" v="10228" actId="1076"/>
          <ac:graphicFrameMkLst>
            <pc:docMk/>
            <pc:sldMk cId="2287963091" sldId="2147469882"/>
            <ac:graphicFrameMk id="18" creationId="{34194664-5F0D-2686-5A27-4A0DE41BC516}"/>
          </ac:graphicFrameMkLst>
        </pc:graphicFrameChg>
        <pc:picChg chg="del">
          <ac:chgData name="Oriane LE GAVRIAN" userId="1ee00f59-07ab-493e-ac89-27a9fad1a751" providerId="ADAL" clId="{F5CD3EA1-21D3-4BEC-A408-A43EF898F83F}" dt="2023-01-26T13:20:46.241" v="8177" actId="478"/>
          <ac:picMkLst>
            <pc:docMk/>
            <pc:sldMk cId="2287963091" sldId="2147469882"/>
            <ac:picMk id="9" creationId="{556430BF-8382-3BBA-8700-9AC2ACC3B5E6}"/>
          </ac:picMkLst>
        </pc:picChg>
        <pc:picChg chg="del">
          <ac:chgData name="Oriane LE GAVRIAN" userId="1ee00f59-07ab-493e-ac89-27a9fad1a751" providerId="ADAL" clId="{F5CD3EA1-21D3-4BEC-A408-A43EF898F83F}" dt="2023-01-26T13:20:46.241" v="8177" actId="478"/>
          <ac:picMkLst>
            <pc:docMk/>
            <pc:sldMk cId="2287963091" sldId="2147469882"/>
            <ac:picMk id="10" creationId="{54A6E5B2-EC9D-E845-22E6-6D58E01705B5}"/>
          </ac:picMkLst>
        </pc:picChg>
        <pc:picChg chg="del">
          <ac:chgData name="Oriane LE GAVRIAN" userId="1ee00f59-07ab-493e-ac89-27a9fad1a751" providerId="ADAL" clId="{F5CD3EA1-21D3-4BEC-A408-A43EF898F83F}" dt="2023-01-26T13:20:46.241" v="8177" actId="478"/>
          <ac:picMkLst>
            <pc:docMk/>
            <pc:sldMk cId="2287963091" sldId="2147469882"/>
            <ac:picMk id="14" creationId="{220F65D6-11FB-4713-40BD-2E6D14D1F6F6}"/>
          </ac:picMkLst>
        </pc:picChg>
        <pc:picChg chg="del">
          <ac:chgData name="Oriane LE GAVRIAN" userId="1ee00f59-07ab-493e-ac89-27a9fad1a751" providerId="ADAL" clId="{F5CD3EA1-21D3-4BEC-A408-A43EF898F83F}" dt="2023-01-26T13:20:46.241" v="8177" actId="478"/>
          <ac:picMkLst>
            <pc:docMk/>
            <pc:sldMk cId="2287963091" sldId="2147469882"/>
            <ac:picMk id="15" creationId="{A42FD08D-8DCB-B226-2BB1-B3024C2C68D8}"/>
          </ac:picMkLst>
        </pc:picChg>
        <pc:picChg chg="del">
          <ac:chgData name="Oriane LE GAVRIAN" userId="1ee00f59-07ab-493e-ac89-27a9fad1a751" providerId="ADAL" clId="{F5CD3EA1-21D3-4BEC-A408-A43EF898F83F}" dt="2023-01-26T13:20:46.241" v="8177" actId="478"/>
          <ac:picMkLst>
            <pc:docMk/>
            <pc:sldMk cId="2287963091" sldId="2147469882"/>
            <ac:picMk id="17" creationId="{99EC3E20-28EF-8F24-054B-0563857CD47A}"/>
          </ac:picMkLst>
        </pc:picChg>
        <pc:picChg chg="del">
          <ac:chgData name="Oriane LE GAVRIAN" userId="1ee00f59-07ab-493e-ac89-27a9fad1a751" providerId="ADAL" clId="{F5CD3EA1-21D3-4BEC-A408-A43EF898F83F}" dt="2023-01-26T13:20:46.241" v="8177" actId="478"/>
          <ac:picMkLst>
            <pc:docMk/>
            <pc:sldMk cId="2287963091" sldId="2147469882"/>
            <ac:picMk id="21" creationId="{5C8AA37B-42A0-1B13-AA33-CBD1F284EC3A}"/>
          </ac:picMkLst>
        </pc:picChg>
        <pc:picChg chg="del">
          <ac:chgData name="Oriane LE GAVRIAN" userId="1ee00f59-07ab-493e-ac89-27a9fad1a751" providerId="ADAL" clId="{F5CD3EA1-21D3-4BEC-A408-A43EF898F83F}" dt="2023-01-26T13:20:46.241" v="8177" actId="478"/>
          <ac:picMkLst>
            <pc:docMk/>
            <pc:sldMk cId="2287963091" sldId="2147469882"/>
            <ac:picMk id="24" creationId="{9C767443-478F-F013-02C0-CD185BFF8C2A}"/>
          </ac:picMkLst>
        </pc:picChg>
        <pc:picChg chg="del">
          <ac:chgData name="Oriane LE GAVRIAN" userId="1ee00f59-07ab-493e-ac89-27a9fad1a751" providerId="ADAL" clId="{F5CD3EA1-21D3-4BEC-A408-A43EF898F83F}" dt="2023-01-26T13:20:46.241" v="8177" actId="478"/>
          <ac:picMkLst>
            <pc:docMk/>
            <pc:sldMk cId="2287963091" sldId="2147469882"/>
            <ac:picMk id="26" creationId="{010D9B01-7847-C534-EBD7-573C528FA769}"/>
          </ac:picMkLst>
        </pc:picChg>
        <pc:picChg chg="del">
          <ac:chgData name="Oriane LE GAVRIAN" userId="1ee00f59-07ab-493e-ac89-27a9fad1a751" providerId="ADAL" clId="{F5CD3EA1-21D3-4BEC-A408-A43EF898F83F}" dt="2023-01-26T13:20:46.241" v="8177" actId="478"/>
          <ac:picMkLst>
            <pc:docMk/>
            <pc:sldMk cId="2287963091" sldId="2147469882"/>
            <ac:picMk id="27" creationId="{E2426402-7965-55E4-C921-C8400A4266EB}"/>
          </ac:picMkLst>
        </pc:picChg>
        <pc:picChg chg="del">
          <ac:chgData name="Oriane LE GAVRIAN" userId="1ee00f59-07ab-493e-ac89-27a9fad1a751" providerId="ADAL" clId="{F5CD3EA1-21D3-4BEC-A408-A43EF898F83F}" dt="2023-01-26T13:20:46.241" v="8177" actId="478"/>
          <ac:picMkLst>
            <pc:docMk/>
            <pc:sldMk cId="2287963091" sldId="2147469882"/>
            <ac:picMk id="28" creationId="{FB151E6F-8446-A4E1-00D1-6524073D04E2}"/>
          </ac:picMkLst>
        </pc:picChg>
        <pc:picChg chg="del">
          <ac:chgData name="Oriane LE GAVRIAN" userId="1ee00f59-07ab-493e-ac89-27a9fad1a751" providerId="ADAL" clId="{F5CD3EA1-21D3-4BEC-A408-A43EF898F83F}" dt="2023-01-26T13:20:46.241" v="8177" actId="478"/>
          <ac:picMkLst>
            <pc:docMk/>
            <pc:sldMk cId="2287963091" sldId="2147469882"/>
            <ac:picMk id="32" creationId="{2479962F-7185-11AD-2D29-CCF39651038D}"/>
          </ac:picMkLst>
        </pc:picChg>
        <pc:picChg chg="del">
          <ac:chgData name="Oriane LE GAVRIAN" userId="1ee00f59-07ab-493e-ac89-27a9fad1a751" providerId="ADAL" clId="{F5CD3EA1-21D3-4BEC-A408-A43EF898F83F}" dt="2023-01-26T13:20:46.241" v="8177" actId="478"/>
          <ac:picMkLst>
            <pc:docMk/>
            <pc:sldMk cId="2287963091" sldId="2147469882"/>
            <ac:picMk id="33" creationId="{D8CA8CC6-2842-3AE3-68DA-F11A98E53C7A}"/>
          </ac:picMkLst>
        </pc:picChg>
        <pc:picChg chg="del">
          <ac:chgData name="Oriane LE GAVRIAN" userId="1ee00f59-07ab-493e-ac89-27a9fad1a751" providerId="ADAL" clId="{F5CD3EA1-21D3-4BEC-A408-A43EF898F83F}" dt="2023-01-26T13:20:46.241" v="8177" actId="478"/>
          <ac:picMkLst>
            <pc:docMk/>
            <pc:sldMk cId="2287963091" sldId="2147469882"/>
            <ac:picMk id="35" creationId="{A1CAEB47-3378-C95B-178D-A5619699BE0E}"/>
          </ac:picMkLst>
        </pc:picChg>
        <pc:picChg chg="del">
          <ac:chgData name="Oriane LE GAVRIAN" userId="1ee00f59-07ab-493e-ac89-27a9fad1a751" providerId="ADAL" clId="{F5CD3EA1-21D3-4BEC-A408-A43EF898F83F}" dt="2023-01-26T13:20:46.241" v="8177" actId="478"/>
          <ac:picMkLst>
            <pc:docMk/>
            <pc:sldMk cId="2287963091" sldId="2147469882"/>
            <ac:picMk id="36" creationId="{69ED84F2-8DA6-C0CD-891B-543946FDC18D}"/>
          </ac:picMkLst>
        </pc:picChg>
        <pc:picChg chg="del">
          <ac:chgData name="Oriane LE GAVRIAN" userId="1ee00f59-07ab-493e-ac89-27a9fad1a751" providerId="ADAL" clId="{F5CD3EA1-21D3-4BEC-A408-A43EF898F83F}" dt="2023-01-26T13:20:46.241" v="8177" actId="478"/>
          <ac:picMkLst>
            <pc:docMk/>
            <pc:sldMk cId="2287963091" sldId="2147469882"/>
            <ac:picMk id="38" creationId="{441D49FF-8E98-1C0A-FCF1-95A101CFA868}"/>
          </ac:picMkLst>
        </pc:picChg>
        <pc:picChg chg="del">
          <ac:chgData name="Oriane LE GAVRIAN" userId="1ee00f59-07ab-493e-ac89-27a9fad1a751" providerId="ADAL" clId="{F5CD3EA1-21D3-4BEC-A408-A43EF898F83F}" dt="2023-01-26T13:20:46.241" v="8177" actId="478"/>
          <ac:picMkLst>
            <pc:docMk/>
            <pc:sldMk cId="2287963091" sldId="2147469882"/>
            <ac:picMk id="40" creationId="{54382321-F420-E462-3FEA-D070603BFC91}"/>
          </ac:picMkLst>
        </pc:picChg>
        <pc:picChg chg="del">
          <ac:chgData name="Oriane LE GAVRIAN" userId="1ee00f59-07ab-493e-ac89-27a9fad1a751" providerId="ADAL" clId="{F5CD3EA1-21D3-4BEC-A408-A43EF898F83F}" dt="2023-01-26T13:20:46.241" v="8177" actId="478"/>
          <ac:picMkLst>
            <pc:docMk/>
            <pc:sldMk cId="2287963091" sldId="2147469882"/>
            <ac:picMk id="42" creationId="{77CD8CC3-9059-102C-D39D-7448B2D31075}"/>
          </ac:picMkLst>
        </pc:picChg>
        <pc:picChg chg="del">
          <ac:chgData name="Oriane LE GAVRIAN" userId="1ee00f59-07ab-493e-ac89-27a9fad1a751" providerId="ADAL" clId="{F5CD3EA1-21D3-4BEC-A408-A43EF898F83F}" dt="2023-01-26T13:20:46.241" v="8177" actId="478"/>
          <ac:picMkLst>
            <pc:docMk/>
            <pc:sldMk cId="2287963091" sldId="2147469882"/>
            <ac:picMk id="43" creationId="{02D0072C-C0F4-4A81-31C1-4EF92405E559}"/>
          </ac:picMkLst>
        </pc:picChg>
        <pc:picChg chg="del">
          <ac:chgData name="Oriane LE GAVRIAN" userId="1ee00f59-07ab-493e-ac89-27a9fad1a751" providerId="ADAL" clId="{F5CD3EA1-21D3-4BEC-A408-A43EF898F83F}" dt="2023-01-26T13:20:46.241" v="8177" actId="478"/>
          <ac:picMkLst>
            <pc:docMk/>
            <pc:sldMk cId="2287963091" sldId="2147469882"/>
            <ac:picMk id="44" creationId="{A3D77D18-0749-035B-DC86-ECE31BF355CE}"/>
          </ac:picMkLst>
        </pc:picChg>
        <pc:picChg chg="del">
          <ac:chgData name="Oriane LE GAVRIAN" userId="1ee00f59-07ab-493e-ac89-27a9fad1a751" providerId="ADAL" clId="{F5CD3EA1-21D3-4BEC-A408-A43EF898F83F}" dt="2023-01-26T13:20:46.241" v="8177" actId="478"/>
          <ac:picMkLst>
            <pc:docMk/>
            <pc:sldMk cId="2287963091" sldId="2147469882"/>
            <ac:picMk id="45" creationId="{A407E201-CBDA-EAF9-896C-6AE4D2594ECE}"/>
          </ac:picMkLst>
        </pc:picChg>
        <pc:picChg chg="del">
          <ac:chgData name="Oriane LE GAVRIAN" userId="1ee00f59-07ab-493e-ac89-27a9fad1a751" providerId="ADAL" clId="{F5CD3EA1-21D3-4BEC-A408-A43EF898F83F}" dt="2023-01-26T13:20:46.241" v="8177" actId="478"/>
          <ac:picMkLst>
            <pc:docMk/>
            <pc:sldMk cId="2287963091" sldId="2147469882"/>
            <ac:picMk id="46" creationId="{78D09556-C157-4104-BAA9-27B783E83ED0}"/>
          </ac:picMkLst>
        </pc:picChg>
        <pc:picChg chg="del">
          <ac:chgData name="Oriane LE GAVRIAN" userId="1ee00f59-07ab-493e-ac89-27a9fad1a751" providerId="ADAL" clId="{F5CD3EA1-21D3-4BEC-A408-A43EF898F83F}" dt="2023-01-26T13:20:46.241" v="8177" actId="478"/>
          <ac:picMkLst>
            <pc:docMk/>
            <pc:sldMk cId="2287963091" sldId="2147469882"/>
            <ac:picMk id="48" creationId="{AE34D63F-CABF-AC0F-D212-E56513613D66}"/>
          </ac:picMkLst>
        </pc:picChg>
        <pc:picChg chg="del">
          <ac:chgData name="Oriane LE GAVRIAN" userId="1ee00f59-07ab-493e-ac89-27a9fad1a751" providerId="ADAL" clId="{F5CD3EA1-21D3-4BEC-A408-A43EF898F83F}" dt="2023-01-26T13:20:46.241" v="8177" actId="478"/>
          <ac:picMkLst>
            <pc:docMk/>
            <pc:sldMk cId="2287963091" sldId="2147469882"/>
            <ac:picMk id="49" creationId="{3BA41B7A-2323-5924-A816-EB9E758D0C38}"/>
          </ac:picMkLst>
        </pc:picChg>
        <pc:picChg chg="del">
          <ac:chgData name="Oriane LE GAVRIAN" userId="1ee00f59-07ab-493e-ac89-27a9fad1a751" providerId="ADAL" clId="{F5CD3EA1-21D3-4BEC-A408-A43EF898F83F}" dt="2023-01-26T13:20:46.241" v="8177" actId="478"/>
          <ac:picMkLst>
            <pc:docMk/>
            <pc:sldMk cId="2287963091" sldId="2147469882"/>
            <ac:picMk id="50" creationId="{F70329AF-F6A0-77BD-3DE8-9C2946BB82CA}"/>
          </ac:picMkLst>
        </pc:picChg>
        <pc:picChg chg="del">
          <ac:chgData name="Oriane LE GAVRIAN" userId="1ee00f59-07ab-493e-ac89-27a9fad1a751" providerId="ADAL" clId="{F5CD3EA1-21D3-4BEC-A408-A43EF898F83F}" dt="2023-01-26T13:20:46.241" v="8177" actId="478"/>
          <ac:picMkLst>
            <pc:docMk/>
            <pc:sldMk cId="2287963091" sldId="2147469882"/>
            <ac:picMk id="52" creationId="{1B9AF06D-01D3-7889-0DBB-F9CBB7C19CB9}"/>
          </ac:picMkLst>
        </pc:picChg>
        <pc:picChg chg="del">
          <ac:chgData name="Oriane LE GAVRIAN" userId="1ee00f59-07ab-493e-ac89-27a9fad1a751" providerId="ADAL" clId="{F5CD3EA1-21D3-4BEC-A408-A43EF898F83F}" dt="2023-01-26T13:20:46.241" v="8177" actId="478"/>
          <ac:picMkLst>
            <pc:docMk/>
            <pc:sldMk cId="2287963091" sldId="2147469882"/>
            <ac:picMk id="54" creationId="{EC45520C-F3D3-9D79-B32C-33D10AAC738E}"/>
          </ac:picMkLst>
        </pc:picChg>
        <pc:picChg chg="add mod">
          <ac:chgData name="Oriane LE GAVRIAN" userId="1ee00f59-07ab-493e-ac89-27a9fad1a751" providerId="ADAL" clId="{F5CD3EA1-21D3-4BEC-A408-A43EF898F83F}" dt="2023-01-26T15:49:49.571" v="11335" actId="1038"/>
          <ac:picMkLst>
            <pc:docMk/>
            <pc:sldMk cId="2287963091" sldId="2147469882"/>
            <ac:picMk id="67" creationId="{A79B03FA-BF2D-0701-483B-9785CA1D1E12}"/>
          </ac:picMkLst>
        </pc:picChg>
        <pc:picChg chg="add mod">
          <ac:chgData name="Oriane LE GAVRIAN" userId="1ee00f59-07ab-493e-ac89-27a9fad1a751" providerId="ADAL" clId="{F5CD3EA1-21D3-4BEC-A408-A43EF898F83F}" dt="2023-01-26T15:49:40.029" v="11332" actId="1036"/>
          <ac:picMkLst>
            <pc:docMk/>
            <pc:sldMk cId="2287963091" sldId="2147469882"/>
            <ac:picMk id="69" creationId="{39BA85F6-FD3E-FD61-7F7C-CCFA8721D9E2}"/>
          </ac:picMkLst>
        </pc:picChg>
        <pc:picChg chg="add mod">
          <ac:chgData name="Oriane LE GAVRIAN" userId="1ee00f59-07ab-493e-ac89-27a9fad1a751" providerId="ADAL" clId="{F5CD3EA1-21D3-4BEC-A408-A43EF898F83F}" dt="2023-01-26T13:58:29.663" v="11259" actId="1076"/>
          <ac:picMkLst>
            <pc:docMk/>
            <pc:sldMk cId="2287963091" sldId="2147469882"/>
            <ac:picMk id="71" creationId="{5AF4AABA-0205-FD32-3729-CCCF39BB36D2}"/>
          </ac:picMkLst>
        </pc:picChg>
        <pc:picChg chg="add mod">
          <ac:chgData name="Oriane LE GAVRIAN" userId="1ee00f59-07ab-493e-ac89-27a9fad1a751" providerId="ADAL" clId="{F5CD3EA1-21D3-4BEC-A408-A43EF898F83F}" dt="2023-01-26T15:49:44.622" v="11333" actId="1038"/>
          <ac:picMkLst>
            <pc:docMk/>
            <pc:sldMk cId="2287963091" sldId="2147469882"/>
            <ac:picMk id="73" creationId="{EAF29544-925A-879F-51DF-C2E9D87F53F3}"/>
          </ac:picMkLst>
        </pc:picChg>
      </pc:sldChg>
      <pc:sldMasterChg chg="delSldLayout">
        <pc:chgData name="Oriane LE GAVRIAN" userId="1ee00f59-07ab-493e-ac89-27a9fad1a751" providerId="ADAL" clId="{F5CD3EA1-21D3-4BEC-A408-A43EF898F83F}" dt="2023-01-26T13:19:10.689" v="8117" actId="47"/>
        <pc:sldMasterMkLst>
          <pc:docMk/>
          <pc:sldMasterMk cId="0" sldId="2147483648"/>
        </pc:sldMasterMkLst>
        <pc:sldLayoutChg chg="del">
          <pc:chgData name="Oriane LE GAVRIAN" userId="1ee00f59-07ab-493e-ac89-27a9fad1a751" providerId="ADAL" clId="{F5CD3EA1-21D3-4BEC-A408-A43EF898F83F}" dt="2023-01-26T13:19:10.689" v="8117" actId="47"/>
          <pc:sldLayoutMkLst>
            <pc:docMk/>
            <pc:sldMasterMk cId="0" sldId="2147483648"/>
            <pc:sldLayoutMk cId="4165516089" sldId="2147483847"/>
          </pc:sldLayoutMkLst>
        </pc:sldLayoutChg>
      </pc:sldMasterChg>
    </pc:docChg>
  </pc:docChgLst>
  <pc:docChgLst>
    <pc:chgData name="Ayodele IKUESAN" userId="S::ayodele.ikuesan@talan.com::59febf41-4328-4f2d-a3b0-b5ea969eeed9" providerId="AD" clId="Web-{9F0839F4-F652-4EEC-A3F3-DF2DC7006E4C}"/>
    <pc:docChg chg="modSld">
      <pc:chgData name="Ayodele IKUESAN" userId="S::ayodele.ikuesan@talan.com::59febf41-4328-4f2d-a3b0-b5ea969eeed9" providerId="AD" clId="Web-{9F0839F4-F652-4EEC-A3F3-DF2DC7006E4C}" dt="2022-12-01T17:42:46.066" v="3" actId="20577"/>
      <pc:docMkLst>
        <pc:docMk/>
      </pc:docMkLst>
      <pc:sldChg chg="modSp">
        <pc:chgData name="Ayodele IKUESAN" userId="S::ayodele.ikuesan@talan.com::59febf41-4328-4f2d-a3b0-b5ea969eeed9" providerId="AD" clId="Web-{9F0839F4-F652-4EEC-A3F3-DF2DC7006E4C}" dt="2022-12-01T17:42:46.066" v="3" actId="20577"/>
        <pc:sldMkLst>
          <pc:docMk/>
          <pc:sldMk cId="2978135730" sldId="2147469799"/>
        </pc:sldMkLst>
        <pc:spChg chg="mod">
          <ac:chgData name="Ayodele IKUESAN" userId="S::ayodele.ikuesan@talan.com::59febf41-4328-4f2d-a3b0-b5ea969eeed9" providerId="AD" clId="Web-{9F0839F4-F652-4EEC-A3F3-DF2DC7006E4C}" dt="2022-12-01T17:42:38.959" v="2"/>
          <ac:spMkLst>
            <pc:docMk/>
            <pc:sldMk cId="2978135730" sldId="2147469799"/>
            <ac:spMk id="35" creationId="{ADCC2C2A-FF7C-F655-E940-CEE0C0D619C0}"/>
          </ac:spMkLst>
        </pc:spChg>
        <pc:spChg chg="mod">
          <ac:chgData name="Ayodele IKUESAN" userId="S::ayodele.ikuesan@talan.com::59febf41-4328-4f2d-a3b0-b5ea969eeed9" providerId="AD" clId="Web-{9F0839F4-F652-4EEC-A3F3-DF2DC7006E4C}" dt="2022-12-01T17:42:46.066" v="3" actId="20577"/>
          <ac:spMkLst>
            <pc:docMk/>
            <pc:sldMk cId="2978135730" sldId="2147469799"/>
            <ac:spMk id="54" creationId="{70AA2276-436E-8DD9-DAFE-6F74982C8E86}"/>
          </ac:spMkLst>
        </pc:spChg>
      </pc:sldChg>
    </pc:docChg>
  </pc:docChgLst>
  <pc:docChgLst>
    <pc:chgData name="Frederic DUGARD" userId="S::frederic.dugard@talan.com::ebe04564-57bb-4068-9573-4cbb1d4478de" providerId="AD" clId="Web-{C9FBB8EF-9599-4143-A488-92E9142E8C51}"/>
    <pc:docChg chg="modSld">
      <pc:chgData name="Frederic DUGARD" userId="S::frederic.dugard@talan.com::ebe04564-57bb-4068-9573-4cbb1d4478de" providerId="AD" clId="Web-{C9FBB8EF-9599-4143-A488-92E9142E8C51}" dt="2023-03-20T18:09:37.988" v="1" actId="20577"/>
      <pc:docMkLst>
        <pc:docMk/>
      </pc:docMkLst>
      <pc:sldChg chg="modSp">
        <pc:chgData name="Frederic DUGARD" userId="S::frederic.dugard@talan.com::ebe04564-57bb-4068-9573-4cbb1d4478de" providerId="AD" clId="Web-{C9FBB8EF-9599-4143-A488-92E9142E8C51}" dt="2023-03-20T18:09:37.988" v="1" actId="20577"/>
        <pc:sldMkLst>
          <pc:docMk/>
          <pc:sldMk cId="3681582597" sldId="2147470008"/>
        </pc:sldMkLst>
        <pc:spChg chg="mod">
          <ac:chgData name="Frederic DUGARD" userId="S::frederic.dugard@talan.com::ebe04564-57bb-4068-9573-4cbb1d4478de" providerId="AD" clId="Web-{C9FBB8EF-9599-4143-A488-92E9142E8C51}" dt="2023-03-20T18:09:37.988" v="1" actId="20577"/>
          <ac:spMkLst>
            <pc:docMk/>
            <pc:sldMk cId="3681582597" sldId="2147470008"/>
            <ac:spMk id="20" creationId="{8BD59BBF-AB17-077C-FFE9-B638E6B8F0C3}"/>
          </ac:spMkLst>
        </pc:spChg>
      </pc:sldChg>
    </pc:docChg>
  </pc:docChgLst>
  <pc:docChgLst>
    <pc:chgData name="Alice DUBREUIL" userId="4371ab0d-bba9-4adf-8a87-dc33a322e2b7" providerId="ADAL" clId="{D403D61C-645C-4EC6-B13E-46AA81EFED60}"/>
    <pc:docChg chg="undo custSel addSld delSld modSld sldOrd modMainMaster">
      <pc:chgData name="Alice DUBREUIL" userId="4371ab0d-bba9-4adf-8a87-dc33a322e2b7" providerId="ADAL" clId="{D403D61C-645C-4EC6-B13E-46AA81EFED60}" dt="2023-03-03T15:59:47.340" v="2043"/>
      <pc:docMkLst>
        <pc:docMk/>
      </pc:docMkLst>
      <pc:sldChg chg="delSp add mod modShow">
        <pc:chgData name="Alice DUBREUIL" userId="4371ab0d-bba9-4adf-8a87-dc33a322e2b7" providerId="ADAL" clId="{D403D61C-645C-4EC6-B13E-46AA81EFED60}" dt="2023-02-28T14:18:49.205" v="146" actId="478"/>
        <pc:sldMkLst>
          <pc:docMk/>
          <pc:sldMk cId="402122101" sldId="5007"/>
        </pc:sldMkLst>
        <pc:spChg chg="del">
          <ac:chgData name="Alice DUBREUIL" userId="4371ab0d-bba9-4adf-8a87-dc33a322e2b7" providerId="ADAL" clId="{D403D61C-645C-4EC6-B13E-46AA81EFED60}" dt="2023-02-28T14:18:49.205" v="146" actId="478"/>
          <ac:spMkLst>
            <pc:docMk/>
            <pc:sldMk cId="402122101" sldId="5007"/>
            <ac:spMk id="55" creationId="{E976120E-FAD3-834B-E4BA-5980A4E1B26B}"/>
          </ac:spMkLst>
        </pc:spChg>
      </pc:sldChg>
      <pc:sldChg chg="add mod modShow addCm">
        <pc:chgData name="Alice DUBREUIL" userId="4371ab0d-bba9-4adf-8a87-dc33a322e2b7" providerId="ADAL" clId="{D403D61C-645C-4EC6-B13E-46AA81EFED60}" dt="2023-02-28T14:18:37.947" v="145"/>
        <pc:sldMkLst>
          <pc:docMk/>
          <pc:sldMk cId="3676508015" sldId="5014"/>
        </pc:sldMkLst>
      </pc:sldChg>
      <pc:sldChg chg="add">
        <pc:chgData name="Alice DUBREUIL" userId="4371ab0d-bba9-4adf-8a87-dc33a322e2b7" providerId="ADAL" clId="{D403D61C-645C-4EC6-B13E-46AA81EFED60}" dt="2023-02-28T14:15:13.086" v="140"/>
        <pc:sldMkLst>
          <pc:docMk/>
          <pc:sldMk cId="3275401772" sldId="2145706869"/>
        </pc:sldMkLst>
      </pc:sldChg>
      <pc:sldChg chg="addSp delSp modSp add del mod modShow addCm modCm">
        <pc:chgData name="Alice DUBREUIL" userId="4371ab0d-bba9-4adf-8a87-dc33a322e2b7" providerId="ADAL" clId="{D403D61C-645C-4EC6-B13E-46AA81EFED60}" dt="2023-02-28T14:08:01.583" v="139" actId="313"/>
        <pc:sldMkLst>
          <pc:docMk/>
          <pc:sldMk cId="86000251" sldId="2147469954"/>
        </pc:sldMkLst>
        <pc:spChg chg="add del mod">
          <ac:chgData name="Alice DUBREUIL" userId="4371ab0d-bba9-4adf-8a87-dc33a322e2b7" providerId="ADAL" clId="{D403D61C-645C-4EC6-B13E-46AA81EFED60}" dt="2023-02-28T13:56:26.309" v="8" actId="478"/>
          <ac:spMkLst>
            <pc:docMk/>
            <pc:sldMk cId="86000251" sldId="2147469954"/>
            <ac:spMk id="4" creationId="{26474750-7D80-49F7-87EF-C03F341651C3}"/>
          </ac:spMkLst>
        </pc:spChg>
        <pc:spChg chg="mod">
          <ac:chgData name="Alice DUBREUIL" userId="4371ab0d-bba9-4adf-8a87-dc33a322e2b7" providerId="ADAL" clId="{D403D61C-645C-4EC6-B13E-46AA81EFED60}" dt="2023-02-28T14:08:01.583" v="139" actId="313"/>
          <ac:spMkLst>
            <pc:docMk/>
            <pc:sldMk cId="86000251" sldId="2147469954"/>
            <ac:spMk id="12" creationId="{AC3396C3-E105-FAE9-24E6-EE1DDBA741EE}"/>
          </ac:spMkLst>
        </pc:spChg>
      </pc:sldChg>
      <pc:sldChg chg="addSp modSp add mod modShow">
        <pc:chgData name="Alice DUBREUIL" userId="4371ab0d-bba9-4adf-8a87-dc33a322e2b7" providerId="ADAL" clId="{D403D61C-645C-4EC6-B13E-46AA81EFED60}" dt="2023-02-28T14:03:07.799" v="137" actId="13822"/>
        <pc:sldMkLst>
          <pc:docMk/>
          <pc:sldMk cId="624835803" sldId="2147469958"/>
        </pc:sldMkLst>
        <pc:spChg chg="mod">
          <ac:chgData name="Alice DUBREUIL" userId="4371ab0d-bba9-4adf-8a87-dc33a322e2b7" providerId="ADAL" clId="{D403D61C-645C-4EC6-B13E-46AA81EFED60}" dt="2023-02-28T14:02:20.713" v="11"/>
          <ac:spMkLst>
            <pc:docMk/>
            <pc:sldMk cId="624835803" sldId="2147469958"/>
            <ac:spMk id="2" creationId="{1093ABB4-3A17-40B2-8B0C-8318368F67F2}"/>
          </ac:spMkLst>
        </pc:spChg>
        <pc:spChg chg="add mod">
          <ac:chgData name="Alice DUBREUIL" userId="4371ab0d-bba9-4adf-8a87-dc33a322e2b7" providerId="ADAL" clId="{D403D61C-645C-4EC6-B13E-46AA81EFED60}" dt="2023-02-28T14:03:07.799" v="137" actId="13822"/>
          <ac:spMkLst>
            <pc:docMk/>
            <pc:sldMk cId="624835803" sldId="2147469958"/>
            <ac:spMk id="4" creationId="{E6F6B4F6-33E2-40B2-B7FB-672818CAF19F}"/>
          </ac:spMkLst>
        </pc:spChg>
      </pc:sldChg>
      <pc:sldChg chg="modSp mod">
        <pc:chgData name="Alice DUBREUIL" userId="4371ab0d-bba9-4adf-8a87-dc33a322e2b7" providerId="ADAL" clId="{D403D61C-645C-4EC6-B13E-46AA81EFED60}" dt="2023-03-01T15:27:19.149" v="324" actId="20577"/>
        <pc:sldMkLst>
          <pc:docMk/>
          <pc:sldMk cId="1111061792" sldId="2147469962"/>
        </pc:sldMkLst>
        <pc:spChg chg="mod">
          <ac:chgData name="Alice DUBREUIL" userId="4371ab0d-bba9-4adf-8a87-dc33a322e2b7" providerId="ADAL" clId="{D403D61C-645C-4EC6-B13E-46AA81EFED60}" dt="2023-03-01T15:27:19.149" v="324" actId="20577"/>
          <ac:spMkLst>
            <pc:docMk/>
            <pc:sldMk cId="1111061792" sldId="2147469962"/>
            <ac:spMk id="3" creationId="{60E804CD-6A42-AA1C-3C1B-F3DA3FC13969}"/>
          </ac:spMkLst>
        </pc:spChg>
      </pc:sldChg>
      <pc:sldChg chg="addSp modSp mod">
        <pc:chgData name="Alice DUBREUIL" userId="4371ab0d-bba9-4adf-8a87-dc33a322e2b7" providerId="ADAL" clId="{D403D61C-645C-4EC6-B13E-46AA81EFED60}" dt="2023-03-01T18:45:12.516" v="473" actId="20577"/>
        <pc:sldMkLst>
          <pc:docMk/>
          <pc:sldMk cId="3397114460" sldId="2147469963"/>
        </pc:sldMkLst>
        <pc:spChg chg="mod">
          <ac:chgData name="Alice DUBREUIL" userId="4371ab0d-bba9-4adf-8a87-dc33a322e2b7" providerId="ADAL" clId="{D403D61C-645C-4EC6-B13E-46AA81EFED60}" dt="2023-03-01T18:43:26.662" v="383" actId="20577"/>
          <ac:spMkLst>
            <pc:docMk/>
            <pc:sldMk cId="3397114460" sldId="2147469963"/>
            <ac:spMk id="2" creationId="{AB53A934-65D5-BCF6-DCD4-8D3180660FE9}"/>
          </ac:spMkLst>
        </pc:spChg>
        <pc:spChg chg="add mod">
          <ac:chgData name="Alice DUBREUIL" userId="4371ab0d-bba9-4adf-8a87-dc33a322e2b7" providerId="ADAL" clId="{D403D61C-645C-4EC6-B13E-46AA81EFED60}" dt="2023-03-01T18:45:12.516" v="473" actId="20577"/>
          <ac:spMkLst>
            <pc:docMk/>
            <pc:sldMk cId="3397114460" sldId="2147469963"/>
            <ac:spMk id="6" creationId="{6F148A48-6ADF-4053-B8FA-7F27CC8DCB86}"/>
          </ac:spMkLst>
        </pc:spChg>
      </pc:sldChg>
      <pc:sldChg chg="addSp delSp modSp mod ord addCm">
        <pc:chgData name="Alice DUBREUIL" userId="4371ab0d-bba9-4adf-8a87-dc33a322e2b7" providerId="ADAL" clId="{D403D61C-645C-4EC6-B13E-46AA81EFED60}" dt="2023-03-03T15:59:47.340" v="2043"/>
        <pc:sldMkLst>
          <pc:docMk/>
          <pc:sldMk cId="107605304" sldId="2147469980"/>
        </pc:sldMkLst>
        <pc:spChg chg="add mod">
          <ac:chgData name="Alice DUBREUIL" userId="4371ab0d-bba9-4adf-8a87-dc33a322e2b7" providerId="ADAL" clId="{D403D61C-645C-4EC6-B13E-46AA81EFED60}" dt="2023-03-03T15:59:11.290" v="2042" actId="1076"/>
          <ac:spMkLst>
            <pc:docMk/>
            <pc:sldMk cId="107605304" sldId="2147469980"/>
            <ac:spMk id="18" creationId="{69F2F136-49D2-4598-BD20-0F80452B22E8}"/>
          </ac:spMkLst>
        </pc:spChg>
        <pc:spChg chg="mod">
          <ac:chgData name="Alice DUBREUIL" userId="4371ab0d-bba9-4adf-8a87-dc33a322e2b7" providerId="ADAL" clId="{D403D61C-645C-4EC6-B13E-46AA81EFED60}" dt="2023-03-03T14:01:01.262" v="475" actId="1076"/>
          <ac:spMkLst>
            <pc:docMk/>
            <pc:sldMk cId="107605304" sldId="2147469980"/>
            <ac:spMk id="47" creationId="{FB1363F0-04BD-8510-60D1-8403649D497F}"/>
          </ac:spMkLst>
        </pc:spChg>
        <pc:spChg chg="mod">
          <ac:chgData name="Alice DUBREUIL" userId="4371ab0d-bba9-4adf-8a87-dc33a322e2b7" providerId="ADAL" clId="{D403D61C-645C-4EC6-B13E-46AA81EFED60}" dt="2023-03-03T13:59:14.148" v="474" actId="1076"/>
          <ac:spMkLst>
            <pc:docMk/>
            <pc:sldMk cId="107605304" sldId="2147469980"/>
            <ac:spMk id="49" creationId="{5589CD86-C1DE-E31D-20E3-D112AC8CCB52}"/>
          </ac:spMkLst>
        </pc:spChg>
        <pc:spChg chg="mod topLvl">
          <ac:chgData name="Alice DUBREUIL" userId="4371ab0d-bba9-4adf-8a87-dc33a322e2b7" providerId="ADAL" clId="{D403D61C-645C-4EC6-B13E-46AA81EFED60}" dt="2023-03-03T14:48:22.935" v="1761" actId="12789"/>
          <ac:spMkLst>
            <pc:docMk/>
            <pc:sldMk cId="107605304" sldId="2147469980"/>
            <ac:spMk id="57" creationId="{E84EA2CA-7E0C-74DE-C0F0-0613924B0604}"/>
          </ac:spMkLst>
        </pc:spChg>
        <pc:spChg chg="add mod topLvl">
          <ac:chgData name="Alice DUBREUIL" userId="4371ab0d-bba9-4adf-8a87-dc33a322e2b7" providerId="ADAL" clId="{D403D61C-645C-4EC6-B13E-46AA81EFED60}" dt="2023-03-03T14:48:22.935" v="1761" actId="12789"/>
          <ac:spMkLst>
            <pc:docMk/>
            <pc:sldMk cId="107605304" sldId="2147469980"/>
            <ac:spMk id="59" creationId="{E84EA2CA-7E0C-74DE-C0F0-0613924B0604}"/>
          </ac:spMkLst>
        </pc:spChg>
        <pc:spChg chg="add mod">
          <ac:chgData name="Alice DUBREUIL" userId="4371ab0d-bba9-4adf-8a87-dc33a322e2b7" providerId="ADAL" clId="{D403D61C-645C-4EC6-B13E-46AA81EFED60}" dt="2023-03-03T14:48:22.935" v="1761" actId="12789"/>
          <ac:spMkLst>
            <pc:docMk/>
            <pc:sldMk cId="107605304" sldId="2147469980"/>
            <ac:spMk id="61" creationId="{6F86019B-97A8-4C99-AEF2-EB08578EC0CB}"/>
          </ac:spMkLst>
        </pc:spChg>
        <pc:spChg chg="mod">
          <ac:chgData name="Alice DUBREUIL" userId="4371ab0d-bba9-4adf-8a87-dc33a322e2b7" providerId="ADAL" clId="{D403D61C-645C-4EC6-B13E-46AA81EFED60}" dt="2023-03-03T14:48:11.165" v="1759" actId="571"/>
          <ac:spMkLst>
            <pc:docMk/>
            <pc:sldMk cId="107605304" sldId="2147469980"/>
            <ac:spMk id="69" creationId="{7FB622BF-DD7C-4D50-BE15-5F68C5B88693}"/>
          </ac:spMkLst>
        </pc:spChg>
        <pc:spChg chg="mod">
          <ac:chgData name="Alice DUBREUIL" userId="4371ab0d-bba9-4adf-8a87-dc33a322e2b7" providerId="ADAL" clId="{D403D61C-645C-4EC6-B13E-46AA81EFED60}" dt="2023-03-03T14:48:11.165" v="1759" actId="571"/>
          <ac:spMkLst>
            <pc:docMk/>
            <pc:sldMk cId="107605304" sldId="2147469980"/>
            <ac:spMk id="72" creationId="{27359A5B-CCD9-44FB-B82D-C0E5119BF0E7}"/>
          </ac:spMkLst>
        </pc:spChg>
        <pc:grpChg chg="add del mod">
          <ac:chgData name="Alice DUBREUIL" userId="4371ab0d-bba9-4adf-8a87-dc33a322e2b7" providerId="ADAL" clId="{D403D61C-645C-4EC6-B13E-46AA81EFED60}" dt="2023-03-03T14:42:10.778" v="1710" actId="165"/>
          <ac:grpSpMkLst>
            <pc:docMk/>
            <pc:sldMk cId="107605304" sldId="2147469980"/>
            <ac:grpSpMk id="50" creationId="{A01C9460-FFCE-4D91-959F-F5451DFA5201}"/>
          </ac:grpSpMkLst>
        </pc:grpChg>
        <pc:grpChg chg="add mod">
          <ac:chgData name="Alice DUBREUIL" userId="4371ab0d-bba9-4adf-8a87-dc33a322e2b7" providerId="ADAL" clId="{D403D61C-645C-4EC6-B13E-46AA81EFED60}" dt="2023-03-03T14:48:22.935" v="1761" actId="12789"/>
          <ac:grpSpMkLst>
            <pc:docMk/>
            <pc:sldMk cId="107605304" sldId="2147469980"/>
            <ac:grpSpMk id="51" creationId="{BD0BDC7D-5BDA-4A71-BC64-D7D3E8FFC7DE}"/>
          </ac:grpSpMkLst>
        </pc:grpChg>
        <pc:grpChg chg="add mod">
          <ac:chgData name="Alice DUBREUIL" userId="4371ab0d-bba9-4adf-8a87-dc33a322e2b7" providerId="ADAL" clId="{D403D61C-645C-4EC6-B13E-46AA81EFED60}" dt="2023-03-03T14:48:22.935" v="1761" actId="12789"/>
          <ac:grpSpMkLst>
            <pc:docMk/>
            <pc:sldMk cId="107605304" sldId="2147469980"/>
            <ac:grpSpMk id="52" creationId="{108B7B7A-327F-44FE-BD8D-083E756D00BD}"/>
          </ac:grpSpMkLst>
        </pc:grpChg>
        <pc:grpChg chg="add mod">
          <ac:chgData name="Alice DUBREUIL" userId="4371ab0d-bba9-4adf-8a87-dc33a322e2b7" providerId="ADAL" clId="{D403D61C-645C-4EC6-B13E-46AA81EFED60}" dt="2023-03-03T14:48:22.935" v="1761" actId="12789"/>
          <ac:grpSpMkLst>
            <pc:docMk/>
            <pc:sldMk cId="107605304" sldId="2147469980"/>
            <ac:grpSpMk id="53" creationId="{FD733AA4-1528-4AE9-B246-836E2DE3FD3C}"/>
          </ac:grpSpMkLst>
        </pc:grpChg>
        <pc:grpChg chg="del mod">
          <ac:chgData name="Alice DUBREUIL" userId="4371ab0d-bba9-4adf-8a87-dc33a322e2b7" providerId="ADAL" clId="{D403D61C-645C-4EC6-B13E-46AA81EFED60}" dt="2023-03-03T14:39:54.595" v="1574" actId="165"/>
          <ac:grpSpMkLst>
            <pc:docMk/>
            <pc:sldMk cId="107605304" sldId="2147469980"/>
            <ac:grpSpMk id="54" creationId="{08FCAEEB-67E8-212D-F6EA-BB08471ABA65}"/>
          </ac:grpSpMkLst>
        </pc:grpChg>
        <pc:grpChg chg="add mod">
          <ac:chgData name="Alice DUBREUIL" userId="4371ab0d-bba9-4adf-8a87-dc33a322e2b7" providerId="ADAL" clId="{D403D61C-645C-4EC6-B13E-46AA81EFED60}" dt="2023-03-03T14:48:11.165" v="1759" actId="571"/>
          <ac:grpSpMkLst>
            <pc:docMk/>
            <pc:sldMk cId="107605304" sldId="2147469980"/>
            <ac:grpSpMk id="66" creationId="{2EC8037E-0032-4AF2-8501-36CE0D8105F7}"/>
          </ac:grpSpMkLst>
        </pc:grpChg>
        <pc:grpChg chg="add mod">
          <ac:chgData name="Alice DUBREUIL" userId="4371ab0d-bba9-4adf-8a87-dc33a322e2b7" providerId="ADAL" clId="{D403D61C-645C-4EC6-B13E-46AA81EFED60}" dt="2023-03-03T14:48:11.165" v="1759" actId="571"/>
          <ac:grpSpMkLst>
            <pc:docMk/>
            <pc:sldMk cId="107605304" sldId="2147469980"/>
            <ac:grpSpMk id="70" creationId="{F6041E0B-AA6F-4EC7-9253-6F31147C305C}"/>
          </ac:grpSpMkLst>
        </pc:grpChg>
        <pc:picChg chg="mod topLvl">
          <ac:chgData name="Alice DUBREUIL" userId="4371ab0d-bba9-4adf-8a87-dc33a322e2b7" providerId="ADAL" clId="{D403D61C-645C-4EC6-B13E-46AA81EFED60}" dt="2023-03-03T14:48:22.935" v="1761" actId="12789"/>
          <ac:picMkLst>
            <pc:docMk/>
            <pc:sldMk cId="107605304" sldId="2147469980"/>
            <ac:picMk id="55" creationId="{A4F021F7-AA12-4F8C-7C88-3030C0DBE885}"/>
          </ac:picMkLst>
        </pc:picChg>
        <pc:picChg chg="mod topLvl">
          <ac:chgData name="Alice DUBREUIL" userId="4371ab0d-bba9-4adf-8a87-dc33a322e2b7" providerId="ADAL" clId="{D403D61C-645C-4EC6-B13E-46AA81EFED60}" dt="2023-03-03T14:48:22.935" v="1761" actId="12789"/>
          <ac:picMkLst>
            <pc:docMk/>
            <pc:sldMk cId="107605304" sldId="2147469980"/>
            <ac:picMk id="56" creationId="{BDF629E2-6D03-862E-5556-6E1F009D7BD1}"/>
          </ac:picMkLst>
        </pc:picChg>
        <pc:picChg chg="mod">
          <ac:chgData name="Alice DUBREUIL" userId="4371ab0d-bba9-4adf-8a87-dc33a322e2b7" providerId="ADAL" clId="{D403D61C-645C-4EC6-B13E-46AA81EFED60}" dt="2023-03-03T14:48:11.165" v="1759" actId="571"/>
          <ac:picMkLst>
            <pc:docMk/>
            <pc:sldMk cId="107605304" sldId="2147469980"/>
            <ac:picMk id="67" creationId="{0F4F90A3-C100-4393-AE4E-54DDFC3DFACE}"/>
          </ac:picMkLst>
        </pc:picChg>
        <pc:picChg chg="mod">
          <ac:chgData name="Alice DUBREUIL" userId="4371ab0d-bba9-4adf-8a87-dc33a322e2b7" providerId="ADAL" clId="{D403D61C-645C-4EC6-B13E-46AA81EFED60}" dt="2023-03-03T14:48:11.165" v="1759" actId="571"/>
          <ac:picMkLst>
            <pc:docMk/>
            <pc:sldMk cId="107605304" sldId="2147469980"/>
            <ac:picMk id="68" creationId="{DB4280EA-31F2-481C-8BFC-E33C45FBC434}"/>
          </ac:picMkLst>
        </pc:picChg>
        <pc:picChg chg="mod">
          <ac:chgData name="Alice DUBREUIL" userId="4371ab0d-bba9-4adf-8a87-dc33a322e2b7" providerId="ADAL" clId="{D403D61C-645C-4EC6-B13E-46AA81EFED60}" dt="2023-03-03T14:48:11.165" v="1759" actId="571"/>
          <ac:picMkLst>
            <pc:docMk/>
            <pc:sldMk cId="107605304" sldId="2147469980"/>
            <ac:picMk id="71" creationId="{326CE993-B37D-4979-9C3A-58C575A69061}"/>
          </ac:picMkLst>
        </pc:picChg>
        <pc:picChg chg="add mod topLvl">
          <ac:chgData name="Alice DUBREUIL" userId="4371ab0d-bba9-4adf-8a87-dc33a322e2b7" providerId="ADAL" clId="{D403D61C-645C-4EC6-B13E-46AA81EFED60}" dt="2023-03-03T14:48:22.935" v="1761" actId="12789"/>
          <ac:picMkLst>
            <pc:docMk/>
            <pc:sldMk cId="107605304" sldId="2147469980"/>
            <ac:picMk id="1026" creationId="{B0D2C2D4-9785-4286-8E2A-DF6BB572E08F}"/>
          </ac:picMkLst>
        </pc:picChg>
        <pc:picChg chg="add mod">
          <ac:chgData name="Alice DUBREUIL" userId="4371ab0d-bba9-4adf-8a87-dc33a322e2b7" providerId="ADAL" clId="{D403D61C-645C-4EC6-B13E-46AA81EFED60}" dt="2023-03-03T14:48:22.935" v="1761" actId="12789"/>
          <ac:picMkLst>
            <pc:docMk/>
            <pc:sldMk cId="107605304" sldId="2147469980"/>
            <ac:picMk id="1028" creationId="{9B13708B-EFAF-4110-A454-953283F3017F}"/>
          </ac:picMkLst>
        </pc:picChg>
        <pc:picChg chg="add mod">
          <ac:chgData name="Alice DUBREUIL" userId="4371ab0d-bba9-4adf-8a87-dc33a322e2b7" providerId="ADAL" clId="{D403D61C-645C-4EC6-B13E-46AA81EFED60}" dt="2023-03-03T14:48:22.935" v="1761" actId="12789"/>
          <ac:picMkLst>
            <pc:docMk/>
            <pc:sldMk cId="107605304" sldId="2147469980"/>
            <ac:picMk id="1030" creationId="{DEDFB93B-F69E-4A48-82D0-64FDE6E61422}"/>
          </ac:picMkLst>
        </pc:picChg>
      </pc:sldChg>
      <pc:sldMasterChg chg="modSldLayout">
        <pc:chgData name="Alice DUBREUIL" userId="4371ab0d-bba9-4adf-8a87-dc33a322e2b7" providerId="ADAL" clId="{D403D61C-645C-4EC6-B13E-46AA81EFED60}" dt="2023-03-01T15:12:13.315" v="154" actId="478"/>
        <pc:sldMasterMkLst>
          <pc:docMk/>
          <pc:sldMasterMk cId="0" sldId="2147483648"/>
        </pc:sldMasterMkLst>
        <pc:sldLayoutChg chg="addSp delSp modSp mod">
          <pc:chgData name="Alice DUBREUIL" userId="4371ab0d-bba9-4adf-8a87-dc33a322e2b7" providerId="ADAL" clId="{D403D61C-645C-4EC6-B13E-46AA81EFED60}" dt="2023-03-01T15:11:11.854" v="149" actId="478"/>
          <pc:sldLayoutMkLst>
            <pc:docMk/>
            <pc:sldMasterMk cId="0" sldId="2147483648"/>
            <pc:sldLayoutMk cId="1948887253" sldId="2147483777"/>
          </pc:sldLayoutMkLst>
          <pc:spChg chg="add del mod">
            <ac:chgData name="Alice DUBREUIL" userId="4371ab0d-bba9-4adf-8a87-dc33a322e2b7" providerId="ADAL" clId="{D403D61C-645C-4EC6-B13E-46AA81EFED60}" dt="2023-03-01T15:11:11.854" v="149" actId="478"/>
            <ac:spMkLst>
              <pc:docMk/>
              <pc:sldMasterMk cId="0" sldId="2147483648"/>
              <pc:sldLayoutMk cId="1948887253" sldId="2147483777"/>
              <ac:spMk id="7" creationId="{7557CE5B-8A6C-4017-A599-2338743E2DBC}"/>
            </ac:spMkLst>
          </pc:spChg>
        </pc:sldLayoutChg>
        <pc:sldLayoutChg chg="modSp mod">
          <pc:chgData name="Alice DUBREUIL" userId="4371ab0d-bba9-4adf-8a87-dc33a322e2b7" providerId="ADAL" clId="{D403D61C-645C-4EC6-B13E-46AA81EFED60}" dt="2023-03-01T15:11:32.737" v="150"/>
          <pc:sldLayoutMkLst>
            <pc:docMk/>
            <pc:sldMasterMk cId="0" sldId="2147483648"/>
            <pc:sldLayoutMk cId="3835250616" sldId="2147483784"/>
          </pc:sldLayoutMkLst>
          <pc:spChg chg="mod">
            <ac:chgData name="Alice DUBREUIL" userId="4371ab0d-bba9-4adf-8a87-dc33a322e2b7" providerId="ADAL" clId="{D403D61C-645C-4EC6-B13E-46AA81EFED60}" dt="2023-03-01T15:11:32.737" v="150"/>
            <ac:spMkLst>
              <pc:docMk/>
              <pc:sldMasterMk cId="0" sldId="2147483648"/>
              <pc:sldLayoutMk cId="3835250616" sldId="2147483784"/>
              <ac:spMk id="13" creationId="{0E7AEF66-C84B-B6C5-8D34-B6EBA35D3519}"/>
            </ac:spMkLst>
          </pc:spChg>
        </pc:sldLayoutChg>
        <pc:sldLayoutChg chg="modSp mod">
          <pc:chgData name="Alice DUBREUIL" userId="4371ab0d-bba9-4adf-8a87-dc33a322e2b7" providerId="ADAL" clId="{D403D61C-645C-4EC6-B13E-46AA81EFED60}" dt="2023-03-01T15:11:41.081" v="151"/>
          <pc:sldLayoutMkLst>
            <pc:docMk/>
            <pc:sldMasterMk cId="0" sldId="2147483648"/>
            <pc:sldLayoutMk cId="2750550644" sldId="2147483785"/>
          </pc:sldLayoutMkLst>
          <pc:spChg chg="mod">
            <ac:chgData name="Alice DUBREUIL" userId="4371ab0d-bba9-4adf-8a87-dc33a322e2b7" providerId="ADAL" clId="{D403D61C-645C-4EC6-B13E-46AA81EFED60}" dt="2023-03-01T15:11:41.081" v="151"/>
            <ac:spMkLst>
              <pc:docMk/>
              <pc:sldMasterMk cId="0" sldId="2147483648"/>
              <pc:sldLayoutMk cId="2750550644" sldId="2147483785"/>
              <ac:spMk id="7" creationId="{D2446CFC-D65F-B848-04BC-21F2AC7A6AD7}"/>
            </ac:spMkLst>
          </pc:spChg>
        </pc:sldLayoutChg>
        <pc:sldLayoutChg chg="delSp mod">
          <pc:chgData name="Alice DUBREUIL" userId="4371ab0d-bba9-4adf-8a87-dc33a322e2b7" providerId="ADAL" clId="{D403D61C-645C-4EC6-B13E-46AA81EFED60}" dt="2023-03-01T15:12:13.315" v="154" actId="478"/>
          <pc:sldLayoutMkLst>
            <pc:docMk/>
            <pc:sldMasterMk cId="0" sldId="2147483648"/>
            <pc:sldLayoutMk cId="2881048757" sldId="2147483787"/>
          </pc:sldLayoutMkLst>
          <pc:grpChg chg="del">
            <ac:chgData name="Alice DUBREUIL" userId="4371ab0d-bba9-4adf-8a87-dc33a322e2b7" providerId="ADAL" clId="{D403D61C-645C-4EC6-B13E-46AA81EFED60}" dt="2023-03-01T15:12:13.315" v="154" actId="478"/>
            <ac:grpSpMkLst>
              <pc:docMk/>
              <pc:sldMasterMk cId="0" sldId="2147483648"/>
              <pc:sldLayoutMk cId="2881048757" sldId="2147483787"/>
              <ac:grpSpMk id="2" creationId="{E817EB7E-6908-473F-AD4C-FFFF5DB5A974}"/>
            </ac:grpSpMkLst>
          </pc:grpChg>
        </pc:sldLayoutChg>
        <pc:sldLayoutChg chg="modSp mod">
          <pc:chgData name="Alice DUBREUIL" userId="4371ab0d-bba9-4adf-8a87-dc33a322e2b7" providerId="ADAL" clId="{D403D61C-645C-4EC6-B13E-46AA81EFED60}" dt="2023-03-01T15:11:50.342" v="152"/>
          <pc:sldLayoutMkLst>
            <pc:docMk/>
            <pc:sldMasterMk cId="0" sldId="2147483648"/>
            <pc:sldLayoutMk cId="3263139508" sldId="2147483788"/>
          </pc:sldLayoutMkLst>
          <pc:spChg chg="mod">
            <ac:chgData name="Alice DUBREUIL" userId="4371ab0d-bba9-4adf-8a87-dc33a322e2b7" providerId="ADAL" clId="{D403D61C-645C-4EC6-B13E-46AA81EFED60}" dt="2023-03-01T15:11:50.342" v="152"/>
            <ac:spMkLst>
              <pc:docMk/>
              <pc:sldMasterMk cId="0" sldId="2147483648"/>
              <pc:sldLayoutMk cId="3263139508" sldId="2147483788"/>
              <ac:spMk id="18" creationId="{C33774F5-B28D-1EAE-69CE-D799D87DF4A5}"/>
            </ac:spMkLst>
          </pc:spChg>
        </pc:sldLayoutChg>
        <pc:sldLayoutChg chg="modSp mod">
          <pc:chgData name="Alice DUBREUIL" userId="4371ab0d-bba9-4adf-8a87-dc33a322e2b7" providerId="ADAL" clId="{D403D61C-645C-4EC6-B13E-46AA81EFED60}" dt="2023-03-01T15:11:57.137" v="153"/>
          <pc:sldLayoutMkLst>
            <pc:docMk/>
            <pc:sldMasterMk cId="0" sldId="2147483648"/>
            <pc:sldLayoutMk cId="3274264938" sldId="2147483789"/>
          </pc:sldLayoutMkLst>
          <pc:spChg chg="mod">
            <ac:chgData name="Alice DUBREUIL" userId="4371ab0d-bba9-4adf-8a87-dc33a322e2b7" providerId="ADAL" clId="{D403D61C-645C-4EC6-B13E-46AA81EFED60}" dt="2023-03-01T15:11:57.137" v="153"/>
            <ac:spMkLst>
              <pc:docMk/>
              <pc:sldMasterMk cId="0" sldId="2147483648"/>
              <pc:sldLayoutMk cId="3274264938" sldId="2147483789"/>
              <ac:spMk id="7" creationId="{A66DB93A-F784-9134-0EA9-32B422690CFD}"/>
            </ac:spMkLst>
          </pc:spChg>
        </pc:sldLayoutChg>
      </pc:sldMasterChg>
    </pc:docChg>
  </pc:docChgLst>
  <pc:docChgLst>
    <pc:chgData name="Kawtar SADIQ" userId="S::kawtar.sadiq@talan.com::65df04e4-2d23-4bab-afb0-40df8a2c1b9f" providerId="AD" clId="Web-{9FF0ABD3-5F6B-07C3-47D3-BC1B67F8CBCA}"/>
    <pc:docChg chg="modSld">
      <pc:chgData name="Kawtar SADIQ" userId="S::kawtar.sadiq@talan.com::65df04e4-2d23-4bab-afb0-40df8a2c1b9f" providerId="AD" clId="Web-{9FF0ABD3-5F6B-07C3-47D3-BC1B67F8CBCA}" dt="2022-11-10T17:12:57.134" v="26" actId="14100"/>
      <pc:docMkLst>
        <pc:docMk/>
      </pc:docMkLst>
      <pc:sldChg chg="addSp modSp">
        <pc:chgData name="Kawtar SADIQ" userId="S::kawtar.sadiq@talan.com::65df04e4-2d23-4bab-afb0-40df8a2c1b9f" providerId="AD" clId="Web-{9FF0ABD3-5F6B-07C3-47D3-BC1B67F8CBCA}" dt="2022-11-10T17:12:57.134" v="26" actId="14100"/>
        <pc:sldMkLst>
          <pc:docMk/>
          <pc:sldMk cId="673436299" sldId="2076138156"/>
        </pc:sldMkLst>
        <pc:spChg chg="add mod">
          <ac:chgData name="Kawtar SADIQ" userId="S::kawtar.sadiq@talan.com::65df04e4-2d23-4bab-afb0-40df8a2c1b9f" providerId="AD" clId="Web-{9FF0ABD3-5F6B-07C3-47D3-BC1B67F8CBCA}" dt="2022-11-10T17:12:57.134" v="26" actId="14100"/>
          <ac:spMkLst>
            <pc:docMk/>
            <pc:sldMk cId="673436299" sldId="2076138156"/>
            <ac:spMk id="3" creationId="{86D0753F-A756-8B4E-7679-73C83B0D6AAB}"/>
          </ac:spMkLst>
        </pc:spChg>
        <pc:spChg chg="mod">
          <ac:chgData name="Kawtar SADIQ" userId="S::kawtar.sadiq@talan.com::65df04e4-2d23-4bab-afb0-40df8a2c1b9f" providerId="AD" clId="Web-{9FF0ABD3-5F6B-07C3-47D3-BC1B67F8CBCA}" dt="2022-11-10T17:11:57.631" v="9" actId="20577"/>
          <ac:spMkLst>
            <pc:docMk/>
            <pc:sldMk cId="673436299" sldId="2076138156"/>
            <ac:spMk id="4" creationId="{00F66BC5-412C-6A53-7419-3C362B68DB00}"/>
          </ac:spMkLst>
        </pc:spChg>
      </pc:sldChg>
    </pc:docChg>
  </pc:docChgLst>
  <pc:docChgLst>
    <pc:chgData name="Jean GRANDEMANGE" userId="faf07584-8716-430e-b66d-4ceae2fe8450" providerId="ADAL" clId="{5E784403-6954-4C51-B1A1-11ABC0F58A2A}"/>
    <pc:docChg chg="custSel addSld modSld">
      <pc:chgData name="Jean GRANDEMANGE" userId="faf07584-8716-430e-b66d-4ceae2fe8450" providerId="ADAL" clId="{5E784403-6954-4C51-B1A1-11ABC0F58A2A}" dt="2022-12-15T05:28:46.161" v="160" actId="20577"/>
      <pc:docMkLst>
        <pc:docMk/>
      </pc:docMkLst>
      <pc:sldChg chg="modSp mod">
        <pc:chgData name="Jean GRANDEMANGE" userId="faf07584-8716-430e-b66d-4ceae2fe8450" providerId="ADAL" clId="{5E784403-6954-4C51-B1A1-11ABC0F58A2A}" dt="2022-12-14T10:53:55.736" v="7" actId="207"/>
        <pc:sldMkLst>
          <pc:docMk/>
          <pc:sldMk cId="2027156521" sldId="2012"/>
        </pc:sldMkLst>
        <pc:spChg chg="mod">
          <ac:chgData name="Jean GRANDEMANGE" userId="faf07584-8716-430e-b66d-4ceae2fe8450" providerId="ADAL" clId="{5E784403-6954-4C51-B1A1-11ABC0F58A2A}" dt="2022-12-14T10:53:55.736" v="7" actId="207"/>
          <ac:spMkLst>
            <pc:docMk/>
            <pc:sldMk cId="2027156521" sldId="2012"/>
            <ac:spMk id="4" creationId="{644F088C-37E3-40D5-A235-5EF9113E81EF}"/>
          </ac:spMkLst>
        </pc:spChg>
      </pc:sldChg>
      <pc:sldChg chg="delSp modSp add mod">
        <pc:chgData name="Jean GRANDEMANGE" userId="faf07584-8716-430e-b66d-4ceae2fe8450" providerId="ADAL" clId="{5E784403-6954-4C51-B1A1-11ABC0F58A2A}" dt="2022-12-14T22:28:09.212" v="158"/>
        <pc:sldMkLst>
          <pc:docMk/>
          <pc:sldMk cId="416665568" sldId="2076138132"/>
        </pc:sldMkLst>
        <pc:spChg chg="del">
          <ac:chgData name="Jean GRANDEMANGE" userId="faf07584-8716-430e-b66d-4ceae2fe8450" providerId="ADAL" clId="{5E784403-6954-4C51-B1A1-11ABC0F58A2A}" dt="2022-12-14T22:20:20.142" v="16" actId="478"/>
          <ac:spMkLst>
            <pc:docMk/>
            <pc:sldMk cId="416665568" sldId="2076138132"/>
            <ac:spMk id="4" creationId="{E20769A7-AB3C-4458-8AD3-0F3611F0858B}"/>
          </ac:spMkLst>
        </pc:spChg>
        <pc:graphicFrameChg chg="mod modGraphic">
          <ac:chgData name="Jean GRANDEMANGE" userId="faf07584-8716-430e-b66d-4ceae2fe8450" providerId="ADAL" clId="{5E784403-6954-4C51-B1A1-11ABC0F58A2A}" dt="2022-12-14T22:28:09.212" v="158"/>
          <ac:graphicFrameMkLst>
            <pc:docMk/>
            <pc:sldMk cId="416665568" sldId="2076138132"/>
            <ac:graphicFrameMk id="5" creationId="{A256E0CB-2D6E-E1B2-3176-E40F23C27DB7}"/>
          </ac:graphicFrameMkLst>
        </pc:graphicFrameChg>
      </pc:sldChg>
      <pc:sldChg chg="modSp mod">
        <pc:chgData name="Jean GRANDEMANGE" userId="faf07584-8716-430e-b66d-4ceae2fe8450" providerId="ADAL" clId="{5E784403-6954-4C51-B1A1-11ABC0F58A2A}" dt="2022-12-15T05:28:46.161" v="160" actId="20577"/>
        <pc:sldMkLst>
          <pc:docMk/>
          <pc:sldMk cId="1301648618" sldId="2147469831"/>
        </pc:sldMkLst>
        <pc:spChg chg="mod">
          <ac:chgData name="Jean GRANDEMANGE" userId="faf07584-8716-430e-b66d-4ceae2fe8450" providerId="ADAL" clId="{5E784403-6954-4C51-B1A1-11ABC0F58A2A}" dt="2022-12-14T22:21:00.143" v="59" actId="13926"/>
          <ac:spMkLst>
            <pc:docMk/>
            <pc:sldMk cId="1301648618" sldId="2147469831"/>
            <ac:spMk id="7" creationId="{8FFDA8EC-8B79-4111-9A54-1FBA6FF78689}"/>
          </ac:spMkLst>
        </pc:spChg>
        <pc:spChg chg="mod">
          <ac:chgData name="Jean GRANDEMANGE" userId="faf07584-8716-430e-b66d-4ceae2fe8450" providerId="ADAL" clId="{5E784403-6954-4C51-B1A1-11ABC0F58A2A}" dt="2022-12-15T05:28:46.161" v="160" actId="20577"/>
          <ac:spMkLst>
            <pc:docMk/>
            <pc:sldMk cId="1301648618" sldId="2147469831"/>
            <ac:spMk id="9" creationId="{BD6433EC-D9EB-4716-B094-2038D14B5EE7}"/>
          </ac:spMkLst>
        </pc:spChg>
      </pc:sldChg>
      <pc:sldChg chg="modSp mod">
        <pc:chgData name="Jean GRANDEMANGE" userId="faf07584-8716-430e-b66d-4ceae2fe8450" providerId="ADAL" clId="{5E784403-6954-4C51-B1A1-11ABC0F58A2A}" dt="2022-12-14T22:25:30.227" v="139" actId="207"/>
        <pc:sldMkLst>
          <pc:docMk/>
          <pc:sldMk cId="1447889455" sldId="2147469859"/>
        </pc:sldMkLst>
        <pc:spChg chg="mod">
          <ac:chgData name="Jean GRANDEMANGE" userId="faf07584-8716-430e-b66d-4ceae2fe8450" providerId="ADAL" clId="{5E784403-6954-4C51-B1A1-11ABC0F58A2A}" dt="2022-12-14T22:25:30.227" v="139" actId="207"/>
          <ac:spMkLst>
            <pc:docMk/>
            <pc:sldMk cId="1447889455" sldId="2147469859"/>
            <ac:spMk id="2" creationId="{6F2E6D00-8047-4760-9239-06C0A3B71ECE}"/>
          </ac:spMkLst>
        </pc:spChg>
      </pc:sldChg>
      <pc:sldChg chg="modSp mod">
        <pc:chgData name="Jean GRANDEMANGE" userId="faf07584-8716-430e-b66d-4ceae2fe8450" providerId="ADAL" clId="{5E784403-6954-4C51-B1A1-11ABC0F58A2A}" dt="2022-12-14T22:22:45.017" v="138" actId="20577"/>
        <pc:sldMkLst>
          <pc:docMk/>
          <pc:sldMk cId="2536183223" sldId="2147469860"/>
        </pc:sldMkLst>
        <pc:spChg chg="mod">
          <ac:chgData name="Jean GRANDEMANGE" userId="faf07584-8716-430e-b66d-4ceae2fe8450" providerId="ADAL" clId="{5E784403-6954-4C51-B1A1-11ABC0F58A2A}" dt="2022-12-14T22:22:45.017" v="138" actId="20577"/>
          <ac:spMkLst>
            <pc:docMk/>
            <pc:sldMk cId="2536183223" sldId="2147469860"/>
            <ac:spMk id="5" creationId="{F5781F5D-A46B-498D-9BCE-84C0FDBA25EE}"/>
          </ac:spMkLst>
        </pc:spChg>
      </pc:sldChg>
    </pc:docChg>
  </pc:docChgLst>
  <pc:docChgLst>
    <pc:chgData name="Rodolphe GARABETIAN" userId="e7997f99-2964-44b6-a160-d8bc589f79c2" providerId="ADAL" clId="{0A3C2284-D98B-46A4-B35F-5BD7ABEB9467}"/>
    <pc:docChg chg="undo redo custSel addSld modSld sldOrd modSection">
      <pc:chgData name="Rodolphe GARABETIAN" userId="e7997f99-2964-44b6-a160-d8bc589f79c2" providerId="ADAL" clId="{0A3C2284-D98B-46A4-B35F-5BD7ABEB9467}" dt="2022-11-21T16:11:20.788" v="79" actId="27636"/>
      <pc:docMkLst>
        <pc:docMk/>
      </pc:docMkLst>
      <pc:sldChg chg="modSp add mod ord">
        <pc:chgData name="Rodolphe GARABETIAN" userId="e7997f99-2964-44b6-a160-d8bc589f79c2" providerId="ADAL" clId="{0A3C2284-D98B-46A4-B35F-5BD7ABEB9467}" dt="2022-11-21T16:11:20.788" v="79" actId="27636"/>
        <pc:sldMkLst>
          <pc:docMk/>
          <pc:sldMk cId="3928011031" sldId="2076138189"/>
        </pc:sldMkLst>
        <pc:spChg chg="mod">
          <ac:chgData name="Rodolphe GARABETIAN" userId="e7997f99-2964-44b6-a160-d8bc589f79c2" providerId="ADAL" clId="{0A3C2284-D98B-46A4-B35F-5BD7ABEB9467}" dt="2022-11-21T16:10:26.197" v="62" actId="20577"/>
          <ac:spMkLst>
            <pc:docMk/>
            <pc:sldMk cId="3928011031" sldId="2076138189"/>
            <ac:spMk id="29" creationId="{28B3D0A1-FE1C-4A96-BE99-7E60292CC3B3}"/>
          </ac:spMkLst>
        </pc:spChg>
        <pc:spChg chg="mod">
          <ac:chgData name="Rodolphe GARABETIAN" userId="e7997f99-2964-44b6-a160-d8bc589f79c2" providerId="ADAL" clId="{0A3C2284-D98B-46A4-B35F-5BD7ABEB9467}" dt="2022-11-21T16:11:20.788" v="79" actId="27636"/>
          <ac:spMkLst>
            <pc:docMk/>
            <pc:sldMk cId="3928011031" sldId="2076138189"/>
            <ac:spMk id="35" creationId="{B575BAC0-1618-4B33-A0A8-91858A61549D}"/>
          </ac:spMkLst>
        </pc:spChg>
        <pc:spChg chg="mod">
          <ac:chgData name="Rodolphe GARABETIAN" userId="e7997f99-2964-44b6-a160-d8bc589f79c2" providerId="ADAL" clId="{0A3C2284-D98B-46A4-B35F-5BD7ABEB9467}" dt="2022-11-21T16:10:56.114" v="71" actId="27636"/>
          <ac:spMkLst>
            <pc:docMk/>
            <pc:sldMk cId="3928011031" sldId="2076138189"/>
            <ac:spMk id="39" creationId="{ECE33F57-5CDE-4B20-9FCA-58BCEAB64F81}"/>
          </ac:spMkLst>
        </pc:spChg>
      </pc:sldChg>
    </pc:docChg>
  </pc:docChgLst>
  <pc:docChgLst>
    <pc:chgData name="Kawtar SADIQ" userId="S::kawtar.sadiq@talan.com::65df04e4-2d23-4bab-afb0-40df8a2c1b9f" providerId="AD" clId="Web-{24A9C3DA-4E09-1B37-FEE3-988854414E15}"/>
    <pc:docChg chg="modSld">
      <pc:chgData name="Kawtar SADIQ" userId="S::kawtar.sadiq@talan.com::65df04e4-2d23-4bab-afb0-40df8a2c1b9f" providerId="AD" clId="Web-{24A9C3DA-4E09-1B37-FEE3-988854414E15}" dt="2022-11-10T11:30:16.509" v="467"/>
      <pc:docMkLst>
        <pc:docMk/>
      </pc:docMkLst>
      <pc:sldChg chg="modSp">
        <pc:chgData name="Kawtar SADIQ" userId="S::kawtar.sadiq@talan.com::65df04e4-2d23-4bab-afb0-40df8a2c1b9f" providerId="AD" clId="Web-{24A9C3DA-4E09-1B37-FEE3-988854414E15}" dt="2022-11-10T11:30:16.509" v="467"/>
        <pc:sldMkLst>
          <pc:docMk/>
          <pc:sldMk cId="597395649" sldId="2076138151"/>
        </pc:sldMkLst>
        <pc:graphicFrameChg chg="mod modGraphic">
          <ac:chgData name="Kawtar SADIQ" userId="S::kawtar.sadiq@talan.com::65df04e4-2d23-4bab-afb0-40df8a2c1b9f" providerId="AD" clId="Web-{24A9C3DA-4E09-1B37-FEE3-988854414E15}" dt="2022-11-10T11:30:16.509" v="467"/>
          <ac:graphicFrameMkLst>
            <pc:docMk/>
            <pc:sldMk cId="597395649" sldId="2076138151"/>
            <ac:graphicFrameMk id="4" creationId="{56B5E6AA-A3D6-4848-B567-F17A8508B457}"/>
          </ac:graphicFrameMkLst>
        </pc:graphicFrameChg>
      </pc:sldChg>
    </pc:docChg>
  </pc:docChgLst>
  <pc:docChgLst>
    <pc:chgData name="Frederic DUGARD" userId="S::frederic.dugard@talan.com::ebe04564-57bb-4068-9573-4cbb1d4478de" providerId="AD" clId="Web-{14961D8B-5F65-474A-B9AA-8E8992AAC765}"/>
    <pc:docChg chg="addSld modSld modSection">
      <pc:chgData name="Frederic DUGARD" userId="S::frederic.dugard@talan.com::ebe04564-57bb-4068-9573-4cbb1d4478de" providerId="AD" clId="Web-{14961D8B-5F65-474A-B9AA-8E8992AAC765}" dt="2023-03-20T18:17:03.250" v="45" actId="20577"/>
      <pc:docMkLst>
        <pc:docMk/>
      </pc:docMkLst>
      <pc:sldChg chg="modSp add replId">
        <pc:chgData name="Frederic DUGARD" userId="S::frederic.dugard@talan.com::ebe04564-57bb-4068-9573-4cbb1d4478de" providerId="AD" clId="Web-{14961D8B-5F65-474A-B9AA-8E8992AAC765}" dt="2023-03-20T18:17:03.250" v="45" actId="20577"/>
        <pc:sldMkLst>
          <pc:docMk/>
          <pc:sldMk cId="3135886888" sldId="2147470013"/>
        </pc:sldMkLst>
        <pc:spChg chg="mod">
          <ac:chgData name="Frederic DUGARD" userId="S::frederic.dugard@talan.com::ebe04564-57bb-4068-9573-4cbb1d4478de" providerId="AD" clId="Web-{14961D8B-5F65-474A-B9AA-8E8992AAC765}" dt="2023-03-20T18:17:03.250" v="45" actId="20577"/>
          <ac:spMkLst>
            <pc:docMk/>
            <pc:sldMk cId="3135886888" sldId="2147470013"/>
            <ac:spMk id="6" creationId="{3655B0AE-143E-4B44-090E-E5F2E4F16D55}"/>
          </ac:spMkLst>
        </pc:spChg>
      </pc:sldChg>
    </pc:docChg>
  </pc:docChgLst>
  <pc:docChgLst>
    <pc:chgData name="Simone NERI" userId="S::simone.neri@talan.com::2a00f2ad-68d9-45e6-b604-268bfad9cc5e" providerId="AD" clId="Web-{7F7E6B4C-E54D-2286-E494-3632C1603957}"/>
    <pc:docChg chg="">
      <pc:chgData name="Simone NERI" userId="S::simone.neri@talan.com::2a00f2ad-68d9-45e6-b604-268bfad9cc5e" providerId="AD" clId="Web-{7F7E6B4C-E54D-2286-E494-3632C1603957}" dt="2023-03-03T16:13:34.252" v="1"/>
      <pc:docMkLst>
        <pc:docMk/>
      </pc:docMkLst>
      <pc:sldChg chg="modCm">
        <pc:chgData name="Simone NERI" userId="S::simone.neri@talan.com::2a00f2ad-68d9-45e6-b604-268bfad9cc5e" providerId="AD" clId="Web-{7F7E6B4C-E54D-2286-E494-3632C1603957}" dt="2023-03-03T16:13:34.252" v="1"/>
        <pc:sldMkLst>
          <pc:docMk/>
          <pc:sldMk cId="107605304" sldId="2147469980"/>
        </pc:sldMkLst>
        <pc:extLst>
          <p:ext xmlns:p="http://schemas.openxmlformats.org/presentationml/2006/main" uri="{D6D511B9-2390-475A-947B-AFAB55BFBCF1}">
            <pc226:cmChg xmlns:pc226="http://schemas.microsoft.com/office/powerpoint/2022/06/main/command" chg="">
              <pc226:chgData name="Simone NERI" userId="S::simone.neri@talan.com::2a00f2ad-68d9-45e6-b604-268bfad9cc5e" providerId="AD" clId="Web-{7F7E6B4C-E54D-2286-E494-3632C1603957}" dt="2023-03-03T16:13:24.033" v="0"/>
              <pc2:cmMkLst xmlns:pc2="http://schemas.microsoft.com/office/powerpoint/2019/9/main/command">
                <pc:docMk/>
                <pc:sldMk cId="107605304" sldId="2147469980"/>
                <pc2:cmMk id="{E64F260C-A841-45B7-813A-BEEEA1FC8B80}"/>
              </pc2:cmMkLst>
              <pc226:cmRplyChg chg="add">
                <pc226:chgData name="Simone NERI" userId="S::simone.neri@talan.com::2a00f2ad-68d9-45e6-b604-268bfad9cc5e" providerId="AD" clId="Web-{7F7E6B4C-E54D-2286-E494-3632C1603957}" dt="2023-03-03T16:13:24.033" v="0"/>
                <pc2:cmRplyMkLst xmlns:pc2="http://schemas.microsoft.com/office/powerpoint/2019/9/main/command">
                  <pc:docMk/>
                  <pc:sldMk cId="107605304" sldId="2147469980"/>
                  <pc2:cmMk id="{E64F260C-A841-45B7-813A-BEEEA1FC8B80}"/>
                  <pc2:cmRplyMk id="{C208F6DB-5F40-43EB-90FB-6D7908F496D0}"/>
                </pc2:cmRplyMkLst>
              </pc226:cmRplyChg>
            </pc226:cmChg>
            <pc226:cmChg xmlns:pc226="http://schemas.microsoft.com/office/powerpoint/2022/06/main/command" chg="">
              <pc226:chgData name="Simone NERI" userId="S::simone.neri@talan.com::2a00f2ad-68d9-45e6-b604-268bfad9cc5e" providerId="AD" clId="Web-{7F7E6B4C-E54D-2286-E494-3632C1603957}" dt="2023-03-03T16:13:34.252" v="1"/>
              <pc2:cmMkLst xmlns:pc2="http://schemas.microsoft.com/office/powerpoint/2019/9/main/command">
                <pc:docMk/>
                <pc:sldMk cId="107605304" sldId="2147469980"/>
                <pc2:cmMk id="{8F19BE58-95ED-42C9-87F8-29C7B040B058}"/>
              </pc2:cmMkLst>
              <pc226:cmRplyChg chg="add">
                <pc226:chgData name="Simone NERI" userId="S::simone.neri@talan.com::2a00f2ad-68d9-45e6-b604-268bfad9cc5e" providerId="AD" clId="Web-{7F7E6B4C-E54D-2286-E494-3632C1603957}" dt="2023-03-03T16:13:34.252" v="1"/>
                <pc2:cmRplyMkLst xmlns:pc2="http://schemas.microsoft.com/office/powerpoint/2019/9/main/command">
                  <pc:docMk/>
                  <pc:sldMk cId="107605304" sldId="2147469980"/>
                  <pc2:cmMk id="{8F19BE58-95ED-42C9-87F8-29C7B040B058}"/>
                  <pc2:cmRplyMk id="{23610575-8691-4187-A3E5-A3124CEB98BA}"/>
                </pc2:cmRplyMkLst>
              </pc226:cmRplyChg>
            </pc226:cmChg>
          </p:ext>
        </pc:extLst>
      </pc:sldChg>
    </pc:docChg>
  </pc:docChgLst>
  <pc:docChgLst>
    <pc:chgData name="Frédéric NGUYEN KIM" userId="S::frederic.nguyen-kim@talan.com::91a3dcbd-d60c-40ca-842f-e84e51d3b939" providerId="AD" clId="Web-{014D9A23-CC00-49BE-545C-0D76C81C3D6A}"/>
    <pc:docChg chg="addSld delSld modSld addMainMaster modMainMaster modSection">
      <pc:chgData name="Frédéric NGUYEN KIM" userId="S::frederic.nguyen-kim@talan.com::91a3dcbd-d60c-40ca-842f-e84e51d3b939" providerId="AD" clId="Web-{014D9A23-CC00-49BE-545C-0D76C81C3D6A}" dt="2023-02-27T20:51:13.436" v="127"/>
      <pc:docMkLst>
        <pc:docMk/>
      </pc:docMkLst>
      <pc:sldChg chg="addSp delSp modSp mod modClrScheme addAnim delAnim chgLayout">
        <pc:chgData name="Frédéric NGUYEN KIM" userId="S::frederic.nguyen-kim@talan.com::91a3dcbd-d60c-40ca-842f-e84e51d3b939" providerId="AD" clId="Web-{014D9A23-CC00-49BE-545C-0D76C81C3D6A}" dt="2023-02-27T20:47:35.555" v="125"/>
        <pc:sldMkLst>
          <pc:docMk/>
          <pc:sldMk cId="3260995176" sldId="2147469875"/>
        </pc:sldMkLst>
        <pc:spChg chg="mod ord">
          <ac:chgData name="Frédéric NGUYEN KIM" userId="S::frederic.nguyen-kim@talan.com::91a3dcbd-d60c-40ca-842f-e84e51d3b939" providerId="AD" clId="Web-{014D9A23-CC00-49BE-545C-0D76C81C3D6A}" dt="2023-02-27T20:43:13.875" v="18"/>
          <ac:spMkLst>
            <pc:docMk/>
            <pc:sldMk cId="3260995176" sldId="2147469875"/>
            <ac:spMk id="2" creationId="{815C57AF-169F-4314-AC66-D8269E11F446}"/>
          </ac:spMkLst>
        </pc:spChg>
        <pc:spChg chg="del">
          <ac:chgData name="Frédéric NGUYEN KIM" userId="S::frederic.nguyen-kim@talan.com::91a3dcbd-d60c-40ca-842f-e84e51d3b939" providerId="AD" clId="Web-{014D9A23-CC00-49BE-545C-0D76C81C3D6A}" dt="2023-02-27T20:41:49.779" v="13"/>
          <ac:spMkLst>
            <pc:docMk/>
            <pc:sldMk cId="3260995176" sldId="2147469875"/>
            <ac:spMk id="4" creationId="{6882A59F-6EE2-4407-8E74-F5413BFA6577}"/>
          </ac:spMkLst>
        </pc:spChg>
        <pc:spChg chg="del">
          <ac:chgData name="Frédéric NGUYEN KIM" userId="S::frederic.nguyen-kim@talan.com::91a3dcbd-d60c-40ca-842f-e84e51d3b939" providerId="AD" clId="Web-{014D9A23-CC00-49BE-545C-0D76C81C3D6A}" dt="2023-02-27T20:41:49.779" v="11"/>
          <ac:spMkLst>
            <pc:docMk/>
            <pc:sldMk cId="3260995176" sldId="2147469875"/>
            <ac:spMk id="6" creationId="{A7C41E1C-1D4E-46DA-8A03-D8A990CD8622}"/>
          </ac:spMkLst>
        </pc:spChg>
        <pc:spChg chg="del">
          <ac:chgData name="Frédéric NGUYEN KIM" userId="S::frederic.nguyen-kim@talan.com::91a3dcbd-d60c-40ca-842f-e84e51d3b939" providerId="AD" clId="Web-{014D9A23-CC00-49BE-545C-0D76C81C3D6A}" dt="2023-02-27T20:41:49.779" v="10"/>
          <ac:spMkLst>
            <pc:docMk/>
            <pc:sldMk cId="3260995176" sldId="2147469875"/>
            <ac:spMk id="7" creationId="{E9A7B7B9-F356-474D-A147-16E0531A1B84}"/>
          </ac:spMkLst>
        </pc:spChg>
        <pc:spChg chg="del">
          <ac:chgData name="Frédéric NGUYEN KIM" userId="S::frederic.nguyen-kim@talan.com::91a3dcbd-d60c-40ca-842f-e84e51d3b939" providerId="AD" clId="Web-{014D9A23-CC00-49BE-545C-0D76C81C3D6A}" dt="2023-02-27T20:41:49.779" v="9"/>
          <ac:spMkLst>
            <pc:docMk/>
            <pc:sldMk cId="3260995176" sldId="2147469875"/>
            <ac:spMk id="8" creationId="{1EF462B9-7576-442E-96A8-3F544DAF1738}"/>
          </ac:spMkLst>
        </pc:spChg>
        <pc:spChg chg="del">
          <ac:chgData name="Frédéric NGUYEN KIM" userId="S::frederic.nguyen-kim@talan.com::91a3dcbd-d60c-40ca-842f-e84e51d3b939" providerId="AD" clId="Web-{014D9A23-CC00-49BE-545C-0D76C81C3D6A}" dt="2023-02-27T20:41:49.779" v="8"/>
          <ac:spMkLst>
            <pc:docMk/>
            <pc:sldMk cId="3260995176" sldId="2147469875"/>
            <ac:spMk id="9" creationId="{AD5B82E5-C91F-4D2B-84D2-A24EDBD19DD7}"/>
          </ac:spMkLst>
        </pc:spChg>
        <pc:spChg chg="del">
          <ac:chgData name="Frédéric NGUYEN KIM" userId="S::frederic.nguyen-kim@talan.com::91a3dcbd-d60c-40ca-842f-e84e51d3b939" providerId="AD" clId="Web-{014D9A23-CC00-49BE-545C-0D76C81C3D6A}" dt="2023-02-27T20:41:49.779" v="6"/>
          <ac:spMkLst>
            <pc:docMk/>
            <pc:sldMk cId="3260995176" sldId="2147469875"/>
            <ac:spMk id="11" creationId="{69D07BC0-A717-46AA-9AA0-DCD6625874A6}"/>
          </ac:spMkLst>
        </pc:spChg>
        <pc:spChg chg="del">
          <ac:chgData name="Frédéric NGUYEN KIM" userId="S::frederic.nguyen-kim@talan.com::91a3dcbd-d60c-40ca-842f-e84e51d3b939" providerId="AD" clId="Web-{014D9A23-CC00-49BE-545C-0D76C81C3D6A}" dt="2023-02-27T20:41:49.748" v="5"/>
          <ac:spMkLst>
            <pc:docMk/>
            <pc:sldMk cId="3260995176" sldId="2147469875"/>
            <ac:spMk id="12" creationId="{96565144-A0FF-4E2B-9AB6-534C906FE573}"/>
          </ac:spMkLst>
        </pc:spChg>
        <pc:spChg chg="del">
          <ac:chgData name="Frédéric NGUYEN KIM" userId="S::frederic.nguyen-kim@talan.com::91a3dcbd-d60c-40ca-842f-e84e51d3b939" providerId="AD" clId="Web-{014D9A23-CC00-49BE-545C-0D76C81C3D6A}" dt="2023-02-27T20:41:49.748" v="4"/>
          <ac:spMkLst>
            <pc:docMk/>
            <pc:sldMk cId="3260995176" sldId="2147469875"/>
            <ac:spMk id="13" creationId="{B653E91B-2C40-46C7-8B38-D5374430EE79}"/>
          </ac:spMkLst>
        </pc:spChg>
        <pc:spChg chg="del">
          <ac:chgData name="Frédéric NGUYEN KIM" userId="S::frederic.nguyen-kim@talan.com::91a3dcbd-d60c-40ca-842f-e84e51d3b939" providerId="AD" clId="Web-{014D9A23-CC00-49BE-545C-0D76C81C3D6A}" dt="2023-02-27T20:41:49.748" v="3"/>
          <ac:spMkLst>
            <pc:docMk/>
            <pc:sldMk cId="3260995176" sldId="2147469875"/>
            <ac:spMk id="14" creationId="{E6F48E1B-7190-4770-825C-EC9615FD7111}"/>
          </ac:spMkLst>
        </pc:spChg>
        <pc:spChg chg="del">
          <ac:chgData name="Frédéric NGUYEN KIM" userId="S::frederic.nguyen-kim@talan.com::91a3dcbd-d60c-40ca-842f-e84e51d3b939" providerId="AD" clId="Web-{014D9A23-CC00-49BE-545C-0D76C81C3D6A}" dt="2023-02-27T20:41:49.748" v="1"/>
          <ac:spMkLst>
            <pc:docMk/>
            <pc:sldMk cId="3260995176" sldId="2147469875"/>
            <ac:spMk id="16" creationId="{CABD472D-CB84-4F38-9A63-95B830C9FC08}"/>
          </ac:spMkLst>
        </pc:spChg>
        <pc:spChg chg="add del mod ord">
          <ac:chgData name="Frédéric NGUYEN KIM" userId="S::frederic.nguyen-kim@talan.com::91a3dcbd-d60c-40ca-842f-e84e51d3b939" providerId="AD" clId="Web-{014D9A23-CC00-49BE-545C-0D76C81C3D6A}" dt="2023-02-27T20:43:13.875" v="18"/>
          <ac:spMkLst>
            <pc:docMk/>
            <pc:sldMk cId="3260995176" sldId="2147469875"/>
            <ac:spMk id="17" creationId="{A2C6D698-9A7E-8352-6886-69A5C0CBFF39}"/>
          </ac:spMkLst>
        </pc:spChg>
        <pc:spChg chg="add del mod ord">
          <ac:chgData name="Frédéric NGUYEN KIM" userId="S::frederic.nguyen-kim@talan.com::91a3dcbd-d60c-40ca-842f-e84e51d3b939" providerId="AD" clId="Web-{014D9A23-CC00-49BE-545C-0D76C81C3D6A}" dt="2023-02-27T20:43:13.875" v="18"/>
          <ac:spMkLst>
            <pc:docMk/>
            <pc:sldMk cId="3260995176" sldId="2147469875"/>
            <ac:spMk id="18" creationId="{F3E153EB-9524-0F9F-1070-EA5CCBC3383F}"/>
          </ac:spMkLst>
        </pc:spChg>
        <pc:spChg chg="add">
          <ac:chgData name="Frédéric NGUYEN KIM" userId="S::frederic.nguyen-kim@talan.com::91a3dcbd-d60c-40ca-842f-e84e51d3b939" providerId="AD" clId="Web-{014D9A23-CC00-49BE-545C-0D76C81C3D6A}" dt="2023-02-27T20:43:27.376" v="19"/>
          <ac:spMkLst>
            <pc:docMk/>
            <pc:sldMk cId="3260995176" sldId="2147469875"/>
            <ac:spMk id="20" creationId="{019007E8-23CC-DFCF-45AC-BB85CD9EED1C}"/>
          </ac:spMkLst>
        </pc:spChg>
        <pc:spChg chg="add">
          <ac:chgData name="Frédéric NGUYEN KIM" userId="S::frederic.nguyen-kim@talan.com::91a3dcbd-d60c-40ca-842f-e84e51d3b939" providerId="AD" clId="Web-{014D9A23-CC00-49BE-545C-0D76C81C3D6A}" dt="2023-02-27T20:43:27.579" v="20"/>
          <ac:spMkLst>
            <pc:docMk/>
            <pc:sldMk cId="3260995176" sldId="2147469875"/>
            <ac:spMk id="22" creationId="{6AC13B9B-39D1-9B25-96B5-61592D13EB1C}"/>
          </ac:spMkLst>
        </pc:spChg>
        <pc:spChg chg="add">
          <ac:chgData name="Frédéric NGUYEN KIM" userId="S::frederic.nguyen-kim@talan.com::91a3dcbd-d60c-40ca-842f-e84e51d3b939" providerId="AD" clId="Web-{014D9A23-CC00-49BE-545C-0D76C81C3D6A}" dt="2023-02-27T20:43:27.782" v="21"/>
          <ac:spMkLst>
            <pc:docMk/>
            <pc:sldMk cId="3260995176" sldId="2147469875"/>
            <ac:spMk id="24" creationId="{677D79F5-742B-2216-BD71-5D4B0890B911}"/>
          </ac:spMkLst>
        </pc:spChg>
        <pc:spChg chg="add">
          <ac:chgData name="Frédéric NGUYEN KIM" userId="S::frederic.nguyen-kim@talan.com::91a3dcbd-d60c-40ca-842f-e84e51d3b939" providerId="AD" clId="Web-{014D9A23-CC00-49BE-545C-0D76C81C3D6A}" dt="2023-02-27T20:43:27.985" v="22"/>
          <ac:spMkLst>
            <pc:docMk/>
            <pc:sldMk cId="3260995176" sldId="2147469875"/>
            <ac:spMk id="26" creationId="{8B59AA50-BB7B-0B49-10AC-D0A958A24188}"/>
          </ac:spMkLst>
        </pc:spChg>
        <pc:spChg chg="add">
          <ac:chgData name="Frédéric NGUYEN KIM" userId="S::frederic.nguyen-kim@talan.com::91a3dcbd-d60c-40ca-842f-e84e51d3b939" providerId="AD" clId="Web-{014D9A23-CC00-49BE-545C-0D76C81C3D6A}" dt="2023-02-27T20:43:28.391" v="24"/>
          <ac:spMkLst>
            <pc:docMk/>
            <pc:sldMk cId="3260995176" sldId="2147469875"/>
            <ac:spMk id="30" creationId="{576DCF9A-2C9D-4333-794C-BC31EA2889E5}"/>
          </ac:spMkLst>
        </pc:spChg>
        <pc:spChg chg="add">
          <ac:chgData name="Frédéric NGUYEN KIM" userId="S::frederic.nguyen-kim@talan.com::91a3dcbd-d60c-40ca-842f-e84e51d3b939" providerId="AD" clId="Web-{014D9A23-CC00-49BE-545C-0D76C81C3D6A}" dt="2023-02-27T20:43:28.610" v="25"/>
          <ac:spMkLst>
            <pc:docMk/>
            <pc:sldMk cId="3260995176" sldId="2147469875"/>
            <ac:spMk id="32" creationId="{6AAF635A-DE89-ADFE-80D1-A603527CA79A}"/>
          </ac:spMkLst>
        </pc:spChg>
        <pc:spChg chg="add">
          <ac:chgData name="Frédéric NGUYEN KIM" userId="S::frederic.nguyen-kim@talan.com::91a3dcbd-d60c-40ca-842f-e84e51d3b939" providerId="AD" clId="Web-{014D9A23-CC00-49BE-545C-0D76C81C3D6A}" dt="2023-02-27T20:43:28.829" v="26"/>
          <ac:spMkLst>
            <pc:docMk/>
            <pc:sldMk cId="3260995176" sldId="2147469875"/>
            <ac:spMk id="34" creationId="{758CC489-0B19-74BC-44E2-921AB893BA51}"/>
          </ac:spMkLst>
        </pc:spChg>
        <pc:spChg chg="add">
          <ac:chgData name="Frédéric NGUYEN KIM" userId="S::frederic.nguyen-kim@talan.com::91a3dcbd-d60c-40ca-842f-e84e51d3b939" providerId="AD" clId="Web-{014D9A23-CC00-49BE-545C-0D76C81C3D6A}" dt="2023-02-27T20:43:29.266" v="28"/>
          <ac:spMkLst>
            <pc:docMk/>
            <pc:sldMk cId="3260995176" sldId="2147469875"/>
            <ac:spMk id="47" creationId="{161E1FB8-05FA-C535-E6A8-99273C98F484}"/>
          </ac:spMkLst>
        </pc:spChg>
        <pc:spChg chg="add">
          <ac:chgData name="Frédéric NGUYEN KIM" userId="S::frederic.nguyen-kim@talan.com::91a3dcbd-d60c-40ca-842f-e84e51d3b939" providerId="AD" clId="Web-{014D9A23-CC00-49BE-545C-0D76C81C3D6A}" dt="2023-02-27T20:43:29.485" v="29"/>
          <ac:spMkLst>
            <pc:docMk/>
            <pc:sldMk cId="3260995176" sldId="2147469875"/>
            <ac:spMk id="49" creationId="{3EE8FDA8-E3D4-77FA-C3A3-EA717C7B4646}"/>
          </ac:spMkLst>
        </pc:spChg>
        <pc:spChg chg="add">
          <ac:chgData name="Frédéric NGUYEN KIM" userId="S::frederic.nguyen-kim@talan.com::91a3dcbd-d60c-40ca-842f-e84e51d3b939" providerId="AD" clId="Web-{014D9A23-CC00-49BE-545C-0D76C81C3D6A}" dt="2023-02-27T20:43:29.688" v="30"/>
          <ac:spMkLst>
            <pc:docMk/>
            <pc:sldMk cId="3260995176" sldId="2147469875"/>
            <ac:spMk id="51" creationId="{536FF69F-1BDC-8158-E2EA-99085655AED0}"/>
          </ac:spMkLst>
        </pc:spChg>
        <pc:spChg chg="add">
          <ac:chgData name="Frédéric NGUYEN KIM" userId="S::frederic.nguyen-kim@talan.com::91a3dcbd-d60c-40ca-842f-e84e51d3b939" providerId="AD" clId="Web-{014D9A23-CC00-49BE-545C-0D76C81C3D6A}" dt="2023-02-27T20:43:29.923" v="31"/>
          <ac:spMkLst>
            <pc:docMk/>
            <pc:sldMk cId="3260995176" sldId="2147469875"/>
            <ac:spMk id="53" creationId="{62243F49-73BD-BD7D-A2B4-D83C69A88207}"/>
          </ac:spMkLst>
        </pc:spChg>
        <pc:spChg chg="add">
          <ac:chgData name="Frédéric NGUYEN KIM" userId="S::frederic.nguyen-kim@talan.com::91a3dcbd-d60c-40ca-842f-e84e51d3b939" providerId="AD" clId="Web-{014D9A23-CC00-49BE-545C-0D76C81C3D6A}" dt="2023-02-27T20:43:30.126" v="32"/>
          <ac:spMkLst>
            <pc:docMk/>
            <pc:sldMk cId="3260995176" sldId="2147469875"/>
            <ac:spMk id="55" creationId="{312C5AAF-59AE-43FA-5BAC-EC1ECCD42B62}"/>
          </ac:spMkLst>
        </pc:spChg>
        <pc:spChg chg="add">
          <ac:chgData name="Frédéric NGUYEN KIM" userId="S::frederic.nguyen-kim@talan.com::91a3dcbd-d60c-40ca-842f-e84e51d3b939" providerId="AD" clId="Web-{014D9A23-CC00-49BE-545C-0D76C81C3D6A}" dt="2023-02-27T20:43:30.344" v="33"/>
          <ac:spMkLst>
            <pc:docMk/>
            <pc:sldMk cId="3260995176" sldId="2147469875"/>
            <ac:spMk id="57" creationId="{314BE459-78E2-4DE6-327B-DCD66D320F0B}"/>
          </ac:spMkLst>
        </pc:spChg>
        <pc:spChg chg="add">
          <ac:chgData name="Frédéric NGUYEN KIM" userId="S::frederic.nguyen-kim@talan.com::91a3dcbd-d60c-40ca-842f-e84e51d3b939" providerId="AD" clId="Web-{014D9A23-CC00-49BE-545C-0D76C81C3D6A}" dt="2023-02-27T20:43:30.579" v="34"/>
          <ac:spMkLst>
            <pc:docMk/>
            <pc:sldMk cId="3260995176" sldId="2147469875"/>
            <ac:spMk id="59" creationId="{577ECD0B-035C-6CF9-7CCB-6D134DF366CC}"/>
          </ac:spMkLst>
        </pc:spChg>
        <pc:spChg chg="add">
          <ac:chgData name="Frédéric NGUYEN KIM" userId="S::frederic.nguyen-kim@talan.com::91a3dcbd-d60c-40ca-842f-e84e51d3b939" providerId="AD" clId="Web-{014D9A23-CC00-49BE-545C-0D76C81C3D6A}" dt="2023-02-27T20:43:30.798" v="35"/>
          <ac:spMkLst>
            <pc:docMk/>
            <pc:sldMk cId="3260995176" sldId="2147469875"/>
            <ac:spMk id="61" creationId="{60784AFE-1D29-E896-35FF-7022A6DACB4F}"/>
          </ac:spMkLst>
        </pc:spChg>
        <pc:spChg chg="add">
          <ac:chgData name="Frédéric NGUYEN KIM" userId="S::frederic.nguyen-kim@talan.com::91a3dcbd-d60c-40ca-842f-e84e51d3b939" providerId="AD" clId="Web-{014D9A23-CC00-49BE-545C-0D76C81C3D6A}" dt="2023-02-27T20:43:31.032" v="36"/>
          <ac:spMkLst>
            <pc:docMk/>
            <pc:sldMk cId="3260995176" sldId="2147469875"/>
            <ac:spMk id="63" creationId="{79B2CE08-BD4D-017E-28A0-1A7722AC7D8B}"/>
          </ac:spMkLst>
        </pc:spChg>
        <pc:spChg chg="add">
          <ac:chgData name="Frédéric NGUYEN KIM" userId="S::frederic.nguyen-kim@talan.com::91a3dcbd-d60c-40ca-842f-e84e51d3b939" providerId="AD" clId="Web-{014D9A23-CC00-49BE-545C-0D76C81C3D6A}" dt="2023-02-27T20:43:31.266" v="37"/>
          <ac:spMkLst>
            <pc:docMk/>
            <pc:sldMk cId="3260995176" sldId="2147469875"/>
            <ac:spMk id="65" creationId="{4E6FF14D-338D-FDEB-228E-4F6727701892}"/>
          </ac:spMkLst>
        </pc:spChg>
        <pc:spChg chg="add">
          <ac:chgData name="Frédéric NGUYEN KIM" userId="S::frederic.nguyen-kim@talan.com::91a3dcbd-d60c-40ca-842f-e84e51d3b939" providerId="AD" clId="Web-{014D9A23-CC00-49BE-545C-0D76C81C3D6A}" dt="2023-02-27T20:43:31.485" v="38"/>
          <ac:spMkLst>
            <pc:docMk/>
            <pc:sldMk cId="3260995176" sldId="2147469875"/>
            <ac:spMk id="67" creationId="{7115B209-6C5B-14C5-EDB6-15682F7D2477}"/>
          </ac:spMkLst>
        </pc:spChg>
        <pc:spChg chg="add">
          <ac:chgData name="Frédéric NGUYEN KIM" userId="S::frederic.nguyen-kim@talan.com::91a3dcbd-d60c-40ca-842f-e84e51d3b939" providerId="AD" clId="Web-{014D9A23-CC00-49BE-545C-0D76C81C3D6A}" dt="2023-02-27T20:43:32.266" v="41"/>
          <ac:spMkLst>
            <pc:docMk/>
            <pc:sldMk cId="3260995176" sldId="2147469875"/>
            <ac:spMk id="111" creationId="{CDB3049C-6C3A-E881-78FB-B000571E9B9C}"/>
          </ac:spMkLst>
        </pc:spChg>
        <pc:spChg chg="add">
          <ac:chgData name="Frédéric NGUYEN KIM" userId="S::frederic.nguyen-kim@talan.com::91a3dcbd-d60c-40ca-842f-e84e51d3b939" providerId="AD" clId="Web-{014D9A23-CC00-49BE-545C-0D76C81C3D6A}" dt="2023-02-27T20:43:32.501" v="42"/>
          <ac:spMkLst>
            <pc:docMk/>
            <pc:sldMk cId="3260995176" sldId="2147469875"/>
            <ac:spMk id="113" creationId="{196ADAEB-A615-EFFE-7732-7D7EC9E53C55}"/>
          </ac:spMkLst>
        </pc:spChg>
        <pc:spChg chg="add">
          <ac:chgData name="Frédéric NGUYEN KIM" userId="S::frederic.nguyen-kim@talan.com::91a3dcbd-d60c-40ca-842f-e84e51d3b939" providerId="AD" clId="Web-{014D9A23-CC00-49BE-545C-0D76C81C3D6A}" dt="2023-02-27T20:43:32.735" v="43"/>
          <ac:spMkLst>
            <pc:docMk/>
            <pc:sldMk cId="3260995176" sldId="2147469875"/>
            <ac:spMk id="115" creationId="{652621C4-8EAB-5A2D-5AE5-7503E4D19439}"/>
          </ac:spMkLst>
        </pc:spChg>
        <pc:spChg chg="add">
          <ac:chgData name="Frédéric NGUYEN KIM" userId="S::frederic.nguyen-kim@talan.com::91a3dcbd-d60c-40ca-842f-e84e51d3b939" providerId="AD" clId="Web-{014D9A23-CC00-49BE-545C-0D76C81C3D6A}" dt="2023-02-27T20:43:32.970" v="44"/>
          <ac:spMkLst>
            <pc:docMk/>
            <pc:sldMk cId="3260995176" sldId="2147469875"/>
            <ac:spMk id="117" creationId="{1D514AD5-D61E-7E73-25E4-D66C7ED6A0FF}"/>
          </ac:spMkLst>
        </pc:spChg>
        <pc:spChg chg="add del">
          <ac:chgData name="Frédéric NGUYEN KIM" userId="S::frederic.nguyen-kim@talan.com::91a3dcbd-d60c-40ca-842f-e84e51d3b939" providerId="AD" clId="Web-{014D9A23-CC00-49BE-545C-0D76C81C3D6A}" dt="2023-02-27T20:44:05.064" v="122"/>
          <ac:spMkLst>
            <pc:docMk/>
            <pc:sldMk cId="3260995176" sldId="2147469875"/>
            <ac:spMk id="119" creationId="{0595BBB2-844F-6566-3464-7CDE859A7DD0}"/>
          </ac:spMkLst>
        </pc:spChg>
        <pc:spChg chg="add del">
          <ac:chgData name="Frédéric NGUYEN KIM" userId="S::frederic.nguyen-kim@talan.com::91a3dcbd-d60c-40ca-842f-e84e51d3b939" providerId="AD" clId="Web-{014D9A23-CC00-49BE-545C-0D76C81C3D6A}" dt="2023-02-27T20:44:05.064" v="121"/>
          <ac:spMkLst>
            <pc:docMk/>
            <pc:sldMk cId="3260995176" sldId="2147469875"/>
            <ac:spMk id="121" creationId="{DA094347-B024-D416-5DE2-20948C5D565E}"/>
          </ac:spMkLst>
        </pc:spChg>
        <pc:spChg chg="add del">
          <ac:chgData name="Frédéric NGUYEN KIM" userId="S::frederic.nguyen-kim@talan.com::91a3dcbd-d60c-40ca-842f-e84e51d3b939" providerId="AD" clId="Web-{014D9A23-CC00-49BE-545C-0D76C81C3D6A}" dt="2023-02-27T20:44:05.049" v="120"/>
          <ac:spMkLst>
            <pc:docMk/>
            <pc:sldMk cId="3260995176" sldId="2147469875"/>
            <ac:spMk id="123" creationId="{9ED558BB-BA2F-DDE6-CCB2-64259358D134}"/>
          </ac:spMkLst>
        </pc:spChg>
        <pc:spChg chg="add del">
          <ac:chgData name="Frédéric NGUYEN KIM" userId="S::frederic.nguyen-kim@talan.com::91a3dcbd-d60c-40ca-842f-e84e51d3b939" providerId="AD" clId="Web-{014D9A23-CC00-49BE-545C-0D76C81C3D6A}" dt="2023-02-27T20:44:05.049" v="119"/>
          <ac:spMkLst>
            <pc:docMk/>
            <pc:sldMk cId="3260995176" sldId="2147469875"/>
            <ac:spMk id="125" creationId="{7306519B-CEF9-A3AE-E8F9-716DE0F66940}"/>
          </ac:spMkLst>
        </pc:spChg>
        <pc:spChg chg="add del">
          <ac:chgData name="Frédéric NGUYEN KIM" userId="S::frederic.nguyen-kim@talan.com::91a3dcbd-d60c-40ca-842f-e84e51d3b939" providerId="AD" clId="Web-{014D9A23-CC00-49BE-545C-0D76C81C3D6A}" dt="2023-02-27T20:44:05.049" v="117"/>
          <ac:spMkLst>
            <pc:docMk/>
            <pc:sldMk cId="3260995176" sldId="2147469875"/>
            <ac:spMk id="129" creationId="{487AA080-6A6E-6761-5A3E-7DCA339E9F0E}"/>
          </ac:spMkLst>
        </pc:spChg>
        <pc:spChg chg="add del">
          <ac:chgData name="Frédéric NGUYEN KIM" userId="S::frederic.nguyen-kim@talan.com::91a3dcbd-d60c-40ca-842f-e84e51d3b939" providerId="AD" clId="Web-{014D9A23-CC00-49BE-545C-0D76C81C3D6A}" dt="2023-02-27T20:44:05.049" v="116"/>
          <ac:spMkLst>
            <pc:docMk/>
            <pc:sldMk cId="3260995176" sldId="2147469875"/>
            <ac:spMk id="131" creationId="{2FE5DC94-81EA-5FF8-AEC5-EB53871C4ECD}"/>
          </ac:spMkLst>
        </pc:spChg>
        <pc:spChg chg="add del">
          <ac:chgData name="Frédéric NGUYEN KIM" userId="S::frederic.nguyen-kim@talan.com::91a3dcbd-d60c-40ca-842f-e84e51d3b939" providerId="AD" clId="Web-{014D9A23-CC00-49BE-545C-0D76C81C3D6A}" dt="2023-02-27T20:44:05.049" v="115"/>
          <ac:spMkLst>
            <pc:docMk/>
            <pc:sldMk cId="3260995176" sldId="2147469875"/>
            <ac:spMk id="133" creationId="{9BF804E4-3D5B-A3B9-A58B-305B9CE94A8F}"/>
          </ac:spMkLst>
        </pc:spChg>
        <pc:spChg chg="add del">
          <ac:chgData name="Frédéric NGUYEN KIM" userId="S::frederic.nguyen-kim@talan.com::91a3dcbd-d60c-40ca-842f-e84e51d3b939" providerId="AD" clId="Web-{014D9A23-CC00-49BE-545C-0D76C81C3D6A}" dt="2023-02-27T20:44:05.049" v="113"/>
          <ac:spMkLst>
            <pc:docMk/>
            <pc:sldMk cId="3260995176" sldId="2147469875"/>
            <ac:spMk id="146" creationId="{6C5AA977-1B6F-170B-9D2A-D3152019D99C}"/>
          </ac:spMkLst>
        </pc:spChg>
        <pc:spChg chg="add del">
          <ac:chgData name="Frédéric NGUYEN KIM" userId="S::frederic.nguyen-kim@talan.com::91a3dcbd-d60c-40ca-842f-e84e51d3b939" providerId="AD" clId="Web-{014D9A23-CC00-49BE-545C-0D76C81C3D6A}" dt="2023-02-27T20:44:05.049" v="112"/>
          <ac:spMkLst>
            <pc:docMk/>
            <pc:sldMk cId="3260995176" sldId="2147469875"/>
            <ac:spMk id="148" creationId="{94EF8C5C-C834-13D0-4076-CBA7705F493B}"/>
          </ac:spMkLst>
        </pc:spChg>
        <pc:spChg chg="add del">
          <ac:chgData name="Frédéric NGUYEN KIM" userId="S::frederic.nguyen-kim@talan.com::91a3dcbd-d60c-40ca-842f-e84e51d3b939" providerId="AD" clId="Web-{014D9A23-CC00-49BE-545C-0D76C81C3D6A}" dt="2023-02-27T20:44:05.049" v="111"/>
          <ac:spMkLst>
            <pc:docMk/>
            <pc:sldMk cId="3260995176" sldId="2147469875"/>
            <ac:spMk id="150" creationId="{D485EDC9-2B6D-DF82-19AD-501ED3B404AD}"/>
          </ac:spMkLst>
        </pc:spChg>
        <pc:spChg chg="add del">
          <ac:chgData name="Frédéric NGUYEN KIM" userId="S::frederic.nguyen-kim@talan.com::91a3dcbd-d60c-40ca-842f-e84e51d3b939" providerId="AD" clId="Web-{014D9A23-CC00-49BE-545C-0D76C81C3D6A}" dt="2023-02-27T20:44:05.049" v="110"/>
          <ac:spMkLst>
            <pc:docMk/>
            <pc:sldMk cId="3260995176" sldId="2147469875"/>
            <ac:spMk id="152" creationId="{B0B4F6C8-0D9A-F7A5-7144-6B25D75ED601}"/>
          </ac:spMkLst>
        </pc:spChg>
        <pc:spChg chg="add del">
          <ac:chgData name="Frédéric NGUYEN KIM" userId="S::frederic.nguyen-kim@talan.com::91a3dcbd-d60c-40ca-842f-e84e51d3b939" providerId="AD" clId="Web-{014D9A23-CC00-49BE-545C-0D76C81C3D6A}" dt="2023-02-27T20:44:05.049" v="109"/>
          <ac:spMkLst>
            <pc:docMk/>
            <pc:sldMk cId="3260995176" sldId="2147469875"/>
            <ac:spMk id="154" creationId="{05C94988-108D-1076-A1FA-0D87E7D67F70}"/>
          </ac:spMkLst>
        </pc:spChg>
        <pc:spChg chg="add del">
          <ac:chgData name="Frédéric NGUYEN KIM" userId="S::frederic.nguyen-kim@talan.com::91a3dcbd-d60c-40ca-842f-e84e51d3b939" providerId="AD" clId="Web-{014D9A23-CC00-49BE-545C-0D76C81C3D6A}" dt="2023-02-27T20:44:05.033" v="108"/>
          <ac:spMkLst>
            <pc:docMk/>
            <pc:sldMk cId="3260995176" sldId="2147469875"/>
            <ac:spMk id="156" creationId="{19448377-F29A-376C-1E40-FE301C178B03}"/>
          </ac:spMkLst>
        </pc:spChg>
        <pc:spChg chg="add del">
          <ac:chgData name="Frédéric NGUYEN KIM" userId="S::frederic.nguyen-kim@talan.com::91a3dcbd-d60c-40ca-842f-e84e51d3b939" providerId="AD" clId="Web-{014D9A23-CC00-49BE-545C-0D76C81C3D6A}" dt="2023-02-27T20:44:05.033" v="107"/>
          <ac:spMkLst>
            <pc:docMk/>
            <pc:sldMk cId="3260995176" sldId="2147469875"/>
            <ac:spMk id="158" creationId="{B2A3F440-098A-98F0-44C6-6EBD4599E56E}"/>
          </ac:spMkLst>
        </pc:spChg>
        <pc:spChg chg="add del">
          <ac:chgData name="Frédéric NGUYEN KIM" userId="S::frederic.nguyen-kim@talan.com::91a3dcbd-d60c-40ca-842f-e84e51d3b939" providerId="AD" clId="Web-{014D9A23-CC00-49BE-545C-0D76C81C3D6A}" dt="2023-02-27T20:44:05.033" v="106"/>
          <ac:spMkLst>
            <pc:docMk/>
            <pc:sldMk cId="3260995176" sldId="2147469875"/>
            <ac:spMk id="160" creationId="{0E4E024C-F83E-73CE-51BB-AF83D5B60168}"/>
          </ac:spMkLst>
        </pc:spChg>
        <pc:spChg chg="add del">
          <ac:chgData name="Frédéric NGUYEN KIM" userId="S::frederic.nguyen-kim@talan.com::91a3dcbd-d60c-40ca-842f-e84e51d3b939" providerId="AD" clId="Web-{014D9A23-CC00-49BE-545C-0D76C81C3D6A}" dt="2023-02-27T20:44:05.033" v="105"/>
          <ac:spMkLst>
            <pc:docMk/>
            <pc:sldMk cId="3260995176" sldId="2147469875"/>
            <ac:spMk id="162" creationId="{B919FEDB-BDFC-130A-4D7A-8D2197135D1A}"/>
          </ac:spMkLst>
        </pc:spChg>
        <pc:spChg chg="add del">
          <ac:chgData name="Frédéric NGUYEN KIM" userId="S::frederic.nguyen-kim@talan.com::91a3dcbd-d60c-40ca-842f-e84e51d3b939" providerId="AD" clId="Web-{014D9A23-CC00-49BE-545C-0D76C81C3D6A}" dt="2023-02-27T20:44:05.033" v="104"/>
          <ac:spMkLst>
            <pc:docMk/>
            <pc:sldMk cId="3260995176" sldId="2147469875"/>
            <ac:spMk id="164" creationId="{9A5B4F00-648A-1024-7393-9E6E55A845B8}"/>
          </ac:spMkLst>
        </pc:spChg>
        <pc:spChg chg="add del">
          <ac:chgData name="Frédéric NGUYEN KIM" userId="S::frederic.nguyen-kim@talan.com::91a3dcbd-d60c-40ca-842f-e84e51d3b939" providerId="AD" clId="Web-{014D9A23-CC00-49BE-545C-0D76C81C3D6A}" dt="2023-02-27T20:44:05.033" v="103"/>
          <ac:spMkLst>
            <pc:docMk/>
            <pc:sldMk cId="3260995176" sldId="2147469875"/>
            <ac:spMk id="166" creationId="{8EDBE7EC-A62F-B0B4-BC8B-90C52DE3624A}"/>
          </ac:spMkLst>
        </pc:spChg>
        <pc:spChg chg="add del">
          <ac:chgData name="Frédéric NGUYEN KIM" userId="S::frederic.nguyen-kim@talan.com::91a3dcbd-d60c-40ca-842f-e84e51d3b939" providerId="AD" clId="Web-{014D9A23-CC00-49BE-545C-0D76C81C3D6A}" dt="2023-02-27T20:44:05.033" v="100"/>
          <ac:spMkLst>
            <pc:docMk/>
            <pc:sldMk cId="3260995176" sldId="2147469875"/>
            <ac:spMk id="210" creationId="{9DB9FE4F-EEF8-F35D-48AB-75C9E919E5B8}"/>
          </ac:spMkLst>
        </pc:spChg>
        <pc:spChg chg="add del">
          <ac:chgData name="Frédéric NGUYEN KIM" userId="S::frederic.nguyen-kim@talan.com::91a3dcbd-d60c-40ca-842f-e84e51d3b939" providerId="AD" clId="Web-{014D9A23-CC00-49BE-545C-0D76C81C3D6A}" dt="2023-02-27T20:44:05.033" v="99"/>
          <ac:spMkLst>
            <pc:docMk/>
            <pc:sldMk cId="3260995176" sldId="2147469875"/>
            <ac:spMk id="212" creationId="{68BDEE9B-02F8-353B-F7B6-26BAB30ADEF5}"/>
          </ac:spMkLst>
        </pc:spChg>
        <pc:spChg chg="add del">
          <ac:chgData name="Frédéric NGUYEN KIM" userId="S::frederic.nguyen-kim@talan.com::91a3dcbd-d60c-40ca-842f-e84e51d3b939" providerId="AD" clId="Web-{014D9A23-CC00-49BE-545C-0D76C81C3D6A}" dt="2023-02-27T20:44:05.033" v="98"/>
          <ac:spMkLst>
            <pc:docMk/>
            <pc:sldMk cId="3260995176" sldId="2147469875"/>
            <ac:spMk id="214" creationId="{3F5D3D5B-21AB-1AEE-F1F4-3539E70A1D34}"/>
          </ac:spMkLst>
        </pc:spChg>
        <pc:spChg chg="add del">
          <ac:chgData name="Frédéric NGUYEN KIM" userId="S::frederic.nguyen-kim@talan.com::91a3dcbd-d60c-40ca-842f-e84e51d3b939" providerId="AD" clId="Web-{014D9A23-CC00-49BE-545C-0D76C81C3D6A}" dt="2023-02-27T20:44:05.033" v="97"/>
          <ac:spMkLst>
            <pc:docMk/>
            <pc:sldMk cId="3260995176" sldId="2147469875"/>
            <ac:spMk id="216" creationId="{F9DFC545-A373-1FF6-A24D-735139CCD716}"/>
          </ac:spMkLst>
        </pc:spChg>
        <pc:spChg chg="add">
          <ac:chgData name="Frédéric NGUYEN KIM" userId="S::frederic.nguyen-kim@talan.com::91a3dcbd-d60c-40ca-842f-e84e51d3b939" providerId="AD" clId="Web-{014D9A23-CC00-49BE-545C-0D76C81C3D6A}" dt="2023-02-27T20:46:25.178" v="124"/>
          <ac:spMkLst>
            <pc:docMk/>
            <pc:sldMk cId="3260995176" sldId="2147469875"/>
            <ac:spMk id="217" creationId="{ACBEB19E-2E70-897B-2656-D08F301B74D3}"/>
          </ac:spMkLst>
        </pc:spChg>
        <pc:spChg chg="add">
          <ac:chgData name="Frédéric NGUYEN KIM" userId="S::frederic.nguyen-kim@talan.com::91a3dcbd-d60c-40ca-842f-e84e51d3b939" providerId="AD" clId="Web-{014D9A23-CC00-49BE-545C-0D76C81C3D6A}" dt="2023-02-27T20:47:35.555" v="125"/>
          <ac:spMkLst>
            <pc:docMk/>
            <pc:sldMk cId="3260995176" sldId="2147469875"/>
            <ac:spMk id="218" creationId="{ACBEB19E-2E70-897B-2656-D08F301B74D3}"/>
          </ac:spMkLst>
        </pc:spChg>
        <pc:grpChg chg="add">
          <ac:chgData name="Frédéric NGUYEN KIM" userId="S::frederic.nguyen-kim@talan.com::91a3dcbd-d60c-40ca-842f-e84e51d3b939" providerId="AD" clId="Web-{014D9A23-CC00-49BE-545C-0D76C81C3D6A}" dt="2023-02-27T20:43:29.063" v="27"/>
          <ac:grpSpMkLst>
            <pc:docMk/>
            <pc:sldMk cId="3260995176" sldId="2147469875"/>
            <ac:grpSpMk id="45" creationId="{0831657D-873E-9CDC-4167-64DDAB76A120}"/>
          </ac:grpSpMkLst>
        </pc:grpChg>
        <pc:grpChg chg="add">
          <ac:chgData name="Frédéric NGUYEN KIM" userId="S::frederic.nguyen-kim@talan.com::91a3dcbd-d60c-40ca-842f-e84e51d3b939" providerId="AD" clId="Web-{014D9A23-CC00-49BE-545C-0D76C81C3D6A}" dt="2023-02-27T20:43:31.782" v="39"/>
          <ac:grpSpMkLst>
            <pc:docMk/>
            <pc:sldMk cId="3260995176" sldId="2147469875"/>
            <ac:grpSpMk id="97" creationId="{41987F87-C083-D511-AA92-3FF3FBDB997A}"/>
          </ac:grpSpMkLst>
        </pc:grpChg>
        <pc:grpChg chg="add">
          <ac:chgData name="Frédéric NGUYEN KIM" userId="S::frederic.nguyen-kim@talan.com::91a3dcbd-d60c-40ca-842f-e84e51d3b939" providerId="AD" clId="Web-{014D9A23-CC00-49BE-545C-0D76C81C3D6A}" dt="2023-02-27T20:43:32.032" v="40"/>
          <ac:grpSpMkLst>
            <pc:docMk/>
            <pc:sldMk cId="3260995176" sldId="2147469875"/>
            <ac:grpSpMk id="109" creationId="{479B5CDB-467F-3A0F-1F94-0645DF83F816}"/>
          </ac:grpSpMkLst>
        </pc:grpChg>
        <pc:grpChg chg="add del">
          <ac:chgData name="Frédéric NGUYEN KIM" userId="S::frederic.nguyen-kim@talan.com::91a3dcbd-d60c-40ca-842f-e84e51d3b939" providerId="AD" clId="Web-{014D9A23-CC00-49BE-545C-0D76C81C3D6A}" dt="2023-02-27T20:44:05.049" v="114"/>
          <ac:grpSpMkLst>
            <pc:docMk/>
            <pc:sldMk cId="3260995176" sldId="2147469875"/>
            <ac:grpSpMk id="144" creationId="{1AC426BA-B350-E5A9-9E9A-03ABF23809F5}"/>
          </ac:grpSpMkLst>
        </pc:grpChg>
        <pc:grpChg chg="add del">
          <ac:chgData name="Frédéric NGUYEN KIM" userId="S::frederic.nguyen-kim@talan.com::91a3dcbd-d60c-40ca-842f-e84e51d3b939" providerId="AD" clId="Web-{014D9A23-CC00-49BE-545C-0D76C81C3D6A}" dt="2023-02-27T20:44:05.033" v="102"/>
          <ac:grpSpMkLst>
            <pc:docMk/>
            <pc:sldMk cId="3260995176" sldId="2147469875"/>
            <ac:grpSpMk id="196" creationId="{07F2D2E3-17E8-100B-610E-342D388058BD}"/>
          </ac:grpSpMkLst>
        </pc:grpChg>
        <pc:grpChg chg="add del">
          <ac:chgData name="Frédéric NGUYEN KIM" userId="S::frederic.nguyen-kim@talan.com::91a3dcbd-d60c-40ca-842f-e84e51d3b939" providerId="AD" clId="Web-{014D9A23-CC00-49BE-545C-0D76C81C3D6A}" dt="2023-02-27T20:44:05.033" v="101"/>
          <ac:grpSpMkLst>
            <pc:docMk/>
            <pc:sldMk cId="3260995176" sldId="2147469875"/>
            <ac:grpSpMk id="208" creationId="{A983E3E0-905B-EF96-B957-D69E2D03C386}"/>
          </ac:grpSpMkLst>
        </pc:grpChg>
        <pc:picChg chg="add del mod">
          <ac:chgData name="Frédéric NGUYEN KIM" userId="S::frederic.nguyen-kim@talan.com::91a3dcbd-d60c-40ca-842f-e84e51d3b939" providerId="AD" clId="Web-{014D9A23-CC00-49BE-545C-0D76C81C3D6A}" dt="2023-02-27T20:42:20.155" v="15"/>
          <ac:picMkLst>
            <pc:docMk/>
            <pc:sldMk cId="3260995176" sldId="2147469875"/>
            <ac:picMk id="3" creationId="{7ABF16EA-9706-595F-6113-D8DF0D8A1B7C}"/>
          </ac:picMkLst>
        </pc:picChg>
        <pc:cxnChg chg="del mod">
          <ac:chgData name="Frédéric NGUYEN KIM" userId="S::frederic.nguyen-kim@talan.com::91a3dcbd-d60c-40ca-842f-e84e51d3b939" providerId="AD" clId="Web-{014D9A23-CC00-49BE-545C-0D76C81C3D6A}" dt="2023-02-27T20:41:49.779" v="12"/>
          <ac:cxnSpMkLst>
            <pc:docMk/>
            <pc:sldMk cId="3260995176" sldId="2147469875"/>
            <ac:cxnSpMk id="5" creationId="{D5440537-F8D0-415F-B53C-238CF2307EF1}"/>
          </ac:cxnSpMkLst>
        </pc:cxnChg>
        <pc:cxnChg chg="del mod">
          <ac:chgData name="Frédéric NGUYEN KIM" userId="S::frederic.nguyen-kim@talan.com::91a3dcbd-d60c-40ca-842f-e84e51d3b939" providerId="AD" clId="Web-{014D9A23-CC00-49BE-545C-0D76C81C3D6A}" dt="2023-02-27T20:41:49.779" v="7"/>
          <ac:cxnSpMkLst>
            <pc:docMk/>
            <pc:sldMk cId="3260995176" sldId="2147469875"/>
            <ac:cxnSpMk id="10" creationId="{A749757F-0EEE-4C19-85A9-0BDE1754E6AE}"/>
          </ac:cxnSpMkLst>
        </pc:cxnChg>
        <pc:cxnChg chg="del mod">
          <ac:chgData name="Frédéric NGUYEN KIM" userId="S::frederic.nguyen-kim@talan.com::91a3dcbd-d60c-40ca-842f-e84e51d3b939" providerId="AD" clId="Web-{014D9A23-CC00-49BE-545C-0D76C81C3D6A}" dt="2023-02-27T20:41:49.748" v="2"/>
          <ac:cxnSpMkLst>
            <pc:docMk/>
            <pc:sldMk cId="3260995176" sldId="2147469875"/>
            <ac:cxnSpMk id="15" creationId="{924E8BF6-41F8-41B1-B857-2653CBFE5918}"/>
          </ac:cxnSpMkLst>
        </pc:cxnChg>
        <pc:cxnChg chg="add">
          <ac:chgData name="Frédéric NGUYEN KIM" userId="S::frederic.nguyen-kim@talan.com::91a3dcbd-d60c-40ca-842f-e84e51d3b939" providerId="AD" clId="Web-{014D9A23-CC00-49BE-545C-0D76C81C3D6A}" dt="2023-02-27T20:43:28.188" v="23"/>
          <ac:cxnSpMkLst>
            <pc:docMk/>
            <pc:sldMk cId="3260995176" sldId="2147469875"/>
            <ac:cxnSpMk id="28" creationId="{964829DE-FBFA-6765-93C4-D7B04F512D78}"/>
          </ac:cxnSpMkLst>
        </pc:cxnChg>
        <pc:cxnChg chg="add del">
          <ac:chgData name="Frédéric NGUYEN KIM" userId="S::frederic.nguyen-kim@talan.com::91a3dcbd-d60c-40ca-842f-e84e51d3b939" providerId="AD" clId="Web-{014D9A23-CC00-49BE-545C-0D76C81C3D6A}" dt="2023-02-27T20:44:05.049" v="118"/>
          <ac:cxnSpMkLst>
            <pc:docMk/>
            <pc:sldMk cId="3260995176" sldId="2147469875"/>
            <ac:cxnSpMk id="127" creationId="{D2D6354A-F345-1618-F81B-3F617FBE932B}"/>
          </ac:cxnSpMkLst>
        </pc:cxnChg>
      </pc:sldChg>
      <pc:sldChg chg="add replId">
        <pc:chgData name="Frédéric NGUYEN KIM" userId="S::frederic.nguyen-kim@talan.com::91a3dcbd-d60c-40ca-842f-e84e51d3b939" providerId="AD" clId="Web-{014D9A23-CC00-49BE-545C-0D76C81C3D6A}" dt="2023-02-27T20:41:44.201" v="0"/>
        <pc:sldMkLst>
          <pc:docMk/>
          <pc:sldMk cId="794980644" sldId="2147469907"/>
        </pc:sldMkLst>
      </pc:sldChg>
      <pc:sldChg chg="addSp delSp modSp add del addAnim">
        <pc:chgData name="Frédéric NGUYEN KIM" userId="S::frederic.nguyen-kim@talan.com::91a3dcbd-d60c-40ca-842f-e84e51d3b939" providerId="AD" clId="Web-{014D9A23-CC00-49BE-545C-0D76C81C3D6A}" dt="2023-02-27T20:51:13.436" v="127"/>
        <pc:sldMkLst>
          <pc:docMk/>
          <pc:sldMk cId="1852232871" sldId="2147469908"/>
        </pc:sldMkLst>
        <pc:spChg chg="add">
          <ac:chgData name="Frédéric NGUYEN KIM" userId="S::frederic.nguyen-kim@talan.com::91a3dcbd-d60c-40ca-842f-e84e51d3b939" providerId="AD" clId="Web-{014D9A23-CC00-49BE-545C-0D76C81C3D6A}" dt="2023-02-27T20:43:50.392" v="45"/>
          <ac:spMkLst>
            <pc:docMk/>
            <pc:sldMk cId="1852232871" sldId="2147469908"/>
            <ac:spMk id="3" creationId="{17235AD5-FAE7-5DF9-02B1-F6A34A308D17}"/>
          </ac:spMkLst>
        </pc:spChg>
        <pc:spChg chg="add">
          <ac:chgData name="Frédéric NGUYEN KIM" userId="S::frederic.nguyen-kim@talan.com::91a3dcbd-d60c-40ca-842f-e84e51d3b939" providerId="AD" clId="Web-{014D9A23-CC00-49BE-545C-0D76C81C3D6A}" dt="2023-02-27T20:43:50.642" v="46"/>
          <ac:spMkLst>
            <pc:docMk/>
            <pc:sldMk cId="1852232871" sldId="2147469908"/>
            <ac:spMk id="6" creationId="{5DF98151-2E45-3CBC-3775-F6FBC9B5931C}"/>
          </ac:spMkLst>
        </pc:spChg>
        <pc:spChg chg="add">
          <ac:chgData name="Frédéric NGUYEN KIM" userId="S::frederic.nguyen-kim@talan.com::91a3dcbd-d60c-40ca-842f-e84e51d3b939" providerId="AD" clId="Web-{014D9A23-CC00-49BE-545C-0D76C81C3D6A}" dt="2023-02-27T20:43:50.908" v="47"/>
          <ac:spMkLst>
            <pc:docMk/>
            <pc:sldMk cId="1852232871" sldId="2147469908"/>
            <ac:spMk id="8" creationId="{C74270E4-BE1C-9947-CD62-E03BC923C02B}"/>
          </ac:spMkLst>
        </pc:spChg>
        <pc:spChg chg="add">
          <ac:chgData name="Frédéric NGUYEN KIM" userId="S::frederic.nguyen-kim@talan.com::91a3dcbd-d60c-40ca-842f-e84e51d3b939" providerId="AD" clId="Web-{014D9A23-CC00-49BE-545C-0D76C81C3D6A}" dt="2023-02-27T20:43:51.158" v="48"/>
          <ac:spMkLst>
            <pc:docMk/>
            <pc:sldMk cId="1852232871" sldId="2147469908"/>
            <ac:spMk id="10" creationId="{233FA3B2-973E-3847-24F8-522A25C146D8}"/>
          </ac:spMkLst>
        </pc:spChg>
        <pc:spChg chg="add">
          <ac:chgData name="Frédéric NGUYEN KIM" userId="S::frederic.nguyen-kim@talan.com::91a3dcbd-d60c-40ca-842f-e84e51d3b939" providerId="AD" clId="Web-{014D9A23-CC00-49BE-545C-0D76C81C3D6A}" dt="2023-02-27T20:43:51.220" v="50"/>
          <ac:spMkLst>
            <pc:docMk/>
            <pc:sldMk cId="1852232871" sldId="2147469908"/>
            <ac:spMk id="12" creationId="{8D64551C-BCB4-113E-ADB2-D64D9E69A9B7}"/>
          </ac:spMkLst>
        </pc:spChg>
        <pc:spChg chg="add">
          <ac:chgData name="Frédéric NGUYEN KIM" userId="S::frederic.nguyen-kim@talan.com::91a3dcbd-d60c-40ca-842f-e84e51d3b939" providerId="AD" clId="Web-{014D9A23-CC00-49BE-545C-0D76C81C3D6A}" dt="2023-02-27T20:43:51.470" v="51"/>
          <ac:spMkLst>
            <pc:docMk/>
            <pc:sldMk cId="1852232871" sldId="2147469908"/>
            <ac:spMk id="14" creationId="{0580E2B0-D455-6835-4D4C-B4E4B21F6356}"/>
          </ac:spMkLst>
        </pc:spChg>
        <pc:spChg chg="add">
          <ac:chgData name="Frédéric NGUYEN KIM" userId="S::frederic.nguyen-kim@talan.com::91a3dcbd-d60c-40ca-842f-e84e51d3b939" providerId="AD" clId="Web-{014D9A23-CC00-49BE-545C-0D76C81C3D6A}" dt="2023-02-27T20:43:51.704" v="52"/>
          <ac:spMkLst>
            <pc:docMk/>
            <pc:sldMk cId="1852232871" sldId="2147469908"/>
            <ac:spMk id="16" creationId="{57D1348F-05F9-E308-11B3-7F4BA70C9920}"/>
          </ac:spMkLst>
        </pc:spChg>
        <pc:spChg chg="add">
          <ac:chgData name="Frédéric NGUYEN KIM" userId="S::frederic.nguyen-kim@talan.com::91a3dcbd-d60c-40ca-842f-e84e51d3b939" providerId="AD" clId="Web-{014D9A23-CC00-49BE-545C-0D76C81C3D6A}" dt="2023-02-27T20:43:51.798" v="54"/>
          <ac:spMkLst>
            <pc:docMk/>
            <pc:sldMk cId="1852232871" sldId="2147469908"/>
            <ac:spMk id="27" creationId="{BB793055-A08B-B2B7-A671-02DB1BD00891}"/>
          </ac:spMkLst>
        </pc:spChg>
        <pc:spChg chg="add">
          <ac:chgData name="Frédéric NGUYEN KIM" userId="S::frederic.nguyen-kim@talan.com::91a3dcbd-d60c-40ca-842f-e84e51d3b939" providerId="AD" clId="Web-{014D9A23-CC00-49BE-545C-0D76C81C3D6A}" dt="2023-02-27T20:43:51.829" v="55"/>
          <ac:spMkLst>
            <pc:docMk/>
            <pc:sldMk cId="1852232871" sldId="2147469908"/>
            <ac:spMk id="28" creationId="{F3FCABF7-8FDA-C6F3-D443-ACAA8AE6DA55}"/>
          </ac:spMkLst>
        </pc:spChg>
        <pc:spChg chg="add">
          <ac:chgData name="Frédéric NGUYEN KIM" userId="S::frederic.nguyen-kim@talan.com::91a3dcbd-d60c-40ca-842f-e84e51d3b939" providerId="AD" clId="Web-{014D9A23-CC00-49BE-545C-0D76C81C3D6A}" dt="2023-02-27T20:43:51.876" v="56"/>
          <ac:spMkLst>
            <pc:docMk/>
            <pc:sldMk cId="1852232871" sldId="2147469908"/>
            <ac:spMk id="29" creationId="{1D17ED76-35FB-DBE4-5DE5-0805C3A37065}"/>
          </ac:spMkLst>
        </pc:spChg>
        <pc:spChg chg="add">
          <ac:chgData name="Frédéric NGUYEN KIM" userId="S::frederic.nguyen-kim@talan.com::91a3dcbd-d60c-40ca-842f-e84e51d3b939" providerId="AD" clId="Web-{014D9A23-CC00-49BE-545C-0D76C81C3D6A}" dt="2023-02-27T20:43:51.923" v="57"/>
          <ac:spMkLst>
            <pc:docMk/>
            <pc:sldMk cId="1852232871" sldId="2147469908"/>
            <ac:spMk id="30" creationId="{D9610A5C-B46B-CFDD-2102-82EB3B56C74D}"/>
          </ac:spMkLst>
        </pc:spChg>
        <pc:spChg chg="add">
          <ac:chgData name="Frédéric NGUYEN KIM" userId="S::frederic.nguyen-kim@talan.com::91a3dcbd-d60c-40ca-842f-e84e51d3b939" providerId="AD" clId="Web-{014D9A23-CC00-49BE-545C-0D76C81C3D6A}" dt="2023-02-27T20:43:52.173" v="58"/>
          <ac:spMkLst>
            <pc:docMk/>
            <pc:sldMk cId="1852232871" sldId="2147469908"/>
            <ac:spMk id="32" creationId="{027C72D0-AF0B-62F6-8D10-3DB3734E38EF}"/>
          </ac:spMkLst>
        </pc:spChg>
        <pc:spChg chg="add">
          <ac:chgData name="Frédéric NGUYEN KIM" userId="S::frederic.nguyen-kim@talan.com::91a3dcbd-d60c-40ca-842f-e84e51d3b939" providerId="AD" clId="Web-{014D9A23-CC00-49BE-545C-0D76C81C3D6A}" dt="2023-02-27T20:43:52.220" v="59"/>
          <ac:spMkLst>
            <pc:docMk/>
            <pc:sldMk cId="1852232871" sldId="2147469908"/>
            <ac:spMk id="33" creationId="{4ADB6A03-E9B0-F8EE-6684-328C7530F3E9}"/>
          </ac:spMkLst>
        </pc:spChg>
        <pc:spChg chg="add">
          <ac:chgData name="Frédéric NGUYEN KIM" userId="S::frederic.nguyen-kim@talan.com::91a3dcbd-d60c-40ca-842f-e84e51d3b939" providerId="AD" clId="Web-{014D9A23-CC00-49BE-545C-0D76C81C3D6A}" dt="2023-02-27T20:43:52.283" v="60"/>
          <ac:spMkLst>
            <pc:docMk/>
            <pc:sldMk cId="1852232871" sldId="2147469908"/>
            <ac:spMk id="36" creationId="{48007C2A-FFA7-768B-7996-942D13541250}"/>
          </ac:spMkLst>
        </pc:spChg>
        <pc:spChg chg="add">
          <ac:chgData name="Frédéric NGUYEN KIM" userId="S::frederic.nguyen-kim@talan.com::91a3dcbd-d60c-40ca-842f-e84e51d3b939" providerId="AD" clId="Web-{014D9A23-CC00-49BE-545C-0D76C81C3D6A}" dt="2023-02-27T20:43:52.329" v="61"/>
          <ac:spMkLst>
            <pc:docMk/>
            <pc:sldMk cId="1852232871" sldId="2147469908"/>
            <ac:spMk id="37" creationId="{D0056DCB-323E-28D3-12EF-1B68FA96DFC1}"/>
          </ac:spMkLst>
        </pc:spChg>
        <pc:spChg chg="add">
          <ac:chgData name="Frédéric NGUYEN KIM" userId="S::frederic.nguyen-kim@talan.com::91a3dcbd-d60c-40ca-842f-e84e51d3b939" providerId="AD" clId="Web-{014D9A23-CC00-49BE-545C-0D76C81C3D6A}" dt="2023-02-27T20:43:52.392" v="62"/>
          <ac:spMkLst>
            <pc:docMk/>
            <pc:sldMk cId="1852232871" sldId="2147469908"/>
            <ac:spMk id="38" creationId="{AEC4DCFF-FE25-F998-5A96-4688DAA8ED58}"/>
          </ac:spMkLst>
        </pc:spChg>
        <pc:spChg chg="add">
          <ac:chgData name="Frédéric NGUYEN KIM" userId="S::frederic.nguyen-kim@talan.com::91a3dcbd-d60c-40ca-842f-e84e51d3b939" providerId="AD" clId="Web-{014D9A23-CC00-49BE-545C-0D76C81C3D6A}" dt="2023-02-27T20:43:52.767" v="63"/>
          <ac:spMkLst>
            <pc:docMk/>
            <pc:sldMk cId="1852232871" sldId="2147469908"/>
            <ac:spMk id="48" creationId="{F29D43C0-D032-6B90-6779-A108BE56B898}"/>
          </ac:spMkLst>
        </pc:spChg>
        <pc:spChg chg="add">
          <ac:chgData name="Frédéric NGUYEN KIM" userId="S::frederic.nguyen-kim@talan.com::91a3dcbd-d60c-40ca-842f-e84e51d3b939" providerId="AD" clId="Web-{014D9A23-CC00-49BE-545C-0D76C81C3D6A}" dt="2023-02-27T20:43:52.814" v="64"/>
          <ac:spMkLst>
            <pc:docMk/>
            <pc:sldMk cId="1852232871" sldId="2147469908"/>
            <ac:spMk id="49" creationId="{DB0B1AAD-FFA0-5EBC-AB48-D4AB640609AD}"/>
          </ac:spMkLst>
        </pc:spChg>
        <pc:spChg chg="del">
          <ac:chgData name="Frédéric NGUYEN KIM" userId="S::frederic.nguyen-kim@talan.com::91a3dcbd-d60c-40ca-842f-e84e51d3b939" providerId="AD" clId="Web-{014D9A23-CC00-49BE-545C-0D76C81C3D6A}" dt="2023-02-27T20:45:16.723" v="123"/>
          <ac:spMkLst>
            <pc:docMk/>
            <pc:sldMk cId="1852232871" sldId="2147469908"/>
            <ac:spMk id="112" creationId="{5EDAB1E7-A379-4691-9A51-C24082D188F6}"/>
          </ac:spMkLst>
        </pc:spChg>
        <pc:spChg chg="add">
          <ac:chgData name="Frédéric NGUYEN KIM" userId="S::frederic.nguyen-kim@talan.com::91a3dcbd-d60c-40ca-842f-e84e51d3b939" providerId="AD" clId="Web-{014D9A23-CC00-49BE-545C-0D76C81C3D6A}" dt="2023-02-27T20:43:53.095" v="67"/>
          <ac:spMkLst>
            <pc:docMk/>
            <pc:sldMk cId="1852232871" sldId="2147469908"/>
            <ac:spMk id="157" creationId="{3A7B7FA0-EC99-6756-206B-CA65139948F3}"/>
          </ac:spMkLst>
        </pc:spChg>
        <pc:spChg chg="add">
          <ac:chgData name="Frédéric NGUYEN KIM" userId="S::frederic.nguyen-kim@talan.com::91a3dcbd-d60c-40ca-842f-e84e51d3b939" providerId="AD" clId="Web-{014D9A23-CC00-49BE-545C-0D76C81C3D6A}" dt="2023-02-27T20:43:53.142" v="68"/>
          <ac:spMkLst>
            <pc:docMk/>
            <pc:sldMk cId="1852232871" sldId="2147469908"/>
            <ac:spMk id="158" creationId="{316968D5-8418-2C86-E9F2-C91A6B3EFF1D}"/>
          </ac:spMkLst>
        </pc:spChg>
        <pc:spChg chg="add">
          <ac:chgData name="Frédéric NGUYEN KIM" userId="S::frederic.nguyen-kim@talan.com::91a3dcbd-d60c-40ca-842f-e84e51d3b939" providerId="AD" clId="Web-{014D9A23-CC00-49BE-545C-0D76C81C3D6A}" dt="2023-02-27T20:43:53.189" v="69"/>
          <ac:spMkLst>
            <pc:docMk/>
            <pc:sldMk cId="1852232871" sldId="2147469908"/>
            <ac:spMk id="159" creationId="{B659D6D8-CD8B-BD85-7F88-F5F7E8ADC389}"/>
          </ac:spMkLst>
        </pc:spChg>
        <pc:spChg chg="add">
          <ac:chgData name="Frédéric NGUYEN KIM" userId="S::frederic.nguyen-kim@talan.com::91a3dcbd-d60c-40ca-842f-e84e51d3b939" providerId="AD" clId="Web-{014D9A23-CC00-49BE-545C-0D76C81C3D6A}" dt="2023-02-27T20:43:53.251" v="70"/>
          <ac:spMkLst>
            <pc:docMk/>
            <pc:sldMk cId="1852232871" sldId="2147469908"/>
            <ac:spMk id="160" creationId="{16603FEC-D37C-5889-1EF9-1E886A073DED}"/>
          </ac:spMkLst>
        </pc:spChg>
        <pc:grpChg chg="add">
          <ac:chgData name="Frédéric NGUYEN KIM" userId="S::frederic.nguyen-kim@talan.com::91a3dcbd-d60c-40ca-842f-e84e51d3b939" providerId="AD" clId="Web-{014D9A23-CC00-49BE-545C-0D76C81C3D6A}" dt="2023-02-27T20:43:51.767" v="53"/>
          <ac:grpSpMkLst>
            <pc:docMk/>
            <pc:sldMk cId="1852232871" sldId="2147469908"/>
            <ac:grpSpMk id="17" creationId="{D3769EA7-02A7-4127-5AD4-368BE6F99FC1}"/>
          </ac:grpSpMkLst>
        </pc:grpChg>
        <pc:grpChg chg="add">
          <ac:chgData name="Frédéric NGUYEN KIM" userId="S::frederic.nguyen-kim@talan.com::91a3dcbd-d60c-40ca-842f-e84e51d3b939" providerId="AD" clId="Web-{014D9A23-CC00-49BE-545C-0D76C81C3D6A}" dt="2023-02-27T20:43:52.955" v="65"/>
          <ac:grpSpMkLst>
            <pc:docMk/>
            <pc:sldMk cId="1852232871" sldId="2147469908"/>
            <ac:grpSpMk id="50" creationId="{51F0EA78-9EC8-8EB5-EC42-1E34A8F8422C}"/>
          </ac:grpSpMkLst>
        </pc:grpChg>
        <pc:grpChg chg="add">
          <ac:chgData name="Frédéric NGUYEN KIM" userId="S::frederic.nguyen-kim@talan.com::91a3dcbd-d60c-40ca-842f-e84e51d3b939" providerId="AD" clId="Web-{014D9A23-CC00-49BE-545C-0D76C81C3D6A}" dt="2023-02-27T20:43:53.033" v="66"/>
          <ac:grpSpMkLst>
            <pc:docMk/>
            <pc:sldMk cId="1852232871" sldId="2147469908"/>
            <ac:grpSpMk id="146" creationId="{6FE59A24-EA49-41C7-0610-37908CA5F459}"/>
          </ac:grpSpMkLst>
        </pc:grpChg>
        <pc:cxnChg chg="add mod">
          <ac:chgData name="Frédéric NGUYEN KIM" userId="S::frederic.nguyen-kim@talan.com::91a3dcbd-d60c-40ca-842f-e84e51d3b939" providerId="AD" clId="Web-{014D9A23-CC00-49BE-545C-0D76C81C3D6A}" dt="2023-02-27T20:43:51.189" v="49"/>
          <ac:cxnSpMkLst>
            <pc:docMk/>
            <pc:sldMk cId="1852232871" sldId="2147469908"/>
            <ac:cxnSpMk id="11" creationId="{7E50C7B4-54B2-7E58-82AE-80C7EEF44B03}"/>
          </ac:cxnSpMkLst>
        </pc:cxnChg>
      </pc:sldChg>
      <pc:sldMasterChg chg="modSldLayout">
        <pc:chgData name="Frédéric NGUYEN KIM" userId="S::frederic.nguyen-kim@talan.com::91a3dcbd-d60c-40ca-842f-e84e51d3b939" providerId="AD" clId="Web-{014D9A23-CC00-49BE-545C-0D76C81C3D6A}" dt="2023-02-27T20:42:47.437" v="16"/>
        <pc:sldMasterMkLst>
          <pc:docMk/>
          <pc:sldMasterMk cId="0" sldId="2147483648"/>
        </pc:sldMasterMkLst>
        <pc:sldLayoutChg chg="replId">
          <pc:chgData name="Frédéric NGUYEN KIM" userId="S::frederic.nguyen-kim@talan.com::91a3dcbd-d60c-40ca-842f-e84e51d3b939" providerId="AD" clId="Web-{014D9A23-CC00-49BE-545C-0D76C81C3D6A}" dt="2023-02-27T20:42:47.437" v="16"/>
          <pc:sldLayoutMkLst>
            <pc:docMk/>
            <pc:sldMasterMk cId="0" sldId="2147483648"/>
            <pc:sldLayoutMk cId="2567190570" sldId="2147483851"/>
          </pc:sldLayoutMkLst>
        </pc:sldLayoutChg>
      </pc:sldMasterChg>
      <pc:sldMasterChg chg="add addSldLayout">
        <pc:chgData name="Frédéric NGUYEN KIM" userId="S::frederic.nguyen-kim@talan.com::91a3dcbd-d60c-40ca-842f-e84e51d3b939" providerId="AD" clId="Web-{014D9A23-CC00-49BE-545C-0D76C81C3D6A}" dt="2023-02-27T20:42:47.437" v="16"/>
        <pc:sldMasterMkLst>
          <pc:docMk/>
          <pc:sldMasterMk cId="2290518370" sldId="2147483690"/>
        </pc:sldMasterMkLst>
        <pc:sldLayoutChg chg="add">
          <pc:chgData name="Frédéric NGUYEN KIM" userId="S::frederic.nguyen-kim@talan.com::91a3dcbd-d60c-40ca-842f-e84e51d3b939" providerId="AD" clId="Web-{014D9A23-CC00-49BE-545C-0D76C81C3D6A}" dt="2023-02-27T20:42:47.437" v="16"/>
          <pc:sldLayoutMkLst>
            <pc:docMk/>
            <pc:sldMasterMk cId="2290518370" sldId="2147483690"/>
            <pc:sldLayoutMk cId="2607318801" sldId="2147483691"/>
          </pc:sldLayoutMkLst>
        </pc:sldLayoutChg>
        <pc:sldLayoutChg chg="add">
          <pc:chgData name="Frédéric NGUYEN KIM" userId="S::frederic.nguyen-kim@talan.com::91a3dcbd-d60c-40ca-842f-e84e51d3b939" providerId="AD" clId="Web-{014D9A23-CC00-49BE-545C-0D76C81C3D6A}" dt="2023-02-27T20:42:47.437" v="16"/>
          <pc:sldLayoutMkLst>
            <pc:docMk/>
            <pc:sldMasterMk cId="2290518370" sldId="2147483690"/>
            <pc:sldLayoutMk cId="3194609206" sldId="2147483692"/>
          </pc:sldLayoutMkLst>
        </pc:sldLayoutChg>
        <pc:sldLayoutChg chg="add">
          <pc:chgData name="Frédéric NGUYEN KIM" userId="S::frederic.nguyen-kim@talan.com::91a3dcbd-d60c-40ca-842f-e84e51d3b939" providerId="AD" clId="Web-{014D9A23-CC00-49BE-545C-0D76C81C3D6A}" dt="2023-02-27T20:42:47.437" v="16"/>
          <pc:sldLayoutMkLst>
            <pc:docMk/>
            <pc:sldMasterMk cId="2290518370" sldId="2147483690"/>
            <pc:sldLayoutMk cId="4196943498" sldId="2147483693"/>
          </pc:sldLayoutMkLst>
        </pc:sldLayoutChg>
        <pc:sldLayoutChg chg="add">
          <pc:chgData name="Frédéric NGUYEN KIM" userId="S::frederic.nguyen-kim@talan.com::91a3dcbd-d60c-40ca-842f-e84e51d3b939" providerId="AD" clId="Web-{014D9A23-CC00-49BE-545C-0D76C81C3D6A}" dt="2023-02-27T20:42:47.437" v="16"/>
          <pc:sldLayoutMkLst>
            <pc:docMk/>
            <pc:sldMasterMk cId="2290518370" sldId="2147483690"/>
            <pc:sldLayoutMk cId="1018498181" sldId="2147483694"/>
          </pc:sldLayoutMkLst>
        </pc:sldLayoutChg>
        <pc:sldLayoutChg chg="add">
          <pc:chgData name="Frédéric NGUYEN KIM" userId="S::frederic.nguyen-kim@talan.com::91a3dcbd-d60c-40ca-842f-e84e51d3b939" providerId="AD" clId="Web-{014D9A23-CC00-49BE-545C-0D76C81C3D6A}" dt="2023-02-27T20:42:47.437" v="16"/>
          <pc:sldLayoutMkLst>
            <pc:docMk/>
            <pc:sldMasterMk cId="2290518370" sldId="2147483690"/>
            <pc:sldLayoutMk cId="3658429009" sldId="2147483695"/>
          </pc:sldLayoutMkLst>
        </pc:sldLayoutChg>
        <pc:sldLayoutChg chg="add">
          <pc:chgData name="Frédéric NGUYEN KIM" userId="S::frederic.nguyen-kim@talan.com::91a3dcbd-d60c-40ca-842f-e84e51d3b939" providerId="AD" clId="Web-{014D9A23-CC00-49BE-545C-0D76C81C3D6A}" dt="2023-02-27T20:42:47.437" v="16"/>
          <pc:sldLayoutMkLst>
            <pc:docMk/>
            <pc:sldMasterMk cId="2290518370" sldId="2147483690"/>
            <pc:sldLayoutMk cId="3783389040" sldId="2147483696"/>
          </pc:sldLayoutMkLst>
        </pc:sldLayoutChg>
        <pc:sldLayoutChg chg="add">
          <pc:chgData name="Frédéric NGUYEN KIM" userId="S::frederic.nguyen-kim@talan.com::91a3dcbd-d60c-40ca-842f-e84e51d3b939" providerId="AD" clId="Web-{014D9A23-CC00-49BE-545C-0D76C81C3D6A}" dt="2023-02-27T20:42:47.437" v="16"/>
          <pc:sldLayoutMkLst>
            <pc:docMk/>
            <pc:sldMasterMk cId="2290518370" sldId="2147483690"/>
            <pc:sldLayoutMk cId="3594670789" sldId="2147483697"/>
          </pc:sldLayoutMkLst>
        </pc:sldLayoutChg>
        <pc:sldLayoutChg chg="add">
          <pc:chgData name="Frédéric NGUYEN KIM" userId="S::frederic.nguyen-kim@talan.com::91a3dcbd-d60c-40ca-842f-e84e51d3b939" providerId="AD" clId="Web-{014D9A23-CC00-49BE-545C-0D76C81C3D6A}" dt="2023-02-27T20:42:47.437" v="16"/>
          <pc:sldLayoutMkLst>
            <pc:docMk/>
            <pc:sldMasterMk cId="2290518370" sldId="2147483690"/>
            <pc:sldLayoutMk cId="2019066691" sldId="2147483698"/>
          </pc:sldLayoutMkLst>
        </pc:sldLayoutChg>
      </pc:sldMasterChg>
    </pc:docChg>
  </pc:docChgLst>
  <pc:docChgLst>
    <pc:chgData name="Dieudonné Richard" userId="6919c1e8-5ce9-4814-84d9-3d9dcf38eaa8" providerId="ADAL" clId="{FCBAC8AC-E72C-4F92-806E-06A007273956}"/>
    <pc:docChg chg="custSel modSld">
      <pc:chgData name="Dieudonné Richard" userId="6919c1e8-5ce9-4814-84d9-3d9dcf38eaa8" providerId="ADAL" clId="{FCBAC8AC-E72C-4F92-806E-06A007273956}" dt="2022-11-29T18:21:17.294" v="51" actId="1592"/>
      <pc:docMkLst>
        <pc:docMk/>
      </pc:docMkLst>
      <pc:sldChg chg="modSp mod addCm delCm modCm">
        <pc:chgData name="Dieudonné Richard" userId="6919c1e8-5ce9-4814-84d9-3d9dcf38eaa8" providerId="ADAL" clId="{FCBAC8AC-E72C-4F92-806E-06A007273956}" dt="2022-11-25T14:52:10.814" v="29" actId="1592"/>
        <pc:sldMkLst>
          <pc:docMk/>
          <pc:sldMk cId="3928011031" sldId="2076138189"/>
        </pc:sldMkLst>
        <pc:spChg chg="mod">
          <ac:chgData name="Dieudonné Richard" userId="6919c1e8-5ce9-4814-84d9-3d9dcf38eaa8" providerId="ADAL" clId="{FCBAC8AC-E72C-4F92-806E-06A007273956}" dt="2022-11-25T10:34:26.009" v="18" actId="1076"/>
          <ac:spMkLst>
            <pc:docMk/>
            <pc:sldMk cId="3928011031" sldId="2076138189"/>
            <ac:spMk id="3" creationId="{83773864-D1D2-8480-2478-D6767FCD4FB7}"/>
          </ac:spMkLst>
        </pc:spChg>
      </pc:sldChg>
      <pc:sldChg chg="addSp delSp modSp mod addCm delCm modCm">
        <pc:chgData name="Dieudonné Richard" userId="6919c1e8-5ce9-4814-84d9-3d9dcf38eaa8" providerId="ADAL" clId="{FCBAC8AC-E72C-4F92-806E-06A007273956}" dt="2022-11-29T18:21:17.294" v="51" actId="1592"/>
        <pc:sldMkLst>
          <pc:docMk/>
          <pc:sldMk cId="3018744438" sldId="2076138191"/>
        </pc:sldMkLst>
        <pc:spChg chg="mod">
          <ac:chgData name="Dieudonné Richard" userId="6919c1e8-5ce9-4814-84d9-3d9dcf38eaa8" providerId="ADAL" clId="{FCBAC8AC-E72C-4F92-806E-06A007273956}" dt="2022-11-25T10:08:40.642" v="0" actId="5793"/>
          <ac:spMkLst>
            <pc:docMk/>
            <pc:sldMk cId="3018744438" sldId="2076138191"/>
            <ac:spMk id="25" creationId="{4AEFC871-E98C-485E-9163-A731FB3B27F0}"/>
          </ac:spMkLst>
        </pc:spChg>
        <pc:spChg chg="add del mod">
          <ac:chgData name="Dieudonné Richard" userId="6919c1e8-5ce9-4814-84d9-3d9dcf38eaa8" providerId="ADAL" clId="{FCBAC8AC-E72C-4F92-806E-06A007273956}" dt="2022-11-29T18:21:13.973" v="50" actId="478"/>
          <ac:spMkLst>
            <pc:docMk/>
            <pc:sldMk cId="3018744438" sldId="2076138191"/>
            <ac:spMk id="29" creationId="{0EF2E676-70E1-4BAE-A46F-6E6FFC93AD05}"/>
          </ac:spMkLst>
        </pc:spChg>
      </pc:sldChg>
    </pc:docChg>
  </pc:docChgLst>
  <pc:docChgLst>
    <pc:chgData name="Amélie LE LEVREUR" userId="982b180d-1354-44d2-b69c-66806c841852" providerId="ADAL" clId="{905CF32A-8AB2-4123-8813-D9560A8ED00F}"/>
    <pc:docChg chg="undo custSel addSld delSld modSld modSection">
      <pc:chgData name="Amélie LE LEVREUR" userId="982b180d-1354-44d2-b69c-66806c841852" providerId="ADAL" clId="{905CF32A-8AB2-4123-8813-D9560A8ED00F}" dt="2023-03-14T14:39:01.010" v="27" actId="680"/>
      <pc:docMkLst>
        <pc:docMk/>
      </pc:docMkLst>
      <pc:sldChg chg="modSp mod">
        <pc:chgData name="Amélie LE LEVREUR" userId="982b180d-1354-44d2-b69c-66806c841852" providerId="ADAL" clId="{905CF32A-8AB2-4123-8813-D9560A8ED00F}" dt="2023-03-14T08:36:33.345" v="3" actId="1036"/>
        <pc:sldMkLst>
          <pc:docMk/>
          <pc:sldMk cId="3714264415" sldId="2147469979"/>
        </pc:sldMkLst>
        <pc:spChg chg="mod">
          <ac:chgData name="Amélie LE LEVREUR" userId="982b180d-1354-44d2-b69c-66806c841852" providerId="ADAL" clId="{905CF32A-8AB2-4123-8813-D9560A8ED00F}" dt="2023-03-14T08:36:33.345" v="3" actId="1036"/>
          <ac:spMkLst>
            <pc:docMk/>
            <pc:sldMk cId="3714264415" sldId="2147469979"/>
            <ac:spMk id="11" creationId="{C292AB15-E768-45D5-AD2A-5C819B23BD9F}"/>
          </ac:spMkLst>
        </pc:spChg>
      </pc:sldChg>
      <pc:sldChg chg="addCm modCm">
        <pc:chgData name="Amélie LE LEVREUR" userId="982b180d-1354-44d2-b69c-66806c841852" providerId="ADAL" clId="{905CF32A-8AB2-4123-8813-D9560A8ED00F}" dt="2023-03-13T17:20:43.689" v="1"/>
        <pc:sldMkLst>
          <pc:docMk/>
          <pc:sldMk cId="3239217406" sldId="2147469993"/>
        </pc:sldMkLst>
        <pc:extLst>
          <p:ext xmlns:p="http://schemas.openxmlformats.org/presentationml/2006/main" uri="{D6D511B9-2390-475A-947B-AFAB55BFBCF1}">
            <pc226:cmChg xmlns:pc226="http://schemas.microsoft.com/office/powerpoint/2022/06/main/command" chg="add mod">
              <pc226:chgData name="Amélie LE LEVREUR" userId="982b180d-1354-44d2-b69c-66806c841852" providerId="ADAL" clId="{905CF32A-8AB2-4123-8813-D9560A8ED00F}" dt="2023-03-13T17:20:43.689" v="1"/>
              <pc2:cmMkLst xmlns:pc2="http://schemas.microsoft.com/office/powerpoint/2019/9/main/command">
                <pc:docMk/>
                <pc:sldMk cId="3239217406" sldId="2147469993"/>
                <pc2:cmMk id="{0B812D21-00B7-42F1-A2C2-F377B86E36DD}"/>
              </pc2:cmMkLst>
            </pc226:cmChg>
          </p:ext>
        </pc:extLst>
      </pc:sldChg>
      <pc:sldChg chg="new del">
        <pc:chgData name="Amélie LE LEVREUR" userId="982b180d-1354-44d2-b69c-66806c841852" providerId="ADAL" clId="{905CF32A-8AB2-4123-8813-D9560A8ED00F}" dt="2023-03-14T14:39:01.010" v="27" actId="680"/>
        <pc:sldMkLst>
          <pc:docMk/>
          <pc:sldMk cId="2280886382" sldId="2147469996"/>
        </pc:sldMkLst>
      </pc:sldChg>
      <pc:sldChg chg="new del">
        <pc:chgData name="Amélie LE LEVREUR" userId="982b180d-1354-44d2-b69c-66806c841852" providerId="ADAL" clId="{905CF32A-8AB2-4123-8813-D9560A8ED00F}" dt="2023-03-14T14:39:00.164" v="26" actId="680"/>
        <pc:sldMkLst>
          <pc:docMk/>
          <pc:sldMk cId="944251569" sldId="2147469997"/>
        </pc:sldMkLst>
      </pc:sldChg>
      <pc:sldChg chg="new del">
        <pc:chgData name="Amélie LE LEVREUR" userId="982b180d-1354-44d2-b69c-66806c841852" providerId="ADAL" clId="{905CF32A-8AB2-4123-8813-D9560A8ED00F}" dt="2023-03-14T14:38:59.549" v="25" actId="680"/>
        <pc:sldMkLst>
          <pc:docMk/>
          <pc:sldMk cId="3725795261" sldId="2147469998"/>
        </pc:sldMkLst>
      </pc:sldChg>
      <pc:sldChg chg="new del">
        <pc:chgData name="Amélie LE LEVREUR" userId="982b180d-1354-44d2-b69c-66806c841852" providerId="ADAL" clId="{905CF32A-8AB2-4123-8813-D9560A8ED00F}" dt="2023-03-14T14:38:59.114" v="24" actId="680"/>
        <pc:sldMkLst>
          <pc:docMk/>
          <pc:sldMk cId="3859103051" sldId="2147469999"/>
        </pc:sldMkLst>
      </pc:sldChg>
      <pc:sldChg chg="new del">
        <pc:chgData name="Amélie LE LEVREUR" userId="982b180d-1354-44d2-b69c-66806c841852" providerId="ADAL" clId="{905CF32A-8AB2-4123-8813-D9560A8ED00F}" dt="2023-03-14T14:38:58.746" v="23" actId="680"/>
        <pc:sldMkLst>
          <pc:docMk/>
          <pc:sldMk cId="3638016099" sldId="2147470000"/>
        </pc:sldMkLst>
      </pc:sldChg>
      <pc:sldChg chg="new del">
        <pc:chgData name="Amélie LE LEVREUR" userId="982b180d-1354-44d2-b69c-66806c841852" providerId="ADAL" clId="{905CF32A-8AB2-4123-8813-D9560A8ED00F}" dt="2023-03-14T14:38:58.019" v="22" actId="680"/>
        <pc:sldMkLst>
          <pc:docMk/>
          <pc:sldMk cId="1576245312" sldId="2147470001"/>
        </pc:sldMkLst>
      </pc:sldChg>
      <pc:sldChg chg="new del">
        <pc:chgData name="Amélie LE LEVREUR" userId="982b180d-1354-44d2-b69c-66806c841852" providerId="ADAL" clId="{905CF32A-8AB2-4123-8813-D9560A8ED00F}" dt="2023-03-14T14:38:56.079" v="21" actId="680"/>
        <pc:sldMkLst>
          <pc:docMk/>
          <pc:sldMk cId="3535569553" sldId="2147470002"/>
        </pc:sldMkLst>
      </pc:sldChg>
      <pc:sldChg chg="new del">
        <pc:chgData name="Amélie LE LEVREUR" userId="982b180d-1354-44d2-b69c-66806c841852" providerId="ADAL" clId="{905CF32A-8AB2-4123-8813-D9560A8ED00F}" dt="2023-03-14T14:38:55.144" v="20" actId="680"/>
        <pc:sldMkLst>
          <pc:docMk/>
          <pc:sldMk cId="12144042" sldId="2147470003"/>
        </pc:sldMkLst>
      </pc:sldChg>
      <pc:sldChg chg="new del">
        <pc:chgData name="Amélie LE LEVREUR" userId="982b180d-1354-44d2-b69c-66806c841852" providerId="ADAL" clId="{905CF32A-8AB2-4123-8813-D9560A8ED00F}" dt="2023-03-14T14:38:53.452" v="19" actId="680"/>
        <pc:sldMkLst>
          <pc:docMk/>
          <pc:sldMk cId="2308331646" sldId="2147470004"/>
        </pc:sldMkLst>
      </pc:sldChg>
      <pc:sldChg chg="new del">
        <pc:chgData name="Amélie LE LEVREUR" userId="982b180d-1354-44d2-b69c-66806c841852" providerId="ADAL" clId="{905CF32A-8AB2-4123-8813-D9560A8ED00F}" dt="2023-03-14T14:38:51.942" v="18" actId="680"/>
        <pc:sldMkLst>
          <pc:docMk/>
          <pc:sldMk cId="84702216" sldId="2147470005"/>
        </pc:sldMkLst>
      </pc:sldChg>
      <pc:sldChg chg="new del">
        <pc:chgData name="Amélie LE LEVREUR" userId="982b180d-1354-44d2-b69c-66806c841852" providerId="ADAL" clId="{905CF32A-8AB2-4123-8813-D9560A8ED00F}" dt="2023-03-14T14:38:51.100" v="17" actId="680"/>
        <pc:sldMkLst>
          <pc:docMk/>
          <pc:sldMk cId="3689492067" sldId="2147470006"/>
        </pc:sldMkLst>
      </pc:sldChg>
      <pc:sldChg chg="new del">
        <pc:chgData name="Amélie LE LEVREUR" userId="982b180d-1354-44d2-b69c-66806c841852" providerId="ADAL" clId="{905CF32A-8AB2-4123-8813-D9560A8ED00F}" dt="2023-03-14T14:38:50.457" v="16" actId="680"/>
        <pc:sldMkLst>
          <pc:docMk/>
          <pc:sldMk cId="3705124037" sldId="2147470007"/>
        </pc:sldMkLst>
      </pc:sldChg>
    </pc:docChg>
  </pc:docChgLst>
  <pc:docChgLst>
    <pc:chgData clId="Web-{1E25E338-B1A9-46EF-82F9-9ED7EAD68DC8}"/>
    <pc:docChg chg="modSld">
      <pc:chgData name="" userId="" providerId="" clId="Web-{1E25E338-B1A9-46EF-82F9-9ED7EAD68DC8}" dt="2022-11-25T08:48:41.446" v="0" actId="20577"/>
      <pc:docMkLst>
        <pc:docMk/>
      </pc:docMkLst>
      <pc:sldChg chg="modSp">
        <pc:chgData name="" userId="" providerId="" clId="Web-{1E25E338-B1A9-46EF-82F9-9ED7EAD68DC8}" dt="2022-11-25T08:48:41.446" v="0" actId="20577"/>
        <pc:sldMkLst>
          <pc:docMk/>
          <pc:sldMk cId="4202844115" sldId="2076138192"/>
        </pc:sldMkLst>
        <pc:spChg chg="mod">
          <ac:chgData name="" userId="" providerId="" clId="Web-{1E25E338-B1A9-46EF-82F9-9ED7EAD68DC8}" dt="2022-11-25T08:48:41.446" v="0" actId="20577"/>
          <ac:spMkLst>
            <pc:docMk/>
            <pc:sldMk cId="4202844115" sldId="2076138192"/>
            <ac:spMk id="4" creationId="{DFE4ECB6-193A-41CD-8C1D-5A9AA8C9E006}"/>
          </ac:spMkLst>
        </pc:spChg>
      </pc:sldChg>
    </pc:docChg>
  </pc:docChgLst>
  <pc:docChgLst>
    <pc:chgData name="Rodolphe GARABETIAN" userId="S::rodolphe.garabetian@talan.com::e7997f99-2964-44b6-a160-d8bc589f79c2" providerId="AD" clId="Web-{59DAC355-EC6E-F083-C89E-871850415A55}"/>
    <pc:docChg chg="modSld">
      <pc:chgData name="Rodolphe GARABETIAN" userId="S::rodolphe.garabetian@talan.com::e7997f99-2964-44b6-a160-d8bc589f79c2" providerId="AD" clId="Web-{59DAC355-EC6E-F083-C89E-871850415A55}" dt="2022-11-22T17:16:13.291" v="293" actId="14100"/>
      <pc:docMkLst>
        <pc:docMk/>
      </pc:docMkLst>
      <pc:sldChg chg="delSp modSp">
        <pc:chgData name="Rodolphe GARABETIAN" userId="S::rodolphe.garabetian@talan.com::e7997f99-2964-44b6-a160-d8bc589f79c2" providerId="AD" clId="Web-{59DAC355-EC6E-F083-C89E-871850415A55}" dt="2022-11-22T17:16:13.291" v="293" actId="14100"/>
        <pc:sldMkLst>
          <pc:docMk/>
          <pc:sldMk cId="3928011031" sldId="2076138189"/>
        </pc:sldMkLst>
        <pc:spChg chg="mod">
          <ac:chgData name="Rodolphe GARABETIAN" userId="S::rodolphe.garabetian@talan.com::e7997f99-2964-44b6-a160-d8bc589f79c2" providerId="AD" clId="Web-{59DAC355-EC6E-F083-C89E-871850415A55}" dt="2022-11-22T17:07:25.958" v="220" actId="14100"/>
          <ac:spMkLst>
            <pc:docMk/>
            <pc:sldMk cId="3928011031" sldId="2076138189"/>
            <ac:spMk id="35" creationId="{B575BAC0-1618-4B33-A0A8-91858A61549D}"/>
          </ac:spMkLst>
        </pc:spChg>
        <pc:spChg chg="mod">
          <ac:chgData name="Rodolphe GARABETIAN" userId="S::rodolphe.garabetian@talan.com::e7997f99-2964-44b6-a160-d8bc589f79c2" providerId="AD" clId="Web-{59DAC355-EC6E-F083-C89E-871850415A55}" dt="2022-11-22T17:07:33.099" v="221" actId="1076"/>
          <ac:spMkLst>
            <pc:docMk/>
            <pc:sldMk cId="3928011031" sldId="2076138189"/>
            <ac:spMk id="36" creationId="{638D0AEB-E4D0-41EE-BAC3-46A77B520182}"/>
          </ac:spMkLst>
        </pc:spChg>
        <pc:spChg chg="mod">
          <ac:chgData name="Rodolphe GARABETIAN" userId="S::rodolphe.garabetian@talan.com::e7997f99-2964-44b6-a160-d8bc589f79c2" providerId="AD" clId="Web-{59DAC355-EC6E-F083-C89E-871850415A55}" dt="2022-11-22T17:08:56.837" v="244" actId="20577"/>
          <ac:spMkLst>
            <pc:docMk/>
            <pc:sldMk cId="3928011031" sldId="2076138189"/>
            <ac:spMk id="39" creationId="{ECE33F57-5CDE-4B20-9FCA-58BCEAB64F81}"/>
          </ac:spMkLst>
        </pc:spChg>
        <pc:spChg chg="del">
          <ac:chgData name="Rodolphe GARABETIAN" userId="S::rodolphe.garabetian@talan.com::e7997f99-2964-44b6-a160-d8bc589f79c2" providerId="AD" clId="Web-{59DAC355-EC6E-F083-C89E-871850415A55}" dt="2022-11-22T17:01:55.634" v="49"/>
          <ac:spMkLst>
            <pc:docMk/>
            <pc:sldMk cId="3928011031" sldId="2076138189"/>
            <ac:spMk id="41" creationId="{FCD199DA-9FF6-45D3-89C7-BECB01E8C07E}"/>
          </ac:spMkLst>
        </pc:spChg>
        <pc:spChg chg="mod">
          <ac:chgData name="Rodolphe GARABETIAN" userId="S::rodolphe.garabetian@talan.com::e7997f99-2964-44b6-a160-d8bc589f79c2" providerId="AD" clId="Web-{59DAC355-EC6E-F083-C89E-871850415A55}" dt="2022-11-22T17:09:14.494" v="245" actId="14100"/>
          <ac:spMkLst>
            <pc:docMk/>
            <pc:sldMk cId="3928011031" sldId="2076138189"/>
            <ac:spMk id="42" creationId="{08437B7B-023D-4A3A-A678-85F4C64FB838}"/>
          </ac:spMkLst>
        </pc:spChg>
        <pc:spChg chg="del">
          <ac:chgData name="Rodolphe GARABETIAN" userId="S::rodolphe.garabetian@talan.com::e7997f99-2964-44b6-a160-d8bc589f79c2" providerId="AD" clId="Web-{59DAC355-EC6E-F083-C89E-871850415A55}" dt="2022-11-22T17:01:55.634" v="48"/>
          <ac:spMkLst>
            <pc:docMk/>
            <pc:sldMk cId="3928011031" sldId="2076138189"/>
            <ac:spMk id="43" creationId="{2C97E00F-516E-40A5-9FCD-DB4BB16B3F54}"/>
          </ac:spMkLst>
        </pc:spChg>
        <pc:spChg chg="mod">
          <ac:chgData name="Rodolphe GARABETIAN" userId="S::rodolphe.garabetian@talan.com::e7997f99-2964-44b6-a160-d8bc589f79c2" providerId="AD" clId="Web-{59DAC355-EC6E-F083-C89E-871850415A55}" dt="2022-11-22T17:16:13.291" v="293" actId="14100"/>
          <ac:spMkLst>
            <pc:docMk/>
            <pc:sldMk cId="3928011031" sldId="2076138189"/>
            <ac:spMk id="44" creationId="{ECF083C1-A008-4E57-9675-B2BEBD9FACC7}"/>
          </ac:spMkLst>
        </pc:spChg>
        <pc:spChg chg="del">
          <ac:chgData name="Rodolphe GARABETIAN" userId="S::rodolphe.garabetian@talan.com::e7997f99-2964-44b6-a160-d8bc589f79c2" providerId="AD" clId="Web-{59DAC355-EC6E-F083-C89E-871850415A55}" dt="2022-11-22T17:05:07.860" v="120"/>
          <ac:spMkLst>
            <pc:docMk/>
            <pc:sldMk cId="3928011031" sldId="2076138189"/>
            <ac:spMk id="55" creationId="{DA706CE2-0AED-4FFA-B4A6-0C8656AAB67B}"/>
          </ac:spMkLst>
        </pc:spChg>
        <pc:spChg chg="del">
          <ac:chgData name="Rodolphe GARABETIAN" userId="S::rodolphe.garabetian@talan.com::e7997f99-2964-44b6-a160-d8bc589f79c2" providerId="AD" clId="Web-{59DAC355-EC6E-F083-C89E-871850415A55}" dt="2022-11-22T17:05:05.219" v="119"/>
          <ac:spMkLst>
            <pc:docMk/>
            <pc:sldMk cId="3928011031" sldId="2076138189"/>
            <ac:spMk id="56" creationId="{7BBADF51-368E-4415-A4C3-5B728AA38877}"/>
          </ac:spMkLst>
        </pc:spChg>
        <pc:grpChg chg="mod">
          <ac:chgData name="Rodolphe GARABETIAN" userId="S::rodolphe.garabetian@talan.com::e7997f99-2964-44b6-a160-d8bc589f79c2" providerId="AD" clId="Web-{59DAC355-EC6E-F083-C89E-871850415A55}" dt="2022-11-22T17:07:06.208" v="216" actId="1076"/>
          <ac:grpSpMkLst>
            <pc:docMk/>
            <pc:sldMk cId="3928011031" sldId="2076138189"/>
            <ac:grpSpMk id="45" creationId="{E8259B00-F470-4E89-A7F4-C20B18533302}"/>
          </ac:grpSpMkLst>
        </pc:grpChg>
        <pc:grpChg chg="del">
          <ac:chgData name="Rodolphe GARABETIAN" userId="S::rodolphe.garabetian@talan.com::e7997f99-2964-44b6-a160-d8bc589f79c2" providerId="AD" clId="Web-{59DAC355-EC6E-F083-C89E-871850415A55}" dt="2022-11-22T17:04:55.437" v="118"/>
          <ac:grpSpMkLst>
            <pc:docMk/>
            <pc:sldMk cId="3928011031" sldId="2076138189"/>
            <ac:grpSpMk id="47" creationId="{1E870B89-26B1-4386-BDD2-D10CB25C2A4C}"/>
          </ac:grpSpMkLst>
        </pc:grpChg>
        <pc:grpChg chg="del">
          <ac:chgData name="Rodolphe GARABETIAN" userId="S::rodolphe.garabetian@talan.com::e7997f99-2964-44b6-a160-d8bc589f79c2" providerId="AD" clId="Web-{59DAC355-EC6E-F083-C89E-871850415A55}" dt="2022-11-22T17:05:05.219" v="119"/>
          <ac:grpSpMkLst>
            <pc:docMk/>
            <pc:sldMk cId="3928011031" sldId="2076138189"/>
            <ac:grpSpMk id="53" creationId="{AFD0FED5-6B7F-4832-8DB6-34D37C68AF74}"/>
          </ac:grpSpMkLst>
        </pc:grpChg>
        <pc:picChg chg="del">
          <ac:chgData name="Rodolphe GARABETIAN" userId="S::rodolphe.garabetian@talan.com::e7997f99-2964-44b6-a160-d8bc589f79c2" providerId="AD" clId="Web-{59DAC355-EC6E-F083-C89E-871850415A55}" dt="2022-11-22T17:04:55.437" v="118"/>
          <ac:picMkLst>
            <pc:docMk/>
            <pc:sldMk cId="3928011031" sldId="2076138189"/>
            <ac:picMk id="54" creationId="{D015225E-8F4C-40A4-B9F3-4FAFFBA1E5D7}"/>
          </ac:picMkLst>
        </pc:picChg>
        <pc:cxnChg chg="mod">
          <ac:chgData name="Rodolphe GARABETIAN" userId="S::rodolphe.garabetian@talan.com::e7997f99-2964-44b6-a160-d8bc589f79c2" providerId="AD" clId="Web-{59DAC355-EC6E-F083-C89E-871850415A55}" dt="2022-11-22T17:07:13.083" v="217" actId="14100"/>
          <ac:cxnSpMkLst>
            <pc:docMk/>
            <pc:sldMk cId="3928011031" sldId="2076138189"/>
            <ac:cxnSpMk id="37" creationId="{5D09E2D6-BD80-43D3-A431-DFACEDD780D3}"/>
          </ac:cxnSpMkLst>
        </pc:cxnChg>
      </pc:sldChg>
    </pc:docChg>
  </pc:docChgLst>
  <pc:docChgLst>
    <pc:chgData name="Frédéric NGUYEN KIM" userId="S::frederic.nguyen-kim@talan.com::91a3dcbd-d60c-40ca-842f-e84e51d3b939" providerId="AD" clId="Web-{7E9DA709-945D-D354-1312-BD850ED98B18}"/>
    <pc:docChg chg="addSld delSld modSld addMainMaster modSection">
      <pc:chgData name="Frédéric NGUYEN KIM" userId="S::frederic.nguyen-kim@talan.com::91a3dcbd-d60c-40ca-842f-e84e51d3b939" providerId="AD" clId="Web-{7E9DA709-945D-D354-1312-BD850ED98B18}" dt="2023-02-27T21:16:34.895" v="169" actId="20577"/>
      <pc:docMkLst>
        <pc:docMk/>
      </pc:docMkLst>
      <pc:sldChg chg="addSp delSp modSp">
        <pc:chgData name="Frédéric NGUYEN KIM" userId="S::frederic.nguyen-kim@talan.com::91a3dcbd-d60c-40ca-842f-e84e51d3b939" providerId="AD" clId="Web-{7E9DA709-945D-D354-1312-BD850ED98B18}" dt="2023-02-27T21:15:34.688" v="163" actId="20577"/>
        <pc:sldMkLst>
          <pc:docMk/>
          <pc:sldMk cId="3144834754" sldId="2147469909"/>
        </pc:sldMkLst>
        <pc:spChg chg="mod">
          <ac:chgData name="Frédéric NGUYEN KIM" userId="S::frederic.nguyen-kim@talan.com::91a3dcbd-d60c-40ca-842f-e84e51d3b939" providerId="AD" clId="Web-{7E9DA709-945D-D354-1312-BD850ED98B18}" dt="2023-02-27T21:15:34.688" v="163" actId="20577"/>
          <ac:spMkLst>
            <pc:docMk/>
            <pc:sldMk cId="3144834754" sldId="2147469909"/>
            <ac:spMk id="2" creationId="{815C57AF-169F-4314-AC66-D8269E11F446}"/>
          </ac:spMkLst>
        </pc:spChg>
        <pc:spChg chg="add del mod">
          <ac:chgData name="Frédéric NGUYEN KIM" userId="S::frederic.nguyen-kim@talan.com::91a3dcbd-d60c-40ca-842f-e84e51d3b939" providerId="AD" clId="Web-{7E9DA709-945D-D354-1312-BD850ED98B18}" dt="2023-02-27T21:07:10.186" v="34" actId="20577"/>
          <ac:spMkLst>
            <pc:docMk/>
            <pc:sldMk cId="3144834754" sldId="2147469909"/>
            <ac:spMk id="18" creationId="{A1E8DA8D-DDA9-9516-4600-D91AAD8CD040}"/>
          </ac:spMkLst>
        </pc:spChg>
        <pc:spChg chg="mod">
          <ac:chgData name="Frédéric NGUYEN KIM" userId="S::frederic.nguyen-kim@talan.com::91a3dcbd-d60c-40ca-842f-e84e51d3b939" providerId="AD" clId="Web-{7E9DA709-945D-D354-1312-BD850ED98B18}" dt="2023-02-27T21:10:08.494" v="123" actId="20577"/>
          <ac:spMkLst>
            <pc:docMk/>
            <pc:sldMk cId="3144834754" sldId="2147469909"/>
            <ac:spMk id="19" creationId="{CBD6D245-BF5B-1DC2-AC45-A423A8E00CBE}"/>
          </ac:spMkLst>
        </pc:spChg>
        <pc:spChg chg="mod">
          <ac:chgData name="Frédéric NGUYEN KIM" userId="S::frederic.nguyen-kim@talan.com::91a3dcbd-d60c-40ca-842f-e84e51d3b939" providerId="AD" clId="Web-{7E9DA709-945D-D354-1312-BD850ED98B18}" dt="2023-02-27T21:07:18.358" v="36" actId="20577"/>
          <ac:spMkLst>
            <pc:docMk/>
            <pc:sldMk cId="3144834754" sldId="2147469909"/>
            <ac:spMk id="23" creationId="{DB6C3D9F-349A-844B-ED6B-5E26B0117BB7}"/>
          </ac:spMkLst>
        </pc:spChg>
        <pc:spChg chg="mod">
          <ac:chgData name="Frédéric NGUYEN KIM" userId="S::frederic.nguyen-kim@talan.com::91a3dcbd-d60c-40ca-842f-e84e51d3b939" providerId="AD" clId="Web-{7E9DA709-945D-D354-1312-BD850ED98B18}" dt="2023-02-27T21:11:32.344" v="127" actId="20577"/>
          <ac:spMkLst>
            <pc:docMk/>
            <pc:sldMk cId="3144834754" sldId="2147469909"/>
            <ac:spMk id="25" creationId="{ED42A14E-AA65-2244-0FAC-744C00CCE5DB}"/>
          </ac:spMkLst>
        </pc:spChg>
        <pc:spChg chg="del mod">
          <ac:chgData name="Frédéric NGUYEN KIM" userId="S::frederic.nguyen-kim@talan.com::91a3dcbd-d60c-40ca-842f-e84e51d3b939" providerId="AD" clId="Web-{7E9DA709-945D-D354-1312-BD850ED98B18}" dt="2023-02-27T21:06:07.603" v="17"/>
          <ac:spMkLst>
            <pc:docMk/>
            <pc:sldMk cId="3144834754" sldId="2147469909"/>
            <ac:spMk id="60" creationId="{2F13E9AD-F06E-A35B-8CBD-D79242BDD669}"/>
          </ac:spMkLst>
        </pc:spChg>
      </pc:sldChg>
      <pc:sldChg chg="addSp delSp modSp add replId">
        <pc:chgData name="Frédéric NGUYEN KIM" userId="S::frederic.nguyen-kim@talan.com::91a3dcbd-d60c-40ca-842f-e84e51d3b939" providerId="AD" clId="Web-{7E9DA709-945D-D354-1312-BD850ED98B18}" dt="2023-02-27T21:16:34.895" v="169" actId="20577"/>
        <pc:sldMkLst>
          <pc:docMk/>
          <pc:sldMk cId="975935074" sldId="2147469910"/>
        </pc:sldMkLst>
        <pc:spChg chg="mod">
          <ac:chgData name="Frédéric NGUYEN KIM" userId="S::frederic.nguyen-kim@talan.com::91a3dcbd-d60c-40ca-842f-e84e51d3b939" providerId="AD" clId="Web-{7E9DA709-945D-D354-1312-BD850ED98B18}" dt="2023-02-27T21:15:18.328" v="161" actId="20577"/>
          <ac:spMkLst>
            <pc:docMk/>
            <pc:sldMk cId="975935074" sldId="2147469910"/>
            <ac:spMk id="2" creationId="{815C57AF-169F-4314-AC66-D8269E11F446}"/>
          </ac:spMkLst>
        </pc:spChg>
        <pc:spChg chg="del">
          <ac:chgData name="Frédéric NGUYEN KIM" userId="S::frederic.nguyen-kim@talan.com::91a3dcbd-d60c-40ca-842f-e84e51d3b939" providerId="AD" clId="Web-{7E9DA709-945D-D354-1312-BD850ED98B18}" dt="2023-02-27T21:13:49.665" v="137"/>
          <ac:spMkLst>
            <pc:docMk/>
            <pc:sldMk cId="975935074" sldId="2147469910"/>
            <ac:spMk id="18" creationId="{A1E8DA8D-DDA9-9516-4600-D91AAD8CD040}"/>
          </ac:spMkLst>
        </pc:spChg>
        <pc:spChg chg="del">
          <ac:chgData name="Frédéric NGUYEN KIM" userId="S::frederic.nguyen-kim@talan.com::91a3dcbd-d60c-40ca-842f-e84e51d3b939" providerId="AD" clId="Web-{7E9DA709-945D-D354-1312-BD850ED98B18}" dt="2023-02-27T21:13:53.134" v="138"/>
          <ac:spMkLst>
            <pc:docMk/>
            <pc:sldMk cId="975935074" sldId="2147469910"/>
            <ac:spMk id="19" creationId="{CBD6D245-BF5B-1DC2-AC45-A423A8E00CBE}"/>
          </ac:spMkLst>
        </pc:spChg>
        <pc:spChg chg="add">
          <ac:chgData name="Frédéric NGUYEN KIM" userId="S::frederic.nguyen-kim@talan.com::91a3dcbd-d60c-40ca-842f-e84e51d3b939" providerId="AD" clId="Web-{7E9DA709-945D-D354-1312-BD850ED98B18}" dt="2023-02-27T21:14:15.855" v="140"/>
          <ac:spMkLst>
            <pc:docMk/>
            <pc:sldMk cId="975935074" sldId="2147469910"/>
            <ac:spMk id="20" creationId="{AA081B00-50B6-A18B-6500-9FEB77619E3F}"/>
          </ac:spMkLst>
        </pc:spChg>
        <pc:spChg chg="del">
          <ac:chgData name="Frédéric NGUYEN KIM" userId="S::frederic.nguyen-kim@talan.com::91a3dcbd-d60c-40ca-842f-e84e51d3b939" providerId="AD" clId="Web-{7E9DA709-945D-D354-1312-BD850ED98B18}" dt="2023-02-27T21:13:28.367" v="131"/>
          <ac:spMkLst>
            <pc:docMk/>
            <pc:sldMk cId="975935074" sldId="2147469910"/>
            <ac:spMk id="23" creationId="{DB6C3D9F-349A-844B-ED6B-5E26B0117BB7}"/>
          </ac:spMkLst>
        </pc:spChg>
        <pc:spChg chg="add">
          <ac:chgData name="Frédéric NGUYEN KIM" userId="S::frederic.nguyen-kim@talan.com::91a3dcbd-d60c-40ca-842f-e84e51d3b939" providerId="AD" clId="Web-{7E9DA709-945D-D354-1312-BD850ED98B18}" dt="2023-02-27T21:14:16.089" v="141"/>
          <ac:spMkLst>
            <pc:docMk/>
            <pc:sldMk cId="975935074" sldId="2147469910"/>
            <ac:spMk id="24" creationId="{B059CAB1-8684-A7D5-6C90-520EF6287F94}"/>
          </ac:spMkLst>
        </pc:spChg>
        <pc:spChg chg="del">
          <ac:chgData name="Frédéric NGUYEN KIM" userId="S::frederic.nguyen-kim@talan.com::91a3dcbd-d60c-40ca-842f-e84e51d3b939" providerId="AD" clId="Web-{7E9DA709-945D-D354-1312-BD850ED98B18}" dt="2023-02-27T21:13:28.367" v="130"/>
          <ac:spMkLst>
            <pc:docMk/>
            <pc:sldMk cId="975935074" sldId="2147469910"/>
            <ac:spMk id="25" creationId="{ED42A14E-AA65-2244-0FAC-744C00CCE5DB}"/>
          </ac:spMkLst>
        </pc:spChg>
        <pc:spChg chg="add">
          <ac:chgData name="Frédéric NGUYEN KIM" userId="S::frederic.nguyen-kim@talan.com::91a3dcbd-d60c-40ca-842f-e84e51d3b939" providerId="AD" clId="Web-{7E9DA709-945D-D354-1312-BD850ED98B18}" dt="2023-02-27T21:14:16.339" v="142"/>
          <ac:spMkLst>
            <pc:docMk/>
            <pc:sldMk cId="975935074" sldId="2147469910"/>
            <ac:spMk id="28" creationId="{A9D8506C-ACDA-53A9-3ECC-1553B5A1AD47}"/>
          </ac:spMkLst>
        </pc:spChg>
        <pc:spChg chg="mod">
          <ac:chgData name="Frédéric NGUYEN KIM" userId="S::frederic.nguyen-kim@talan.com::91a3dcbd-d60c-40ca-842f-e84e51d3b939" providerId="AD" clId="Web-{7E9DA709-945D-D354-1312-BD850ED98B18}" dt="2023-02-27T21:15:58.815" v="165" actId="20577"/>
          <ac:spMkLst>
            <pc:docMk/>
            <pc:sldMk cId="975935074" sldId="2147469910"/>
            <ac:spMk id="29" creationId="{B54F31AE-AFB7-514D-4F49-9EB53C412810}"/>
          </ac:spMkLst>
        </pc:spChg>
        <pc:spChg chg="add">
          <ac:chgData name="Frédéric NGUYEN KIM" userId="S::frederic.nguyen-kim@talan.com::91a3dcbd-d60c-40ca-842f-e84e51d3b939" providerId="AD" clId="Web-{7E9DA709-945D-D354-1312-BD850ED98B18}" dt="2023-02-27T21:14:27.293" v="143"/>
          <ac:spMkLst>
            <pc:docMk/>
            <pc:sldMk cId="975935074" sldId="2147469910"/>
            <ac:spMk id="32" creationId="{459273FE-0A67-EA52-C1C1-8157F8DEE7FB}"/>
          </ac:spMkLst>
        </pc:spChg>
        <pc:spChg chg="add mod">
          <ac:chgData name="Frédéric NGUYEN KIM" userId="S::frederic.nguyen-kim@talan.com::91a3dcbd-d60c-40ca-842f-e84e51d3b939" providerId="AD" clId="Web-{7E9DA709-945D-D354-1312-BD850ED98B18}" dt="2023-02-27T21:16:34.895" v="169" actId="20577"/>
          <ac:spMkLst>
            <pc:docMk/>
            <pc:sldMk cId="975935074" sldId="2147469910"/>
            <ac:spMk id="36" creationId="{BD6FA088-1500-7AF2-7627-B765B6C7DFE0}"/>
          </ac:spMkLst>
        </pc:spChg>
        <pc:spChg chg="add">
          <ac:chgData name="Frédéric NGUYEN KIM" userId="S::frederic.nguyen-kim@talan.com::91a3dcbd-d60c-40ca-842f-e84e51d3b939" providerId="AD" clId="Web-{7E9DA709-945D-D354-1312-BD850ED98B18}" dt="2023-02-27T21:14:27.809" v="145"/>
          <ac:spMkLst>
            <pc:docMk/>
            <pc:sldMk cId="975935074" sldId="2147469910"/>
            <ac:spMk id="38" creationId="{9DD087BD-8C3A-4A3E-09C3-00952E1EA2EB}"/>
          </ac:spMkLst>
        </pc:spChg>
        <pc:spChg chg="del">
          <ac:chgData name="Frédéric NGUYEN KIM" userId="S::frederic.nguyen-kim@talan.com::91a3dcbd-d60c-40ca-842f-e84e51d3b939" providerId="AD" clId="Web-{7E9DA709-945D-D354-1312-BD850ED98B18}" dt="2023-02-27T21:13:49.650" v="136"/>
          <ac:spMkLst>
            <pc:docMk/>
            <pc:sldMk cId="975935074" sldId="2147469910"/>
            <ac:spMk id="56" creationId="{BAA62C19-6564-9887-D19E-CFB7E2BBB02B}"/>
          </ac:spMkLst>
        </pc:spChg>
        <pc:spChg chg="del">
          <ac:chgData name="Frédéric NGUYEN KIM" userId="S::frederic.nguyen-kim@talan.com::91a3dcbd-d60c-40ca-842f-e84e51d3b939" providerId="AD" clId="Web-{7E9DA709-945D-D354-1312-BD850ED98B18}" dt="2023-02-27T21:13:28.367" v="129"/>
          <ac:spMkLst>
            <pc:docMk/>
            <pc:sldMk cId="975935074" sldId="2147469910"/>
            <ac:spMk id="58" creationId="{60D9FC39-D4AE-D046-C356-F79D0EEF7DC5}"/>
          </ac:spMkLst>
        </pc:spChg>
        <pc:picChg chg="add del mod">
          <ac:chgData name="Frédéric NGUYEN KIM" userId="S::frederic.nguyen-kim@talan.com::91a3dcbd-d60c-40ca-842f-e84e51d3b939" providerId="AD" clId="Web-{7E9DA709-945D-D354-1312-BD850ED98B18}" dt="2023-02-27T21:13:42.822" v="135"/>
          <ac:picMkLst>
            <pc:docMk/>
            <pc:sldMk cId="975935074" sldId="2147469910"/>
            <ac:picMk id="3" creationId="{B65BC190-DD0E-80A2-628F-B70E358B5942}"/>
          </ac:picMkLst>
        </pc:picChg>
      </pc:sldChg>
      <pc:sldChg chg="add del">
        <pc:chgData name="Frédéric NGUYEN KIM" userId="S::frederic.nguyen-kim@talan.com::91a3dcbd-d60c-40ca-842f-e84e51d3b939" providerId="AD" clId="Web-{7E9DA709-945D-D354-1312-BD850ED98B18}" dt="2023-02-27T21:14:44.997" v="146"/>
        <pc:sldMkLst>
          <pc:docMk/>
          <pc:sldMk cId="1952007501" sldId="2147469911"/>
        </pc:sldMkLst>
      </pc:sldChg>
      <pc:sldMasterChg chg="add addSldLayout">
        <pc:chgData name="Frédéric NGUYEN KIM" userId="S::frederic.nguyen-kim@talan.com::91a3dcbd-d60c-40ca-842f-e84e51d3b939" providerId="AD" clId="Web-{7E9DA709-945D-D354-1312-BD850ED98B18}" dt="2023-02-27T21:14:05.245" v="139"/>
        <pc:sldMasterMkLst>
          <pc:docMk/>
          <pc:sldMasterMk cId="2290518370" sldId="2147483690"/>
        </pc:sldMasterMkLst>
        <pc:sldLayoutChg chg="add">
          <pc:chgData name="Frédéric NGUYEN KIM" userId="S::frederic.nguyen-kim@talan.com::91a3dcbd-d60c-40ca-842f-e84e51d3b939" providerId="AD" clId="Web-{7E9DA709-945D-D354-1312-BD850ED98B18}" dt="2023-02-27T21:14:05.245" v="139"/>
          <pc:sldLayoutMkLst>
            <pc:docMk/>
            <pc:sldMasterMk cId="2290518370" sldId="2147483690"/>
            <pc:sldLayoutMk cId="2607318801" sldId="2147483691"/>
          </pc:sldLayoutMkLst>
        </pc:sldLayoutChg>
        <pc:sldLayoutChg chg="add">
          <pc:chgData name="Frédéric NGUYEN KIM" userId="S::frederic.nguyen-kim@talan.com::91a3dcbd-d60c-40ca-842f-e84e51d3b939" providerId="AD" clId="Web-{7E9DA709-945D-D354-1312-BD850ED98B18}" dt="2023-02-27T21:14:05.245" v="139"/>
          <pc:sldLayoutMkLst>
            <pc:docMk/>
            <pc:sldMasterMk cId="2290518370" sldId="2147483690"/>
            <pc:sldLayoutMk cId="3194609206" sldId="2147483692"/>
          </pc:sldLayoutMkLst>
        </pc:sldLayoutChg>
        <pc:sldLayoutChg chg="add">
          <pc:chgData name="Frédéric NGUYEN KIM" userId="S::frederic.nguyen-kim@talan.com::91a3dcbd-d60c-40ca-842f-e84e51d3b939" providerId="AD" clId="Web-{7E9DA709-945D-D354-1312-BD850ED98B18}" dt="2023-02-27T21:14:05.245" v="139"/>
          <pc:sldLayoutMkLst>
            <pc:docMk/>
            <pc:sldMasterMk cId="2290518370" sldId="2147483690"/>
            <pc:sldLayoutMk cId="4196943498" sldId="2147483693"/>
          </pc:sldLayoutMkLst>
        </pc:sldLayoutChg>
        <pc:sldLayoutChg chg="add">
          <pc:chgData name="Frédéric NGUYEN KIM" userId="S::frederic.nguyen-kim@talan.com::91a3dcbd-d60c-40ca-842f-e84e51d3b939" providerId="AD" clId="Web-{7E9DA709-945D-D354-1312-BD850ED98B18}" dt="2023-02-27T21:14:05.245" v="139"/>
          <pc:sldLayoutMkLst>
            <pc:docMk/>
            <pc:sldMasterMk cId="2290518370" sldId="2147483690"/>
            <pc:sldLayoutMk cId="1018498181" sldId="2147483694"/>
          </pc:sldLayoutMkLst>
        </pc:sldLayoutChg>
        <pc:sldLayoutChg chg="add">
          <pc:chgData name="Frédéric NGUYEN KIM" userId="S::frederic.nguyen-kim@talan.com::91a3dcbd-d60c-40ca-842f-e84e51d3b939" providerId="AD" clId="Web-{7E9DA709-945D-D354-1312-BD850ED98B18}" dt="2023-02-27T21:14:05.245" v="139"/>
          <pc:sldLayoutMkLst>
            <pc:docMk/>
            <pc:sldMasterMk cId="2290518370" sldId="2147483690"/>
            <pc:sldLayoutMk cId="3658429009" sldId="2147483695"/>
          </pc:sldLayoutMkLst>
        </pc:sldLayoutChg>
        <pc:sldLayoutChg chg="add">
          <pc:chgData name="Frédéric NGUYEN KIM" userId="S::frederic.nguyen-kim@talan.com::91a3dcbd-d60c-40ca-842f-e84e51d3b939" providerId="AD" clId="Web-{7E9DA709-945D-D354-1312-BD850ED98B18}" dt="2023-02-27T21:14:05.245" v="139"/>
          <pc:sldLayoutMkLst>
            <pc:docMk/>
            <pc:sldMasterMk cId="2290518370" sldId="2147483690"/>
            <pc:sldLayoutMk cId="3783389040" sldId="2147483696"/>
          </pc:sldLayoutMkLst>
        </pc:sldLayoutChg>
        <pc:sldLayoutChg chg="add">
          <pc:chgData name="Frédéric NGUYEN KIM" userId="S::frederic.nguyen-kim@talan.com::91a3dcbd-d60c-40ca-842f-e84e51d3b939" providerId="AD" clId="Web-{7E9DA709-945D-D354-1312-BD850ED98B18}" dt="2023-02-27T21:14:05.245" v="139"/>
          <pc:sldLayoutMkLst>
            <pc:docMk/>
            <pc:sldMasterMk cId="2290518370" sldId="2147483690"/>
            <pc:sldLayoutMk cId="3594670789" sldId="2147483697"/>
          </pc:sldLayoutMkLst>
        </pc:sldLayoutChg>
        <pc:sldLayoutChg chg="add">
          <pc:chgData name="Frédéric NGUYEN KIM" userId="S::frederic.nguyen-kim@talan.com::91a3dcbd-d60c-40ca-842f-e84e51d3b939" providerId="AD" clId="Web-{7E9DA709-945D-D354-1312-BD850ED98B18}" dt="2023-02-27T21:14:05.245" v="139"/>
          <pc:sldLayoutMkLst>
            <pc:docMk/>
            <pc:sldMasterMk cId="2290518370" sldId="2147483690"/>
            <pc:sldLayoutMk cId="2019066691" sldId="2147483698"/>
          </pc:sldLayoutMkLst>
        </pc:sldLayoutChg>
      </pc:sldMasterChg>
    </pc:docChg>
  </pc:docChgLst>
  <pc:docChgLst>
    <pc:chgData name="Elsa REVEIL" userId="5916b08b-be19-4ef0-ae2e-0132ad2fc666" providerId="ADAL" clId="{4BEFB05C-7868-4251-8B4C-6C19C0202049}"/>
    <pc:docChg chg="modSld">
      <pc:chgData name="Elsa REVEIL" userId="5916b08b-be19-4ef0-ae2e-0132ad2fc666" providerId="ADAL" clId="{4BEFB05C-7868-4251-8B4C-6C19C0202049}" dt="2023-02-10T17:15:04.442" v="3"/>
      <pc:docMkLst>
        <pc:docMk/>
      </pc:docMkLst>
      <pc:sldChg chg="modSp">
        <pc:chgData name="Elsa REVEIL" userId="5916b08b-be19-4ef0-ae2e-0132ad2fc666" providerId="ADAL" clId="{4BEFB05C-7868-4251-8B4C-6C19C0202049}" dt="2023-02-10T17:15:04.442" v="3"/>
        <pc:sldMkLst>
          <pc:docMk/>
          <pc:sldMk cId="3534434500" sldId="2076137187"/>
        </pc:sldMkLst>
        <pc:graphicFrameChg chg="mod">
          <ac:chgData name="Elsa REVEIL" userId="5916b08b-be19-4ef0-ae2e-0132ad2fc666" providerId="ADAL" clId="{4BEFB05C-7868-4251-8B4C-6C19C0202049}" dt="2023-02-10T17:13:44.541" v="2"/>
          <ac:graphicFrameMkLst>
            <pc:docMk/>
            <pc:sldMk cId="3534434500" sldId="2076137187"/>
            <ac:graphicFrameMk id="16" creationId="{ACA727D1-6BF4-4EBB-8786-3C359BF50ED4}"/>
          </ac:graphicFrameMkLst>
        </pc:graphicFrameChg>
        <pc:graphicFrameChg chg="mod">
          <ac:chgData name="Elsa REVEIL" userId="5916b08b-be19-4ef0-ae2e-0132ad2fc666" providerId="ADAL" clId="{4BEFB05C-7868-4251-8B4C-6C19C0202049}" dt="2023-02-10T17:15:04.442" v="3"/>
          <ac:graphicFrameMkLst>
            <pc:docMk/>
            <pc:sldMk cId="3534434500" sldId="2076137187"/>
            <ac:graphicFrameMk id="17" creationId="{2671BC23-6AD4-4E14-A26D-9E38094C7F5B}"/>
          </ac:graphicFrameMkLst>
        </pc:graphicFrameChg>
      </pc:sldChg>
      <pc:sldChg chg="modSp mod">
        <pc:chgData name="Elsa REVEIL" userId="5916b08b-be19-4ef0-ae2e-0132ad2fc666" providerId="ADAL" clId="{4BEFB05C-7868-4251-8B4C-6C19C0202049}" dt="2023-02-09T14:02:57.173" v="0" actId="1076"/>
        <pc:sldMkLst>
          <pc:docMk/>
          <pc:sldMk cId="3958617290" sldId="2147469834"/>
        </pc:sldMkLst>
        <pc:spChg chg="mod">
          <ac:chgData name="Elsa REVEIL" userId="5916b08b-be19-4ef0-ae2e-0132ad2fc666" providerId="ADAL" clId="{4BEFB05C-7868-4251-8B4C-6C19C0202049}" dt="2023-02-09T14:02:57.173" v="0" actId="1076"/>
          <ac:spMkLst>
            <pc:docMk/>
            <pc:sldMk cId="3958617290" sldId="2147469834"/>
            <ac:spMk id="5" creationId="{FB3FF2C0-EF0B-47FD-88D3-D36CBAF5C9D0}"/>
          </ac:spMkLst>
        </pc:spChg>
      </pc:sldChg>
    </pc:docChg>
  </pc:docChgLst>
  <pc:docChgLst>
    <pc:chgData name="Hissam EL BARKAOUI" userId="bd40893a-d7b0-46e9-8e20-b7bd51641b40" providerId="ADAL" clId="{4F24F6EA-5C15-4B1E-BB90-5F36608CC209}"/>
    <pc:docChg chg="undo custSel addSld modSld">
      <pc:chgData name="Hissam EL BARKAOUI" userId="bd40893a-d7b0-46e9-8e20-b7bd51641b40" providerId="ADAL" clId="{4F24F6EA-5C15-4B1E-BB90-5F36608CC209}" dt="2022-11-29T08:16:47.964" v="1945" actId="1076"/>
      <pc:docMkLst>
        <pc:docMk/>
      </pc:docMkLst>
      <pc:sldChg chg="addSp delSp modSp add mod modClrScheme chgLayout">
        <pc:chgData name="Hissam EL BARKAOUI" userId="bd40893a-d7b0-46e9-8e20-b7bd51641b40" providerId="ADAL" clId="{4F24F6EA-5C15-4B1E-BB90-5F36608CC209}" dt="2022-11-29T07:41:07.455" v="1521" actId="208"/>
        <pc:sldMkLst>
          <pc:docMk/>
          <pc:sldMk cId="2495688426" sldId="5022"/>
        </pc:sldMkLst>
        <pc:spChg chg="add del mod ord">
          <ac:chgData name="Hissam EL BARKAOUI" userId="bd40893a-d7b0-46e9-8e20-b7bd51641b40" providerId="ADAL" clId="{4F24F6EA-5C15-4B1E-BB90-5F36608CC209}" dt="2022-11-29T07:39:30.645" v="1515" actId="478"/>
          <ac:spMkLst>
            <pc:docMk/>
            <pc:sldMk cId="2495688426" sldId="5022"/>
            <ac:spMk id="2" creationId="{0E7E7D34-95FD-4ECC-A607-97FA9C48DA5A}"/>
          </ac:spMkLst>
        </pc:spChg>
        <pc:spChg chg="mod">
          <ac:chgData name="Hissam EL BARKAOUI" userId="bd40893a-d7b0-46e9-8e20-b7bd51641b40" providerId="ADAL" clId="{4F24F6EA-5C15-4B1E-BB90-5F36608CC209}" dt="2022-11-29T07:41:00.341" v="1520" actId="208"/>
          <ac:spMkLst>
            <pc:docMk/>
            <pc:sldMk cId="2495688426" sldId="5022"/>
            <ac:spMk id="3" creationId="{5A0843AA-052F-429A-B26A-D247D0BDCEB5}"/>
          </ac:spMkLst>
        </pc:spChg>
        <pc:spChg chg="mod ord">
          <ac:chgData name="Hissam EL BARKAOUI" userId="bd40893a-d7b0-46e9-8e20-b7bd51641b40" providerId="ADAL" clId="{4F24F6EA-5C15-4B1E-BB90-5F36608CC209}" dt="2022-11-29T07:40:27.655" v="1517" actId="207"/>
          <ac:spMkLst>
            <pc:docMk/>
            <pc:sldMk cId="2495688426" sldId="5022"/>
            <ac:spMk id="4" creationId="{F2BF6837-0DE1-4FC3-B716-8667B5A989B9}"/>
          </ac:spMkLst>
        </pc:spChg>
        <pc:spChg chg="mod">
          <ac:chgData name="Hissam EL BARKAOUI" userId="bd40893a-d7b0-46e9-8e20-b7bd51641b40" providerId="ADAL" clId="{4F24F6EA-5C15-4B1E-BB90-5F36608CC209}" dt="2022-11-29T07:40:35.694" v="1518" actId="207"/>
          <ac:spMkLst>
            <pc:docMk/>
            <pc:sldMk cId="2495688426" sldId="5022"/>
            <ac:spMk id="15" creationId="{57BA2436-4D0C-5945-A2A4-5CE1D055A977}"/>
          </ac:spMkLst>
        </pc:spChg>
        <pc:spChg chg="mod">
          <ac:chgData name="Hissam EL BARKAOUI" userId="bd40893a-d7b0-46e9-8e20-b7bd51641b40" providerId="ADAL" clId="{4F24F6EA-5C15-4B1E-BB90-5F36608CC209}" dt="2022-11-29T07:41:00.341" v="1520" actId="208"/>
          <ac:spMkLst>
            <pc:docMk/>
            <pc:sldMk cId="2495688426" sldId="5022"/>
            <ac:spMk id="18" creationId="{1C17F6AA-3E95-4A2E-9053-6C7EF83E9EB2}"/>
          </ac:spMkLst>
        </pc:spChg>
        <pc:spChg chg="mod">
          <ac:chgData name="Hissam EL BARKAOUI" userId="bd40893a-d7b0-46e9-8e20-b7bd51641b40" providerId="ADAL" clId="{4F24F6EA-5C15-4B1E-BB90-5F36608CC209}" dt="2022-11-29T07:40:35.694" v="1518" actId="207"/>
          <ac:spMkLst>
            <pc:docMk/>
            <pc:sldMk cId="2495688426" sldId="5022"/>
            <ac:spMk id="25" creationId="{514246A8-CCF0-1040-B9EC-8506487A2BF6}"/>
          </ac:spMkLst>
        </pc:spChg>
        <pc:spChg chg="mod">
          <ac:chgData name="Hissam EL BARKAOUI" userId="bd40893a-d7b0-46e9-8e20-b7bd51641b40" providerId="ADAL" clId="{4F24F6EA-5C15-4B1E-BB90-5F36608CC209}" dt="2022-11-29T07:40:35.694" v="1518" actId="207"/>
          <ac:spMkLst>
            <pc:docMk/>
            <pc:sldMk cId="2495688426" sldId="5022"/>
            <ac:spMk id="32" creationId="{2A6DADE7-B8CC-7B42-AC2D-AF972C103710}"/>
          </ac:spMkLst>
        </pc:spChg>
        <pc:spChg chg="mod">
          <ac:chgData name="Hissam EL BARKAOUI" userId="bd40893a-d7b0-46e9-8e20-b7bd51641b40" providerId="ADAL" clId="{4F24F6EA-5C15-4B1E-BB90-5F36608CC209}" dt="2022-11-29T07:40:47.901" v="1519" actId="207"/>
          <ac:spMkLst>
            <pc:docMk/>
            <pc:sldMk cId="2495688426" sldId="5022"/>
            <ac:spMk id="64" creationId="{FBE30ECD-312C-49D5-A0E7-CAC90BFA250F}"/>
          </ac:spMkLst>
        </pc:spChg>
        <pc:spChg chg="mod">
          <ac:chgData name="Hissam EL BARKAOUI" userId="bd40893a-d7b0-46e9-8e20-b7bd51641b40" providerId="ADAL" clId="{4F24F6EA-5C15-4B1E-BB90-5F36608CC209}" dt="2022-11-29T07:40:35.694" v="1518" actId="207"/>
          <ac:spMkLst>
            <pc:docMk/>
            <pc:sldMk cId="2495688426" sldId="5022"/>
            <ac:spMk id="65" creationId="{17F8376D-02AB-4276-9A5F-259F507DFDB7}"/>
          </ac:spMkLst>
        </pc:spChg>
        <pc:cxnChg chg="mod">
          <ac:chgData name="Hissam EL BARKAOUI" userId="bd40893a-d7b0-46e9-8e20-b7bd51641b40" providerId="ADAL" clId="{4F24F6EA-5C15-4B1E-BB90-5F36608CC209}" dt="2022-11-29T07:41:07.455" v="1521" actId="208"/>
          <ac:cxnSpMkLst>
            <pc:docMk/>
            <pc:sldMk cId="2495688426" sldId="5022"/>
            <ac:cxnSpMk id="16" creationId="{D36992B1-1414-5C4A-9E5B-539CE114FFB2}"/>
          </ac:cxnSpMkLst>
        </pc:cxnChg>
        <pc:cxnChg chg="mod">
          <ac:chgData name="Hissam EL BARKAOUI" userId="bd40893a-d7b0-46e9-8e20-b7bd51641b40" providerId="ADAL" clId="{4F24F6EA-5C15-4B1E-BB90-5F36608CC209}" dt="2022-11-29T07:41:07.455" v="1521" actId="208"/>
          <ac:cxnSpMkLst>
            <pc:docMk/>
            <pc:sldMk cId="2495688426" sldId="5022"/>
            <ac:cxnSpMk id="33" creationId="{B9939318-4C40-9B43-B97C-B2CB536A1EA5}"/>
          </ac:cxnSpMkLst>
        </pc:cxnChg>
        <pc:cxnChg chg="mod">
          <ac:chgData name="Hissam EL BARKAOUI" userId="bd40893a-d7b0-46e9-8e20-b7bd51641b40" providerId="ADAL" clId="{4F24F6EA-5C15-4B1E-BB90-5F36608CC209}" dt="2022-11-29T07:41:07.455" v="1521" actId="208"/>
          <ac:cxnSpMkLst>
            <pc:docMk/>
            <pc:sldMk cId="2495688426" sldId="5022"/>
            <ac:cxnSpMk id="56" creationId="{EC4BDDD5-6DA4-41AD-8767-BFC1D3E52852}"/>
          </ac:cxnSpMkLst>
        </pc:cxnChg>
      </pc:sldChg>
      <pc:sldChg chg="addSp delSp modSp add mod modClrScheme chgLayout">
        <pc:chgData name="Hissam EL BARKAOUI" userId="bd40893a-d7b0-46e9-8e20-b7bd51641b40" providerId="ADAL" clId="{4F24F6EA-5C15-4B1E-BB90-5F36608CC209}" dt="2022-11-29T07:42:01.399" v="1531" actId="208"/>
        <pc:sldMkLst>
          <pc:docMk/>
          <pc:sldMk cId="3318819925" sldId="2076137969"/>
        </pc:sldMkLst>
        <pc:spChg chg="add del mod ord">
          <ac:chgData name="Hissam EL BARKAOUI" userId="bd40893a-d7b0-46e9-8e20-b7bd51641b40" providerId="ADAL" clId="{4F24F6EA-5C15-4B1E-BB90-5F36608CC209}" dt="2022-11-29T07:41:21.457" v="1523" actId="478"/>
          <ac:spMkLst>
            <pc:docMk/>
            <pc:sldMk cId="3318819925" sldId="2076137969"/>
            <ac:spMk id="2" creationId="{2235E388-C5AD-48D9-8F4D-4487C4057E37}"/>
          </ac:spMkLst>
        </pc:spChg>
        <pc:spChg chg="mod">
          <ac:chgData name="Hissam EL BARKAOUI" userId="bd40893a-d7b0-46e9-8e20-b7bd51641b40" providerId="ADAL" clId="{4F24F6EA-5C15-4B1E-BB90-5F36608CC209}" dt="2022-11-29T07:42:01.399" v="1531" actId="208"/>
          <ac:spMkLst>
            <pc:docMk/>
            <pc:sldMk cId="3318819925" sldId="2076137969"/>
            <ac:spMk id="3" creationId="{5A0843AA-052F-429A-B26A-D247D0BDCEB5}"/>
          </ac:spMkLst>
        </pc:spChg>
        <pc:spChg chg="mod ord">
          <ac:chgData name="Hissam EL BARKAOUI" userId="bd40893a-d7b0-46e9-8e20-b7bd51641b40" providerId="ADAL" clId="{4F24F6EA-5C15-4B1E-BB90-5F36608CC209}" dt="2022-11-29T07:41:34.756" v="1526" actId="207"/>
          <ac:spMkLst>
            <pc:docMk/>
            <pc:sldMk cId="3318819925" sldId="2076137969"/>
            <ac:spMk id="4" creationId="{F2BF6837-0DE1-4FC3-B716-8667B5A989B9}"/>
          </ac:spMkLst>
        </pc:spChg>
        <pc:spChg chg="add del mod">
          <ac:chgData name="Hissam EL BARKAOUI" userId="bd40893a-d7b0-46e9-8e20-b7bd51641b40" providerId="ADAL" clId="{4F24F6EA-5C15-4B1E-BB90-5F36608CC209}" dt="2022-11-29T07:41:23.467" v="1524" actId="478"/>
          <ac:spMkLst>
            <pc:docMk/>
            <pc:sldMk cId="3318819925" sldId="2076137969"/>
            <ac:spMk id="6" creationId="{58B60F99-A419-48BE-9C2D-C8E99594269E}"/>
          </ac:spMkLst>
        </pc:spChg>
        <pc:spChg chg="mod">
          <ac:chgData name="Hissam EL BARKAOUI" userId="bd40893a-d7b0-46e9-8e20-b7bd51641b40" providerId="ADAL" clId="{4F24F6EA-5C15-4B1E-BB90-5F36608CC209}" dt="2022-11-29T07:41:49.422" v="1528" actId="14100"/>
          <ac:spMkLst>
            <pc:docMk/>
            <pc:sldMk cId="3318819925" sldId="2076137969"/>
            <ac:spMk id="12" creationId="{56577DC6-0FBA-4C70-B27A-8AF1067F99E4}"/>
          </ac:spMkLst>
        </pc:spChg>
        <pc:spChg chg="mod">
          <ac:chgData name="Hissam EL BARKAOUI" userId="bd40893a-d7b0-46e9-8e20-b7bd51641b40" providerId="ADAL" clId="{4F24F6EA-5C15-4B1E-BB90-5F36608CC209}" dt="2022-11-29T07:41:44.466" v="1527" actId="207"/>
          <ac:spMkLst>
            <pc:docMk/>
            <pc:sldMk cId="3318819925" sldId="2076137969"/>
            <ac:spMk id="15" creationId="{57BA2436-4D0C-5945-A2A4-5CE1D055A977}"/>
          </ac:spMkLst>
        </pc:spChg>
        <pc:spChg chg="mod">
          <ac:chgData name="Hissam EL BARKAOUI" userId="bd40893a-d7b0-46e9-8e20-b7bd51641b40" providerId="ADAL" clId="{4F24F6EA-5C15-4B1E-BB90-5F36608CC209}" dt="2022-11-29T07:42:01.399" v="1531" actId="208"/>
          <ac:spMkLst>
            <pc:docMk/>
            <pc:sldMk cId="3318819925" sldId="2076137969"/>
            <ac:spMk id="18" creationId="{1C17F6AA-3E95-4A2E-9053-6C7EF83E9EB2}"/>
          </ac:spMkLst>
        </pc:spChg>
        <pc:spChg chg="mod">
          <ac:chgData name="Hissam EL BARKAOUI" userId="bd40893a-d7b0-46e9-8e20-b7bd51641b40" providerId="ADAL" clId="{4F24F6EA-5C15-4B1E-BB90-5F36608CC209}" dt="2022-11-29T07:41:44.466" v="1527" actId="207"/>
          <ac:spMkLst>
            <pc:docMk/>
            <pc:sldMk cId="3318819925" sldId="2076137969"/>
            <ac:spMk id="25" creationId="{514246A8-CCF0-1040-B9EC-8506487A2BF6}"/>
          </ac:spMkLst>
        </pc:spChg>
        <pc:spChg chg="mod">
          <ac:chgData name="Hissam EL BARKAOUI" userId="bd40893a-d7b0-46e9-8e20-b7bd51641b40" providerId="ADAL" clId="{4F24F6EA-5C15-4B1E-BB90-5F36608CC209}" dt="2022-11-29T07:41:44.466" v="1527" actId="207"/>
          <ac:spMkLst>
            <pc:docMk/>
            <pc:sldMk cId="3318819925" sldId="2076137969"/>
            <ac:spMk id="32" creationId="{2A6DADE7-B8CC-7B42-AC2D-AF972C103710}"/>
          </ac:spMkLst>
        </pc:spChg>
        <pc:spChg chg="mod">
          <ac:chgData name="Hissam EL BARKAOUI" userId="bd40893a-d7b0-46e9-8e20-b7bd51641b40" providerId="ADAL" clId="{4F24F6EA-5C15-4B1E-BB90-5F36608CC209}" dt="2022-11-29T07:41:51.847" v="1529" actId="207"/>
          <ac:spMkLst>
            <pc:docMk/>
            <pc:sldMk cId="3318819925" sldId="2076137969"/>
            <ac:spMk id="42" creationId="{A7B55179-1493-C04D-BD36-FD929F39D230}"/>
          </ac:spMkLst>
        </pc:spChg>
        <pc:spChg chg="mod">
          <ac:chgData name="Hissam EL BARKAOUI" userId="bd40893a-d7b0-46e9-8e20-b7bd51641b40" providerId="ADAL" clId="{4F24F6EA-5C15-4B1E-BB90-5F36608CC209}" dt="2022-11-29T07:41:54.917" v="1530" actId="207"/>
          <ac:spMkLst>
            <pc:docMk/>
            <pc:sldMk cId="3318819925" sldId="2076137969"/>
            <ac:spMk id="641" creationId="{00000000-0000-0000-0000-000000000000}"/>
          </ac:spMkLst>
        </pc:spChg>
        <pc:cxnChg chg="mod">
          <ac:chgData name="Hissam EL BARKAOUI" userId="bd40893a-d7b0-46e9-8e20-b7bd51641b40" providerId="ADAL" clId="{4F24F6EA-5C15-4B1E-BB90-5F36608CC209}" dt="2022-11-29T07:42:01.399" v="1531" actId="208"/>
          <ac:cxnSpMkLst>
            <pc:docMk/>
            <pc:sldMk cId="3318819925" sldId="2076137969"/>
            <ac:cxnSpMk id="16" creationId="{D36992B1-1414-5C4A-9E5B-539CE114FFB2}"/>
          </ac:cxnSpMkLst>
        </pc:cxnChg>
        <pc:cxnChg chg="mod">
          <ac:chgData name="Hissam EL BARKAOUI" userId="bd40893a-d7b0-46e9-8e20-b7bd51641b40" providerId="ADAL" clId="{4F24F6EA-5C15-4B1E-BB90-5F36608CC209}" dt="2022-11-29T07:42:01.399" v="1531" actId="208"/>
          <ac:cxnSpMkLst>
            <pc:docMk/>
            <pc:sldMk cId="3318819925" sldId="2076137969"/>
            <ac:cxnSpMk id="33" creationId="{B9939318-4C40-9B43-B97C-B2CB536A1EA5}"/>
          </ac:cxnSpMkLst>
        </pc:cxnChg>
        <pc:cxnChg chg="mod">
          <ac:chgData name="Hissam EL BARKAOUI" userId="bd40893a-d7b0-46e9-8e20-b7bd51641b40" providerId="ADAL" clId="{4F24F6EA-5C15-4B1E-BB90-5F36608CC209}" dt="2022-11-29T07:42:01.399" v="1531" actId="208"/>
          <ac:cxnSpMkLst>
            <pc:docMk/>
            <pc:sldMk cId="3318819925" sldId="2076137969"/>
            <ac:cxnSpMk id="56" creationId="{EC4BDDD5-6DA4-41AD-8767-BFC1D3E52852}"/>
          </ac:cxnSpMkLst>
        </pc:cxnChg>
      </pc:sldChg>
      <pc:sldChg chg="addSp delSp modSp add mod modClrScheme chgLayout">
        <pc:chgData name="Hissam EL BARKAOUI" userId="bd40893a-d7b0-46e9-8e20-b7bd51641b40" providerId="ADAL" clId="{4F24F6EA-5C15-4B1E-BB90-5F36608CC209}" dt="2022-11-29T07:43:15.574" v="1543" actId="208"/>
        <pc:sldMkLst>
          <pc:docMk/>
          <pc:sldMk cId="2541208993" sldId="2076137970"/>
        </pc:sldMkLst>
        <pc:spChg chg="add del mod ord">
          <ac:chgData name="Hissam EL BARKAOUI" userId="bd40893a-d7b0-46e9-8e20-b7bd51641b40" providerId="ADAL" clId="{4F24F6EA-5C15-4B1E-BB90-5F36608CC209}" dt="2022-11-29T07:42:52.104" v="1537" actId="478"/>
          <ac:spMkLst>
            <pc:docMk/>
            <pc:sldMk cId="2541208993" sldId="2076137970"/>
            <ac:spMk id="2" creationId="{4310CA0A-EFE2-455A-81AC-DEBCEA560AB0}"/>
          </ac:spMkLst>
        </pc:spChg>
        <pc:spChg chg="mod">
          <ac:chgData name="Hissam EL BARKAOUI" userId="bd40893a-d7b0-46e9-8e20-b7bd51641b40" providerId="ADAL" clId="{4F24F6EA-5C15-4B1E-BB90-5F36608CC209}" dt="2022-11-29T07:43:09.715" v="1542" actId="208"/>
          <ac:spMkLst>
            <pc:docMk/>
            <pc:sldMk cId="2541208993" sldId="2076137970"/>
            <ac:spMk id="3" creationId="{5A0843AA-052F-429A-B26A-D247D0BDCEB5}"/>
          </ac:spMkLst>
        </pc:spChg>
        <pc:spChg chg="mod ord">
          <ac:chgData name="Hissam EL BARKAOUI" userId="bd40893a-d7b0-46e9-8e20-b7bd51641b40" providerId="ADAL" clId="{4F24F6EA-5C15-4B1E-BB90-5F36608CC209}" dt="2022-11-29T07:42:59.517" v="1539" actId="207"/>
          <ac:spMkLst>
            <pc:docMk/>
            <pc:sldMk cId="2541208993" sldId="2076137970"/>
            <ac:spMk id="4" creationId="{F2BF6837-0DE1-4FC3-B716-8667B5A989B9}"/>
          </ac:spMkLst>
        </pc:spChg>
        <pc:spChg chg="mod">
          <ac:chgData name="Hissam EL BARKAOUI" userId="bd40893a-d7b0-46e9-8e20-b7bd51641b40" providerId="ADAL" clId="{4F24F6EA-5C15-4B1E-BB90-5F36608CC209}" dt="2022-11-29T07:43:09.715" v="1542" actId="208"/>
          <ac:spMkLst>
            <pc:docMk/>
            <pc:sldMk cId="2541208993" sldId="2076137970"/>
            <ac:spMk id="10" creationId="{E09E90DF-29D2-41E4-898F-9F9CEB39D99D}"/>
          </ac:spMkLst>
        </pc:spChg>
        <pc:spChg chg="mod">
          <ac:chgData name="Hissam EL BARKAOUI" userId="bd40893a-d7b0-46e9-8e20-b7bd51641b40" providerId="ADAL" clId="{4F24F6EA-5C15-4B1E-BB90-5F36608CC209}" dt="2022-11-29T07:43:04.879" v="1540" actId="207"/>
          <ac:spMkLst>
            <pc:docMk/>
            <pc:sldMk cId="2541208993" sldId="2076137970"/>
            <ac:spMk id="15" creationId="{57BA2436-4D0C-5945-A2A4-5CE1D055A977}"/>
          </ac:spMkLst>
        </pc:spChg>
        <pc:spChg chg="mod">
          <ac:chgData name="Hissam EL BARKAOUI" userId="bd40893a-d7b0-46e9-8e20-b7bd51641b40" providerId="ADAL" clId="{4F24F6EA-5C15-4B1E-BB90-5F36608CC209}" dt="2022-11-29T07:43:09.715" v="1542" actId="208"/>
          <ac:spMkLst>
            <pc:docMk/>
            <pc:sldMk cId="2541208993" sldId="2076137970"/>
            <ac:spMk id="18" creationId="{1C17F6AA-3E95-4A2E-9053-6C7EF83E9EB2}"/>
          </ac:spMkLst>
        </pc:spChg>
        <pc:spChg chg="mod">
          <ac:chgData name="Hissam EL BARKAOUI" userId="bd40893a-d7b0-46e9-8e20-b7bd51641b40" providerId="ADAL" clId="{4F24F6EA-5C15-4B1E-BB90-5F36608CC209}" dt="2022-11-29T07:43:04.879" v="1540" actId="207"/>
          <ac:spMkLst>
            <pc:docMk/>
            <pc:sldMk cId="2541208993" sldId="2076137970"/>
            <ac:spMk id="25" creationId="{514246A8-CCF0-1040-B9EC-8506487A2BF6}"/>
          </ac:spMkLst>
        </pc:spChg>
        <pc:spChg chg="mod">
          <ac:chgData name="Hissam EL BARKAOUI" userId="bd40893a-d7b0-46e9-8e20-b7bd51641b40" providerId="ADAL" clId="{4F24F6EA-5C15-4B1E-BB90-5F36608CC209}" dt="2022-11-29T07:43:04.879" v="1540" actId="207"/>
          <ac:spMkLst>
            <pc:docMk/>
            <pc:sldMk cId="2541208993" sldId="2076137970"/>
            <ac:spMk id="32" creationId="{2A6DADE7-B8CC-7B42-AC2D-AF972C103710}"/>
          </ac:spMkLst>
        </pc:spChg>
        <pc:spChg chg="mod">
          <ac:chgData name="Hissam EL BARKAOUI" userId="bd40893a-d7b0-46e9-8e20-b7bd51641b40" providerId="ADAL" clId="{4F24F6EA-5C15-4B1E-BB90-5F36608CC209}" dt="2022-11-29T07:43:04.879" v="1540" actId="207"/>
          <ac:spMkLst>
            <pc:docMk/>
            <pc:sldMk cId="2541208993" sldId="2076137970"/>
            <ac:spMk id="42" creationId="{A7B55179-1493-C04D-BD36-FD929F39D230}"/>
          </ac:spMkLst>
        </pc:spChg>
        <pc:spChg chg="mod">
          <ac:chgData name="Hissam EL BARKAOUI" userId="bd40893a-d7b0-46e9-8e20-b7bd51641b40" providerId="ADAL" clId="{4F24F6EA-5C15-4B1E-BB90-5F36608CC209}" dt="2022-11-29T07:43:07.214" v="1541" actId="207"/>
          <ac:spMkLst>
            <pc:docMk/>
            <pc:sldMk cId="2541208993" sldId="2076137970"/>
            <ac:spMk id="641" creationId="{00000000-0000-0000-0000-000000000000}"/>
          </ac:spMkLst>
        </pc:spChg>
        <pc:cxnChg chg="mod">
          <ac:chgData name="Hissam EL BARKAOUI" userId="bd40893a-d7b0-46e9-8e20-b7bd51641b40" providerId="ADAL" clId="{4F24F6EA-5C15-4B1E-BB90-5F36608CC209}" dt="2022-11-29T07:43:09.715" v="1542" actId="208"/>
          <ac:cxnSpMkLst>
            <pc:docMk/>
            <pc:sldMk cId="2541208993" sldId="2076137970"/>
            <ac:cxnSpMk id="11" creationId="{2AF3A7C0-CDE1-44F4-8A0E-D5BA335C04D6}"/>
          </ac:cxnSpMkLst>
        </pc:cxnChg>
        <pc:cxnChg chg="mod">
          <ac:chgData name="Hissam EL BARKAOUI" userId="bd40893a-d7b0-46e9-8e20-b7bd51641b40" providerId="ADAL" clId="{4F24F6EA-5C15-4B1E-BB90-5F36608CC209}" dt="2022-11-29T07:43:15.574" v="1543" actId="208"/>
          <ac:cxnSpMkLst>
            <pc:docMk/>
            <pc:sldMk cId="2541208993" sldId="2076137970"/>
            <ac:cxnSpMk id="16" creationId="{D36992B1-1414-5C4A-9E5B-539CE114FFB2}"/>
          </ac:cxnSpMkLst>
        </pc:cxnChg>
        <pc:cxnChg chg="mod">
          <ac:chgData name="Hissam EL BARKAOUI" userId="bd40893a-d7b0-46e9-8e20-b7bd51641b40" providerId="ADAL" clId="{4F24F6EA-5C15-4B1E-BB90-5F36608CC209}" dt="2022-11-29T07:43:15.574" v="1543" actId="208"/>
          <ac:cxnSpMkLst>
            <pc:docMk/>
            <pc:sldMk cId="2541208993" sldId="2076137970"/>
            <ac:cxnSpMk id="33" creationId="{B9939318-4C40-9B43-B97C-B2CB536A1EA5}"/>
          </ac:cxnSpMkLst>
        </pc:cxnChg>
        <pc:cxnChg chg="mod">
          <ac:chgData name="Hissam EL BARKAOUI" userId="bd40893a-d7b0-46e9-8e20-b7bd51641b40" providerId="ADAL" clId="{4F24F6EA-5C15-4B1E-BB90-5F36608CC209}" dt="2022-11-29T07:43:15.574" v="1543" actId="208"/>
          <ac:cxnSpMkLst>
            <pc:docMk/>
            <pc:sldMk cId="2541208993" sldId="2076137970"/>
            <ac:cxnSpMk id="56" creationId="{EC4BDDD5-6DA4-41AD-8767-BFC1D3E52852}"/>
          </ac:cxnSpMkLst>
        </pc:cxnChg>
      </pc:sldChg>
      <pc:sldChg chg="addSp delSp modSp add mod modClrScheme chgLayout">
        <pc:chgData name="Hissam EL BARKAOUI" userId="bd40893a-d7b0-46e9-8e20-b7bd51641b40" providerId="ADAL" clId="{4F24F6EA-5C15-4B1E-BB90-5F36608CC209}" dt="2022-11-29T07:43:46.728" v="1552" actId="208"/>
        <pc:sldMkLst>
          <pc:docMk/>
          <pc:sldMk cId="2082677127" sldId="2076137971"/>
        </pc:sldMkLst>
        <pc:spChg chg="add del mod ord">
          <ac:chgData name="Hissam EL BARKAOUI" userId="bd40893a-d7b0-46e9-8e20-b7bd51641b40" providerId="ADAL" clId="{4F24F6EA-5C15-4B1E-BB90-5F36608CC209}" dt="2022-11-29T07:43:20.066" v="1544" actId="478"/>
          <ac:spMkLst>
            <pc:docMk/>
            <pc:sldMk cId="2082677127" sldId="2076137971"/>
            <ac:spMk id="2" creationId="{548AA410-922D-4F87-9FBA-DC99295696DD}"/>
          </ac:spMkLst>
        </pc:spChg>
        <pc:spChg chg="mod ord">
          <ac:chgData name="Hissam EL BARKAOUI" userId="bd40893a-d7b0-46e9-8e20-b7bd51641b40" providerId="ADAL" clId="{4F24F6EA-5C15-4B1E-BB90-5F36608CC209}" dt="2022-11-29T07:43:27.589" v="1546" actId="207"/>
          <ac:spMkLst>
            <pc:docMk/>
            <pc:sldMk cId="2082677127" sldId="2076137971"/>
            <ac:spMk id="4" creationId="{F2BF6837-0DE1-4FC3-B716-8667B5A989B9}"/>
          </ac:spMkLst>
        </pc:spChg>
        <pc:spChg chg="mod">
          <ac:chgData name="Hissam EL BARKAOUI" userId="bd40893a-d7b0-46e9-8e20-b7bd51641b40" providerId="ADAL" clId="{4F24F6EA-5C15-4B1E-BB90-5F36608CC209}" dt="2022-11-29T07:43:35.398" v="1548" actId="207"/>
          <ac:spMkLst>
            <pc:docMk/>
            <pc:sldMk cId="2082677127" sldId="2076137971"/>
            <ac:spMk id="51" creationId="{8D4E1CA8-C554-4C15-93DB-2066C419624E}"/>
          </ac:spMkLst>
        </pc:spChg>
        <pc:spChg chg="mod">
          <ac:chgData name="Hissam EL BARKAOUI" userId="bd40893a-d7b0-46e9-8e20-b7bd51641b40" providerId="ADAL" clId="{4F24F6EA-5C15-4B1E-BB90-5F36608CC209}" dt="2022-11-29T07:43:39.480" v="1549" actId="208"/>
          <ac:spMkLst>
            <pc:docMk/>
            <pc:sldMk cId="2082677127" sldId="2076137971"/>
            <ac:spMk id="54" creationId="{A265D201-F648-40B8-9F89-7E1E2451CDDB}"/>
          </ac:spMkLst>
        </pc:spChg>
        <pc:spChg chg="mod">
          <ac:chgData name="Hissam EL BARKAOUI" userId="bd40893a-d7b0-46e9-8e20-b7bd51641b40" providerId="ADAL" clId="{4F24F6EA-5C15-4B1E-BB90-5F36608CC209}" dt="2022-11-29T07:43:39.480" v="1549" actId="208"/>
          <ac:spMkLst>
            <pc:docMk/>
            <pc:sldMk cId="2082677127" sldId="2076137971"/>
            <ac:spMk id="58" creationId="{7C4F7F7F-76AE-4ACE-A6AD-D4073BB74246}"/>
          </ac:spMkLst>
        </pc:spChg>
        <pc:spChg chg="mod">
          <ac:chgData name="Hissam EL BARKAOUI" userId="bd40893a-d7b0-46e9-8e20-b7bd51641b40" providerId="ADAL" clId="{4F24F6EA-5C15-4B1E-BB90-5F36608CC209}" dt="2022-11-29T07:43:32.998" v="1547" actId="207"/>
          <ac:spMkLst>
            <pc:docMk/>
            <pc:sldMk cId="2082677127" sldId="2076137971"/>
            <ac:spMk id="60" creationId="{BFA54706-0219-429F-88FF-9FF803C046F6}"/>
          </ac:spMkLst>
        </pc:spChg>
        <pc:spChg chg="mod">
          <ac:chgData name="Hissam EL BARKAOUI" userId="bd40893a-d7b0-46e9-8e20-b7bd51641b40" providerId="ADAL" clId="{4F24F6EA-5C15-4B1E-BB90-5F36608CC209}" dt="2022-11-29T07:43:32.998" v="1547" actId="207"/>
          <ac:spMkLst>
            <pc:docMk/>
            <pc:sldMk cId="2082677127" sldId="2076137971"/>
            <ac:spMk id="68" creationId="{4247C01F-8B2E-4F4A-A8E7-9B11957936A5}"/>
          </ac:spMkLst>
        </pc:spChg>
        <pc:spChg chg="mod">
          <ac:chgData name="Hissam EL BARKAOUI" userId="bd40893a-d7b0-46e9-8e20-b7bd51641b40" providerId="ADAL" clId="{4F24F6EA-5C15-4B1E-BB90-5F36608CC209}" dt="2022-11-29T07:43:32.998" v="1547" actId="207"/>
          <ac:spMkLst>
            <pc:docMk/>
            <pc:sldMk cId="2082677127" sldId="2076137971"/>
            <ac:spMk id="74" creationId="{CC1AB45E-2403-46E4-B1F8-83181306DCAD}"/>
          </ac:spMkLst>
        </pc:spChg>
        <pc:spChg chg="mod">
          <ac:chgData name="Hissam EL BARKAOUI" userId="bd40893a-d7b0-46e9-8e20-b7bd51641b40" providerId="ADAL" clId="{4F24F6EA-5C15-4B1E-BB90-5F36608CC209}" dt="2022-11-29T07:43:32.998" v="1547" actId="207"/>
          <ac:spMkLst>
            <pc:docMk/>
            <pc:sldMk cId="2082677127" sldId="2076137971"/>
            <ac:spMk id="84" creationId="{4F7C4A09-4011-4B47-863F-BBCD9F88F169}"/>
          </ac:spMkLst>
        </pc:spChg>
        <pc:cxnChg chg="mod">
          <ac:chgData name="Hissam EL BARKAOUI" userId="bd40893a-d7b0-46e9-8e20-b7bd51641b40" providerId="ADAL" clId="{4F24F6EA-5C15-4B1E-BB90-5F36608CC209}" dt="2022-11-29T07:43:44.910" v="1551" actId="208"/>
          <ac:cxnSpMkLst>
            <pc:docMk/>
            <pc:sldMk cId="2082677127" sldId="2076137971"/>
            <ac:cxnSpMk id="61" creationId="{48E9CDC4-0018-4C40-A8B3-A36298C7CEB5}"/>
          </ac:cxnSpMkLst>
        </pc:cxnChg>
        <pc:cxnChg chg="mod">
          <ac:chgData name="Hissam EL BARKAOUI" userId="bd40893a-d7b0-46e9-8e20-b7bd51641b40" providerId="ADAL" clId="{4F24F6EA-5C15-4B1E-BB90-5F36608CC209}" dt="2022-11-29T07:43:42.734" v="1550" actId="208"/>
          <ac:cxnSpMkLst>
            <pc:docMk/>
            <pc:sldMk cId="2082677127" sldId="2076137971"/>
            <ac:cxnSpMk id="75" creationId="{A45D5023-F735-4473-9C3A-1EF651B2A105}"/>
          </ac:cxnSpMkLst>
        </pc:cxnChg>
        <pc:cxnChg chg="mod">
          <ac:chgData name="Hissam EL BARKAOUI" userId="bd40893a-d7b0-46e9-8e20-b7bd51641b40" providerId="ADAL" clId="{4F24F6EA-5C15-4B1E-BB90-5F36608CC209}" dt="2022-11-29T07:43:46.728" v="1552" actId="208"/>
          <ac:cxnSpMkLst>
            <pc:docMk/>
            <pc:sldMk cId="2082677127" sldId="2076137971"/>
            <ac:cxnSpMk id="93" creationId="{FDB3CB7E-9D48-4D90-AC46-AA478E63C2A7}"/>
          </ac:cxnSpMkLst>
        </pc:cxnChg>
      </pc:sldChg>
      <pc:sldChg chg="addSp delSp modSp add mod modClrScheme chgLayout">
        <pc:chgData name="Hissam EL BARKAOUI" userId="bd40893a-d7b0-46e9-8e20-b7bd51641b40" providerId="ADAL" clId="{4F24F6EA-5C15-4B1E-BB90-5F36608CC209}" dt="2022-11-29T07:44:24.298" v="1560" actId="208"/>
        <pc:sldMkLst>
          <pc:docMk/>
          <pc:sldMk cId="1734443655" sldId="2076137972"/>
        </pc:sldMkLst>
        <pc:spChg chg="add del mod ord">
          <ac:chgData name="Hissam EL BARKAOUI" userId="bd40893a-d7b0-46e9-8e20-b7bd51641b40" providerId="ADAL" clId="{4F24F6EA-5C15-4B1E-BB90-5F36608CC209}" dt="2022-11-29T07:43:51.835" v="1553" actId="478"/>
          <ac:spMkLst>
            <pc:docMk/>
            <pc:sldMk cId="1734443655" sldId="2076137972"/>
            <ac:spMk id="2" creationId="{B427929C-EA91-4232-90A5-09FDCC013AF5}"/>
          </ac:spMkLst>
        </pc:spChg>
        <pc:spChg chg="mod">
          <ac:chgData name="Hissam EL BARKAOUI" userId="bd40893a-d7b0-46e9-8e20-b7bd51641b40" providerId="ADAL" clId="{4F24F6EA-5C15-4B1E-BB90-5F36608CC209}" dt="2022-11-29T07:44:24.298" v="1560" actId="208"/>
          <ac:spMkLst>
            <pc:docMk/>
            <pc:sldMk cId="1734443655" sldId="2076137972"/>
            <ac:spMk id="3" creationId="{5A0843AA-052F-429A-B26A-D247D0BDCEB5}"/>
          </ac:spMkLst>
        </pc:spChg>
        <pc:spChg chg="mod ord">
          <ac:chgData name="Hissam EL BARKAOUI" userId="bd40893a-d7b0-46e9-8e20-b7bd51641b40" providerId="ADAL" clId="{4F24F6EA-5C15-4B1E-BB90-5F36608CC209}" dt="2022-11-29T07:44:04.223" v="1555" actId="207"/>
          <ac:spMkLst>
            <pc:docMk/>
            <pc:sldMk cId="1734443655" sldId="2076137972"/>
            <ac:spMk id="4" creationId="{F2BF6837-0DE1-4FC3-B716-8667B5A989B9}"/>
          </ac:spMkLst>
        </pc:spChg>
        <pc:spChg chg="mod">
          <ac:chgData name="Hissam EL BARKAOUI" userId="bd40893a-d7b0-46e9-8e20-b7bd51641b40" providerId="ADAL" clId="{4F24F6EA-5C15-4B1E-BB90-5F36608CC209}" dt="2022-11-29T07:44:24.298" v="1560" actId="208"/>
          <ac:spMkLst>
            <pc:docMk/>
            <pc:sldMk cId="1734443655" sldId="2076137972"/>
            <ac:spMk id="10" creationId="{E09E90DF-29D2-41E4-898F-9F9CEB39D99D}"/>
          </ac:spMkLst>
        </pc:spChg>
        <pc:spChg chg="mod">
          <ac:chgData name="Hissam EL BARKAOUI" userId="bd40893a-d7b0-46e9-8e20-b7bd51641b40" providerId="ADAL" clId="{4F24F6EA-5C15-4B1E-BB90-5F36608CC209}" dt="2022-11-29T07:44:18.418" v="1558" actId="14100"/>
          <ac:spMkLst>
            <pc:docMk/>
            <pc:sldMk cId="1734443655" sldId="2076137972"/>
            <ac:spMk id="12" creationId="{56577DC6-0FBA-4C70-B27A-8AF1067F99E4}"/>
          </ac:spMkLst>
        </pc:spChg>
        <pc:spChg chg="mod">
          <ac:chgData name="Hissam EL BARKAOUI" userId="bd40893a-d7b0-46e9-8e20-b7bd51641b40" providerId="ADAL" clId="{4F24F6EA-5C15-4B1E-BB90-5F36608CC209}" dt="2022-11-29T07:44:09.094" v="1556" actId="207"/>
          <ac:spMkLst>
            <pc:docMk/>
            <pc:sldMk cId="1734443655" sldId="2076137972"/>
            <ac:spMk id="15" creationId="{57BA2436-4D0C-5945-A2A4-5CE1D055A977}"/>
          </ac:spMkLst>
        </pc:spChg>
        <pc:spChg chg="mod">
          <ac:chgData name="Hissam EL BARKAOUI" userId="bd40893a-d7b0-46e9-8e20-b7bd51641b40" providerId="ADAL" clId="{4F24F6EA-5C15-4B1E-BB90-5F36608CC209}" dt="2022-11-29T07:44:24.298" v="1560" actId="208"/>
          <ac:spMkLst>
            <pc:docMk/>
            <pc:sldMk cId="1734443655" sldId="2076137972"/>
            <ac:spMk id="18" creationId="{1C17F6AA-3E95-4A2E-9053-6C7EF83E9EB2}"/>
          </ac:spMkLst>
        </pc:spChg>
        <pc:spChg chg="mod">
          <ac:chgData name="Hissam EL BARKAOUI" userId="bd40893a-d7b0-46e9-8e20-b7bd51641b40" providerId="ADAL" clId="{4F24F6EA-5C15-4B1E-BB90-5F36608CC209}" dt="2022-11-29T07:44:09.094" v="1556" actId="207"/>
          <ac:spMkLst>
            <pc:docMk/>
            <pc:sldMk cId="1734443655" sldId="2076137972"/>
            <ac:spMk id="25" creationId="{514246A8-CCF0-1040-B9EC-8506487A2BF6}"/>
          </ac:spMkLst>
        </pc:spChg>
        <pc:spChg chg="mod">
          <ac:chgData name="Hissam EL BARKAOUI" userId="bd40893a-d7b0-46e9-8e20-b7bd51641b40" providerId="ADAL" clId="{4F24F6EA-5C15-4B1E-BB90-5F36608CC209}" dt="2022-11-29T07:44:09.094" v="1556" actId="207"/>
          <ac:spMkLst>
            <pc:docMk/>
            <pc:sldMk cId="1734443655" sldId="2076137972"/>
            <ac:spMk id="32" creationId="{2A6DADE7-B8CC-7B42-AC2D-AF972C103710}"/>
          </ac:spMkLst>
        </pc:spChg>
        <pc:spChg chg="mod">
          <ac:chgData name="Hissam EL BARKAOUI" userId="bd40893a-d7b0-46e9-8e20-b7bd51641b40" providerId="ADAL" clId="{4F24F6EA-5C15-4B1E-BB90-5F36608CC209}" dt="2022-11-29T07:44:09.094" v="1556" actId="207"/>
          <ac:spMkLst>
            <pc:docMk/>
            <pc:sldMk cId="1734443655" sldId="2076137972"/>
            <ac:spMk id="42" creationId="{A7B55179-1493-C04D-BD36-FD929F39D230}"/>
          </ac:spMkLst>
        </pc:spChg>
        <pc:spChg chg="mod">
          <ac:chgData name="Hissam EL BARKAOUI" userId="bd40893a-d7b0-46e9-8e20-b7bd51641b40" providerId="ADAL" clId="{4F24F6EA-5C15-4B1E-BB90-5F36608CC209}" dt="2022-11-29T07:44:21.351" v="1559" actId="207"/>
          <ac:spMkLst>
            <pc:docMk/>
            <pc:sldMk cId="1734443655" sldId="2076137972"/>
            <ac:spMk id="641" creationId="{00000000-0000-0000-0000-000000000000}"/>
          </ac:spMkLst>
        </pc:spChg>
        <pc:cxnChg chg="mod">
          <ac:chgData name="Hissam EL BARKAOUI" userId="bd40893a-d7b0-46e9-8e20-b7bd51641b40" providerId="ADAL" clId="{4F24F6EA-5C15-4B1E-BB90-5F36608CC209}" dt="2022-11-29T07:44:24.298" v="1560" actId="208"/>
          <ac:cxnSpMkLst>
            <pc:docMk/>
            <pc:sldMk cId="1734443655" sldId="2076137972"/>
            <ac:cxnSpMk id="11" creationId="{2AF3A7C0-CDE1-44F4-8A0E-D5BA335C04D6}"/>
          </ac:cxnSpMkLst>
        </pc:cxnChg>
        <pc:cxnChg chg="mod">
          <ac:chgData name="Hissam EL BARKAOUI" userId="bd40893a-d7b0-46e9-8e20-b7bd51641b40" providerId="ADAL" clId="{4F24F6EA-5C15-4B1E-BB90-5F36608CC209}" dt="2022-11-29T07:44:13.515" v="1557" actId="208"/>
          <ac:cxnSpMkLst>
            <pc:docMk/>
            <pc:sldMk cId="1734443655" sldId="2076137972"/>
            <ac:cxnSpMk id="16" creationId="{D36992B1-1414-5C4A-9E5B-539CE114FFB2}"/>
          </ac:cxnSpMkLst>
        </pc:cxnChg>
        <pc:cxnChg chg="mod">
          <ac:chgData name="Hissam EL BARKAOUI" userId="bd40893a-d7b0-46e9-8e20-b7bd51641b40" providerId="ADAL" clId="{4F24F6EA-5C15-4B1E-BB90-5F36608CC209}" dt="2022-11-29T07:44:13.515" v="1557" actId="208"/>
          <ac:cxnSpMkLst>
            <pc:docMk/>
            <pc:sldMk cId="1734443655" sldId="2076137972"/>
            <ac:cxnSpMk id="33" creationId="{B9939318-4C40-9B43-B97C-B2CB536A1EA5}"/>
          </ac:cxnSpMkLst>
        </pc:cxnChg>
        <pc:cxnChg chg="mod">
          <ac:chgData name="Hissam EL BARKAOUI" userId="bd40893a-d7b0-46e9-8e20-b7bd51641b40" providerId="ADAL" clId="{4F24F6EA-5C15-4B1E-BB90-5F36608CC209}" dt="2022-11-29T07:44:13.515" v="1557" actId="208"/>
          <ac:cxnSpMkLst>
            <pc:docMk/>
            <pc:sldMk cId="1734443655" sldId="2076137972"/>
            <ac:cxnSpMk id="56" creationId="{EC4BDDD5-6DA4-41AD-8767-BFC1D3E52852}"/>
          </ac:cxnSpMkLst>
        </pc:cxnChg>
      </pc:sldChg>
      <pc:sldChg chg="addSp delSp modSp add mod modClrScheme chgLayout">
        <pc:chgData name="Hissam EL BARKAOUI" userId="bd40893a-d7b0-46e9-8e20-b7bd51641b40" providerId="ADAL" clId="{4F24F6EA-5C15-4B1E-BB90-5F36608CC209}" dt="2022-11-29T07:42:34.889" v="1536" actId="208"/>
        <pc:sldMkLst>
          <pc:docMk/>
          <pc:sldMk cId="125570855" sldId="2076137977"/>
        </pc:sldMkLst>
        <pc:spChg chg="add del mod ord">
          <ac:chgData name="Hissam EL BARKAOUI" userId="bd40893a-d7b0-46e9-8e20-b7bd51641b40" providerId="ADAL" clId="{4F24F6EA-5C15-4B1E-BB90-5F36608CC209}" dt="2022-11-29T07:42:08.585" v="1532" actId="478"/>
          <ac:spMkLst>
            <pc:docMk/>
            <pc:sldMk cId="125570855" sldId="2076137977"/>
            <ac:spMk id="2" creationId="{B00492D0-1D43-434D-8230-5FFC320ADD7D}"/>
          </ac:spMkLst>
        </pc:spChg>
        <pc:spChg chg="mod">
          <ac:chgData name="Hissam EL BARKAOUI" userId="bd40893a-d7b0-46e9-8e20-b7bd51641b40" providerId="ADAL" clId="{4F24F6EA-5C15-4B1E-BB90-5F36608CC209}" dt="2022-11-29T07:42:34.889" v="1536" actId="208"/>
          <ac:spMkLst>
            <pc:docMk/>
            <pc:sldMk cId="125570855" sldId="2076137977"/>
            <ac:spMk id="3" creationId="{5A0843AA-052F-429A-B26A-D247D0BDCEB5}"/>
          </ac:spMkLst>
        </pc:spChg>
        <pc:spChg chg="mod ord">
          <ac:chgData name="Hissam EL BARKAOUI" userId="bd40893a-d7b0-46e9-8e20-b7bd51641b40" providerId="ADAL" clId="{4F24F6EA-5C15-4B1E-BB90-5F36608CC209}" dt="2022-11-29T07:42:14.484" v="1533" actId="207"/>
          <ac:spMkLst>
            <pc:docMk/>
            <pc:sldMk cId="125570855" sldId="2076137977"/>
            <ac:spMk id="4" creationId="{F2BF6837-0DE1-4FC3-B716-8667B5A989B9}"/>
          </ac:spMkLst>
        </pc:spChg>
        <pc:spChg chg="mod">
          <ac:chgData name="Hissam EL BARKAOUI" userId="bd40893a-d7b0-46e9-8e20-b7bd51641b40" providerId="ADAL" clId="{4F24F6EA-5C15-4B1E-BB90-5F36608CC209}" dt="2022-11-29T07:42:34.889" v="1536" actId="208"/>
          <ac:spMkLst>
            <pc:docMk/>
            <pc:sldMk cId="125570855" sldId="2076137977"/>
            <ac:spMk id="10" creationId="{E09E90DF-29D2-41E4-898F-9F9CEB39D99D}"/>
          </ac:spMkLst>
        </pc:spChg>
        <pc:spChg chg="mod">
          <ac:chgData name="Hissam EL BARKAOUI" userId="bd40893a-d7b0-46e9-8e20-b7bd51641b40" providerId="ADAL" clId="{4F24F6EA-5C15-4B1E-BB90-5F36608CC209}" dt="2022-11-29T07:42:20.766" v="1534" actId="207"/>
          <ac:spMkLst>
            <pc:docMk/>
            <pc:sldMk cId="125570855" sldId="2076137977"/>
            <ac:spMk id="15" creationId="{57BA2436-4D0C-5945-A2A4-5CE1D055A977}"/>
          </ac:spMkLst>
        </pc:spChg>
        <pc:spChg chg="mod">
          <ac:chgData name="Hissam EL BARKAOUI" userId="bd40893a-d7b0-46e9-8e20-b7bd51641b40" providerId="ADAL" clId="{4F24F6EA-5C15-4B1E-BB90-5F36608CC209}" dt="2022-11-29T07:42:34.889" v="1536" actId="208"/>
          <ac:spMkLst>
            <pc:docMk/>
            <pc:sldMk cId="125570855" sldId="2076137977"/>
            <ac:spMk id="18" creationId="{1C17F6AA-3E95-4A2E-9053-6C7EF83E9EB2}"/>
          </ac:spMkLst>
        </pc:spChg>
        <pc:spChg chg="mod">
          <ac:chgData name="Hissam EL BARKAOUI" userId="bd40893a-d7b0-46e9-8e20-b7bd51641b40" providerId="ADAL" clId="{4F24F6EA-5C15-4B1E-BB90-5F36608CC209}" dt="2022-11-29T07:42:20.766" v="1534" actId="207"/>
          <ac:spMkLst>
            <pc:docMk/>
            <pc:sldMk cId="125570855" sldId="2076137977"/>
            <ac:spMk id="25" creationId="{514246A8-CCF0-1040-B9EC-8506487A2BF6}"/>
          </ac:spMkLst>
        </pc:spChg>
        <pc:spChg chg="mod">
          <ac:chgData name="Hissam EL BARKAOUI" userId="bd40893a-d7b0-46e9-8e20-b7bd51641b40" providerId="ADAL" clId="{4F24F6EA-5C15-4B1E-BB90-5F36608CC209}" dt="2022-11-29T07:42:20.766" v="1534" actId="207"/>
          <ac:spMkLst>
            <pc:docMk/>
            <pc:sldMk cId="125570855" sldId="2076137977"/>
            <ac:spMk id="32" creationId="{2A6DADE7-B8CC-7B42-AC2D-AF972C103710}"/>
          </ac:spMkLst>
        </pc:spChg>
        <pc:spChg chg="mod">
          <ac:chgData name="Hissam EL BARKAOUI" userId="bd40893a-d7b0-46e9-8e20-b7bd51641b40" providerId="ADAL" clId="{4F24F6EA-5C15-4B1E-BB90-5F36608CC209}" dt="2022-11-29T07:42:20.766" v="1534" actId="207"/>
          <ac:spMkLst>
            <pc:docMk/>
            <pc:sldMk cId="125570855" sldId="2076137977"/>
            <ac:spMk id="42" creationId="{A7B55179-1493-C04D-BD36-FD929F39D230}"/>
          </ac:spMkLst>
        </pc:spChg>
        <pc:spChg chg="mod">
          <ac:chgData name="Hissam EL BARKAOUI" userId="bd40893a-d7b0-46e9-8e20-b7bd51641b40" providerId="ADAL" clId="{4F24F6EA-5C15-4B1E-BB90-5F36608CC209}" dt="2022-11-29T07:42:25.881" v="1535" actId="207"/>
          <ac:spMkLst>
            <pc:docMk/>
            <pc:sldMk cId="125570855" sldId="2076137977"/>
            <ac:spMk id="641" creationId="{00000000-0000-0000-0000-000000000000}"/>
          </ac:spMkLst>
        </pc:spChg>
        <pc:cxnChg chg="mod">
          <ac:chgData name="Hissam EL BARKAOUI" userId="bd40893a-d7b0-46e9-8e20-b7bd51641b40" providerId="ADAL" clId="{4F24F6EA-5C15-4B1E-BB90-5F36608CC209}" dt="2022-11-29T07:42:34.889" v="1536" actId="208"/>
          <ac:cxnSpMkLst>
            <pc:docMk/>
            <pc:sldMk cId="125570855" sldId="2076137977"/>
            <ac:cxnSpMk id="11" creationId="{2AF3A7C0-CDE1-44F4-8A0E-D5BA335C04D6}"/>
          </ac:cxnSpMkLst>
        </pc:cxnChg>
        <pc:cxnChg chg="mod">
          <ac:chgData name="Hissam EL BARKAOUI" userId="bd40893a-d7b0-46e9-8e20-b7bd51641b40" providerId="ADAL" clId="{4F24F6EA-5C15-4B1E-BB90-5F36608CC209}" dt="2022-11-29T07:42:34.889" v="1536" actId="208"/>
          <ac:cxnSpMkLst>
            <pc:docMk/>
            <pc:sldMk cId="125570855" sldId="2076137977"/>
            <ac:cxnSpMk id="16" creationId="{D36992B1-1414-5C4A-9E5B-539CE114FFB2}"/>
          </ac:cxnSpMkLst>
        </pc:cxnChg>
        <pc:cxnChg chg="mod">
          <ac:chgData name="Hissam EL BARKAOUI" userId="bd40893a-d7b0-46e9-8e20-b7bd51641b40" providerId="ADAL" clId="{4F24F6EA-5C15-4B1E-BB90-5F36608CC209}" dt="2022-11-29T07:42:34.889" v="1536" actId="208"/>
          <ac:cxnSpMkLst>
            <pc:docMk/>
            <pc:sldMk cId="125570855" sldId="2076137977"/>
            <ac:cxnSpMk id="33" creationId="{B9939318-4C40-9B43-B97C-B2CB536A1EA5}"/>
          </ac:cxnSpMkLst>
        </pc:cxnChg>
        <pc:cxnChg chg="mod">
          <ac:chgData name="Hissam EL BARKAOUI" userId="bd40893a-d7b0-46e9-8e20-b7bd51641b40" providerId="ADAL" clId="{4F24F6EA-5C15-4B1E-BB90-5F36608CC209}" dt="2022-11-29T07:42:34.889" v="1536" actId="208"/>
          <ac:cxnSpMkLst>
            <pc:docMk/>
            <pc:sldMk cId="125570855" sldId="2076137977"/>
            <ac:cxnSpMk id="56" creationId="{EC4BDDD5-6DA4-41AD-8767-BFC1D3E52852}"/>
          </ac:cxnSpMkLst>
        </pc:cxnChg>
      </pc:sldChg>
      <pc:sldChg chg="modNotesTx">
        <pc:chgData name="Hissam EL BARKAOUI" userId="bd40893a-d7b0-46e9-8e20-b7bd51641b40" providerId="ADAL" clId="{4F24F6EA-5C15-4B1E-BB90-5F36608CC209}" dt="2022-11-28T16:16:42.579" v="415" actId="20577"/>
        <pc:sldMkLst>
          <pc:docMk/>
          <pc:sldMk cId="2099822551" sldId="2076138161"/>
        </pc:sldMkLst>
      </pc:sldChg>
      <pc:sldChg chg="modSp mod addCm delCm modCm">
        <pc:chgData name="Hissam EL BARKAOUI" userId="bd40893a-d7b0-46e9-8e20-b7bd51641b40" providerId="ADAL" clId="{4F24F6EA-5C15-4B1E-BB90-5F36608CC209}" dt="2022-11-29T08:16:47.964" v="1945" actId="1076"/>
        <pc:sldMkLst>
          <pc:docMk/>
          <pc:sldMk cId="3018744438" sldId="2076138191"/>
        </pc:sldMkLst>
        <pc:spChg chg="mod">
          <ac:chgData name="Hissam EL BARKAOUI" userId="bd40893a-d7b0-46e9-8e20-b7bd51641b40" providerId="ADAL" clId="{4F24F6EA-5C15-4B1E-BB90-5F36608CC209}" dt="2022-11-29T08:16:47.964" v="1945" actId="1076"/>
          <ac:spMkLst>
            <pc:docMk/>
            <pc:sldMk cId="3018744438" sldId="2076138191"/>
            <ac:spMk id="3" creationId="{EEF33552-917D-488C-9446-5955267F49CA}"/>
          </ac:spMkLst>
        </pc:spChg>
        <pc:spChg chg="mod">
          <ac:chgData name="Hissam EL BARKAOUI" userId="bd40893a-d7b0-46e9-8e20-b7bd51641b40" providerId="ADAL" clId="{4F24F6EA-5C15-4B1E-BB90-5F36608CC209}" dt="2022-11-29T08:10:23.140" v="1758" actId="20577"/>
          <ac:spMkLst>
            <pc:docMk/>
            <pc:sldMk cId="3018744438" sldId="2076138191"/>
            <ac:spMk id="4" creationId="{DFE4ECB6-193A-41CD-8C1D-5A9AA8C9E006}"/>
          </ac:spMkLst>
        </pc:spChg>
        <pc:spChg chg="mod">
          <ac:chgData name="Hissam EL BARKAOUI" userId="bd40893a-d7b0-46e9-8e20-b7bd51641b40" providerId="ADAL" clId="{4F24F6EA-5C15-4B1E-BB90-5F36608CC209}" dt="2022-11-28T17:19:38.410" v="1443" actId="2711"/>
          <ac:spMkLst>
            <pc:docMk/>
            <pc:sldMk cId="3018744438" sldId="2076138191"/>
            <ac:spMk id="9" creationId="{B9D16533-3C4E-49F8-8625-77A29914D708}"/>
          </ac:spMkLst>
        </pc:spChg>
        <pc:spChg chg="mod">
          <ac:chgData name="Hissam EL BARKAOUI" userId="bd40893a-d7b0-46e9-8e20-b7bd51641b40" providerId="ADAL" clId="{4F24F6EA-5C15-4B1E-BB90-5F36608CC209}" dt="2022-11-28T17:19:38.410" v="1443" actId="2711"/>
          <ac:spMkLst>
            <pc:docMk/>
            <pc:sldMk cId="3018744438" sldId="2076138191"/>
            <ac:spMk id="10" creationId="{2C1BE3D3-AF86-4F00-99E9-C106820D1EEC}"/>
          </ac:spMkLst>
        </pc:spChg>
        <pc:spChg chg="mod">
          <ac:chgData name="Hissam EL BARKAOUI" userId="bd40893a-d7b0-46e9-8e20-b7bd51641b40" providerId="ADAL" clId="{4F24F6EA-5C15-4B1E-BB90-5F36608CC209}" dt="2022-11-28T17:19:38.410" v="1443" actId="2711"/>
          <ac:spMkLst>
            <pc:docMk/>
            <pc:sldMk cId="3018744438" sldId="2076138191"/>
            <ac:spMk id="11" creationId="{C292AB15-E768-45D5-AD2A-5C819B23BD9F}"/>
          </ac:spMkLst>
        </pc:spChg>
        <pc:spChg chg="mod">
          <ac:chgData name="Hissam EL BARKAOUI" userId="bd40893a-d7b0-46e9-8e20-b7bd51641b40" providerId="ADAL" clId="{4F24F6EA-5C15-4B1E-BB90-5F36608CC209}" dt="2022-11-29T08:15:41.009" v="1944" actId="20577"/>
          <ac:spMkLst>
            <pc:docMk/>
            <pc:sldMk cId="3018744438" sldId="2076138191"/>
            <ac:spMk id="13" creationId="{E22D3A68-8C63-4250-BAEB-59D55544985D}"/>
          </ac:spMkLst>
        </pc:spChg>
        <pc:spChg chg="mod">
          <ac:chgData name="Hissam EL BARKAOUI" userId="bd40893a-d7b0-46e9-8e20-b7bd51641b40" providerId="ADAL" clId="{4F24F6EA-5C15-4B1E-BB90-5F36608CC209}" dt="2022-11-28T17:19:38.410" v="1443" actId="2711"/>
          <ac:spMkLst>
            <pc:docMk/>
            <pc:sldMk cId="3018744438" sldId="2076138191"/>
            <ac:spMk id="15" creationId="{864E3EB6-63A0-4187-87C2-15847F11EF55}"/>
          </ac:spMkLst>
        </pc:spChg>
        <pc:spChg chg="mod">
          <ac:chgData name="Hissam EL BARKAOUI" userId="bd40893a-d7b0-46e9-8e20-b7bd51641b40" providerId="ADAL" clId="{4F24F6EA-5C15-4B1E-BB90-5F36608CC209}" dt="2022-11-28T17:10:30.666" v="1311" actId="20577"/>
          <ac:spMkLst>
            <pc:docMk/>
            <pc:sldMk cId="3018744438" sldId="2076138191"/>
            <ac:spMk id="17" creationId="{081C14F2-F0CF-453C-B5E6-3AB28B427042}"/>
          </ac:spMkLst>
        </pc:spChg>
        <pc:spChg chg="mod">
          <ac:chgData name="Hissam EL BARKAOUI" userId="bd40893a-d7b0-46e9-8e20-b7bd51641b40" providerId="ADAL" clId="{4F24F6EA-5C15-4B1E-BB90-5F36608CC209}" dt="2022-11-28T17:19:57.873" v="1444" actId="2711"/>
          <ac:spMkLst>
            <pc:docMk/>
            <pc:sldMk cId="3018744438" sldId="2076138191"/>
            <ac:spMk id="19" creationId="{E5D12B18-7E25-4B86-97C3-8FE911A0B4BB}"/>
          </ac:spMkLst>
        </pc:spChg>
        <pc:spChg chg="mod">
          <ac:chgData name="Hissam EL BARKAOUI" userId="bd40893a-d7b0-46e9-8e20-b7bd51641b40" providerId="ADAL" clId="{4F24F6EA-5C15-4B1E-BB90-5F36608CC209}" dt="2022-11-28T17:19:57.873" v="1444" actId="2711"/>
          <ac:spMkLst>
            <pc:docMk/>
            <pc:sldMk cId="3018744438" sldId="2076138191"/>
            <ac:spMk id="20" creationId="{565DB432-08FF-4A9A-AB8C-670F8EEE2F58}"/>
          </ac:spMkLst>
        </pc:spChg>
        <pc:spChg chg="mod">
          <ac:chgData name="Hissam EL BARKAOUI" userId="bd40893a-d7b0-46e9-8e20-b7bd51641b40" providerId="ADAL" clId="{4F24F6EA-5C15-4B1E-BB90-5F36608CC209}" dt="2022-11-28T17:19:32.523" v="1442" actId="2711"/>
          <ac:spMkLst>
            <pc:docMk/>
            <pc:sldMk cId="3018744438" sldId="2076138191"/>
            <ac:spMk id="21" creationId="{D9A988A6-DAA7-4D7C-B159-F26391976183}"/>
          </ac:spMkLst>
        </pc:spChg>
        <pc:spChg chg="mod">
          <ac:chgData name="Hissam EL BARKAOUI" userId="bd40893a-d7b0-46e9-8e20-b7bd51641b40" providerId="ADAL" clId="{4F24F6EA-5C15-4B1E-BB90-5F36608CC209}" dt="2022-11-28T17:19:32.523" v="1442" actId="2711"/>
          <ac:spMkLst>
            <pc:docMk/>
            <pc:sldMk cId="3018744438" sldId="2076138191"/>
            <ac:spMk id="22" creationId="{855FD319-091B-4066-A0A7-835D74D088EB}"/>
          </ac:spMkLst>
        </pc:spChg>
        <pc:spChg chg="mod">
          <ac:chgData name="Hissam EL BARKAOUI" userId="bd40893a-d7b0-46e9-8e20-b7bd51641b40" providerId="ADAL" clId="{4F24F6EA-5C15-4B1E-BB90-5F36608CC209}" dt="2022-11-28T16:31:09.975" v="541" actId="20577"/>
          <ac:spMkLst>
            <pc:docMk/>
            <pc:sldMk cId="3018744438" sldId="2076138191"/>
            <ac:spMk id="23" creationId="{CF817CD1-67EC-4FDD-827D-3DC9561FCB49}"/>
          </ac:spMkLst>
        </pc:spChg>
        <pc:spChg chg="mod">
          <ac:chgData name="Hissam EL BARKAOUI" userId="bd40893a-d7b0-46e9-8e20-b7bd51641b40" providerId="ADAL" clId="{4F24F6EA-5C15-4B1E-BB90-5F36608CC209}" dt="2022-11-28T17:05:08.388" v="1252" actId="20577"/>
          <ac:spMkLst>
            <pc:docMk/>
            <pc:sldMk cId="3018744438" sldId="2076138191"/>
            <ac:spMk id="25" creationId="{4AEFC871-E98C-485E-9163-A731FB3B27F0}"/>
          </ac:spMkLst>
        </pc:spChg>
        <pc:spChg chg="mod">
          <ac:chgData name="Hissam EL BARKAOUI" userId="bd40893a-d7b0-46e9-8e20-b7bd51641b40" providerId="ADAL" clId="{4F24F6EA-5C15-4B1E-BB90-5F36608CC209}" dt="2022-11-28T17:06:19.166" v="1278" actId="20577"/>
          <ac:spMkLst>
            <pc:docMk/>
            <pc:sldMk cId="3018744438" sldId="2076138191"/>
            <ac:spMk id="27" creationId="{69090CC5-2139-4042-A092-E56BBB183919}"/>
          </ac:spMkLst>
        </pc:spChg>
      </pc:sldChg>
      <pc:sldChg chg="modSp mod">
        <pc:chgData name="Hissam EL BARKAOUI" userId="bd40893a-d7b0-46e9-8e20-b7bd51641b40" providerId="ADAL" clId="{4F24F6EA-5C15-4B1E-BB90-5F36608CC209}" dt="2022-11-25T16:00:37.074" v="346" actId="20577"/>
        <pc:sldMkLst>
          <pc:docMk/>
          <pc:sldMk cId="4202844115" sldId="2076138192"/>
        </pc:sldMkLst>
        <pc:spChg chg="mod">
          <ac:chgData name="Hissam EL BARKAOUI" userId="bd40893a-d7b0-46e9-8e20-b7bd51641b40" providerId="ADAL" clId="{4F24F6EA-5C15-4B1E-BB90-5F36608CC209}" dt="2022-11-25T16:00:37.074" v="346" actId="20577"/>
          <ac:spMkLst>
            <pc:docMk/>
            <pc:sldMk cId="4202844115" sldId="2076138192"/>
            <ac:spMk id="19" creationId="{32196ADF-F3F0-B69C-C2FA-C7DE71894B97}"/>
          </ac:spMkLst>
        </pc:spChg>
        <pc:spChg chg="mod">
          <ac:chgData name="Hissam EL BARKAOUI" userId="bd40893a-d7b0-46e9-8e20-b7bd51641b40" providerId="ADAL" clId="{4F24F6EA-5C15-4B1E-BB90-5F36608CC209}" dt="2022-11-25T15:55:06.641" v="323" actId="20577"/>
          <ac:spMkLst>
            <pc:docMk/>
            <pc:sldMk cId="4202844115" sldId="2076138192"/>
            <ac:spMk id="34" creationId="{585A3857-5C21-EF7E-8780-86C34F9A2194}"/>
          </ac:spMkLst>
        </pc:spChg>
      </pc:sldChg>
      <pc:sldChg chg="addSp modSp mod">
        <pc:chgData name="Hissam EL BARKAOUI" userId="bd40893a-d7b0-46e9-8e20-b7bd51641b40" providerId="ADAL" clId="{4F24F6EA-5C15-4B1E-BB90-5F36608CC209}" dt="2022-11-29T07:49:37.853" v="1699" actId="1035"/>
        <pc:sldMkLst>
          <pc:docMk/>
          <pc:sldMk cId="149410661" sldId="2076138197"/>
        </pc:sldMkLst>
        <pc:spChg chg="mod">
          <ac:chgData name="Hissam EL BARKAOUI" userId="bd40893a-d7b0-46e9-8e20-b7bd51641b40" providerId="ADAL" clId="{4F24F6EA-5C15-4B1E-BB90-5F36608CC209}" dt="2022-11-29T07:45:58.080" v="1588" actId="14100"/>
          <ac:spMkLst>
            <pc:docMk/>
            <pc:sldMk cId="149410661" sldId="2076138197"/>
            <ac:spMk id="4" creationId="{C4F07D73-D93D-4F68-AC67-1A521BD718BD}"/>
          </ac:spMkLst>
        </pc:spChg>
        <pc:spChg chg="add mod">
          <ac:chgData name="Hissam EL BARKAOUI" userId="bd40893a-d7b0-46e9-8e20-b7bd51641b40" providerId="ADAL" clId="{4F24F6EA-5C15-4B1E-BB90-5F36608CC209}" dt="2022-11-29T07:46:43.044" v="1616" actId="1035"/>
          <ac:spMkLst>
            <pc:docMk/>
            <pc:sldMk cId="149410661" sldId="2076138197"/>
            <ac:spMk id="6" creationId="{D23AE0C6-6FD8-41BC-BA07-896C51E2F613}"/>
          </ac:spMkLst>
        </pc:spChg>
        <pc:spChg chg="add mod">
          <ac:chgData name="Hissam EL BARKAOUI" userId="bd40893a-d7b0-46e9-8e20-b7bd51641b40" providerId="ADAL" clId="{4F24F6EA-5C15-4B1E-BB90-5F36608CC209}" dt="2022-11-29T07:46:47.862" v="1620" actId="1035"/>
          <ac:spMkLst>
            <pc:docMk/>
            <pc:sldMk cId="149410661" sldId="2076138197"/>
            <ac:spMk id="8" creationId="{7E2C1AFF-D652-406C-9082-1AE6AC28F265}"/>
          </ac:spMkLst>
        </pc:spChg>
        <pc:spChg chg="add mod">
          <ac:chgData name="Hissam EL BARKAOUI" userId="bd40893a-d7b0-46e9-8e20-b7bd51641b40" providerId="ADAL" clId="{4F24F6EA-5C15-4B1E-BB90-5F36608CC209}" dt="2022-11-29T07:46:51.920" v="1621" actId="571"/>
          <ac:spMkLst>
            <pc:docMk/>
            <pc:sldMk cId="149410661" sldId="2076138197"/>
            <ac:spMk id="9" creationId="{20D2B6C6-8CAD-4273-8D5F-ED56C137ED91}"/>
          </ac:spMkLst>
        </pc:spChg>
        <pc:spChg chg="add mod">
          <ac:chgData name="Hissam EL BARKAOUI" userId="bd40893a-d7b0-46e9-8e20-b7bd51641b40" providerId="ADAL" clId="{4F24F6EA-5C15-4B1E-BB90-5F36608CC209}" dt="2022-11-29T07:49:31.644" v="1694" actId="571"/>
          <ac:spMkLst>
            <pc:docMk/>
            <pc:sldMk cId="149410661" sldId="2076138197"/>
            <ac:spMk id="11" creationId="{9709138F-5E66-41FB-B0A7-CB944F0AFE37}"/>
          </ac:spMkLst>
        </pc:spChg>
        <pc:spChg chg="add mod">
          <ac:chgData name="Hissam EL BARKAOUI" userId="bd40893a-d7b0-46e9-8e20-b7bd51641b40" providerId="ADAL" clId="{4F24F6EA-5C15-4B1E-BB90-5F36608CC209}" dt="2022-11-29T07:49:37.853" v="1699" actId="1035"/>
          <ac:spMkLst>
            <pc:docMk/>
            <pc:sldMk cId="149410661" sldId="2076138197"/>
            <ac:spMk id="12" creationId="{DFFB2073-F5BA-4AB0-8F36-E797AA256CAE}"/>
          </ac:spMkLst>
        </pc:spChg>
        <pc:graphicFrameChg chg="mod modGraphic">
          <ac:chgData name="Hissam EL BARKAOUI" userId="bd40893a-d7b0-46e9-8e20-b7bd51641b40" providerId="ADAL" clId="{4F24F6EA-5C15-4B1E-BB90-5F36608CC209}" dt="2022-11-29T07:49:21.952" v="1693" actId="20577"/>
          <ac:graphicFrameMkLst>
            <pc:docMk/>
            <pc:sldMk cId="149410661" sldId="2076138197"/>
            <ac:graphicFrameMk id="10" creationId="{ECDEBFF2-3228-4EAF-B73B-229926EDB8E1}"/>
          </ac:graphicFrameMkLst>
        </pc:graphicFrameChg>
      </pc:sldChg>
      <pc:sldChg chg="modNotesTx">
        <pc:chgData name="Hissam EL BARKAOUI" userId="bd40893a-d7b0-46e9-8e20-b7bd51641b40" providerId="ADAL" clId="{4F24F6EA-5C15-4B1E-BB90-5F36608CC209}" dt="2022-11-28T16:16:33.416" v="381" actId="20577"/>
        <pc:sldMkLst>
          <pc:docMk/>
          <pc:sldMk cId="857781874" sldId="2076138200"/>
        </pc:sldMkLst>
      </pc:sldChg>
    </pc:docChg>
  </pc:docChgLst>
  <pc:docChgLst>
    <pc:chgData name="Sylvie ROCHE" userId="S::sylvie.roche@talan.com::60404d4e-bbf6-4ef1-963c-527a8dada0a5" providerId="AD" clId="Web-{786F2975-59C6-415F-CDAB-BAB3215F608F}"/>
    <pc:docChg chg="modSld">
      <pc:chgData name="Sylvie ROCHE" userId="S::sylvie.roche@talan.com::60404d4e-bbf6-4ef1-963c-527a8dada0a5" providerId="AD" clId="Web-{786F2975-59C6-415F-CDAB-BAB3215F608F}" dt="2023-02-28T14:55:01.093" v="10"/>
      <pc:docMkLst>
        <pc:docMk/>
      </pc:docMkLst>
      <pc:sldChg chg="addSp modSp">
        <pc:chgData name="Sylvie ROCHE" userId="S::sylvie.roche@talan.com::60404d4e-bbf6-4ef1-963c-527a8dada0a5" providerId="AD" clId="Web-{786F2975-59C6-415F-CDAB-BAB3215F608F}" dt="2023-02-28T14:54:42.015" v="7" actId="20577"/>
        <pc:sldMkLst>
          <pc:docMk/>
          <pc:sldMk cId="3405077761" sldId="2147469832"/>
        </pc:sldMkLst>
        <pc:spChg chg="add mod">
          <ac:chgData name="Sylvie ROCHE" userId="S::sylvie.roche@talan.com::60404d4e-bbf6-4ef1-963c-527a8dada0a5" providerId="AD" clId="Web-{786F2975-59C6-415F-CDAB-BAB3215F608F}" dt="2023-02-28T14:54:42.015" v="7" actId="20577"/>
          <ac:spMkLst>
            <pc:docMk/>
            <pc:sldMk cId="3405077761" sldId="2147469832"/>
            <ac:spMk id="3" creationId="{102066CA-0422-3F43-2607-554E3C3CDDD6}"/>
          </ac:spMkLst>
        </pc:spChg>
      </pc:sldChg>
      <pc:sldChg chg="addSp">
        <pc:chgData name="Sylvie ROCHE" userId="S::sylvie.roche@talan.com::60404d4e-bbf6-4ef1-963c-527a8dada0a5" providerId="AD" clId="Web-{786F2975-59C6-415F-CDAB-BAB3215F608F}" dt="2023-02-28T14:55:01.093" v="10"/>
        <pc:sldMkLst>
          <pc:docMk/>
          <pc:sldMk cId="697415066" sldId="2147469877"/>
        </pc:sldMkLst>
        <pc:spChg chg="add">
          <ac:chgData name="Sylvie ROCHE" userId="S::sylvie.roche@talan.com::60404d4e-bbf6-4ef1-963c-527a8dada0a5" providerId="AD" clId="Web-{786F2975-59C6-415F-CDAB-BAB3215F608F}" dt="2023-02-28T14:54:52.249" v="8"/>
          <ac:spMkLst>
            <pc:docMk/>
            <pc:sldMk cId="697415066" sldId="2147469877"/>
            <ac:spMk id="7" creationId="{A0D5BAE4-0F6B-A66B-F36D-599C7FFFBF05}"/>
          </ac:spMkLst>
        </pc:spChg>
        <pc:spChg chg="add">
          <ac:chgData name="Sylvie ROCHE" userId="S::sylvie.roche@talan.com::60404d4e-bbf6-4ef1-963c-527a8dada0a5" providerId="AD" clId="Web-{786F2975-59C6-415F-CDAB-BAB3215F608F}" dt="2023-02-28T14:54:56.734" v="9"/>
          <ac:spMkLst>
            <pc:docMk/>
            <pc:sldMk cId="697415066" sldId="2147469877"/>
            <ac:spMk id="18" creationId="{C3435A50-3B48-1BEA-11D6-C714E26C8150}"/>
          </ac:spMkLst>
        </pc:spChg>
        <pc:spChg chg="add">
          <ac:chgData name="Sylvie ROCHE" userId="S::sylvie.roche@talan.com::60404d4e-bbf6-4ef1-963c-527a8dada0a5" providerId="AD" clId="Web-{786F2975-59C6-415F-CDAB-BAB3215F608F}" dt="2023-02-28T14:55:01.093" v="10"/>
          <ac:spMkLst>
            <pc:docMk/>
            <pc:sldMk cId="697415066" sldId="2147469877"/>
            <ac:spMk id="23" creationId="{D4340F3E-EC9D-0B6E-B0C9-AC5A00EC0A9E}"/>
          </ac:spMkLst>
        </pc:spChg>
      </pc:sldChg>
      <pc:sldChg chg="modSp">
        <pc:chgData name="Sylvie ROCHE" userId="S::sylvie.roche@talan.com::60404d4e-bbf6-4ef1-963c-527a8dada0a5" providerId="AD" clId="Web-{786F2975-59C6-415F-CDAB-BAB3215F608F}" dt="2023-02-28T14:53:46.998" v="3" actId="20577"/>
        <pc:sldMkLst>
          <pc:docMk/>
          <pc:sldMk cId="3397114460" sldId="2147469963"/>
        </pc:sldMkLst>
        <pc:spChg chg="mod">
          <ac:chgData name="Sylvie ROCHE" userId="S::sylvie.roche@talan.com::60404d4e-bbf6-4ef1-963c-527a8dada0a5" providerId="AD" clId="Web-{786F2975-59C6-415F-CDAB-BAB3215F608F}" dt="2023-02-28T14:53:46.998" v="3" actId="20577"/>
          <ac:spMkLst>
            <pc:docMk/>
            <pc:sldMk cId="3397114460" sldId="2147469963"/>
            <ac:spMk id="2" creationId="{AB53A934-65D5-BCF6-DCD4-8D3180660FE9}"/>
          </ac:spMkLst>
        </pc:spChg>
      </pc:sldChg>
    </pc:docChg>
  </pc:docChgLst>
  <pc:docChgLst>
    <pc:chgData name="Alice DUBREUIL" userId="4371ab0d-bba9-4adf-8a87-dc33a322e2b7" providerId="ADAL" clId="{67CFCA93-7906-4E77-A43E-F534C1AF3607}"/>
    <pc:docChg chg="custSel modSld">
      <pc:chgData name="Alice DUBREUIL" userId="4371ab0d-bba9-4adf-8a87-dc33a322e2b7" providerId="ADAL" clId="{67CFCA93-7906-4E77-A43E-F534C1AF3607}" dt="2023-03-20T13:52:02.203" v="2"/>
      <pc:docMkLst>
        <pc:docMk/>
      </pc:docMkLst>
      <pc:sldChg chg="addSp delSp mod addCm">
        <pc:chgData name="Alice DUBREUIL" userId="4371ab0d-bba9-4adf-8a87-dc33a322e2b7" providerId="ADAL" clId="{67CFCA93-7906-4E77-A43E-F534C1AF3607}" dt="2023-03-20T13:52:02.203" v="2"/>
        <pc:sldMkLst>
          <pc:docMk/>
          <pc:sldMk cId="0" sldId="302"/>
        </pc:sldMkLst>
        <pc:spChg chg="add del">
          <ac:chgData name="Alice DUBREUIL" userId="4371ab0d-bba9-4adf-8a87-dc33a322e2b7" providerId="ADAL" clId="{67CFCA93-7906-4E77-A43E-F534C1AF3607}" dt="2023-03-20T13:51:06.202" v="1" actId="478"/>
          <ac:spMkLst>
            <pc:docMk/>
            <pc:sldMk cId="0" sldId="302"/>
            <ac:spMk id="2" creationId="{E70E7088-582A-4B85-B828-BD1F24547251}"/>
          </ac:spMkLst>
        </pc:spChg>
      </pc:sldChg>
    </pc:docChg>
  </pc:docChgLst>
  <pc:docChgLst>
    <pc:chgData name="Séverine MARTIAL" userId="S::severine.martial@talan.com::cd965009-5775-4307-a222-abb2d853a600" providerId="AD" clId="Web-{2285FE14-F200-630A-C1A9-246A4F7B61F1}"/>
    <pc:docChg chg="addSld delSld modSld sldOrd modSection">
      <pc:chgData name="Séverine MARTIAL" userId="S::severine.martial@talan.com::cd965009-5775-4307-a222-abb2d853a600" providerId="AD" clId="Web-{2285FE14-F200-630A-C1A9-246A4F7B61F1}" dt="2023-03-17T18:19:51.724" v="997"/>
      <pc:docMkLst>
        <pc:docMk/>
      </pc:docMkLst>
      <pc:sldChg chg="del ord">
        <pc:chgData name="Séverine MARTIAL" userId="S::severine.martial@talan.com::cd965009-5775-4307-a222-abb2d853a600" providerId="AD" clId="Web-{2285FE14-F200-630A-C1A9-246A4F7B61F1}" dt="2023-03-17T15:47:25.370" v="506"/>
        <pc:sldMkLst>
          <pc:docMk/>
          <pc:sldMk cId="0" sldId="300"/>
        </pc:sldMkLst>
      </pc:sldChg>
      <pc:sldChg chg="addSp delSp modSp mod ord modClrScheme chgLayout">
        <pc:chgData name="Séverine MARTIAL" userId="S::severine.martial@talan.com::cd965009-5775-4307-a222-abb2d853a600" providerId="AD" clId="Web-{2285FE14-F200-630A-C1A9-246A4F7B61F1}" dt="2023-03-17T18:19:51.724" v="997"/>
        <pc:sldMkLst>
          <pc:docMk/>
          <pc:sldMk cId="619538722" sldId="2076136401"/>
        </pc:sldMkLst>
        <pc:spChg chg="del mod ord">
          <ac:chgData name="Séverine MARTIAL" userId="S::severine.martial@talan.com::cd965009-5775-4307-a222-abb2d853a600" providerId="AD" clId="Web-{2285FE14-F200-630A-C1A9-246A4F7B61F1}" dt="2023-03-17T16:24:25.926" v="517"/>
          <ac:spMkLst>
            <pc:docMk/>
            <pc:sldMk cId="619538722" sldId="2076136401"/>
            <ac:spMk id="3" creationId="{CDB38422-FE1B-4943-8BEF-180A9DF823AE}"/>
          </ac:spMkLst>
        </pc:spChg>
        <pc:spChg chg="add mod">
          <ac:chgData name="Séverine MARTIAL" userId="S::severine.martial@talan.com::cd965009-5775-4307-a222-abb2d853a600" providerId="AD" clId="Web-{2285FE14-F200-630A-C1A9-246A4F7B61F1}" dt="2023-03-17T16:35:03.574" v="557" actId="1076"/>
          <ac:spMkLst>
            <pc:docMk/>
            <pc:sldMk cId="619538722" sldId="2076136401"/>
            <ac:spMk id="4" creationId="{3D1469C1-6DA5-AEEA-5B98-D820C7AFC206}"/>
          </ac:spMkLst>
        </pc:spChg>
        <pc:spChg chg="add del mod">
          <ac:chgData name="Séverine MARTIAL" userId="S::severine.martial@talan.com::cd965009-5775-4307-a222-abb2d853a600" providerId="AD" clId="Web-{2285FE14-F200-630A-C1A9-246A4F7B61F1}" dt="2023-03-17T16:36:14.575" v="575"/>
          <ac:spMkLst>
            <pc:docMk/>
            <pc:sldMk cId="619538722" sldId="2076136401"/>
            <ac:spMk id="5" creationId="{543192E7-9BA1-AEC7-D8F2-2432ECA9A878}"/>
          </ac:spMkLst>
        </pc:spChg>
        <pc:spChg chg="mod">
          <ac:chgData name="Séverine MARTIAL" userId="S::severine.martial@talan.com::cd965009-5775-4307-a222-abb2d853a600" providerId="AD" clId="Web-{2285FE14-F200-630A-C1A9-246A4F7B61F1}" dt="2023-03-17T16:46:43.972" v="679" actId="20577"/>
          <ac:spMkLst>
            <pc:docMk/>
            <pc:sldMk cId="619538722" sldId="2076136401"/>
            <ac:spMk id="6" creationId="{76E64D08-F5DC-40AB-AEDE-96D8C958958D}"/>
          </ac:spMkLst>
        </pc:spChg>
        <pc:spChg chg="del">
          <ac:chgData name="Séverine MARTIAL" userId="S::severine.martial@talan.com::cd965009-5775-4307-a222-abb2d853a600" providerId="AD" clId="Web-{2285FE14-F200-630A-C1A9-246A4F7B61F1}" dt="2023-03-17T16:28:37.882" v="522"/>
          <ac:spMkLst>
            <pc:docMk/>
            <pc:sldMk cId="619538722" sldId="2076136401"/>
            <ac:spMk id="9" creationId="{2EFF2071-A097-4BAD-AF0D-20E01FD7B7DE}"/>
          </ac:spMkLst>
        </pc:spChg>
        <pc:spChg chg="mod">
          <ac:chgData name="Séverine MARTIAL" userId="S::severine.martial@talan.com::cd965009-5775-4307-a222-abb2d853a600" providerId="AD" clId="Web-{2285FE14-F200-630A-C1A9-246A4F7B61F1}" dt="2023-03-17T16:28:41.257" v="523" actId="20577"/>
          <ac:spMkLst>
            <pc:docMk/>
            <pc:sldMk cId="619538722" sldId="2076136401"/>
            <ac:spMk id="11" creationId="{2B6EE5C5-91A2-427C-A50A-5F63B00E0731}"/>
          </ac:spMkLst>
        </pc:spChg>
        <pc:spChg chg="add del mod">
          <ac:chgData name="Séverine MARTIAL" userId="S::severine.martial@talan.com::cd965009-5775-4307-a222-abb2d853a600" providerId="AD" clId="Web-{2285FE14-F200-630A-C1A9-246A4F7B61F1}" dt="2023-03-17T16:45:18.128" v="639"/>
          <ac:spMkLst>
            <pc:docMk/>
            <pc:sldMk cId="619538722" sldId="2076136401"/>
            <ac:spMk id="12" creationId="{8C1A4AE5-F574-4AC8-9E26-B67A87A2A7F6}"/>
          </ac:spMkLst>
        </pc:spChg>
        <pc:spChg chg="del">
          <ac:chgData name="Séverine MARTIAL" userId="S::severine.martial@talan.com::cd965009-5775-4307-a222-abb2d853a600" providerId="AD" clId="Web-{2285FE14-F200-630A-C1A9-246A4F7B61F1}" dt="2023-03-17T16:22:54.254" v="516"/>
          <ac:spMkLst>
            <pc:docMk/>
            <pc:sldMk cId="619538722" sldId="2076136401"/>
            <ac:spMk id="17" creationId="{2B8FA2A4-B03E-48BF-A76F-FFD104371CF5}"/>
          </ac:spMkLst>
        </pc:spChg>
        <pc:spChg chg="add del mod">
          <ac:chgData name="Séverine MARTIAL" userId="S::severine.martial@talan.com::cd965009-5775-4307-a222-abb2d853a600" providerId="AD" clId="Web-{2285FE14-F200-630A-C1A9-246A4F7B61F1}" dt="2023-03-17T16:46:47.097" v="682"/>
          <ac:spMkLst>
            <pc:docMk/>
            <pc:sldMk cId="619538722" sldId="2076136401"/>
            <ac:spMk id="21" creationId="{DDA756DB-F5D2-A099-4776-D1F5C6CCD8B4}"/>
          </ac:spMkLst>
        </pc:spChg>
        <pc:spChg chg="add del mod">
          <ac:chgData name="Séverine MARTIAL" userId="S::severine.martial@talan.com::cd965009-5775-4307-a222-abb2d853a600" providerId="AD" clId="Web-{2285FE14-F200-630A-C1A9-246A4F7B61F1}" dt="2023-03-17T16:46:47.097" v="680"/>
          <ac:spMkLst>
            <pc:docMk/>
            <pc:sldMk cId="619538722" sldId="2076136401"/>
            <ac:spMk id="27" creationId="{EB6D7D70-A4F4-1ED8-0C41-A802237EB8F8}"/>
          </ac:spMkLst>
        </pc:spChg>
        <pc:spChg chg="add mod">
          <ac:chgData name="Séverine MARTIAL" userId="S::severine.martial@talan.com::cd965009-5775-4307-a222-abb2d853a600" providerId="AD" clId="Web-{2285FE14-F200-630A-C1A9-246A4F7B61F1}" dt="2023-03-17T17:29:25.846" v="966" actId="1076"/>
          <ac:spMkLst>
            <pc:docMk/>
            <pc:sldMk cId="619538722" sldId="2076136401"/>
            <ac:spMk id="34" creationId="{676A00F8-0EA3-F4FA-0033-6C6889FD1758}"/>
          </ac:spMkLst>
        </pc:spChg>
        <pc:spChg chg="mod ord">
          <ac:chgData name="Séverine MARTIAL" userId="S::severine.martial@talan.com::cd965009-5775-4307-a222-abb2d853a600" providerId="AD" clId="Web-{2285FE14-F200-630A-C1A9-246A4F7B61F1}" dt="2023-03-17T16:48:26.177" v="718" actId="20577"/>
          <ac:spMkLst>
            <pc:docMk/>
            <pc:sldMk cId="619538722" sldId="2076136401"/>
            <ac:spMk id="2496" creationId="{00000000-0000-0000-0000-000000000000}"/>
          </ac:spMkLst>
        </pc:spChg>
        <pc:grpChg chg="del">
          <ac:chgData name="Séverine MARTIAL" userId="S::severine.martial@talan.com::cd965009-5775-4307-a222-abb2d853a600" providerId="AD" clId="Web-{2285FE14-F200-630A-C1A9-246A4F7B61F1}" dt="2023-03-17T16:28:44.867" v="524"/>
          <ac:grpSpMkLst>
            <pc:docMk/>
            <pc:sldMk cId="619538722" sldId="2076136401"/>
            <ac:grpSpMk id="2" creationId="{70863959-9CF7-4816-A4AE-F52535027AC1}"/>
          </ac:grpSpMkLst>
        </pc:grpChg>
        <pc:graphicFrameChg chg="add mod modGraphic">
          <ac:chgData name="Séverine MARTIAL" userId="S::severine.martial@talan.com::cd965009-5775-4307-a222-abb2d853a600" providerId="AD" clId="Web-{2285FE14-F200-630A-C1A9-246A4F7B61F1}" dt="2023-03-17T18:19:51.724" v="997"/>
          <ac:graphicFrameMkLst>
            <pc:docMk/>
            <pc:sldMk cId="619538722" sldId="2076136401"/>
            <ac:graphicFrameMk id="28" creationId="{4761156E-DACB-34F8-FA98-BEE842D86879}"/>
          </ac:graphicFrameMkLst>
        </pc:graphicFrameChg>
        <pc:picChg chg="del mod">
          <ac:chgData name="Séverine MARTIAL" userId="S::severine.martial@talan.com::cd965009-5775-4307-a222-abb2d853a600" providerId="AD" clId="Web-{2285FE14-F200-630A-C1A9-246A4F7B61F1}" dt="2023-03-17T16:28:34.679" v="521"/>
          <ac:picMkLst>
            <pc:docMk/>
            <pc:sldMk cId="619538722" sldId="2076136401"/>
            <ac:picMk id="7" creationId="{1933BB8E-23C3-40EA-8AD8-0673F4A4F07B}"/>
          </ac:picMkLst>
        </pc:picChg>
        <pc:picChg chg="add del mod">
          <ac:chgData name="Séverine MARTIAL" userId="S::severine.martial@talan.com::cd965009-5775-4307-a222-abb2d853a600" providerId="AD" clId="Web-{2285FE14-F200-630A-C1A9-246A4F7B61F1}" dt="2023-03-17T16:43:08.751" v="624"/>
          <ac:picMkLst>
            <pc:docMk/>
            <pc:sldMk cId="619538722" sldId="2076136401"/>
            <ac:picMk id="23" creationId="{9BE05281-55BC-0F09-A2BF-CF90C509A167}"/>
          </ac:picMkLst>
        </pc:picChg>
        <pc:picChg chg="add del mod">
          <ac:chgData name="Séverine MARTIAL" userId="S::severine.martial@talan.com::cd965009-5775-4307-a222-abb2d853a600" providerId="AD" clId="Web-{2285FE14-F200-630A-C1A9-246A4F7B61F1}" dt="2023-03-17T16:46:47.097" v="681"/>
          <ac:picMkLst>
            <pc:docMk/>
            <pc:sldMk cId="619538722" sldId="2076136401"/>
            <ac:picMk id="25" creationId="{6CFE0960-4FE4-F279-B7F8-BBF930B39F3C}"/>
          </ac:picMkLst>
        </pc:picChg>
        <pc:picChg chg="add del">
          <ac:chgData name="Séverine MARTIAL" userId="S::severine.martial@talan.com::cd965009-5775-4307-a222-abb2d853a600" providerId="AD" clId="Web-{2285FE14-F200-630A-C1A9-246A4F7B61F1}" dt="2023-03-17T17:13:40.225" v="882"/>
          <ac:picMkLst>
            <pc:docMk/>
            <pc:sldMk cId="619538722" sldId="2076136401"/>
            <ac:picMk id="30" creationId="{0B3E4E62-27DB-06A1-13B9-EBA194C66973}"/>
          </ac:picMkLst>
        </pc:picChg>
        <pc:picChg chg="add mod">
          <ac:chgData name="Séverine MARTIAL" userId="S::severine.martial@talan.com::cd965009-5775-4307-a222-abb2d853a600" providerId="AD" clId="Web-{2285FE14-F200-630A-C1A9-246A4F7B61F1}" dt="2023-03-17T17:29:25.861" v="967" actId="1076"/>
          <ac:picMkLst>
            <pc:docMk/>
            <pc:sldMk cId="619538722" sldId="2076136401"/>
            <ac:picMk id="35" creationId="{0C1D0259-121C-5D0E-5FAA-402CB3FC697E}"/>
          </ac:picMkLst>
        </pc:picChg>
        <pc:cxnChg chg="add del mod">
          <ac:chgData name="Séverine MARTIAL" userId="S::severine.martial@talan.com::cd965009-5775-4307-a222-abb2d853a600" providerId="AD" clId="Web-{2285FE14-F200-630A-C1A9-246A4F7B61F1}" dt="2023-03-17T16:46:47.097" v="683"/>
          <ac:cxnSpMkLst>
            <pc:docMk/>
            <pc:sldMk cId="619538722" sldId="2076136401"/>
            <ac:cxnSpMk id="19" creationId="{4ECA76EF-59C9-CA6B-57C4-DF15813B20F6}"/>
          </ac:cxnSpMkLst>
        </pc:cxnChg>
        <pc:cxnChg chg="add mod">
          <ac:chgData name="Séverine MARTIAL" userId="S::severine.martial@talan.com::cd965009-5775-4307-a222-abb2d853a600" providerId="AD" clId="Web-{2285FE14-F200-630A-C1A9-246A4F7B61F1}" dt="2023-03-17T17:29:25.877" v="968" actId="1076"/>
          <ac:cxnSpMkLst>
            <pc:docMk/>
            <pc:sldMk cId="619538722" sldId="2076136401"/>
            <ac:cxnSpMk id="32" creationId="{2F0BA113-7178-2A91-2EB7-D9E3418A3B04}"/>
          </ac:cxnSpMkLst>
        </pc:cxnChg>
      </pc:sldChg>
      <pc:sldChg chg="modSp del">
        <pc:chgData name="Séverine MARTIAL" userId="S::severine.martial@talan.com::cd965009-5775-4307-a222-abb2d853a600" providerId="AD" clId="Web-{2285FE14-F200-630A-C1A9-246A4F7B61F1}" dt="2023-03-17T14:19:56.857" v="8"/>
        <pc:sldMkLst>
          <pc:docMk/>
          <pc:sldMk cId="4165440293" sldId="2147469998"/>
        </pc:sldMkLst>
        <pc:spChg chg="mod">
          <ac:chgData name="Séverine MARTIAL" userId="S::severine.martial@talan.com::cd965009-5775-4307-a222-abb2d853a600" providerId="AD" clId="Web-{2285FE14-F200-630A-C1A9-246A4F7B61F1}" dt="2023-03-17T12:40:21.897" v="3" actId="20577"/>
          <ac:spMkLst>
            <pc:docMk/>
            <pc:sldMk cId="4165440293" sldId="2147469998"/>
            <ac:spMk id="2" creationId="{E11BF5BD-75C4-4E77-9598-7225EFF82CC5}"/>
          </ac:spMkLst>
        </pc:spChg>
        <pc:spChg chg="mod">
          <ac:chgData name="Séverine MARTIAL" userId="S::severine.martial@talan.com::cd965009-5775-4307-a222-abb2d853a600" providerId="AD" clId="Web-{2285FE14-F200-630A-C1A9-246A4F7B61F1}" dt="2023-03-17T14:19:41.716" v="7" actId="20577"/>
          <ac:spMkLst>
            <pc:docMk/>
            <pc:sldMk cId="4165440293" sldId="2147469998"/>
            <ac:spMk id="3" creationId="{4548B055-ABD9-ACB2-C81F-3ED1876C174A}"/>
          </ac:spMkLst>
        </pc:spChg>
      </pc:sldChg>
      <pc:sldChg chg="addSp delSp modSp add ord">
        <pc:chgData name="Séverine MARTIAL" userId="S::severine.martial@talan.com::cd965009-5775-4307-a222-abb2d853a600" providerId="AD" clId="Web-{2285FE14-F200-630A-C1A9-246A4F7B61F1}" dt="2023-03-17T17:10:02.254" v="861" actId="1076"/>
        <pc:sldMkLst>
          <pc:docMk/>
          <pc:sldMk cId="2776949053" sldId="2147470000"/>
        </pc:sldMkLst>
        <pc:spChg chg="mod">
          <ac:chgData name="Séverine MARTIAL" userId="S::severine.martial@talan.com::cd965009-5775-4307-a222-abb2d853a600" providerId="AD" clId="Web-{2285FE14-F200-630A-C1A9-246A4F7B61F1}" dt="2023-03-17T16:33:25.964" v="555"/>
          <ac:spMkLst>
            <pc:docMk/>
            <pc:sldMk cId="2776949053" sldId="2147470000"/>
            <ac:spMk id="2" creationId="{E11BF5BD-75C4-4E77-9598-7225EFF82CC5}"/>
          </ac:spMkLst>
        </pc:spChg>
        <pc:spChg chg="mod">
          <ac:chgData name="Séverine MARTIAL" userId="S::severine.martial@talan.com::cd965009-5775-4307-a222-abb2d853a600" providerId="AD" clId="Web-{2285FE14-F200-630A-C1A9-246A4F7B61F1}" dt="2023-03-17T14:31:07.153" v="59" actId="20577"/>
          <ac:spMkLst>
            <pc:docMk/>
            <pc:sldMk cId="2776949053" sldId="2147470000"/>
            <ac:spMk id="4" creationId="{640B9571-1430-2118-1E7A-D56A5B69B2A7}"/>
          </ac:spMkLst>
        </pc:spChg>
        <pc:spChg chg="mod">
          <ac:chgData name="Séverine MARTIAL" userId="S::severine.martial@talan.com::cd965009-5775-4307-a222-abb2d853a600" providerId="AD" clId="Web-{2285FE14-F200-630A-C1A9-246A4F7B61F1}" dt="2023-03-17T16:39:38.265" v="608" actId="20577"/>
          <ac:spMkLst>
            <pc:docMk/>
            <pc:sldMk cId="2776949053" sldId="2147470000"/>
            <ac:spMk id="7" creationId="{D2B2BEDF-7A7A-9AB0-116E-141F5DA12340}"/>
          </ac:spMkLst>
        </pc:spChg>
        <pc:spChg chg="add mod">
          <ac:chgData name="Séverine MARTIAL" userId="S::severine.martial@talan.com::cd965009-5775-4307-a222-abb2d853a600" providerId="AD" clId="Web-{2285FE14-F200-630A-C1A9-246A4F7B61F1}" dt="2023-03-17T14:49:32.559" v="230" actId="20577"/>
          <ac:spMkLst>
            <pc:docMk/>
            <pc:sldMk cId="2776949053" sldId="2147470000"/>
            <ac:spMk id="10" creationId="{669D934B-0A12-4E13-22A9-62F80FE824AD}"/>
          </ac:spMkLst>
        </pc:spChg>
        <pc:spChg chg="add mod">
          <ac:chgData name="Séverine MARTIAL" userId="S::severine.martial@talan.com::cd965009-5775-4307-a222-abb2d853a600" providerId="AD" clId="Web-{2285FE14-F200-630A-C1A9-246A4F7B61F1}" dt="2023-03-17T15:43:14.183" v="478" actId="1076"/>
          <ac:spMkLst>
            <pc:docMk/>
            <pc:sldMk cId="2776949053" sldId="2147470000"/>
            <ac:spMk id="13" creationId="{48813385-D84D-7F52-68A3-AAA5D6C0869A}"/>
          </ac:spMkLst>
        </pc:spChg>
        <pc:spChg chg="add mod">
          <ac:chgData name="Séverine MARTIAL" userId="S::severine.martial@talan.com::cd965009-5775-4307-a222-abb2d853a600" providerId="AD" clId="Web-{2285FE14-F200-630A-C1A9-246A4F7B61F1}" dt="2023-03-17T15:24:17.465" v="323" actId="20577"/>
          <ac:spMkLst>
            <pc:docMk/>
            <pc:sldMk cId="2776949053" sldId="2147470000"/>
            <ac:spMk id="17" creationId="{D81AEFBE-2E62-19C1-351B-FBDAC5678AAA}"/>
          </ac:spMkLst>
        </pc:spChg>
        <pc:spChg chg="add del">
          <ac:chgData name="Séverine MARTIAL" userId="S::severine.martial@talan.com::cd965009-5775-4307-a222-abb2d853a600" providerId="AD" clId="Web-{2285FE14-F200-630A-C1A9-246A4F7B61F1}" dt="2023-03-17T15:24:59.340" v="355"/>
          <ac:spMkLst>
            <pc:docMk/>
            <pc:sldMk cId="2776949053" sldId="2147470000"/>
            <ac:spMk id="18" creationId="{4C19FCF4-D461-0058-13D2-B028F508BBEA}"/>
          </ac:spMkLst>
        </pc:spChg>
        <pc:spChg chg="add mod">
          <ac:chgData name="Séverine MARTIAL" userId="S::severine.martial@talan.com::cd965009-5775-4307-a222-abb2d853a600" providerId="AD" clId="Web-{2285FE14-F200-630A-C1A9-246A4F7B61F1}" dt="2023-03-17T15:20:51.465" v="287" actId="20577"/>
          <ac:spMkLst>
            <pc:docMk/>
            <pc:sldMk cId="2776949053" sldId="2147470000"/>
            <ac:spMk id="22" creationId="{FCA99AF5-45F4-2B2F-9674-99A37099C105}"/>
          </ac:spMkLst>
        </pc:spChg>
        <pc:spChg chg="add del">
          <ac:chgData name="Séverine MARTIAL" userId="S::severine.martial@talan.com::cd965009-5775-4307-a222-abb2d853a600" providerId="AD" clId="Web-{2285FE14-F200-630A-C1A9-246A4F7B61F1}" dt="2023-03-17T15:24:59.340" v="353"/>
          <ac:spMkLst>
            <pc:docMk/>
            <pc:sldMk cId="2776949053" sldId="2147470000"/>
            <ac:spMk id="31" creationId="{405F34FB-112B-D9B2-6EC3-A4ED7F783C35}"/>
          </ac:spMkLst>
        </pc:spChg>
        <pc:spChg chg="add del">
          <ac:chgData name="Séverine MARTIAL" userId="S::severine.martial@talan.com::cd965009-5775-4307-a222-abb2d853a600" providerId="AD" clId="Web-{2285FE14-F200-630A-C1A9-246A4F7B61F1}" dt="2023-03-17T15:24:26.715" v="331"/>
          <ac:spMkLst>
            <pc:docMk/>
            <pc:sldMk cId="2776949053" sldId="2147470000"/>
            <ac:spMk id="32" creationId="{A5103D06-BA13-9DB0-10AD-1240C793018E}"/>
          </ac:spMkLst>
        </pc:spChg>
        <pc:spChg chg="add del">
          <ac:chgData name="Séverine MARTIAL" userId="S::severine.martial@talan.com::cd965009-5775-4307-a222-abb2d853a600" providerId="AD" clId="Web-{2285FE14-F200-630A-C1A9-246A4F7B61F1}" dt="2023-03-17T15:24:26.715" v="329"/>
          <ac:spMkLst>
            <pc:docMk/>
            <pc:sldMk cId="2776949053" sldId="2147470000"/>
            <ac:spMk id="36" creationId="{22AE5A70-61D6-41AC-F338-8316268A19D0}"/>
          </ac:spMkLst>
        </pc:spChg>
        <pc:spChg chg="add del">
          <ac:chgData name="Séverine MARTIAL" userId="S::severine.martial@talan.com::cd965009-5775-4307-a222-abb2d853a600" providerId="AD" clId="Web-{2285FE14-F200-630A-C1A9-246A4F7B61F1}" dt="2023-03-17T15:24:59.340" v="352"/>
          <ac:spMkLst>
            <pc:docMk/>
            <pc:sldMk cId="2776949053" sldId="2147470000"/>
            <ac:spMk id="39" creationId="{639BEA8A-94AA-981B-E7FE-7BEBF52D5CA8}"/>
          </ac:spMkLst>
        </pc:spChg>
        <pc:spChg chg="add del">
          <ac:chgData name="Séverine MARTIAL" userId="S::severine.martial@talan.com::cd965009-5775-4307-a222-abb2d853a600" providerId="AD" clId="Web-{2285FE14-F200-630A-C1A9-246A4F7B61F1}" dt="2023-03-17T15:24:59.340" v="351"/>
          <ac:spMkLst>
            <pc:docMk/>
            <pc:sldMk cId="2776949053" sldId="2147470000"/>
            <ac:spMk id="40" creationId="{09DFE226-DE17-2FBF-3540-BE5968287E80}"/>
          </ac:spMkLst>
        </pc:spChg>
        <pc:spChg chg="add del">
          <ac:chgData name="Séverine MARTIAL" userId="S::severine.martial@talan.com::cd965009-5775-4307-a222-abb2d853a600" providerId="AD" clId="Web-{2285FE14-F200-630A-C1A9-246A4F7B61F1}" dt="2023-03-17T15:24:59.340" v="350"/>
          <ac:spMkLst>
            <pc:docMk/>
            <pc:sldMk cId="2776949053" sldId="2147470000"/>
            <ac:spMk id="41" creationId="{C87F2A53-C3ED-764F-96A5-2B0B1AF5BEC8}"/>
          </ac:spMkLst>
        </pc:spChg>
        <pc:spChg chg="add del">
          <ac:chgData name="Séverine MARTIAL" userId="S::severine.martial@talan.com::cd965009-5775-4307-a222-abb2d853a600" providerId="AD" clId="Web-{2285FE14-F200-630A-C1A9-246A4F7B61F1}" dt="2023-03-17T15:24:59.340" v="349"/>
          <ac:spMkLst>
            <pc:docMk/>
            <pc:sldMk cId="2776949053" sldId="2147470000"/>
            <ac:spMk id="42" creationId="{AD423B49-EFA2-C58A-5AB6-FEA2F8E92899}"/>
          </ac:spMkLst>
        </pc:spChg>
        <pc:spChg chg="add mod">
          <ac:chgData name="Séverine MARTIAL" userId="S::severine.martial@talan.com::cd965009-5775-4307-a222-abb2d853a600" providerId="AD" clId="Web-{2285FE14-F200-630A-C1A9-246A4F7B61F1}" dt="2023-03-17T15:24:45.058" v="338" actId="20577"/>
          <ac:spMkLst>
            <pc:docMk/>
            <pc:sldMk cId="2776949053" sldId="2147470000"/>
            <ac:spMk id="43" creationId="{C232A08A-483C-71BC-7254-917289AE9C32}"/>
          </ac:spMkLst>
        </pc:spChg>
        <pc:spChg chg="add del">
          <ac:chgData name="Séverine MARTIAL" userId="S::severine.martial@talan.com::cd965009-5775-4307-a222-abb2d853a600" providerId="AD" clId="Web-{2285FE14-F200-630A-C1A9-246A4F7B61F1}" dt="2023-03-17T15:24:59.340" v="348"/>
          <ac:spMkLst>
            <pc:docMk/>
            <pc:sldMk cId="2776949053" sldId="2147470000"/>
            <ac:spMk id="44" creationId="{89772F3D-8179-8C06-AFB3-40218B1F3A9B}"/>
          </ac:spMkLst>
        </pc:spChg>
        <pc:spChg chg="add del mod">
          <ac:chgData name="Séverine MARTIAL" userId="S::severine.martial@talan.com::cd965009-5775-4307-a222-abb2d853a600" providerId="AD" clId="Web-{2285FE14-F200-630A-C1A9-246A4F7B61F1}" dt="2023-03-17T15:29:31.480" v="378"/>
          <ac:spMkLst>
            <pc:docMk/>
            <pc:sldMk cId="2776949053" sldId="2147470000"/>
            <ac:spMk id="48" creationId="{D431A1F8-007D-97EA-EEEC-31169F911EBD}"/>
          </ac:spMkLst>
        </pc:spChg>
        <pc:spChg chg="add del mod">
          <ac:chgData name="Séverine MARTIAL" userId="S::severine.martial@talan.com::cd965009-5775-4307-a222-abb2d853a600" providerId="AD" clId="Web-{2285FE14-F200-630A-C1A9-246A4F7B61F1}" dt="2023-03-17T15:31:08.261" v="381"/>
          <ac:spMkLst>
            <pc:docMk/>
            <pc:sldMk cId="2776949053" sldId="2147470000"/>
            <ac:spMk id="49" creationId="{E3789DCB-0BB7-F3B6-87A3-D3DFAA78D056}"/>
          </ac:spMkLst>
        </pc:spChg>
        <pc:spChg chg="add mod">
          <ac:chgData name="Séverine MARTIAL" userId="S::severine.martial@talan.com::cd965009-5775-4307-a222-abb2d853a600" providerId="AD" clId="Web-{2285FE14-F200-630A-C1A9-246A4F7B61F1}" dt="2023-03-17T17:10:02.254" v="861" actId="1076"/>
          <ac:spMkLst>
            <pc:docMk/>
            <pc:sldMk cId="2776949053" sldId="2147470000"/>
            <ac:spMk id="50" creationId="{70DB0E3F-160E-73C8-9230-2BF0374A36FD}"/>
          </ac:spMkLst>
        </pc:spChg>
        <pc:spChg chg="add mod">
          <ac:chgData name="Séverine MARTIAL" userId="S::severine.martial@talan.com::cd965009-5775-4307-a222-abb2d853a600" providerId="AD" clId="Web-{2285FE14-F200-630A-C1A9-246A4F7B61F1}" dt="2023-03-17T15:48:44.792" v="509"/>
          <ac:spMkLst>
            <pc:docMk/>
            <pc:sldMk cId="2776949053" sldId="2147470000"/>
            <ac:spMk id="74" creationId="{6A321EBC-9F91-D358-EBAC-F80321819AED}"/>
          </ac:spMkLst>
        </pc:spChg>
        <pc:spChg chg="add mod">
          <ac:chgData name="Séverine MARTIAL" userId="S::severine.martial@talan.com::cd965009-5775-4307-a222-abb2d853a600" providerId="AD" clId="Web-{2285FE14-F200-630A-C1A9-246A4F7B61F1}" dt="2023-03-17T15:48:48.230" v="510"/>
          <ac:spMkLst>
            <pc:docMk/>
            <pc:sldMk cId="2776949053" sldId="2147470000"/>
            <ac:spMk id="76" creationId="{89B02D82-52F1-BB98-B42B-CAB77388724A}"/>
          </ac:spMkLst>
        </pc:spChg>
        <pc:spChg chg="add mod">
          <ac:chgData name="Séverine MARTIAL" userId="S::severine.martial@talan.com::cd965009-5775-4307-a222-abb2d853a600" providerId="AD" clId="Web-{2285FE14-F200-630A-C1A9-246A4F7B61F1}" dt="2023-03-17T15:48:57.339" v="512"/>
          <ac:spMkLst>
            <pc:docMk/>
            <pc:sldMk cId="2776949053" sldId="2147470000"/>
            <ac:spMk id="78" creationId="{D1937F48-D9BE-F3AA-2D07-46328B744F48}"/>
          </ac:spMkLst>
        </pc:spChg>
        <pc:spChg chg="add mod">
          <ac:chgData name="Séverine MARTIAL" userId="S::severine.martial@talan.com::cd965009-5775-4307-a222-abb2d853a600" providerId="AD" clId="Web-{2285FE14-F200-630A-C1A9-246A4F7B61F1}" dt="2023-03-17T15:49:02.183" v="513"/>
          <ac:spMkLst>
            <pc:docMk/>
            <pc:sldMk cId="2776949053" sldId="2147470000"/>
            <ac:spMk id="80" creationId="{5670A92E-4344-EC59-969E-B5F6DF97CC49}"/>
          </ac:spMkLst>
        </pc:spChg>
        <pc:spChg chg="add mod">
          <ac:chgData name="Séverine MARTIAL" userId="S::severine.martial@talan.com::cd965009-5775-4307-a222-abb2d853a600" providerId="AD" clId="Web-{2285FE14-F200-630A-C1A9-246A4F7B61F1}" dt="2023-03-17T15:48:38.386" v="508"/>
          <ac:spMkLst>
            <pc:docMk/>
            <pc:sldMk cId="2776949053" sldId="2147470000"/>
            <ac:spMk id="82" creationId="{20909F45-4232-1792-1E3C-894DABB182DE}"/>
          </ac:spMkLst>
        </pc:spChg>
        <pc:spChg chg="add mod">
          <ac:chgData name="Séverine MARTIAL" userId="S::severine.martial@talan.com::cd965009-5775-4307-a222-abb2d853a600" providerId="AD" clId="Web-{2285FE14-F200-630A-C1A9-246A4F7B61F1}" dt="2023-03-17T15:46:50.136" v="504" actId="14100"/>
          <ac:spMkLst>
            <pc:docMk/>
            <pc:sldMk cId="2776949053" sldId="2147470000"/>
            <ac:spMk id="411" creationId="{E4E9A79E-6A6F-63FE-D621-1F04A66BB8DF}"/>
          </ac:spMkLst>
        </pc:spChg>
        <pc:grpChg chg="add del">
          <ac:chgData name="Séverine MARTIAL" userId="S::severine.martial@talan.com::cd965009-5775-4307-a222-abb2d853a600" providerId="AD" clId="Web-{2285FE14-F200-630A-C1A9-246A4F7B61F1}" dt="2023-03-17T15:24:59.340" v="354"/>
          <ac:grpSpMkLst>
            <pc:docMk/>
            <pc:sldMk cId="2776949053" sldId="2147470000"/>
            <ac:grpSpMk id="26" creationId="{1F2CEE5A-5DBC-EEC6-4BF8-195AA9480179}"/>
          </ac:grpSpMkLst>
        </pc:grpChg>
        <pc:graphicFrameChg chg="add mod modGraphic">
          <ac:chgData name="Séverine MARTIAL" userId="S::severine.martial@talan.com::cd965009-5775-4307-a222-abb2d853a600" providerId="AD" clId="Web-{2285FE14-F200-630A-C1A9-246A4F7B61F1}" dt="2023-03-17T15:42:30.120" v="466" actId="1076"/>
          <ac:graphicFrameMkLst>
            <pc:docMk/>
            <pc:sldMk cId="2776949053" sldId="2147470000"/>
            <ac:graphicFrameMk id="61" creationId="{F50DFA5D-E9A1-AE79-BC83-BD76D76E21C3}"/>
          </ac:graphicFrameMkLst>
        </pc:graphicFrameChg>
        <pc:picChg chg="mod">
          <ac:chgData name="Séverine MARTIAL" userId="S::severine.martial@talan.com::cd965009-5775-4307-a222-abb2d853a600" providerId="AD" clId="Web-{2285FE14-F200-630A-C1A9-246A4F7B61F1}" dt="2023-03-17T16:39:22.077" v="597" actId="1076"/>
          <ac:picMkLst>
            <pc:docMk/>
            <pc:sldMk cId="2776949053" sldId="2147470000"/>
            <ac:picMk id="5" creationId="{DBCCD66D-807A-AB6E-A528-43547BB2A052}"/>
          </ac:picMkLst>
        </pc:picChg>
        <pc:picChg chg="add mod">
          <ac:chgData name="Séverine MARTIAL" userId="S::severine.martial@talan.com::cd965009-5775-4307-a222-abb2d853a600" providerId="AD" clId="Web-{2285FE14-F200-630A-C1A9-246A4F7B61F1}" dt="2023-03-17T14:32:23.497" v="68" actId="1076"/>
          <ac:picMkLst>
            <pc:docMk/>
            <pc:sldMk cId="2776949053" sldId="2147470000"/>
            <ac:picMk id="8" creationId="{1A8E4EFE-C6FC-E5C4-1C43-EEF1338EAD31}"/>
          </ac:picMkLst>
        </pc:picChg>
        <pc:picChg chg="add mod">
          <ac:chgData name="Séverine MARTIAL" userId="S::severine.martial@talan.com::cd965009-5775-4307-a222-abb2d853a600" providerId="AD" clId="Web-{2285FE14-F200-630A-C1A9-246A4F7B61F1}" dt="2023-03-17T14:50:56.778" v="238" actId="1076"/>
          <ac:picMkLst>
            <pc:docMk/>
            <pc:sldMk cId="2776949053" sldId="2147470000"/>
            <ac:picMk id="24" creationId="{0A2D1E63-57D8-18E4-A515-361C90294920}"/>
          </ac:picMkLst>
        </pc:picChg>
        <pc:picChg chg="add del mod">
          <ac:chgData name="Séverine MARTIAL" userId="S::severine.martial@talan.com::cd965009-5775-4307-a222-abb2d853a600" providerId="AD" clId="Web-{2285FE14-F200-630A-C1A9-246A4F7B61F1}" dt="2023-03-17T16:39:34.671" v="601"/>
          <ac:picMkLst>
            <pc:docMk/>
            <pc:sldMk cId="2776949053" sldId="2147470000"/>
            <ac:picMk id="25" creationId="{7ACA762B-D775-182B-0A75-ACF5882BB55A}"/>
          </ac:picMkLst>
        </pc:picChg>
        <pc:picChg chg="add del">
          <ac:chgData name="Séverine MARTIAL" userId="S::severine.martial@talan.com::cd965009-5775-4307-a222-abb2d853a600" providerId="AD" clId="Web-{2285FE14-F200-630A-C1A9-246A4F7B61F1}" dt="2023-03-17T15:24:26.715" v="328"/>
          <ac:picMkLst>
            <pc:docMk/>
            <pc:sldMk cId="2776949053" sldId="2147470000"/>
            <ac:picMk id="38" creationId="{9650EB3F-C59D-0CFA-06B3-E38174F6B058}"/>
          </ac:picMkLst>
        </pc:picChg>
        <pc:picChg chg="add del">
          <ac:chgData name="Séverine MARTIAL" userId="S::severine.martial@talan.com::cd965009-5775-4307-a222-abb2d853a600" providerId="AD" clId="Web-{2285FE14-F200-630A-C1A9-246A4F7B61F1}" dt="2023-03-17T15:25:03.168" v="356"/>
          <ac:picMkLst>
            <pc:docMk/>
            <pc:sldMk cId="2776949053" sldId="2147470000"/>
            <ac:picMk id="46" creationId="{F2D4D600-9118-84B3-79E3-1D4D56059091}"/>
          </ac:picMkLst>
        </pc:picChg>
        <pc:picChg chg="add">
          <ac:chgData name="Séverine MARTIAL" userId="S::severine.martial@talan.com::cd965009-5775-4307-a222-abb2d853a600" providerId="AD" clId="Web-{2285FE14-F200-630A-C1A9-246A4F7B61F1}" dt="2023-03-17T15:24:52.793" v="339"/>
          <ac:picMkLst>
            <pc:docMk/>
            <pc:sldMk cId="2776949053" sldId="2147470000"/>
            <ac:picMk id="47" creationId="{8558C129-D8D2-8183-84DC-BF501C70BE77}"/>
          </ac:picMkLst>
        </pc:picChg>
        <pc:picChg chg="add del mod">
          <ac:chgData name="Séverine MARTIAL" userId="S::severine.martial@talan.com::cd965009-5775-4307-a222-abb2d853a600" providerId="AD" clId="Web-{2285FE14-F200-630A-C1A9-246A4F7B61F1}" dt="2023-03-17T15:32:18.339" v="398"/>
          <ac:picMkLst>
            <pc:docMk/>
            <pc:sldMk cId="2776949053" sldId="2147470000"/>
            <ac:picMk id="55" creationId="{E08FBF79-C7E9-85A6-9ADD-A4A49461A21C}"/>
          </ac:picMkLst>
        </pc:picChg>
        <pc:picChg chg="add del mod">
          <ac:chgData name="Séverine MARTIAL" userId="S::severine.martial@talan.com::cd965009-5775-4307-a222-abb2d853a600" providerId="AD" clId="Web-{2285FE14-F200-630A-C1A9-246A4F7B61F1}" dt="2023-03-17T15:32:34.480" v="402"/>
          <ac:picMkLst>
            <pc:docMk/>
            <pc:sldMk cId="2776949053" sldId="2147470000"/>
            <ac:picMk id="56" creationId="{BFA2229B-7A11-8272-E4C3-1E3DBA0BCB8E}"/>
          </ac:picMkLst>
        </pc:picChg>
        <pc:picChg chg="add del mod">
          <ac:chgData name="Séverine MARTIAL" userId="S::severine.martial@talan.com::cd965009-5775-4307-a222-abb2d853a600" providerId="AD" clId="Web-{2285FE14-F200-630A-C1A9-246A4F7B61F1}" dt="2023-03-17T15:32:32.261" v="401"/>
          <ac:picMkLst>
            <pc:docMk/>
            <pc:sldMk cId="2776949053" sldId="2147470000"/>
            <ac:picMk id="57" creationId="{7B78A23E-A204-9D6A-FCD4-F2D917A5786E}"/>
          </ac:picMkLst>
        </pc:picChg>
        <pc:picChg chg="add del">
          <ac:chgData name="Séverine MARTIAL" userId="S::severine.martial@talan.com::cd965009-5775-4307-a222-abb2d853a600" providerId="AD" clId="Web-{2285FE14-F200-630A-C1A9-246A4F7B61F1}" dt="2023-03-17T15:24:59.340" v="343"/>
          <ac:picMkLst>
            <pc:docMk/>
            <pc:sldMk cId="2776949053" sldId="2147470000"/>
            <ac:picMk id="58" creationId="{973E76ED-1497-9FE2-D0B5-1CC85DE0DD14}"/>
          </ac:picMkLst>
        </pc:picChg>
        <pc:picChg chg="add del">
          <ac:chgData name="Séverine MARTIAL" userId="S::severine.martial@talan.com::cd965009-5775-4307-a222-abb2d853a600" providerId="AD" clId="Web-{2285FE14-F200-630A-C1A9-246A4F7B61F1}" dt="2023-03-17T15:24:59.340" v="342"/>
          <ac:picMkLst>
            <pc:docMk/>
            <pc:sldMk cId="2776949053" sldId="2147470000"/>
            <ac:picMk id="60" creationId="{0E865FD8-6D00-D95A-2A7A-ABA125367684}"/>
          </ac:picMkLst>
        </pc:picChg>
        <pc:picChg chg="add del">
          <ac:chgData name="Séverine MARTIAL" userId="S::severine.martial@talan.com::cd965009-5775-4307-a222-abb2d853a600" providerId="AD" clId="Web-{2285FE14-F200-630A-C1A9-246A4F7B61F1}" dt="2023-03-17T15:24:59.340" v="341"/>
          <ac:picMkLst>
            <pc:docMk/>
            <pc:sldMk cId="2776949053" sldId="2147470000"/>
            <ac:picMk id="69" creationId="{91D4141A-CD80-E5E9-DBB8-EF25ECF255C6}"/>
          </ac:picMkLst>
        </pc:picChg>
        <pc:picChg chg="add del">
          <ac:chgData name="Séverine MARTIAL" userId="S::severine.martial@talan.com::cd965009-5775-4307-a222-abb2d853a600" providerId="AD" clId="Web-{2285FE14-F200-630A-C1A9-246A4F7B61F1}" dt="2023-03-17T15:24:59.340" v="340"/>
          <ac:picMkLst>
            <pc:docMk/>
            <pc:sldMk cId="2776949053" sldId="2147470000"/>
            <ac:picMk id="71" creationId="{A16AEE2C-72C3-B8C0-29CD-13AA3794CE2F}"/>
          </ac:picMkLst>
        </pc:picChg>
        <pc:picChg chg="add del mod">
          <ac:chgData name="Séverine MARTIAL" userId="S::severine.martial@talan.com::cd965009-5775-4307-a222-abb2d853a600" providerId="AD" clId="Web-{2285FE14-F200-630A-C1A9-246A4F7B61F1}" dt="2023-03-17T15:44:23.855" v="487"/>
          <ac:picMkLst>
            <pc:docMk/>
            <pc:sldMk cId="2776949053" sldId="2147470000"/>
            <ac:picMk id="407" creationId="{804E6ED8-13F1-0DBE-6E62-4D0BA5AB77EE}"/>
          </ac:picMkLst>
        </pc:picChg>
        <pc:picChg chg="add del mod">
          <ac:chgData name="Séverine MARTIAL" userId="S::severine.martial@talan.com::cd965009-5775-4307-a222-abb2d853a600" providerId="AD" clId="Web-{2285FE14-F200-630A-C1A9-246A4F7B61F1}" dt="2023-03-17T15:44:32.073" v="489"/>
          <ac:picMkLst>
            <pc:docMk/>
            <pc:sldMk cId="2776949053" sldId="2147470000"/>
            <ac:picMk id="408" creationId="{44B132C6-4599-89BF-46E9-FDDE7ACBD0F1}"/>
          </ac:picMkLst>
        </pc:picChg>
        <pc:picChg chg="add del mod">
          <ac:chgData name="Séverine MARTIAL" userId="S::severine.martial@talan.com::cd965009-5775-4307-a222-abb2d853a600" providerId="AD" clId="Web-{2285FE14-F200-630A-C1A9-246A4F7B61F1}" dt="2023-03-17T15:44:40.917" v="491"/>
          <ac:picMkLst>
            <pc:docMk/>
            <pc:sldMk cId="2776949053" sldId="2147470000"/>
            <ac:picMk id="409" creationId="{6CCBED7E-F2D6-1F80-155F-4F12A99DDC89}"/>
          </ac:picMkLst>
        </pc:picChg>
        <pc:cxnChg chg="mod">
          <ac:chgData name="Séverine MARTIAL" userId="S::severine.martial@talan.com::cd965009-5775-4307-a222-abb2d853a600" providerId="AD" clId="Web-{2285FE14-F200-630A-C1A9-246A4F7B61F1}" dt="2023-03-17T17:08:02.128" v="859" actId="1076"/>
          <ac:cxnSpMkLst>
            <pc:docMk/>
            <pc:sldMk cId="2776949053" sldId="2147470000"/>
            <ac:cxnSpMk id="6" creationId="{977A0AEA-C58C-40C9-BDDA-9490DAF90362}"/>
          </ac:cxnSpMkLst>
        </pc:cxnChg>
        <pc:cxnChg chg="add mod">
          <ac:chgData name="Séverine MARTIAL" userId="S::severine.martial@talan.com::cd965009-5775-4307-a222-abb2d853a600" providerId="AD" clId="Web-{2285FE14-F200-630A-C1A9-246A4F7B61F1}" dt="2023-03-17T14:32:23.544" v="71" actId="1076"/>
          <ac:cxnSpMkLst>
            <pc:docMk/>
            <pc:sldMk cId="2776949053" sldId="2147470000"/>
            <ac:cxnSpMk id="15" creationId="{DBE0EF01-916C-11C4-4192-7950D8592A03}"/>
          </ac:cxnSpMkLst>
        </pc:cxnChg>
        <pc:cxnChg chg="add mod">
          <ac:chgData name="Séverine MARTIAL" userId="S::severine.martial@talan.com::cd965009-5775-4307-a222-abb2d853a600" providerId="AD" clId="Web-{2285FE14-F200-630A-C1A9-246A4F7B61F1}" dt="2023-03-17T14:50:56.746" v="236" actId="1076"/>
          <ac:cxnSpMkLst>
            <pc:docMk/>
            <pc:sldMk cId="2776949053" sldId="2147470000"/>
            <ac:cxnSpMk id="20" creationId="{7683A748-EC16-2EBE-FFDC-013F928B0E7B}"/>
          </ac:cxnSpMkLst>
        </pc:cxnChg>
        <pc:cxnChg chg="add del">
          <ac:chgData name="Séverine MARTIAL" userId="S::severine.martial@talan.com::cd965009-5775-4307-a222-abb2d853a600" providerId="AD" clId="Web-{2285FE14-F200-630A-C1A9-246A4F7B61F1}" dt="2023-03-17T15:24:26.715" v="330"/>
          <ac:cxnSpMkLst>
            <pc:docMk/>
            <pc:sldMk cId="2776949053" sldId="2147470000"/>
            <ac:cxnSpMk id="34" creationId="{2B16D490-6D6D-DA8D-3F90-4750ADDBF90D}"/>
          </ac:cxnSpMkLst>
        </pc:cxnChg>
        <pc:cxnChg chg="add del">
          <ac:chgData name="Séverine MARTIAL" userId="S::severine.martial@talan.com::cd965009-5775-4307-a222-abb2d853a600" providerId="AD" clId="Web-{2285FE14-F200-630A-C1A9-246A4F7B61F1}" dt="2023-03-17T15:24:59.340" v="347"/>
          <ac:cxnSpMkLst>
            <pc:docMk/>
            <pc:sldMk cId="2776949053" sldId="2147470000"/>
            <ac:cxnSpMk id="51" creationId="{8C4FD16A-35FD-67BD-04A0-4AFC03F22229}"/>
          </ac:cxnSpMkLst>
        </pc:cxnChg>
        <pc:cxnChg chg="add del">
          <ac:chgData name="Séverine MARTIAL" userId="S::severine.martial@talan.com::cd965009-5775-4307-a222-abb2d853a600" providerId="AD" clId="Web-{2285FE14-F200-630A-C1A9-246A4F7B61F1}" dt="2023-03-17T15:24:59.340" v="346"/>
          <ac:cxnSpMkLst>
            <pc:docMk/>
            <pc:sldMk cId="2776949053" sldId="2147470000"/>
            <ac:cxnSpMk id="52" creationId="{AE063126-C1B2-AD3B-C7E8-B51FD4CCC074}"/>
          </ac:cxnSpMkLst>
        </pc:cxnChg>
        <pc:cxnChg chg="add del">
          <ac:chgData name="Séverine MARTIAL" userId="S::severine.martial@talan.com::cd965009-5775-4307-a222-abb2d853a600" providerId="AD" clId="Web-{2285FE14-F200-630A-C1A9-246A4F7B61F1}" dt="2023-03-17T15:24:59.340" v="345"/>
          <ac:cxnSpMkLst>
            <pc:docMk/>
            <pc:sldMk cId="2776949053" sldId="2147470000"/>
            <ac:cxnSpMk id="53" creationId="{AF8DF9F0-F0AC-984D-54B5-5A79A30586C1}"/>
          </ac:cxnSpMkLst>
        </pc:cxnChg>
        <pc:cxnChg chg="add del">
          <ac:chgData name="Séverine MARTIAL" userId="S::severine.martial@talan.com::cd965009-5775-4307-a222-abb2d853a600" providerId="AD" clId="Web-{2285FE14-F200-630A-C1A9-246A4F7B61F1}" dt="2023-03-17T15:24:59.340" v="344"/>
          <ac:cxnSpMkLst>
            <pc:docMk/>
            <pc:sldMk cId="2776949053" sldId="2147470000"/>
            <ac:cxnSpMk id="54" creationId="{605D8A01-F58C-94E5-D3F9-5ADB7C069F32}"/>
          </ac:cxnSpMkLst>
        </pc:cxnChg>
      </pc:sldChg>
      <pc:sldChg chg="add replId">
        <pc:chgData name="Séverine MARTIAL" userId="S::severine.martial@talan.com::cd965009-5775-4307-a222-abb2d853a600" providerId="AD" clId="Web-{2285FE14-F200-630A-C1A9-246A4F7B61F1}" dt="2023-03-17T16:27:06.131" v="520"/>
        <pc:sldMkLst>
          <pc:docMk/>
          <pc:sldMk cId="3288950320" sldId="2147470001"/>
        </pc:sldMkLst>
      </pc:sldChg>
      <pc:sldMasterChg chg="addSldLayout">
        <pc:chgData name="Séverine MARTIAL" userId="S::severine.martial@talan.com::cd965009-5775-4307-a222-abb2d853a600" providerId="AD" clId="Web-{2285FE14-F200-630A-C1A9-246A4F7B61F1}" dt="2023-03-17T14:20:00.653" v="9"/>
        <pc:sldMasterMkLst>
          <pc:docMk/>
          <pc:sldMasterMk cId="0" sldId="2147483648"/>
        </pc:sldMasterMkLst>
        <pc:sldLayoutChg chg="add">
          <pc:chgData name="Séverine MARTIAL" userId="S::severine.martial@talan.com::cd965009-5775-4307-a222-abb2d853a600" providerId="AD" clId="Web-{2285FE14-F200-630A-C1A9-246A4F7B61F1}" dt="2023-03-17T14:20:00.653" v="9"/>
          <pc:sldLayoutMkLst>
            <pc:docMk/>
            <pc:sldMasterMk cId="0" sldId="2147483648"/>
            <pc:sldLayoutMk cId="4005290319" sldId="2147483866"/>
          </pc:sldLayoutMkLst>
        </pc:sldLayoutChg>
      </pc:sldMasterChg>
    </pc:docChg>
  </pc:docChgLst>
  <pc:docChgLst>
    <pc:chgData name="Ayodele IKUESAN" userId="59febf41-4328-4f2d-a3b0-b5ea969eeed9" providerId="ADAL" clId="{18292398-0872-4F43-87E0-6CC83D7C8E0E}"/>
    <pc:docChg chg="custSel addSld delSld modSld modSection">
      <pc:chgData name="Ayodele IKUESAN" userId="59febf41-4328-4f2d-a3b0-b5ea969eeed9" providerId="ADAL" clId="{18292398-0872-4F43-87E0-6CC83D7C8E0E}" dt="2022-12-01T15:58:44.137" v="62" actId="404"/>
      <pc:docMkLst>
        <pc:docMk/>
      </pc:docMkLst>
      <pc:sldChg chg="modSp add mod">
        <pc:chgData name="Ayodele IKUESAN" userId="59febf41-4328-4f2d-a3b0-b5ea969eeed9" providerId="ADAL" clId="{18292398-0872-4F43-87E0-6CC83D7C8E0E}" dt="2022-12-01T15:58:44.137" v="62" actId="404"/>
        <pc:sldMkLst>
          <pc:docMk/>
          <pc:sldMk cId="2978135730" sldId="2147469799"/>
        </pc:sldMkLst>
        <pc:spChg chg="mod">
          <ac:chgData name="Ayodele IKUESAN" userId="59febf41-4328-4f2d-a3b0-b5ea969eeed9" providerId="ADAL" clId="{18292398-0872-4F43-87E0-6CC83D7C8E0E}" dt="2022-12-01T15:58:44.137" v="62" actId="404"/>
          <ac:spMkLst>
            <pc:docMk/>
            <pc:sldMk cId="2978135730" sldId="2147469799"/>
            <ac:spMk id="9" creationId="{14824792-86E0-45D1-1F62-0ADF61AACE60}"/>
          </ac:spMkLst>
        </pc:spChg>
        <pc:spChg chg="mod">
          <ac:chgData name="Ayodele IKUESAN" userId="59febf41-4328-4f2d-a3b0-b5ea969eeed9" providerId="ADAL" clId="{18292398-0872-4F43-87E0-6CC83D7C8E0E}" dt="2022-12-01T15:58:44.137" v="62" actId="404"/>
          <ac:spMkLst>
            <pc:docMk/>
            <pc:sldMk cId="2978135730" sldId="2147469799"/>
            <ac:spMk id="27" creationId="{CFA39D31-E870-C6FF-EF89-F01F3B7E9F91}"/>
          </ac:spMkLst>
        </pc:spChg>
        <pc:spChg chg="mod">
          <ac:chgData name="Ayodele IKUESAN" userId="59febf41-4328-4f2d-a3b0-b5ea969eeed9" providerId="ADAL" clId="{18292398-0872-4F43-87E0-6CC83D7C8E0E}" dt="2022-12-01T15:58:44.137" v="62" actId="404"/>
          <ac:spMkLst>
            <pc:docMk/>
            <pc:sldMk cId="2978135730" sldId="2147469799"/>
            <ac:spMk id="32" creationId="{BDF2131E-E072-C727-D722-3F5C9BE4A797}"/>
          </ac:spMkLst>
        </pc:spChg>
        <pc:spChg chg="mod">
          <ac:chgData name="Ayodele IKUESAN" userId="59febf41-4328-4f2d-a3b0-b5ea969eeed9" providerId="ADAL" clId="{18292398-0872-4F43-87E0-6CC83D7C8E0E}" dt="2022-12-01T15:58:44.137" v="62" actId="404"/>
          <ac:spMkLst>
            <pc:docMk/>
            <pc:sldMk cId="2978135730" sldId="2147469799"/>
            <ac:spMk id="44" creationId="{1F99F876-AD44-9802-0FE9-295BB3BD200F}"/>
          </ac:spMkLst>
        </pc:spChg>
        <pc:spChg chg="mod">
          <ac:chgData name="Ayodele IKUESAN" userId="59febf41-4328-4f2d-a3b0-b5ea969eeed9" providerId="ADAL" clId="{18292398-0872-4F43-87E0-6CC83D7C8E0E}" dt="2022-12-01T15:58:44.137" v="62" actId="404"/>
          <ac:spMkLst>
            <pc:docMk/>
            <pc:sldMk cId="2978135730" sldId="2147469799"/>
            <ac:spMk id="47" creationId="{17755D9B-DC3E-0EAC-FCF2-AAD190E9C5C2}"/>
          </ac:spMkLst>
        </pc:spChg>
        <pc:spChg chg="mod">
          <ac:chgData name="Ayodele IKUESAN" userId="59febf41-4328-4f2d-a3b0-b5ea969eeed9" providerId="ADAL" clId="{18292398-0872-4F43-87E0-6CC83D7C8E0E}" dt="2022-12-01T15:58:44.137" v="62" actId="404"/>
          <ac:spMkLst>
            <pc:docMk/>
            <pc:sldMk cId="2978135730" sldId="2147469799"/>
            <ac:spMk id="48" creationId="{4A75020D-3B33-A260-1B18-C3DE54A5699C}"/>
          </ac:spMkLst>
        </pc:spChg>
        <pc:spChg chg="mod">
          <ac:chgData name="Ayodele IKUESAN" userId="59febf41-4328-4f2d-a3b0-b5ea969eeed9" providerId="ADAL" clId="{18292398-0872-4F43-87E0-6CC83D7C8E0E}" dt="2022-12-01T15:58:44.137" v="62" actId="404"/>
          <ac:spMkLst>
            <pc:docMk/>
            <pc:sldMk cId="2978135730" sldId="2147469799"/>
            <ac:spMk id="49" creationId="{B39538A6-E5AF-55D4-CB86-CA260FD82921}"/>
          </ac:spMkLst>
        </pc:spChg>
        <pc:spChg chg="mod">
          <ac:chgData name="Ayodele IKUESAN" userId="59febf41-4328-4f2d-a3b0-b5ea969eeed9" providerId="ADAL" clId="{18292398-0872-4F43-87E0-6CC83D7C8E0E}" dt="2022-12-01T15:58:44.137" v="62" actId="404"/>
          <ac:spMkLst>
            <pc:docMk/>
            <pc:sldMk cId="2978135730" sldId="2147469799"/>
            <ac:spMk id="54" creationId="{70AA2276-436E-8DD9-DAFE-6F74982C8E86}"/>
          </ac:spMkLst>
        </pc:spChg>
      </pc:sldChg>
      <pc:sldChg chg="del">
        <pc:chgData name="Ayodele IKUESAN" userId="59febf41-4328-4f2d-a3b0-b5ea969eeed9" providerId="ADAL" clId="{18292398-0872-4F43-87E0-6CC83D7C8E0E}" dt="2022-11-30T20:10:32.073" v="4" actId="47"/>
        <pc:sldMkLst>
          <pc:docMk/>
          <pc:sldMk cId="3843943041" sldId="2147469799"/>
        </pc:sldMkLst>
      </pc:sldChg>
      <pc:sldChg chg="addSp delSp modSp add del mod">
        <pc:chgData name="Ayodele IKUESAN" userId="59febf41-4328-4f2d-a3b0-b5ea969eeed9" providerId="ADAL" clId="{18292398-0872-4F43-87E0-6CC83D7C8E0E}" dt="2022-12-01T15:52:13.738" v="49" actId="47"/>
        <pc:sldMkLst>
          <pc:docMk/>
          <pc:sldMk cId="530589121" sldId="2147469803"/>
        </pc:sldMkLst>
        <pc:spChg chg="mod">
          <ac:chgData name="Ayodele IKUESAN" userId="59febf41-4328-4f2d-a3b0-b5ea969eeed9" providerId="ADAL" clId="{18292398-0872-4F43-87E0-6CC83D7C8E0E}" dt="2022-12-01T15:47:19.917" v="43" actId="20577"/>
          <ac:spMkLst>
            <pc:docMk/>
            <pc:sldMk cId="530589121" sldId="2147469803"/>
            <ac:spMk id="35" creationId="{ADCC2C2A-FF7C-F655-E940-CEE0C0D619C0}"/>
          </ac:spMkLst>
        </pc:spChg>
        <pc:spChg chg="del">
          <ac:chgData name="Ayodele IKUESAN" userId="59febf41-4328-4f2d-a3b0-b5ea969eeed9" providerId="ADAL" clId="{18292398-0872-4F43-87E0-6CC83D7C8E0E}" dt="2022-11-30T20:10:15.330" v="1" actId="478"/>
          <ac:spMkLst>
            <pc:docMk/>
            <pc:sldMk cId="530589121" sldId="2147469803"/>
            <ac:spMk id="61" creationId="{23AB5999-E0AF-4E54-A271-15A777B18AC6}"/>
          </ac:spMkLst>
        </pc:spChg>
        <pc:picChg chg="add mod">
          <ac:chgData name="Ayodele IKUESAN" userId="59febf41-4328-4f2d-a3b0-b5ea969eeed9" providerId="ADAL" clId="{18292398-0872-4F43-87E0-6CC83D7C8E0E}" dt="2022-11-30T20:22:59.047" v="6"/>
          <ac:picMkLst>
            <pc:docMk/>
            <pc:sldMk cId="530589121" sldId="2147469803"/>
            <ac:picMk id="2" creationId="{C71CE9EB-2E07-025C-7C0C-1FF68E93DED4}"/>
          </ac:picMkLst>
        </pc:picChg>
        <pc:picChg chg="del">
          <ac:chgData name="Ayodele IKUESAN" userId="59febf41-4328-4f2d-a3b0-b5ea969eeed9" providerId="ADAL" clId="{18292398-0872-4F43-87E0-6CC83D7C8E0E}" dt="2022-11-30T20:22:58.336" v="5" actId="478"/>
          <ac:picMkLst>
            <pc:docMk/>
            <pc:sldMk cId="530589121" sldId="2147469803"/>
            <ac:picMk id="26" creationId="{20E5345D-6E8C-DEDA-36FA-9307C03F3AF2}"/>
          </ac:picMkLst>
        </pc:picChg>
      </pc:sldChg>
      <pc:sldChg chg="addSp delSp modSp add del mod">
        <pc:chgData name="Ayodele IKUESAN" userId="59febf41-4328-4f2d-a3b0-b5ea969eeed9" providerId="ADAL" clId="{18292398-0872-4F43-87E0-6CC83D7C8E0E}" dt="2022-12-01T15:52:14.788" v="50" actId="47"/>
        <pc:sldMkLst>
          <pc:docMk/>
          <pc:sldMk cId="3144378083" sldId="2147469804"/>
        </pc:sldMkLst>
        <pc:spChg chg="mod">
          <ac:chgData name="Ayodele IKUESAN" userId="59febf41-4328-4f2d-a3b0-b5ea969eeed9" providerId="ADAL" clId="{18292398-0872-4F43-87E0-6CC83D7C8E0E}" dt="2022-12-01T15:49:17.196" v="47" actId="20577"/>
          <ac:spMkLst>
            <pc:docMk/>
            <pc:sldMk cId="3144378083" sldId="2147469804"/>
            <ac:spMk id="77" creationId="{ECEEE934-C02E-4C39-ADEA-60984CB50542}"/>
          </ac:spMkLst>
        </pc:spChg>
        <pc:spChg chg="del">
          <ac:chgData name="Ayodele IKUESAN" userId="59febf41-4328-4f2d-a3b0-b5ea969eeed9" providerId="ADAL" clId="{18292398-0872-4F43-87E0-6CC83D7C8E0E}" dt="2022-11-30T20:10:19.180" v="2" actId="478"/>
          <ac:spMkLst>
            <pc:docMk/>
            <pc:sldMk cId="3144378083" sldId="2147469804"/>
            <ac:spMk id="93" creationId="{F0DB8A0D-00E3-4749-B0B9-7D579384B0EA}"/>
          </ac:spMkLst>
        </pc:spChg>
        <pc:picChg chg="add mod">
          <ac:chgData name="Ayodele IKUESAN" userId="59febf41-4328-4f2d-a3b0-b5ea969eeed9" providerId="ADAL" clId="{18292398-0872-4F43-87E0-6CC83D7C8E0E}" dt="2022-12-01T15:13:23.480" v="8"/>
          <ac:picMkLst>
            <pc:docMk/>
            <pc:sldMk cId="3144378083" sldId="2147469804"/>
            <ac:picMk id="2" creationId="{B64F0675-AA60-165E-AE2A-AB5A2FFEE7A0}"/>
          </ac:picMkLst>
        </pc:picChg>
        <pc:picChg chg="del">
          <ac:chgData name="Ayodele IKUESAN" userId="59febf41-4328-4f2d-a3b0-b5ea969eeed9" providerId="ADAL" clId="{18292398-0872-4F43-87E0-6CC83D7C8E0E}" dt="2022-12-01T15:13:22.723" v="7" actId="478"/>
          <ac:picMkLst>
            <pc:docMk/>
            <pc:sldMk cId="3144378083" sldId="2147469804"/>
            <ac:picMk id="86" creationId="{7DA9E2D6-2D22-4168-B6EA-0B1F5E9F0CC3}"/>
          </ac:picMkLst>
        </pc:picChg>
        <pc:picChg chg="del">
          <ac:chgData name="Ayodele IKUESAN" userId="59febf41-4328-4f2d-a3b0-b5ea969eeed9" providerId="ADAL" clId="{18292398-0872-4F43-87E0-6CC83D7C8E0E}" dt="2022-12-01T15:13:22.723" v="7" actId="478"/>
          <ac:picMkLst>
            <pc:docMk/>
            <pc:sldMk cId="3144378083" sldId="2147469804"/>
            <ac:picMk id="87" creationId="{A242384C-6EBB-4220-BC79-31865AD09E04}"/>
          </ac:picMkLst>
        </pc:picChg>
        <pc:picChg chg="del">
          <ac:chgData name="Ayodele IKUESAN" userId="59febf41-4328-4f2d-a3b0-b5ea969eeed9" providerId="ADAL" clId="{18292398-0872-4F43-87E0-6CC83D7C8E0E}" dt="2022-12-01T15:13:22.723" v="7" actId="478"/>
          <ac:picMkLst>
            <pc:docMk/>
            <pc:sldMk cId="3144378083" sldId="2147469804"/>
            <ac:picMk id="88" creationId="{2C3AD92D-92F3-44E4-B165-3E1005519F4C}"/>
          </ac:picMkLst>
        </pc:picChg>
        <pc:cxnChg chg="del">
          <ac:chgData name="Ayodele IKUESAN" userId="59febf41-4328-4f2d-a3b0-b5ea969eeed9" providerId="ADAL" clId="{18292398-0872-4F43-87E0-6CC83D7C8E0E}" dt="2022-12-01T15:13:22.723" v="7" actId="478"/>
          <ac:cxnSpMkLst>
            <pc:docMk/>
            <pc:sldMk cId="3144378083" sldId="2147469804"/>
            <ac:cxnSpMk id="89" creationId="{84D6407B-AEDD-4F75-9704-E0A9489FE455}"/>
          </ac:cxnSpMkLst>
        </pc:cxnChg>
        <pc:cxnChg chg="del">
          <ac:chgData name="Ayodele IKUESAN" userId="59febf41-4328-4f2d-a3b0-b5ea969eeed9" providerId="ADAL" clId="{18292398-0872-4F43-87E0-6CC83D7C8E0E}" dt="2022-12-01T15:13:22.723" v="7" actId="478"/>
          <ac:cxnSpMkLst>
            <pc:docMk/>
            <pc:sldMk cId="3144378083" sldId="2147469804"/>
            <ac:cxnSpMk id="90" creationId="{F965A338-F8F8-481B-85A4-0C07BD15AD83}"/>
          </ac:cxnSpMkLst>
        </pc:cxnChg>
      </pc:sldChg>
      <pc:sldChg chg="add">
        <pc:chgData name="Ayodele IKUESAN" userId="59febf41-4328-4f2d-a3b0-b5ea969eeed9" providerId="ADAL" clId="{18292398-0872-4F43-87E0-6CC83D7C8E0E}" dt="2022-11-30T20:10:27.442" v="3"/>
        <pc:sldMkLst>
          <pc:docMk/>
          <pc:sldMk cId="3999266684" sldId="2147469805"/>
        </pc:sldMkLst>
      </pc:sldChg>
      <pc:sldChg chg="modSp add mod">
        <pc:chgData name="Ayodele IKUESAN" userId="59febf41-4328-4f2d-a3b0-b5ea969eeed9" providerId="ADAL" clId="{18292398-0872-4F43-87E0-6CC83D7C8E0E}" dt="2022-12-01T15:56:48.356" v="61" actId="20577"/>
        <pc:sldMkLst>
          <pc:docMk/>
          <pc:sldMk cId="776537158" sldId="2147469806"/>
        </pc:sldMkLst>
        <pc:spChg chg="mod">
          <ac:chgData name="Ayodele IKUESAN" userId="59febf41-4328-4f2d-a3b0-b5ea969eeed9" providerId="ADAL" clId="{18292398-0872-4F43-87E0-6CC83D7C8E0E}" dt="2022-12-01T15:56:48.356" v="61" actId="20577"/>
          <ac:spMkLst>
            <pc:docMk/>
            <pc:sldMk cId="776537158" sldId="2147469806"/>
            <ac:spMk id="77" creationId="{ECEEE934-C02E-4C39-ADEA-60984CB50542}"/>
          </ac:spMkLst>
        </pc:spChg>
      </pc:sldChg>
    </pc:docChg>
  </pc:docChgLst>
  <pc:docChgLst>
    <pc:chgData name="Kawtar SADIQ" userId="65df04e4-2d23-4bab-afb0-40df8a2c1b9f" providerId="ADAL" clId="{13E48CF6-3C07-4AA7-848A-1E964CBB0D3A}"/>
    <pc:docChg chg="undo redo custSel addSld delSld modSld sldOrd addMainMaster modMainMaster addSection modSection">
      <pc:chgData name="Kawtar SADIQ" userId="65df04e4-2d23-4bab-afb0-40df8a2c1b9f" providerId="ADAL" clId="{13E48CF6-3C07-4AA7-848A-1E964CBB0D3A}" dt="2022-12-01T18:40:00.559" v="28252" actId="123"/>
      <pc:docMkLst>
        <pc:docMk/>
      </pc:docMkLst>
      <pc:sldChg chg="del">
        <pc:chgData name="Kawtar SADIQ" userId="65df04e4-2d23-4bab-afb0-40df8a2c1b9f" providerId="ADAL" clId="{13E48CF6-3C07-4AA7-848A-1E964CBB0D3A}" dt="2022-12-01T16:54:28.598" v="28038" actId="47"/>
        <pc:sldMkLst>
          <pc:docMk/>
          <pc:sldMk cId="714708708" sldId="2017"/>
        </pc:sldMkLst>
      </pc:sldChg>
      <pc:sldChg chg="del">
        <pc:chgData name="Kawtar SADIQ" userId="65df04e4-2d23-4bab-afb0-40df8a2c1b9f" providerId="ADAL" clId="{13E48CF6-3C07-4AA7-848A-1E964CBB0D3A}" dt="2022-12-01T16:53:31.936" v="28026" actId="47"/>
        <pc:sldMkLst>
          <pc:docMk/>
          <pc:sldMk cId="2526816651" sldId="2018"/>
        </pc:sldMkLst>
      </pc:sldChg>
      <pc:sldChg chg="del">
        <pc:chgData name="Kawtar SADIQ" userId="65df04e4-2d23-4bab-afb0-40df8a2c1b9f" providerId="ADAL" clId="{13E48CF6-3C07-4AA7-848A-1E964CBB0D3A}" dt="2022-11-29T11:50:36.853" v="9236" actId="47"/>
        <pc:sldMkLst>
          <pc:docMk/>
          <pc:sldMk cId="2495688426" sldId="5022"/>
        </pc:sldMkLst>
      </pc:sldChg>
      <pc:sldChg chg="add">
        <pc:chgData name="Kawtar SADIQ" userId="65df04e4-2d23-4bab-afb0-40df8a2c1b9f" providerId="ADAL" clId="{13E48CF6-3C07-4AA7-848A-1E964CBB0D3A}" dt="2022-11-30T10:46:55.959" v="16586"/>
        <pc:sldMkLst>
          <pc:docMk/>
          <pc:sldMk cId="2812891123" sldId="2076137156"/>
        </pc:sldMkLst>
      </pc:sldChg>
      <pc:sldChg chg="add">
        <pc:chgData name="Kawtar SADIQ" userId="65df04e4-2d23-4bab-afb0-40df8a2c1b9f" providerId="ADAL" clId="{13E48CF6-3C07-4AA7-848A-1E964CBB0D3A}" dt="2022-11-30T10:46:55.959" v="16586"/>
        <pc:sldMkLst>
          <pc:docMk/>
          <pc:sldMk cId="719803071" sldId="2076137161"/>
        </pc:sldMkLst>
      </pc:sldChg>
      <pc:sldChg chg="add">
        <pc:chgData name="Kawtar SADIQ" userId="65df04e4-2d23-4bab-afb0-40df8a2c1b9f" providerId="ADAL" clId="{13E48CF6-3C07-4AA7-848A-1E964CBB0D3A}" dt="2022-11-30T10:46:55.959" v="16586"/>
        <pc:sldMkLst>
          <pc:docMk/>
          <pc:sldMk cId="1431570219" sldId="2076137166"/>
        </pc:sldMkLst>
      </pc:sldChg>
      <pc:sldChg chg="del">
        <pc:chgData name="Kawtar SADIQ" userId="65df04e4-2d23-4bab-afb0-40df8a2c1b9f" providerId="ADAL" clId="{13E48CF6-3C07-4AA7-848A-1E964CBB0D3A}" dt="2022-11-28T15:51:00.504" v="3807" actId="47"/>
        <pc:sldMkLst>
          <pc:docMk/>
          <pc:sldMk cId="4204106496" sldId="2076137177"/>
        </pc:sldMkLst>
      </pc:sldChg>
      <pc:sldChg chg="delSp modSp del mod">
        <pc:chgData name="Kawtar SADIQ" userId="65df04e4-2d23-4bab-afb0-40df8a2c1b9f" providerId="ADAL" clId="{13E48CF6-3C07-4AA7-848A-1E964CBB0D3A}" dt="2022-11-30T15:53:43.993" v="21035" actId="47"/>
        <pc:sldMkLst>
          <pc:docMk/>
          <pc:sldMk cId="3534434500" sldId="2076137187"/>
        </pc:sldMkLst>
        <pc:spChg chg="mod">
          <ac:chgData name="Kawtar SADIQ" userId="65df04e4-2d23-4bab-afb0-40df8a2c1b9f" providerId="ADAL" clId="{13E48CF6-3C07-4AA7-848A-1E964CBB0D3A}" dt="2022-11-30T15:52:07.371" v="21024" actId="20577"/>
          <ac:spMkLst>
            <pc:docMk/>
            <pc:sldMk cId="3534434500" sldId="2076137187"/>
            <ac:spMk id="2" creationId="{46F04B99-9B07-47CE-8EF3-B54C1C5C7B2E}"/>
          </ac:spMkLst>
        </pc:spChg>
        <pc:picChg chg="del">
          <ac:chgData name="Kawtar SADIQ" userId="65df04e4-2d23-4bab-afb0-40df8a2c1b9f" providerId="ADAL" clId="{13E48CF6-3C07-4AA7-848A-1E964CBB0D3A}" dt="2022-11-30T15:52:13.075" v="21025" actId="478"/>
          <ac:picMkLst>
            <pc:docMk/>
            <pc:sldMk cId="3534434500" sldId="2076137187"/>
            <ac:picMk id="10" creationId="{75752C2C-CF75-42E7-B7A1-96EA90AF53B6}"/>
          </ac:picMkLst>
        </pc:picChg>
      </pc:sldChg>
      <pc:sldChg chg="add del">
        <pc:chgData name="Kawtar SADIQ" userId="65df04e4-2d23-4bab-afb0-40df8a2c1b9f" providerId="ADAL" clId="{13E48CF6-3C07-4AA7-848A-1E964CBB0D3A}" dt="2022-11-30T15:48:06.538" v="20985" actId="47"/>
        <pc:sldMkLst>
          <pc:docMk/>
          <pc:sldMk cId="3002232976" sldId="2076137192"/>
        </pc:sldMkLst>
      </pc:sldChg>
      <pc:sldChg chg="add">
        <pc:chgData name="Kawtar SADIQ" userId="65df04e4-2d23-4bab-afb0-40df8a2c1b9f" providerId="ADAL" clId="{13E48CF6-3C07-4AA7-848A-1E964CBB0D3A}" dt="2022-11-30T10:46:55.959" v="16586"/>
        <pc:sldMkLst>
          <pc:docMk/>
          <pc:sldMk cId="3486699933" sldId="2076137317"/>
        </pc:sldMkLst>
      </pc:sldChg>
      <pc:sldChg chg="add del">
        <pc:chgData name="Kawtar SADIQ" userId="65df04e4-2d23-4bab-afb0-40df8a2c1b9f" providerId="ADAL" clId="{13E48CF6-3C07-4AA7-848A-1E964CBB0D3A}" dt="2022-12-01T14:13:16.649" v="27859" actId="47"/>
        <pc:sldMkLst>
          <pc:docMk/>
          <pc:sldMk cId="2075101273" sldId="2076137318"/>
        </pc:sldMkLst>
      </pc:sldChg>
      <pc:sldChg chg="add">
        <pc:chgData name="Kawtar SADIQ" userId="65df04e4-2d23-4bab-afb0-40df8a2c1b9f" providerId="ADAL" clId="{13E48CF6-3C07-4AA7-848A-1E964CBB0D3A}" dt="2022-11-30T10:46:55.959" v="16586"/>
        <pc:sldMkLst>
          <pc:docMk/>
          <pc:sldMk cId="2609928871" sldId="2076137319"/>
        </pc:sldMkLst>
      </pc:sldChg>
      <pc:sldChg chg="add">
        <pc:chgData name="Kawtar SADIQ" userId="65df04e4-2d23-4bab-afb0-40df8a2c1b9f" providerId="ADAL" clId="{13E48CF6-3C07-4AA7-848A-1E964CBB0D3A}" dt="2022-11-30T10:46:55.959" v="16586"/>
        <pc:sldMkLst>
          <pc:docMk/>
          <pc:sldMk cId="76851678" sldId="2076137321"/>
        </pc:sldMkLst>
      </pc:sldChg>
      <pc:sldChg chg="add">
        <pc:chgData name="Kawtar SADIQ" userId="65df04e4-2d23-4bab-afb0-40df8a2c1b9f" providerId="ADAL" clId="{13E48CF6-3C07-4AA7-848A-1E964CBB0D3A}" dt="2022-11-30T10:46:55.959" v="16586"/>
        <pc:sldMkLst>
          <pc:docMk/>
          <pc:sldMk cId="3076444926" sldId="2076137322"/>
        </pc:sldMkLst>
      </pc:sldChg>
      <pc:sldChg chg="add">
        <pc:chgData name="Kawtar SADIQ" userId="65df04e4-2d23-4bab-afb0-40df8a2c1b9f" providerId="ADAL" clId="{13E48CF6-3C07-4AA7-848A-1E964CBB0D3A}" dt="2022-11-30T10:46:55.959" v="16586"/>
        <pc:sldMkLst>
          <pc:docMk/>
          <pc:sldMk cId="1568314068" sldId="2076137323"/>
        </pc:sldMkLst>
      </pc:sldChg>
      <pc:sldChg chg="del">
        <pc:chgData name="Kawtar SADIQ" userId="65df04e4-2d23-4bab-afb0-40df8a2c1b9f" providerId="ADAL" clId="{13E48CF6-3C07-4AA7-848A-1E964CBB0D3A}" dt="2022-11-29T11:50:37.299" v="9237" actId="47"/>
        <pc:sldMkLst>
          <pc:docMk/>
          <pc:sldMk cId="3318819925" sldId="2076137969"/>
        </pc:sldMkLst>
      </pc:sldChg>
      <pc:sldChg chg="del">
        <pc:chgData name="Kawtar SADIQ" userId="65df04e4-2d23-4bab-afb0-40df8a2c1b9f" providerId="ADAL" clId="{13E48CF6-3C07-4AA7-848A-1E964CBB0D3A}" dt="2022-11-29T11:50:38.263" v="9239" actId="47"/>
        <pc:sldMkLst>
          <pc:docMk/>
          <pc:sldMk cId="2541208993" sldId="2076137970"/>
        </pc:sldMkLst>
      </pc:sldChg>
      <pc:sldChg chg="del">
        <pc:chgData name="Kawtar SADIQ" userId="65df04e4-2d23-4bab-afb0-40df8a2c1b9f" providerId="ADAL" clId="{13E48CF6-3C07-4AA7-848A-1E964CBB0D3A}" dt="2022-11-29T11:50:38.808" v="9240" actId="47"/>
        <pc:sldMkLst>
          <pc:docMk/>
          <pc:sldMk cId="2082677127" sldId="2076137971"/>
        </pc:sldMkLst>
      </pc:sldChg>
      <pc:sldChg chg="del">
        <pc:chgData name="Kawtar SADIQ" userId="65df04e4-2d23-4bab-afb0-40df8a2c1b9f" providerId="ADAL" clId="{13E48CF6-3C07-4AA7-848A-1E964CBB0D3A}" dt="2022-11-29T11:50:39.427" v="9241" actId="47"/>
        <pc:sldMkLst>
          <pc:docMk/>
          <pc:sldMk cId="1734443655" sldId="2076137972"/>
        </pc:sldMkLst>
      </pc:sldChg>
      <pc:sldChg chg="del">
        <pc:chgData name="Kawtar SADIQ" userId="65df04e4-2d23-4bab-afb0-40df8a2c1b9f" providerId="ADAL" clId="{13E48CF6-3C07-4AA7-848A-1E964CBB0D3A}" dt="2022-11-29T11:50:37.732" v="9238" actId="47"/>
        <pc:sldMkLst>
          <pc:docMk/>
          <pc:sldMk cId="125570855" sldId="2076137977"/>
        </pc:sldMkLst>
      </pc:sldChg>
      <pc:sldChg chg="modSp add del mod">
        <pc:chgData name="Kawtar SADIQ" userId="65df04e4-2d23-4bab-afb0-40df8a2c1b9f" providerId="ADAL" clId="{13E48CF6-3C07-4AA7-848A-1E964CBB0D3A}" dt="2022-11-30T16:00:47.985" v="21079" actId="47"/>
        <pc:sldMkLst>
          <pc:docMk/>
          <pc:sldMk cId="1699524961" sldId="2076137984"/>
        </pc:sldMkLst>
        <pc:graphicFrameChg chg="mod modGraphic">
          <ac:chgData name="Kawtar SADIQ" userId="65df04e4-2d23-4bab-afb0-40df8a2c1b9f" providerId="ADAL" clId="{13E48CF6-3C07-4AA7-848A-1E964CBB0D3A}" dt="2022-11-30T15:58:34.292" v="21053" actId="207"/>
          <ac:graphicFrameMkLst>
            <pc:docMk/>
            <pc:sldMk cId="1699524961" sldId="2076137984"/>
            <ac:graphicFrameMk id="21" creationId="{AA5B1E8C-0211-42AE-997A-1C180F6E9B00}"/>
          </ac:graphicFrameMkLst>
        </pc:graphicFrameChg>
      </pc:sldChg>
      <pc:sldChg chg="del">
        <pc:chgData name="Kawtar SADIQ" userId="65df04e4-2d23-4bab-afb0-40df8a2c1b9f" providerId="ADAL" clId="{13E48CF6-3C07-4AA7-848A-1E964CBB0D3A}" dt="2022-11-25T17:08:44.686" v="1188" actId="47"/>
        <pc:sldMkLst>
          <pc:docMk/>
          <pc:sldMk cId="2514173782" sldId="2076137987"/>
        </pc:sldMkLst>
      </pc:sldChg>
      <pc:sldChg chg="del ord">
        <pc:chgData name="Kawtar SADIQ" userId="65df04e4-2d23-4bab-afb0-40df8a2c1b9f" providerId="ADAL" clId="{13E48CF6-3C07-4AA7-848A-1E964CBB0D3A}" dt="2022-12-01T16:54:43.903" v="28041" actId="47"/>
        <pc:sldMkLst>
          <pc:docMk/>
          <pc:sldMk cId="3446876227" sldId="2076137991"/>
        </pc:sldMkLst>
      </pc:sldChg>
      <pc:sldChg chg="addSp delSp modSp del mod">
        <pc:chgData name="Kawtar SADIQ" userId="65df04e4-2d23-4bab-afb0-40df8a2c1b9f" providerId="ADAL" clId="{13E48CF6-3C07-4AA7-848A-1E964CBB0D3A}" dt="2022-11-29T11:26:39.521" v="8430" actId="47"/>
        <pc:sldMkLst>
          <pc:docMk/>
          <pc:sldMk cId="2656984134" sldId="2076138005"/>
        </pc:sldMkLst>
        <pc:spChg chg="mod">
          <ac:chgData name="Kawtar SADIQ" userId="65df04e4-2d23-4bab-afb0-40df8a2c1b9f" providerId="ADAL" clId="{13E48CF6-3C07-4AA7-848A-1E964CBB0D3A}" dt="2022-11-28T13:58:20.937" v="2970" actId="1076"/>
          <ac:spMkLst>
            <pc:docMk/>
            <pc:sldMk cId="2656984134" sldId="2076138005"/>
            <ac:spMk id="8" creationId="{0DE5FD32-B9CC-14AF-56A7-59DD309C51A6}"/>
          </ac:spMkLst>
        </pc:spChg>
        <pc:spChg chg="mod">
          <ac:chgData name="Kawtar SADIQ" userId="65df04e4-2d23-4bab-afb0-40df8a2c1b9f" providerId="ADAL" clId="{13E48CF6-3C07-4AA7-848A-1E964CBB0D3A}" dt="2022-11-28T14:22:50.626" v="3377" actId="1076"/>
          <ac:spMkLst>
            <pc:docMk/>
            <pc:sldMk cId="2656984134" sldId="2076138005"/>
            <ac:spMk id="11" creationId="{2A94AC24-8D58-009E-FC5C-59DDCE5D5CFD}"/>
          </ac:spMkLst>
        </pc:spChg>
        <pc:grpChg chg="del mod">
          <ac:chgData name="Kawtar SADIQ" userId="65df04e4-2d23-4bab-afb0-40df8a2c1b9f" providerId="ADAL" clId="{13E48CF6-3C07-4AA7-848A-1E964CBB0D3A}" dt="2022-11-28T13:59:48.062" v="3075" actId="165"/>
          <ac:grpSpMkLst>
            <pc:docMk/>
            <pc:sldMk cId="2656984134" sldId="2076138005"/>
            <ac:grpSpMk id="5" creationId="{680223AA-35AA-4F24-9098-0D3D11BE43F2}"/>
          </ac:grpSpMkLst>
        </pc:grpChg>
        <pc:grpChg chg="del mod">
          <ac:chgData name="Kawtar SADIQ" userId="65df04e4-2d23-4bab-afb0-40df8a2c1b9f" providerId="ADAL" clId="{13E48CF6-3C07-4AA7-848A-1E964CBB0D3A}" dt="2022-11-28T13:59:44.697" v="3074" actId="165"/>
          <ac:grpSpMkLst>
            <pc:docMk/>
            <pc:sldMk cId="2656984134" sldId="2076138005"/>
            <ac:grpSpMk id="6" creationId="{D9518B8A-E42E-4FC1-9410-B281F9CF5A72}"/>
          </ac:grpSpMkLst>
        </pc:grpChg>
        <pc:grpChg chg="mod">
          <ac:chgData name="Kawtar SADIQ" userId="65df04e4-2d23-4bab-afb0-40df8a2c1b9f" providerId="ADAL" clId="{13E48CF6-3C07-4AA7-848A-1E964CBB0D3A}" dt="2022-11-28T13:58:58.901" v="3073" actId="1036"/>
          <ac:grpSpMkLst>
            <pc:docMk/>
            <pc:sldMk cId="2656984134" sldId="2076138005"/>
            <ac:grpSpMk id="7" creationId="{33888B01-730D-49D3-A3A3-0CB01CBEFEE4}"/>
          </ac:grpSpMkLst>
        </pc:grpChg>
        <pc:graphicFrameChg chg="mod modGraphic">
          <ac:chgData name="Kawtar SADIQ" userId="65df04e4-2d23-4bab-afb0-40df8a2c1b9f" providerId="ADAL" clId="{13E48CF6-3C07-4AA7-848A-1E964CBB0D3A}" dt="2022-11-28T14:11:19.307" v="3346"/>
          <ac:graphicFrameMkLst>
            <pc:docMk/>
            <pc:sldMk cId="2656984134" sldId="2076138005"/>
            <ac:graphicFrameMk id="89" creationId="{A19A5F1F-D334-4677-BCCB-AA68FF81AC6E}"/>
          </ac:graphicFrameMkLst>
        </pc:graphicFrameChg>
        <pc:picChg chg="mod">
          <ac:chgData name="Kawtar SADIQ" userId="65df04e4-2d23-4bab-afb0-40df8a2c1b9f" providerId="ADAL" clId="{13E48CF6-3C07-4AA7-848A-1E964CBB0D3A}" dt="2022-11-28T13:58:44.907" v="3032" actId="1035"/>
          <ac:picMkLst>
            <pc:docMk/>
            <pc:sldMk cId="2656984134" sldId="2076138005"/>
            <ac:picMk id="23" creationId="{C5964ED9-E029-4428-8C57-7EA24226B475}"/>
          </ac:picMkLst>
        </pc:picChg>
        <pc:picChg chg="del">
          <ac:chgData name="Kawtar SADIQ" userId="65df04e4-2d23-4bab-afb0-40df8a2c1b9f" providerId="ADAL" clId="{13E48CF6-3C07-4AA7-848A-1E964CBB0D3A}" dt="2022-11-28T13:58:33.763" v="2974" actId="478"/>
          <ac:picMkLst>
            <pc:docMk/>
            <pc:sldMk cId="2656984134" sldId="2076138005"/>
            <ac:picMk id="24" creationId="{55175058-B9FB-4916-8484-742E7CD07899}"/>
          </ac:picMkLst>
        </pc:picChg>
        <pc:picChg chg="del">
          <ac:chgData name="Kawtar SADIQ" userId="65df04e4-2d23-4bab-afb0-40df8a2c1b9f" providerId="ADAL" clId="{13E48CF6-3C07-4AA7-848A-1E964CBB0D3A}" dt="2022-11-28T13:58:52.274" v="3034" actId="478"/>
          <ac:picMkLst>
            <pc:docMk/>
            <pc:sldMk cId="2656984134" sldId="2076138005"/>
            <ac:picMk id="28" creationId="{1AF89714-42FE-C117-41EE-3E89BA9282D1}"/>
          </ac:picMkLst>
        </pc:picChg>
        <pc:picChg chg="del">
          <ac:chgData name="Kawtar SADIQ" userId="65df04e4-2d23-4bab-afb0-40df8a2c1b9f" providerId="ADAL" clId="{13E48CF6-3C07-4AA7-848A-1E964CBB0D3A}" dt="2022-11-28T13:58:49.410" v="3033" actId="478"/>
          <ac:picMkLst>
            <pc:docMk/>
            <pc:sldMk cId="2656984134" sldId="2076138005"/>
            <ac:picMk id="29" creationId="{910763D7-82E6-636D-2EAD-B8245741846E}"/>
          </ac:picMkLst>
        </pc:picChg>
        <pc:picChg chg="add mod">
          <ac:chgData name="Kawtar SADIQ" userId="65df04e4-2d23-4bab-afb0-40df8a2c1b9f" providerId="ADAL" clId="{13E48CF6-3C07-4AA7-848A-1E964CBB0D3A}" dt="2022-11-28T14:00:17.374" v="3082" actId="1037"/>
          <ac:picMkLst>
            <pc:docMk/>
            <pc:sldMk cId="2656984134" sldId="2076138005"/>
            <ac:picMk id="31" creationId="{532ABB86-FA65-431D-AFF8-5745E290C8B7}"/>
          </ac:picMkLst>
        </pc:picChg>
        <pc:picChg chg="add mod">
          <ac:chgData name="Kawtar SADIQ" userId="65df04e4-2d23-4bab-afb0-40df8a2c1b9f" providerId="ADAL" clId="{13E48CF6-3C07-4AA7-848A-1E964CBB0D3A}" dt="2022-11-28T14:00:17.374" v="3082" actId="1037"/>
          <ac:picMkLst>
            <pc:docMk/>
            <pc:sldMk cId="2656984134" sldId="2076138005"/>
            <ac:picMk id="32" creationId="{BC5A0811-C6F8-4993-B58C-0AEE66235262}"/>
          </ac:picMkLst>
        </pc:picChg>
        <pc:picChg chg="add mod">
          <ac:chgData name="Kawtar SADIQ" userId="65df04e4-2d23-4bab-afb0-40df8a2c1b9f" providerId="ADAL" clId="{13E48CF6-3C07-4AA7-848A-1E964CBB0D3A}" dt="2022-11-28T14:00:41.647" v="3084" actId="571"/>
          <ac:picMkLst>
            <pc:docMk/>
            <pc:sldMk cId="2656984134" sldId="2076138005"/>
            <ac:picMk id="33" creationId="{F4E5834A-8431-48AB-97DF-315302784BB5}"/>
          </ac:picMkLst>
        </pc:picChg>
        <pc:picChg chg="add mod">
          <ac:chgData name="Kawtar SADIQ" userId="65df04e4-2d23-4bab-afb0-40df8a2c1b9f" providerId="ADAL" clId="{13E48CF6-3C07-4AA7-848A-1E964CBB0D3A}" dt="2022-11-28T14:00:41.647" v="3084" actId="571"/>
          <ac:picMkLst>
            <pc:docMk/>
            <pc:sldMk cId="2656984134" sldId="2076138005"/>
            <ac:picMk id="34" creationId="{C716D7DF-4BA1-484A-9A69-6920F02BEBCB}"/>
          </ac:picMkLst>
        </pc:picChg>
        <pc:picChg chg="add mod">
          <ac:chgData name="Kawtar SADIQ" userId="65df04e4-2d23-4bab-afb0-40df8a2c1b9f" providerId="ADAL" clId="{13E48CF6-3C07-4AA7-848A-1E964CBB0D3A}" dt="2022-11-28T14:00:50.507" v="3086" actId="1076"/>
          <ac:picMkLst>
            <pc:docMk/>
            <pc:sldMk cId="2656984134" sldId="2076138005"/>
            <ac:picMk id="35" creationId="{D75F5B57-2B5D-4EDD-9AC6-002DE252C4A7}"/>
          </ac:picMkLst>
        </pc:picChg>
        <pc:picChg chg="add mod">
          <ac:chgData name="Kawtar SADIQ" userId="65df04e4-2d23-4bab-afb0-40df8a2c1b9f" providerId="ADAL" clId="{13E48CF6-3C07-4AA7-848A-1E964CBB0D3A}" dt="2022-11-28T14:00:50.507" v="3086" actId="1076"/>
          <ac:picMkLst>
            <pc:docMk/>
            <pc:sldMk cId="2656984134" sldId="2076138005"/>
            <ac:picMk id="36" creationId="{DF14DFDA-A7C7-4741-9713-F1B33047C4F7}"/>
          </ac:picMkLst>
        </pc:picChg>
        <pc:picChg chg="add mod">
          <ac:chgData name="Kawtar SADIQ" userId="65df04e4-2d23-4bab-afb0-40df8a2c1b9f" providerId="ADAL" clId="{13E48CF6-3C07-4AA7-848A-1E964CBB0D3A}" dt="2022-11-28T14:18:18.126" v="3373"/>
          <ac:picMkLst>
            <pc:docMk/>
            <pc:sldMk cId="2656984134" sldId="2076138005"/>
            <ac:picMk id="39" creationId="{CD7E548B-6D2D-4F68-8D48-A6A800A8FC0A}"/>
          </ac:picMkLst>
        </pc:picChg>
        <pc:picChg chg="add mod">
          <ac:chgData name="Kawtar SADIQ" userId="65df04e4-2d23-4bab-afb0-40df8a2c1b9f" providerId="ADAL" clId="{13E48CF6-3C07-4AA7-848A-1E964CBB0D3A}" dt="2022-11-28T14:18:26.475" v="3376" actId="1076"/>
          <ac:picMkLst>
            <pc:docMk/>
            <pc:sldMk cId="2656984134" sldId="2076138005"/>
            <ac:picMk id="40" creationId="{7524349F-5CD9-4209-B4B0-15BD8EBA8E7F}"/>
          </ac:picMkLst>
        </pc:picChg>
        <pc:picChg chg="mod topLvl">
          <ac:chgData name="Kawtar SADIQ" userId="65df04e4-2d23-4bab-afb0-40df8a2c1b9f" providerId="ADAL" clId="{13E48CF6-3C07-4AA7-848A-1E964CBB0D3A}" dt="2022-11-28T13:59:48.062" v="3075" actId="165"/>
          <ac:picMkLst>
            <pc:docMk/>
            <pc:sldMk cId="2656984134" sldId="2076138005"/>
            <ac:picMk id="115" creationId="{5B2D01EE-1F5E-4E9C-AB5F-A48F8ADCDEE5}"/>
          </ac:picMkLst>
        </pc:picChg>
        <pc:picChg chg="mod topLvl">
          <ac:chgData name="Kawtar SADIQ" userId="65df04e4-2d23-4bab-afb0-40df8a2c1b9f" providerId="ADAL" clId="{13E48CF6-3C07-4AA7-848A-1E964CBB0D3A}" dt="2022-11-28T13:59:48.062" v="3075" actId="165"/>
          <ac:picMkLst>
            <pc:docMk/>
            <pc:sldMk cId="2656984134" sldId="2076138005"/>
            <ac:picMk id="116" creationId="{37DB55C1-3C94-4C30-86A5-C4AA3CFDBC47}"/>
          </ac:picMkLst>
        </pc:picChg>
        <pc:picChg chg="mod topLvl">
          <ac:chgData name="Kawtar SADIQ" userId="65df04e4-2d23-4bab-afb0-40df8a2c1b9f" providerId="ADAL" clId="{13E48CF6-3C07-4AA7-848A-1E964CBB0D3A}" dt="2022-11-28T13:59:44.697" v="3074" actId="165"/>
          <ac:picMkLst>
            <pc:docMk/>
            <pc:sldMk cId="2656984134" sldId="2076138005"/>
            <ac:picMk id="118" creationId="{7F7CA06E-089A-47A3-8BA9-A482A05BEC20}"/>
          </ac:picMkLst>
        </pc:picChg>
        <pc:picChg chg="mod topLvl">
          <ac:chgData name="Kawtar SADIQ" userId="65df04e4-2d23-4bab-afb0-40df8a2c1b9f" providerId="ADAL" clId="{13E48CF6-3C07-4AA7-848A-1E964CBB0D3A}" dt="2022-11-28T13:59:44.697" v="3074" actId="165"/>
          <ac:picMkLst>
            <pc:docMk/>
            <pc:sldMk cId="2656984134" sldId="2076138005"/>
            <ac:picMk id="119" creationId="{2F3EDDCD-C40B-4968-BA09-A34C66460749}"/>
          </ac:picMkLst>
        </pc:picChg>
        <pc:picChg chg="del">
          <ac:chgData name="Kawtar SADIQ" userId="65df04e4-2d23-4bab-afb0-40df8a2c1b9f" providerId="ADAL" clId="{13E48CF6-3C07-4AA7-848A-1E964CBB0D3A}" dt="2022-11-28T13:58:52.274" v="3034" actId="478"/>
          <ac:picMkLst>
            <pc:docMk/>
            <pc:sldMk cId="2656984134" sldId="2076138005"/>
            <ac:picMk id="1026" creationId="{A5E9C449-3B1A-3FA4-CBC2-A89DC7C12B0A}"/>
          </ac:picMkLst>
        </pc:picChg>
      </pc:sldChg>
      <pc:sldChg chg="del">
        <pc:chgData name="Kawtar SADIQ" userId="65df04e4-2d23-4bab-afb0-40df8a2c1b9f" providerId="ADAL" clId="{13E48CF6-3C07-4AA7-848A-1E964CBB0D3A}" dt="2022-12-01T16:53:16.583" v="28023" actId="47"/>
        <pc:sldMkLst>
          <pc:docMk/>
          <pc:sldMk cId="98905277" sldId="2076138012"/>
        </pc:sldMkLst>
      </pc:sldChg>
      <pc:sldChg chg="add del">
        <pc:chgData name="Kawtar SADIQ" userId="65df04e4-2d23-4bab-afb0-40df8a2c1b9f" providerId="ADAL" clId="{13E48CF6-3C07-4AA7-848A-1E964CBB0D3A}" dt="2022-12-01T16:47:59.143" v="28006" actId="47"/>
        <pc:sldMkLst>
          <pc:docMk/>
          <pc:sldMk cId="636038548" sldId="2076138029"/>
        </pc:sldMkLst>
      </pc:sldChg>
      <pc:sldChg chg="add del">
        <pc:chgData name="Kawtar SADIQ" userId="65df04e4-2d23-4bab-afb0-40df8a2c1b9f" providerId="ADAL" clId="{13E48CF6-3C07-4AA7-848A-1E964CBB0D3A}" dt="2022-12-01T16:47:43.833" v="28002" actId="47"/>
        <pc:sldMkLst>
          <pc:docMk/>
          <pc:sldMk cId="3245394107" sldId="2076138030"/>
        </pc:sldMkLst>
      </pc:sldChg>
      <pc:sldChg chg="add del">
        <pc:chgData name="Kawtar SADIQ" userId="65df04e4-2d23-4bab-afb0-40df8a2c1b9f" providerId="ADAL" clId="{13E48CF6-3C07-4AA7-848A-1E964CBB0D3A}" dt="2022-12-01T16:48:11.462" v="28010" actId="47"/>
        <pc:sldMkLst>
          <pc:docMk/>
          <pc:sldMk cId="2897073151" sldId="2076138045"/>
        </pc:sldMkLst>
      </pc:sldChg>
      <pc:sldChg chg="addSp delSp modSp add del mod ord">
        <pc:chgData name="Kawtar SADIQ" userId="65df04e4-2d23-4bab-afb0-40df8a2c1b9f" providerId="ADAL" clId="{13E48CF6-3C07-4AA7-848A-1E964CBB0D3A}" dt="2022-11-28T21:37:19.835" v="6464" actId="47"/>
        <pc:sldMkLst>
          <pc:docMk/>
          <pc:sldMk cId="101776192" sldId="2076138047"/>
        </pc:sldMkLst>
        <pc:spChg chg="mod">
          <ac:chgData name="Kawtar SADIQ" userId="65df04e4-2d23-4bab-afb0-40df8a2c1b9f" providerId="ADAL" clId="{13E48CF6-3C07-4AA7-848A-1E964CBB0D3A}" dt="2022-11-28T15:00:35.528" v="3735" actId="20577"/>
          <ac:spMkLst>
            <pc:docMk/>
            <pc:sldMk cId="101776192" sldId="2076138047"/>
            <ac:spMk id="3" creationId="{80D52342-C2B0-428C-8805-971DE696581C}"/>
          </ac:spMkLst>
        </pc:spChg>
        <pc:spChg chg="del">
          <ac:chgData name="Kawtar SADIQ" userId="65df04e4-2d23-4bab-afb0-40df8a2c1b9f" providerId="ADAL" clId="{13E48CF6-3C07-4AA7-848A-1E964CBB0D3A}" dt="2022-11-28T15:29:03.354" v="3749" actId="478"/>
          <ac:spMkLst>
            <pc:docMk/>
            <pc:sldMk cId="101776192" sldId="2076138047"/>
            <ac:spMk id="6" creationId="{DE006698-880E-41EB-9907-52F20E42D58A}"/>
          </ac:spMkLst>
        </pc:spChg>
        <pc:spChg chg="add del mod">
          <ac:chgData name="Kawtar SADIQ" userId="65df04e4-2d23-4bab-afb0-40df8a2c1b9f" providerId="ADAL" clId="{13E48CF6-3C07-4AA7-848A-1E964CBB0D3A}" dt="2022-11-28T20:23:14.167" v="5942" actId="478"/>
          <ac:spMkLst>
            <pc:docMk/>
            <pc:sldMk cId="101776192" sldId="2076138047"/>
            <ac:spMk id="27" creationId="{7D3885EA-F1F0-4511-BE79-081925D93105}"/>
          </ac:spMkLst>
        </pc:spChg>
        <pc:spChg chg="mod">
          <ac:chgData name="Kawtar SADIQ" userId="65df04e4-2d23-4bab-afb0-40df8a2c1b9f" providerId="ADAL" clId="{13E48CF6-3C07-4AA7-848A-1E964CBB0D3A}" dt="2022-11-28T21:07:05.778" v="6162" actId="5793"/>
          <ac:spMkLst>
            <pc:docMk/>
            <pc:sldMk cId="101776192" sldId="2076138047"/>
            <ac:spMk id="38" creationId="{D5CD0879-99CF-DB2C-4EF6-B1FF9F738AC2}"/>
          </ac:spMkLst>
        </pc:spChg>
        <pc:spChg chg="mod">
          <ac:chgData name="Kawtar SADIQ" userId="65df04e4-2d23-4bab-afb0-40df8a2c1b9f" providerId="ADAL" clId="{13E48CF6-3C07-4AA7-848A-1E964CBB0D3A}" dt="2022-11-28T15:31:08.766" v="3753" actId="13926"/>
          <ac:spMkLst>
            <pc:docMk/>
            <pc:sldMk cId="101776192" sldId="2076138047"/>
            <ac:spMk id="43" creationId="{61606285-4B87-12CC-98F0-B8792DADEF07}"/>
          </ac:spMkLst>
        </pc:spChg>
        <pc:spChg chg="mod">
          <ac:chgData name="Kawtar SADIQ" userId="65df04e4-2d23-4bab-afb0-40df8a2c1b9f" providerId="ADAL" clId="{13E48CF6-3C07-4AA7-848A-1E964CBB0D3A}" dt="2022-11-28T21:03:12.251" v="6111" actId="20577"/>
          <ac:spMkLst>
            <pc:docMk/>
            <pc:sldMk cId="101776192" sldId="2076138047"/>
            <ac:spMk id="48" creationId="{FC62F2F6-4C9D-01DA-3454-67AEF5519CFB}"/>
          </ac:spMkLst>
        </pc:spChg>
      </pc:sldChg>
      <pc:sldChg chg="add del">
        <pc:chgData name="Kawtar SADIQ" userId="65df04e4-2d23-4bab-afb0-40df8a2c1b9f" providerId="ADAL" clId="{13E48CF6-3C07-4AA7-848A-1E964CBB0D3A}" dt="2022-12-01T16:48:27.403" v="28014" actId="47"/>
        <pc:sldMkLst>
          <pc:docMk/>
          <pc:sldMk cId="2214837735" sldId="2076138072"/>
        </pc:sldMkLst>
      </pc:sldChg>
      <pc:sldChg chg="add del">
        <pc:chgData name="Kawtar SADIQ" userId="65df04e4-2d23-4bab-afb0-40df8a2c1b9f" providerId="ADAL" clId="{13E48CF6-3C07-4AA7-848A-1E964CBB0D3A}" dt="2022-11-29T11:56:57.509" v="9269" actId="47"/>
        <pc:sldMkLst>
          <pc:docMk/>
          <pc:sldMk cId="3269328957" sldId="2076138076"/>
        </pc:sldMkLst>
      </pc:sldChg>
      <pc:sldChg chg="addSp delSp modSp add del mod">
        <pc:chgData name="Kawtar SADIQ" userId="65df04e4-2d23-4bab-afb0-40df8a2c1b9f" providerId="ADAL" clId="{13E48CF6-3C07-4AA7-848A-1E964CBB0D3A}" dt="2022-12-01T16:48:45.903" v="28020" actId="47"/>
        <pc:sldMkLst>
          <pc:docMk/>
          <pc:sldMk cId="2396221007" sldId="2076138077"/>
        </pc:sldMkLst>
        <pc:spChg chg="mod">
          <ac:chgData name="Kawtar SADIQ" userId="65df04e4-2d23-4bab-afb0-40df8a2c1b9f" providerId="ADAL" clId="{13E48CF6-3C07-4AA7-848A-1E964CBB0D3A}" dt="2022-11-30T12:33:01.690" v="18611" actId="13926"/>
          <ac:spMkLst>
            <pc:docMk/>
            <pc:sldMk cId="2396221007" sldId="2076138077"/>
            <ac:spMk id="3" creationId="{73B47CC3-1507-47D3-AFEF-FEA763E85C64}"/>
          </ac:spMkLst>
        </pc:spChg>
        <pc:spChg chg="add del mod">
          <ac:chgData name="Kawtar SADIQ" userId="65df04e4-2d23-4bab-afb0-40df8a2c1b9f" providerId="ADAL" clId="{13E48CF6-3C07-4AA7-848A-1E964CBB0D3A}" dt="2022-11-30T12:33:04.894" v="18612" actId="478"/>
          <ac:spMkLst>
            <pc:docMk/>
            <pc:sldMk cId="2396221007" sldId="2076138077"/>
            <ac:spMk id="37" creationId="{9BAACE32-8927-417A-9539-21D64040EF47}"/>
          </ac:spMkLst>
        </pc:spChg>
        <pc:spChg chg="add del mod">
          <ac:chgData name="Kawtar SADIQ" userId="65df04e4-2d23-4bab-afb0-40df8a2c1b9f" providerId="ADAL" clId="{13E48CF6-3C07-4AA7-848A-1E964CBB0D3A}" dt="2022-11-30T09:31:22.606" v="15907"/>
          <ac:spMkLst>
            <pc:docMk/>
            <pc:sldMk cId="2396221007" sldId="2076138077"/>
            <ac:spMk id="38" creationId="{DA2E0DEA-EDF7-4B97-9918-97B4D0DF5E18}"/>
          </ac:spMkLst>
        </pc:spChg>
      </pc:sldChg>
      <pc:sldChg chg="ord">
        <pc:chgData name="Kawtar SADIQ" userId="65df04e4-2d23-4bab-afb0-40df8a2c1b9f" providerId="ADAL" clId="{13E48CF6-3C07-4AA7-848A-1E964CBB0D3A}" dt="2022-11-28T14:38:36.604" v="3483"/>
        <pc:sldMkLst>
          <pc:docMk/>
          <pc:sldMk cId="140074883" sldId="2076138086"/>
        </pc:sldMkLst>
      </pc:sldChg>
      <pc:sldChg chg="modSp del mod">
        <pc:chgData name="Kawtar SADIQ" userId="65df04e4-2d23-4bab-afb0-40df8a2c1b9f" providerId="ADAL" clId="{13E48CF6-3C07-4AA7-848A-1E964CBB0D3A}" dt="2022-12-01T16:41:06.047" v="27934" actId="47"/>
        <pc:sldMkLst>
          <pc:docMk/>
          <pc:sldMk cId="3313929490" sldId="2076138090"/>
        </pc:sldMkLst>
        <pc:spChg chg="mod">
          <ac:chgData name="Kawtar SADIQ" userId="65df04e4-2d23-4bab-afb0-40df8a2c1b9f" providerId="ADAL" clId="{13E48CF6-3C07-4AA7-848A-1E964CBB0D3A}" dt="2022-11-29T11:51:22.035" v="9265" actId="20577"/>
          <ac:spMkLst>
            <pc:docMk/>
            <pc:sldMk cId="3313929490" sldId="2076138090"/>
            <ac:spMk id="5" creationId="{008BA424-9782-4CE1-B96F-7B9F4395ACE6}"/>
          </ac:spMkLst>
        </pc:spChg>
        <pc:spChg chg="mod">
          <ac:chgData name="Kawtar SADIQ" userId="65df04e4-2d23-4bab-afb0-40df8a2c1b9f" providerId="ADAL" clId="{13E48CF6-3C07-4AA7-848A-1E964CBB0D3A}" dt="2022-11-30T08:01:35.298" v="14245" actId="20577"/>
          <ac:spMkLst>
            <pc:docMk/>
            <pc:sldMk cId="3313929490" sldId="2076138090"/>
            <ac:spMk id="7" creationId="{5DE89F7E-B6C9-4C6D-9EC7-C90D849C096C}"/>
          </ac:spMkLst>
        </pc:spChg>
        <pc:spChg chg="mod">
          <ac:chgData name="Kawtar SADIQ" userId="65df04e4-2d23-4bab-afb0-40df8a2c1b9f" providerId="ADAL" clId="{13E48CF6-3C07-4AA7-848A-1E964CBB0D3A}" dt="2022-12-01T11:53:30.946" v="26454" actId="20577"/>
          <ac:spMkLst>
            <pc:docMk/>
            <pc:sldMk cId="3313929490" sldId="2076138090"/>
            <ac:spMk id="9" creationId="{CF487E4C-792A-4D88-A564-DAA6C394865E}"/>
          </ac:spMkLst>
        </pc:spChg>
      </pc:sldChg>
      <pc:sldChg chg="del">
        <pc:chgData name="Kawtar SADIQ" userId="65df04e4-2d23-4bab-afb0-40df8a2c1b9f" providerId="ADAL" clId="{13E48CF6-3C07-4AA7-848A-1E964CBB0D3A}" dt="2022-11-25T17:08:44.006" v="1187" actId="47"/>
        <pc:sldMkLst>
          <pc:docMk/>
          <pc:sldMk cId="1975943534" sldId="2076138102"/>
        </pc:sldMkLst>
      </pc:sldChg>
      <pc:sldChg chg="addSp delSp modSp del mod ord modShow">
        <pc:chgData name="Kawtar SADIQ" userId="65df04e4-2d23-4bab-afb0-40df8a2c1b9f" providerId="ADAL" clId="{13E48CF6-3C07-4AA7-848A-1E964CBB0D3A}" dt="2022-12-01T16:42:38.863" v="27950" actId="47"/>
        <pc:sldMkLst>
          <pc:docMk/>
          <pc:sldMk cId="1680199837" sldId="2076138123"/>
        </pc:sldMkLst>
        <pc:spChg chg="add del mod">
          <ac:chgData name="Kawtar SADIQ" userId="65df04e4-2d23-4bab-afb0-40df8a2c1b9f" providerId="ADAL" clId="{13E48CF6-3C07-4AA7-848A-1E964CBB0D3A}" dt="2022-11-29T11:16:38.224" v="8157" actId="478"/>
          <ac:spMkLst>
            <pc:docMk/>
            <pc:sldMk cId="1680199837" sldId="2076138123"/>
            <ac:spMk id="3" creationId="{A042C67E-4CC8-4F6B-BD16-E7D732F7EB26}"/>
          </ac:spMkLst>
        </pc:spChg>
        <pc:spChg chg="del mod">
          <ac:chgData name="Kawtar SADIQ" userId="65df04e4-2d23-4bab-afb0-40df8a2c1b9f" providerId="ADAL" clId="{13E48CF6-3C07-4AA7-848A-1E964CBB0D3A}" dt="2022-11-28T14:55:23.040" v="3694" actId="478"/>
          <ac:spMkLst>
            <pc:docMk/>
            <pc:sldMk cId="1680199837" sldId="2076138123"/>
            <ac:spMk id="5" creationId="{2F0D15E0-1B03-470B-A568-EF6083EE78DA}"/>
          </ac:spMkLst>
        </pc:spChg>
        <pc:spChg chg="mod">
          <ac:chgData name="Kawtar SADIQ" userId="65df04e4-2d23-4bab-afb0-40df8a2c1b9f" providerId="ADAL" clId="{13E48CF6-3C07-4AA7-848A-1E964CBB0D3A}" dt="2022-11-29T21:00:07.301" v="13433" actId="1076"/>
          <ac:spMkLst>
            <pc:docMk/>
            <pc:sldMk cId="1680199837" sldId="2076138123"/>
            <ac:spMk id="6" creationId="{59218360-3A11-4624-9214-DDC18ED44D79}"/>
          </ac:spMkLst>
        </pc:spChg>
        <pc:spChg chg="mod">
          <ac:chgData name="Kawtar SADIQ" userId="65df04e4-2d23-4bab-afb0-40df8a2c1b9f" providerId="ADAL" clId="{13E48CF6-3C07-4AA7-848A-1E964CBB0D3A}" dt="2022-11-29T21:02:15.268" v="13462"/>
          <ac:spMkLst>
            <pc:docMk/>
            <pc:sldMk cId="1680199837" sldId="2076138123"/>
            <ac:spMk id="8" creationId="{6BEF1DB4-3010-4B52-B506-B20A3BEEAC9C}"/>
          </ac:spMkLst>
        </pc:spChg>
        <pc:spChg chg="mod">
          <ac:chgData name="Kawtar SADIQ" userId="65df04e4-2d23-4bab-afb0-40df8a2c1b9f" providerId="ADAL" clId="{13E48CF6-3C07-4AA7-848A-1E964CBB0D3A}" dt="2022-12-01T08:50:30.750" v="25180" actId="404"/>
          <ac:spMkLst>
            <pc:docMk/>
            <pc:sldMk cId="1680199837" sldId="2076138123"/>
            <ac:spMk id="9" creationId="{77211E8D-58BD-41A6-9F16-B9A01687D58D}"/>
          </ac:spMkLst>
        </pc:spChg>
        <pc:spChg chg="del mod">
          <ac:chgData name="Kawtar SADIQ" userId="65df04e4-2d23-4bab-afb0-40df8a2c1b9f" providerId="ADAL" clId="{13E48CF6-3C07-4AA7-848A-1E964CBB0D3A}" dt="2022-11-29T20:59:18.589" v="13418" actId="478"/>
          <ac:spMkLst>
            <pc:docMk/>
            <pc:sldMk cId="1680199837" sldId="2076138123"/>
            <ac:spMk id="10" creationId="{4A78AF75-ED30-44EE-B8D5-D2B7AD6294A7}"/>
          </ac:spMkLst>
        </pc:spChg>
        <pc:spChg chg="del">
          <ac:chgData name="Kawtar SADIQ" userId="65df04e4-2d23-4bab-afb0-40df8a2c1b9f" providerId="ADAL" clId="{13E48CF6-3C07-4AA7-848A-1E964CBB0D3A}" dt="2022-11-29T20:59:19.849" v="13419" actId="478"/>
          <ac:spMkLst>
            <pc:docMk/>
            <pc:sldMk cId="1680199837" sldId="2076138123"/>
            <ac:spMk id="11" creationId="{A6405F25-8463-4743-BFCD-041BC9C6B175}"/>
          </ac:spMkLst>
        </pc:spChg>
        <pc:spChg chg="mod">
          <ac:chgData name="Kawtar SADIQ" userId="65df04e4-2d23-4bab-afb0-40df8a2c1b9f" providerId="ADAL" clId="{13E48CF6-3C07-4AA7-848A-1E964CBB0D3A}" dt="2022-11-29T21:02:08.446" v="13460"/>
          <ac:spMkLst>
            <pc:docMk/>
            <pc:sldMk cId="1680199837" sldId="2076138123"/>
            <ac:spMk id="12" creationId="{186599DA-E58F-4091-8823-72D7CE9841DA}"/>
          </ac:spMkLst>
        </pc:spChg>
        <pc:spChg chg="add del mod">
          <ac:chgData name="Kawtar SADIQ" userId="65df04e4-2d23-4bab-afb0-40df8a2c1b9f" providerId="ADAL" clId="{13E48CF6-3C07-4AA7-848A-1E964CBB0D3A}" dt="2022-11-29T11:32:55.227" v="8606" actId="478"/>
          <ac:spMkLst>
            <pc:docMk/>
            <pc:sldMk cId="1680199837" sldId="2076138123"/>
            <ac:spMk id="13" creationId="{21B980F4-DC7F-4664-8B62-B24C23ACAD02}"/>
          </ac:spMkLst>
        </pc:spChg>
        <pc:spChg chg="del mod">
          <ac:chgData name="Kawtar SADIQ" userId="65df04e4-2d23-4bab-afb0-40df8a2c1b9f" providerId="ADAL" clId="{13E48CF6-3C07-4AA7-848A-1E964CBB0D3A}" dt="2022-11-29T21:00:01.939" v="13429" actId="478"/>
          <ac:spMkLst>
            <pc:docMk/>
            <pc:sldMk cId="1680199837" sldId="2076138123"/>
            <ac:spMk id="14" creationId="{F6EEEB5A-24F4-42ED-9247-3F40764A4C55}"/>
          </ac:spMkLst>
        </pc:spChg>
        <pc:spChg chg="mod ord">
          <ac:chgData name="Kawtar SADIQ" userId="65df04e4-2d23-4bab-afb0-40df8a2c1b9f" providerId="ADAL" clId="{13E48CF6-3C07-4AA7-848A-1E964CBB0D3A}" dt="2022-12-01T08:50:48.639" v="25182" actId="20577"/>
          <ac:spMkLst>
            <pc:docMk/>
            <pc:sldMk cId="1680199837" sldId="2076138123"/>
            <ac:spMk id="15" creationId="{90831BED-B3A5-4AEF-98EB-CE9FD2902A50}"/>
          </ac:spMkLst>
        </pc:spChg>
        <pc:spChg chg="add mod">
          <ac:chgData name="Kawtar SADIQ" userId="65df04e4-2d23-4bab-afb0-40df8a2c1b9f" providerId="ADAL" clId="{13E48CF6-3C07-4AA7-848A-1E964CBB0D3A}" dt="2022-11-29T11:32:57.537" v="8607" actId="1076"/>
          <ac:spMkLst>
            <pc:docMk/>
            <pc:sldMk cId="1680199837" sldId="2076138123"/>
            <ac:spMk id="16" creationId="{F4338F2A-4C98-4F9A-A747-6329BC381ACD}"/>
          </ac:spMkLst>
        </pc:spChg>
        <pc:spChg chg="del mod ord">
          <ac:chgData name="Kawtar SADIQ" userId="65df04e4-2d23-4bab-afb0-40df8a2c1b9f" providerId="ADAL" clId="{13E48CF6-3C07-4AA7-848A-1E964CBB0D3A}" dt="2022-11-29T21:00:01.939" v="13429" actId="478"/>
          <ac:spMkLst>
            <pc:docMk/>
            <pc:sldMk cId="1680199837" sldId="2076138123"/>
            <ac:spMk id="17" creationId="{B164E038-E4A6-4A59-9534-E7F3B3FBAB10}"/>
          </ac:spMkLst>
        </pc:spChg>
        <pc:spChg chg="add del">
          <ac:chgData name="Kawtar SADIQ" userId="65df04e4-2d23-4bab-afb0-40df8a2c1b9f" providerId="ADAL" clId="{13E48CF6-3C07-4AA7-848A-1E964CBB0D3A}" dt="2022-11-29T20:59:24.699" v="13421" actId="22"/>
          <ac:spMkLst>
            <pc:docMk/>
            <pc:sldMk cId="1680199837" sldId="2076138123"/>
            <ac:spMk id="18" creationId="{B7ACB5E5-1CA9-4306-A762-43FB7C666FD6}"/>
          </ac:spMkLst>
        </pc:spChg>
        <pc:spChg chg="add del mod">
          <ac:chgData name="Kawtar SADIQ" userId="65df04e4-2d23-4bab-afb0-40df8a2c1b9f" providerId="ADAL" clId="{13E48CF6-3C07-4AA7-848A-1E964CBB0D3A}" dt="2022-11-29T20:59:39.699" v="13425" actId="478"/>
          <ac:spMkLst>
            <pc:docMk/>
            <pc:sldMk cId="1680199837" sldId="2076138123"/>
            <ac:spMk id="19" creationId="{0206EFEC-E0FE-4075-ACA2-33401E0164B2}"/>
          </ac:spMkLst>
        </pc:spChg>
        <pc:spChg chg="add del mod">
          <ac:chgData name="Kawtar SADIQ" userId="65df04e4-2d23-4bab-afb0-40df8a2c1b9f" providerId="ADAL" clId="{13E48CF6-3C07-4AA7-848A-1E964CBB0D3A}" dt="2022-11-29T20:59:39.699" v="13425" actId="478"/>
          <ac:spMkLst>
            <pc:docMk/>
            <pc:sldMk cId="1680199837" sldId="2076138123"/>
            <ac:spMk id="20" creationId="{14D7B12D-A088-4EAB-BBB5-797BE07F1E71}"/>
          </ac:spMkLst>
        </pc:spChg>
        <pc:spChg chg="add mod">
          <ac:chgData name="Kawtar SADIQ" userId="65df04e4-2d23-4bab-afb0-40df8a2c1b9f" providerId="ADAL" clId="{13E48CF6-3C07-4AA7-848A-1E964CBB0D3A}" dt="2022-12-01T11:41:22.683" v="26192" actId="2711"/>
          <ac:spMkLst>
            <pc:docMk/>
            <pc:sldMk cId="1680199837" sldId="2076138123"/>
            <ac:spMk id="21" creationId="{DB584256-F3CD-4F9E-A0B2-B9B787A54C4E}"/>
          </ac:spMkLst>
        </pc:spChg>
        <pc:spChg chg="add mod">
          <ac:chgData name="Kawtar SADIQ" userId="65df04e4-2d23-4bab-afb0-40df8a2c1b9f" providerId="ADAL" clId="{13E48CF6-3C07-4AA7-848A-1E964CBB0D3A}" dt="2022-11-29T21:02:00.459" v="13458" actId="404"/>
          <ac:spMkLst>
            <pc:docMk/>
            <pc:sldMk cId="1680199837" sldId="2076138123"/>
            <ac:spMk id="22" creationId="{6040814F-52C7-4FF2-9806-C1D950174972}"/>
          </ac:spMkLst>
        </pc:spChg>
        <pc:spChg chg="add mod">
          <ac:chgData name="Kawtar SADIQ" userId="65df04e4-2d23-4bab-afb0-40df8a2c1b9f" providerId="ADAL" clId="{13E48CF6-3C07-4AA7-848A-1E964CBB0D3A}" dt="2022-12-01T08:50:52.589" v="25184" actId="20577"/>
          <ac:spMkLst>
            <pc:docMk/>
            <pc:sldMk cId="1680199837" sldId="2076138123"/>
            <ac:spMk id="23" creationId="{899D5790-653F-4DAC-AB38-B4B95F678585}"/>
          </ac:spMkLst>
        </pc:spChg>
        <pc:spChg chg="add mod">
          <ac:chgData name="Kawtar SADIQ" userId="65df04e4-2d23-4bab-afb0-40df8a2c1b9f" providerId="ADAL" clId="{13E48CF6-3C07-4AA7-848A-1E964CBB0D3A}" dt="2022-11-29T21:02:39.519" v="13464" actId="404"/>
          <ac:spMkLst>
            <pc:docMk/>
            <pc:sldMk cId="1680199837" sldId="2076138123"/>
            <ac:spMk id="24" creationId="{1722C9F2-9269-4CE6-8B73-D990B366331C}"/>
          </ac:spMkLst>
        </pc:spChg>
      </pc:sldChg>
      <pc:sldChg chg="addSp delSp modSp del mod">
        <pc:chgData name="Kawtar SADIQ" userId="65df04e4-2d23-4bab-afb0-40df8a2c1b9f" providerId="ADAL" clId="{13E48CF6-3C07-4AA7-848A-1E964CBB0D3A}" dt="2022-12-01T16:25:01.670" v="27891" actId="47"/>
        <pc:sldMkLst>
          <pc:docMk/>
          <pc:sldMk cId="416665568" sldId="2076138132"/>
        </pc:sldMkLst>
        <pc:spChg chg="mod">
          <ac:chgData name="Kawtar SADIQ" userId="65df04e4-2d23-4bab-afb0-40df8a2c1b9f" providerId="ADAL" clId="{13E48CF6-3C07-4AA7-848A-1E964CBB0D3A}" dt="2022-11-29T10:27:58.675" v="7667" actId="20577"/>
          <ac:spMkLst>
            <pc:docMk/>
            <pc:sldMk cId="416665568" sldId="2076138132"/>
            <ac:spMk id="10" creationId="{9E9F1D0F-FFE6-4EFD-BD62-6797A5D4A6BB}"/>
          </ac:spMkLst>
        </pc:spChg>
        <pc:spChg chg="del">
          <ac:chgData name="Kawtar SADIQ" userId="65df04e4-2d23-4bab-afb0-40df8a2c1b9f" providerId="ADAL" clId="{13E48CF6-3C07-4AA7-848A-1E964CBB0D3A}" dt="2022-11-29T10:25:31.235" v="7610" actId="478"/>
          <ac:spMkLst>
            <pc:docMk/>
            <pc:sldMk cId="416665568" sldId="2076138132"/>
            <ac:spMk id="18" creationId="{599089C0-D104-484E-B247-53F61BA7A51F}"/>
          </ac:spMkLst>
        </pc:spChg>
        <pc:spChg chg="mod">
          <ac:chgData name="Kawtar SADIQ" userId="65df04e4-2d23-4bab-afb0-40df8a2c1b9f" providerId="ADAL" clId="{13E48CF6-3C07-4AA7-848A-1E964CBB0D3A}" dt="2022-11-29T10:21:16.422" v="7574"/>
          <ac:spMkLst>
            <pc:docMk/>
            <pc:sldMk cId="416665568" sldId="2076138132"/>
            <ac:spMk id="21" creationId="{8F92F115-5DA0-4483-A603-FED093C879AF}"/>
          </ac:spMkLst>
        </pc:spChg>
        <pc:spChg chg="mod">
          <ac:chgData name="Kawtar SADIQ" userId="65df04e4-2d23-4bab-afb0-40df8a2c1b9f" providerId="ADAL" clId="{13E48CF6-3C07-4AA7-848A-1E964CBB0D3A}" dt="2022-11-29T10:21:16.422" v="7574"/>
          <ac:spMkLst>
            <pc:docMk/>
            <pc:sldMk cId="416665568" sldId="2076138132"/>
            <ac:spMk id="22" creationId="{0C81A7F6-4182-4A0A-BA55-DE7EA2542CA6}"/>
          </ac:spMkLst>
        </pc:spChg>
        <pc:spChg chg="mod">
          <ac:chgData name="Kawtar SADIQ" userId="65df04e4-2d23-4bab-afb0-40df8a2c1b9f" providerId="ADAL" clId="{13E48CF6-3C07-4AA7-848A-1E964CBB0D3A}" dt="2022-11-29T10:21:16.422" v="7574"/>
          <ac:spMkLst>
            <pc:docMk/>
            <pc:sldMk cId="416665568" sldId="2076138132"/>
            <ac:spMk id="23" creationId="{59313FED-9578-4BA9-A770-3A809716A89A}"/>
          </ac:spMkLst>
        </pc:spChg>
        <pc:spChg chg="mod">
          <ac:chgData name="Kawtar SADIQ" userId="65df04e4-2d23-4bab-afb0-40df8a2c1b9f" providerId="ADAL" clId="{13E48CF6-3C07-4AA7-848A-1E964CBB0D3A}" dt="2022-11-29T10:21:16.422" v="7574"/>
          <ac:spMkLst>
            <pc:docMk/>
            <pc:sldMk cId="416665568" sldId="2076138132"/>
            <ac:spMk id="24" creationId="{6E7BDB37-423D-426D-BA73-438DB8794ECC}"/>
          </ac:spMkLst>
        </pc:spChg>
        <pc:spChg chg="mod">
          <ac:chgData name="Kawtar SADIQ" userId="65df04e4-2d23-4bab-afb0-40df8a2c1b9f" providerId="ADAL" clId="{13E48CF6-3C07-4AA7-848A-1E964CBB0D3A}" dt="2022-11-30T08:39:54.029" v="15023" actId="20577"/>
          <ac:spMkLst>
            <pc:docMk/>
            <pc:sldMk cId="416665568" sldId="2076138132"/>
            <ac:spMk id="25" creationId="{1877E131-5548-4D0F-AEB5-B8C977CD4B72}"/>
          </ac:spMkLst>
        </pc:spChg>
        <pc:spChg chg="mod">
          <ac:chgData name="Kawtar SADIQ" userId="65df04e4-2d23-4bab-afb0-40df8a2c1b9f" providerId="ADAL" clId="{13E48CF6-3C07-4AA7-848A-1E964CBB0D3A}" dt="2022-11-29T10:21:16.422" v="7574"/>
          <ac:spMkLst>
            <pc:docMk/>
            <pc:sldMk cId="416665568" sldId="2076138132"/>
            <ac:spMk id="26" creationId="{CA084278-D733-4D99-972C-C4598FECEA7D}"/>
          </ac:spMkLst>
        </pc:spChg>
        <pc:spChg chg="mod">
          <ac:chgData name="Kawtar SADIQ" userId="65df04e4-2d23-4bab-afb0-40df8a2c1b9f" providerId="ADAL" clId="{13E48CF6-3C07-4AA7-848A-1E964CBB0D3A}" dt="2022-11-29T10:23:27.283" v="7600"/>
          <ac:spMkLst>
            <pc:docMk/>
            <pc:sldMk cId="416665568" sldId="2076138132"/>
            <ac:spMk id="27" creationId="{509C34D2-63A8-446A-A7AE-262FA12A6A85}"/>
          </ac:spMkLst>
        </pc:spChg>
        <pc:spChg chg="mod">
          <ac:chgData name="Kawtar SADIQ" userId="65df04e4-2d23-4bab-afb0-40df8a2c1b9f" providerId="ADAL" clId="{13E48CF6-3C07-4AA7-848A-1E964CBB0D3A}" dt="2022-11-29T10:22:04.122" v="7584"/>
          <ac:spMkLst>
            <pc:docMk/>
            <pc:sldMk cId="416665568" sldId="2076138132"/>
            <ac:spMk id="29" creationId="{02954EDC-7E54-41A4-981F-EB4D46317EB1}"/>
          </ac:spMkLst>
        </pc:spChg>
        <pc:spChg chg="mod">
          <ac:chgData name="Kawtar SADIQ" userId="65df04e4-2d23-4bab-afb0-40df8a2c1b9f" providerId="ADAL" clId="{13E48CF6-3C07-4AA7-848A-1E964CBB0D3A}" dt="2022-11-29T10:22:04.122" v="7584"/>
          <ac:spMkLst>
            <pc:docMk/>
            <pc:sldMk cId="416665568" sldId="2076138132"/>
            <ac:spMk id="30" creationId="{8E4249D3-D5E0-418F-B129-F1F0690249CA}"/>
          </ac:spMkLst>
        </pc:spChg>
        <pc:spChg chg="mod">
          <ac:chgData name="Kawtar SADIQ" userId="65df04e4-2d23-4bab-afb0-40df8a2c1b9f" providerId="ADAL" clId="{13E48CF6-3C07-4AA7-848A-1E964CBB0D3A}" dt="2022-11-29T10:22:04.122" v="7584"/>
          <ac:spMkLst>
            <pc:docMk/>
            <pc:sldMk cId="416665568" sldId="2076138132"/>
            <ac:spMk id="31" creationId="{179EFC4E-D04E-46E8-BC8A-EC253B87747D}"/>
          </ac:spMkLst>
        </pc:spChg>
        <pc:spChg chg="mod">
          <ac:chgData name="Kawtar SADIQ" userId="65df04e4-2d23-4bab-afb0-40df8a2c1b9f" providerId="ADAL" clId="{13E48CF6-3C07-4AA7-848A-1E964CBB0D3A}" dt="2022-11-29T10:22:04.122" v="7584"/>
          <ac:spMkLst>
            <pc:docMk/>
            <pc:sldMk cId="416665568" sldId="2076138132"/>
            <ac:spMk id="32" creationId="{FCE80195-672D-488C-B90E-FDCA93CFD481}"/>
          </ac:spMkLst>
        </pc:spChg>
        <pc:spChg chg="mod">
          <ac:chgData name="Kawtar SADIQ" userId="65df04e4-2d23-4bab-afb0-40df8a2c1b9f" providerId="ADAL" clId="{13E48CF6-3C07-4AA7-848A-1E964CBB0D3A}" dt="2022-11-29T10:22:04.122" v="7584"/>
          <ac:spMkLst>
            <pc:docMk/>
            <pc:sldMk cId="416665568" sldId="2076138132"/>
            <ac:spMk id="33" creationId="{F4CC4832-5D04-4EC6-BB61-6BC4A63724ED}"/>
          </ac:spMkLst>
        </pc:spChg>
        <pc:spChg chg="mod">
          <ac:chgData name="Kawtar SADIQ" userId="65df04e4-2d23-4bab-afb0-40df8a2c1b9f" providerId="ADAL" clId="{13E48CF6-3C07-4AA7-848A-1E964CBB0D3A}" dt="2022-11-29T10:22:04.122" v="7584"/>
          <ac:spMkLst>
            <pc:docMk/>
            <pc:sldMk cId="416665568" sldId="2076138132"/>
            <ac:spMk id="34" creationId="{11AA90A2-3E17-4618-AD26-4CCAA1BD1527}"/>
          </ac:spMkLst>
        </pc:spChg>
        <pc:spChg chg="mod">
          <ac:chgData name="Kawtar SADIQ" userId="65df04e4-2d23-4bab-afb0-40df8a2c1b9f" providerId="ADAL" clId="{13E48CF6-3C07-4AA7-848A-1E964CBB0D3A}" dt="2022-11-29T10:22:04.122" v="7584"/>
          <ac:spMkLst>
            <pc:docMk/>
            <pc:sldMk cId="416665568" sldId="2076138132"/>
            <ac:spMk id="35" creationId="{8E5E740F-1AAA-4D30-B8A7-C4790896D0F0}"/>
          </ac:spMkLst>
        </pc:spChg>
        <pc:grpChg chg="mod">
          <ac:chgData name="Kawtar SADIQ" userId="65df04e4-2d23-4bab-afb0-40df8a2c1b9f" providerId="ADAL" clId="{13E48CF6-3C07-4AA7-848A-1E964CBB0D3A}" dt="2022-11-29T10:28:03.731" v="7673" actId="1035"/>
          <ac:grpSpMkLst>
            <pc:docMk/>
            <pc:sldMk cId="416665568" sldId="2076138132"/>
            <ac:grpSpMk id="11" creationId="{D60CA4FD-7780-E846-BFAA-BDB45E9AAC55}"/>
          </ac:grpSpMkLst>
        </pc:grpChg>
        <pc:grpChg chg="add mod">
          <ac:chgData name="Kawtar SADIQ" userId="65df04e4-2d23-4bab-afb0-40df8a2c1b9f" providerId="ADAL" clId="{13E48CF6-3C07-4AA7-848A-1E964CBB0D3A}" dt="2022-11-29T10:28:03.731" v="7673" actId="1035"/>
          <ac:grpSpMkLst>
            <pc:docMk/>
            <pc:sldMk cId="416665568" sldId="2076138132"/>
            <ac:grpSpMk id="20" creationId="{9068E1A1-E8B0-449C-B455-934E8DEF2A71}"/>
          </ac:grpSpMkLst>
        </pc:grpChg>
        <pc:grpChg chg="add del mod">
          <ac:chgData name="Kawtar SADIQ" userId="65df04e4-2d23-4bab-afb0-40df8a2c1b9f" providerId="ADAL" clId="{13E48CF6-3C07-4AA7-848A-1E964CBB0D3A}" dt="2022-11-29T10:22:06.092" v="7585"/>
          <ac:grpSpMkLst>
            <pc:docMk/>
            <pc:sldMk cId="416665568" sldId="2076138132"/>
            <ac:grpSpMk id="28" creationId="{F81C9031-0EDE-459E-A4B1-DE5C7A7D1BF0}"/>
          </ac:grpSpMkLst>
        </pc:grpChg>
      </pc:sldChg>
      <pc:sldChg chg="del">
        <pc:chgData name="Kawtar SADIQ" userId="65df04e4-2d23-4bab-afb0-40df8a2c1b9f" providerId="ADAL" clId="{13E48CF6-3C07-4AA7-848A-1E964CBB0D3A}" dt="2022-11-28T14:10:43.842" v="3341" actId="47"/>
        <pc:sldMkLst>
          <pc:docMk/>
          <pc:sldMk cId="3726325778" sldId="2076138141"/>
        </pc:sldMkLst>
      </pc:sldChg>
      <pc:sldChg chg="del">
        <pc:chgData name="Kawtar SADIQ" userId="65df04e4-2d23-4bab-afb0-40df8a2c1b9f" providerId="ADAL" clId="{13E48CF6-3C07-4AA7-848A-1E964CBB0D3A}" dt="2022-11-28T14:10:17.626" v="3340" actId="47"/>
        <pc:sldMkLst>
          <pc:docMk/>
          <pc:sldMk cId="2121546234" sldId="2076138143"/>
        </pc:sldMkLst>
      </pc:sldChg>
      <pc:sldChg chg="del">
        <pc:chgData name="Kawtar SADIQ" userId="65df04e4-2d23-4bab-afb0-40df8a2c1b9f" providerId="ADAL" clId="{13E48CF6-3C07-4AA7-848A-1E964CBB0D3A}" dt="2022-11-28T13:45:34.613" v="2822" actId="47"/>
        <pc:sldMkLst>
          <pc:docMk/>
          <pc:sldMk cId="3983689853" sldId="2076138149"/>
        </pc:sldMkLst>
      </pc:sldChg>
      <pc:sldChg chg="addSp delSp modSp del mod">
        <pc:chgData name="Kawtar SADIQ" userId="65df04e4-2d23-4bab-afb0-40df8a2c1b9f" providerId="ADAL" clId="{13E48CF6-3C07-4AA7-848A-1E964CBB0D3A}" dt="2022-11-30T17:04:37.805" v="21354" actId="47"/>
        <pc:sldMkLst>
          <pc:docMk/>
          <pc:sldMk cId="2794147504" sldId="2076138150"/>
        </pc:sldMkLst>
        <pc:spChg chg="del mod">
          <ac:chgData name="Kawtar SADIQ" userId="65df04e4-2d23-4bab-afb0-40df8a2c1b9f" providerId="ADAL" clId="{13E48CF6-3C07-4AA7-848A-1E964CBB0D3A}" dt="2022-11-29T11:15:52.413" v="8089" actId="478"/>
          <ac:spMkLst>
            <pc:docMk/>
            <pc:sldMk cId="2794147504" sldId="2076138150"/>
            <ac:spMk id="4" creationId="{2021E69A-ED9B-4852-8F3D-EFE5510DCDD9}"/>
          </ac:spMkLst>
        </pc:spChg>
        <pc:spChg chg="add del mod">
          <ac:chgData name="Kawtar SADIQ" userId="65df04e4-2d23-4bab-afb0-40df8a2c1b9f" providerId="ADAL" clId="{13E48CF6-3C07-4AA7-848A-1E964CBB0D3A}" dt="2022-11-29T11:27:48.864" v="8436" actId="478"/>
          <ac:spMkLst>
            <pc:docMk/>
            <pc:sldMk cId="2794147504" sldId="2076138150"/>
            <ac:spMk id="5" creationId="{A37B28B0-2CD6-4A6E-ABDB-3E9D866C5261}"/>
          </ac:spMkLst>
        </pc:spChg>
        <pc:spChg chg="add mod">
          <ac:chgData name="Kawtar SADIQ" userId="65df04e4-2d23-4bab-afb0-40df8a2c1b9f" providerId="ADAL" clId="{13E48CF6-3C07-4AA7-848A-1E964CBB0D3A}" dt="2022-11-30T15:03:10.733" v="20480" actId="20577"/>
          <ac:spMkLst>
            <pc:docMk/>
            <pc:sldMk cId="2794147504" sldId="2076138150"/>
            <ac:spMk id="7" creationId="{6BF64E1D-11C5-4098-BA93-7623CEFD8126}"/>
          </ac:spMkLst>
        </pc:spChg>
        <pc:picChg chg="del">
          <ac:chgData name="Kawtar SADIQ" userId="65df04e4-2d23-4bab-afb0-40df8a2c1b9f" providerId="ADAL" clId="{13E48CF6-3C07-4AA7-848A-1E964CBB0D3A}" dt="2022-11-29T11:15:53.612" v="8090" actId="478"/>
          <ac:picMkLst>
            <pc:docMk/>
            <pc:sldMk cId="2794147504" sldId="2076138150"/>
            <ac:picMk id="6" creationId="{49D284AB-AAA3-43BE-A4D8-9C546C72C3ED}"/>
          </ac:picMkLst>
        </pc:picChg>
      </pc:sldChg>
      <pc:sldChg chg="del">
        <pc:chgData name="Kawtar SADIQ" userId="65df04e4-2d23-4bab-afb0-40df8a2c1b9f" providerId="ADAL" clId="{13E48CF6-3C07-4AA7-848A-1E964CBB0D3A}" dt="2022-11-28T13:46:18.533" v="2826" actId="47"/>
        <pc:sldMkLst>
          <pc:docMk/>
          <pc:sldMk cId="597395649" sldId="2076138151"/>
        </pc:sldMkLst>
      </pc:sldChg>
      <pc:sldChg chg="del">
        <pc:chgData name="Kawtar SADIQ" userId="65df04e4-2d23-4bab-afb0-40df8a2c1b9f" providerId="ADAL" clId="{13E48CF6-3C07-4AA7-848A-1E964CBB0D3A}" dt="2022-11-28T13:17:36.149" v="2284" actId="47"/>
        <pc:sldMkLst>
          <pc:docMk/>
          <pc:sldMk cId="116082956" sldId="2076138153"/>
        </pc:sldMkLst>
      </pc:sldChg>
      <pc:sldChg chg="del">
        <pc:chgData name="Kawtar SADIQ" userId="65df04e4-2d23-4bab-afb0-40df8a2c1b9f" providerId="ADAL" clId="{13E48CF6-3C07-4AA7-848A-1E964CBB0D3A}" dt="2022-11-28T13:17:41.099" v="2286" actId="47"/>
        <pc:sldMkLst>
          <pc:docMk/>
          <pc:sldMk cId="645111974" sldId="2076138154"/>
        </pc:sldMkLst>
      </pc:sldChg>
      <pc:sldChg chg="del">
        <pc:chgData name="Kawtar SADIQ" userId="65df04e4-2d23-4bab-afb0-40df8a2c1b9f" providerId="ADAL" clId="{13E48CF6-3C07-4AA7-848A-1E964CBB0D3A}" dt="2022-11-29T11:25:19.019" v="8428" actId="47"/>
        <pc:sldMkLst>
          <pc:docMk/>
          <pc:sldMk cId="196949031" sldId="2076138157"/>
        </pc:sldMkLst>
      </pc:sldChg>
      <pc:sldChg chg="del">
        <pc:chgData name="Kawtar SADIQ" userId="65df04e4-2d23-4bab-afb0-40df8a2c1b9f" providerId="ADAL" clId="{13E48CF6-3C07-4AA7-848A-1E964CBB0D3A}" dt="2022-11-28T13:45:31.570" v="2821" actId="47"/>
        <pc:sldMkLst>
          <pc:docMk/>
          <pc:sldMk cId="1787304541" sldId="2076138160"/>
        </pc:sldMkLst>
      </pc:sldChg>
      <pc:sldChg chg="addSp delSp modSp del mod ord">
        <pc:chgData name="Kawtar SADIQ" userId="65df04e4-2d23-4bab-afb0-40df8a2c1b9f" providerId="ADAL" clId="{13E48CF6-3C07-4AA7-848A-1E964CBB0D3A}" dt="2022-11-29T20:48:28.111" v="13337" actId="47"/>
        <pc:sldMkLst>
          <pc:docMk/>
          <pc:sldMk cId="2099822551" sldId="2076138161"/>
        </pc:sldMkLst>
        <pc:spChg chg="add del">
          <ac:chgData name="Kawtar SADIQ" userId="65df04e4-2d23-4bab-afb0-40df8a2c1b9f" providerId="ADAL" clId="{13E48CF6-3C07-4AA7-848A-1E964CBB0D3A}" dt="2022-11-29T17:50:42.511" v="9352" actId="11529"/>
          <ac:spMkLst>
            <pc:docMk/>
            <pc:sldMk cId="2099822551" sldId="2076138161"/>
            <ac:spMk id="2" creationId="{FCE90CEA-C567-47B1-9CCC-2BC661658584}"/>
          </ac:spMkLst>
        </pc:spChg>
        <pc:spChg chg="mod">
          <ac:chgData name="Kawtar SADIQ" userId="65df04e4-2d23-4bab-afb0-40df8a2c1b9f" providerId="ADAL" clId="{13E48CF6-3C07-4AA7-848A-1E964CBB0D3A}" dt="2022-11-29T17:49:02.708" v="9275" actId="20577"/>
          <ac:spMkLst>
            <pc:docMk/>
            <pc:sldMk cId="2099822551" sldId="2076138161"/>
            <ac:spMk id="3" creationId="{1FB83B6C-507C-4A1E-95E1-F9E58ED5A359}"/>
          </ac:spMkLst>
        </pc:spChg>
        <pc:spChg chg="add mod">
          <ac:chgData name="Kawtar SADIQ" userId="65df04e4-2d23-4bab-afb0-40df8a2c1b9f" providerId="ADAL" clId="{13E48CF6-3C07-4AA7-848A-1E964CBB0D3A}" dt="2022-11-29T18:04:08.710" v="9750" actId="20577"/>
          <ac:spMkLst>
            <pc:docMk/>
            <pc:sldMk cId="2099822551" sldId="2076138161"/>
            <ac:spMk id="4" creationId="{5555C75D-3DA2-4CE2-BFCE-E4F4640F3BDC}"/>
          </ac:spMkLst>
        </pc:spChg>
        <pc:spChg chg="mod">
          <ac:chgData name="Kawtar SADIQ" userId="65df04e4-2d23-4bab-afb0-40df8a2c1b9f" providerId="ADAL" clId="{13E48CF6-3C07-4AA7-848A-1E964CBB0D3A}" dt="2022-11-29T17:49:19.363" v="9311" actId="1036"/>
          <ac:spMkLst>
            <pc:docMk/>
            <pc:sldMk cId="2099822551" sldId="2076138161"/>
            <ac:spMk id="13" creationId="{20298101-E2CC-4C71-ADAC-80DE24F521C2}"/>
          </ac:spMkLst>
        </pc:spChg>
        <pc:spChg chg="mod">
          <ac:chgData name="Kawtar SADIQ" userId="65df04e4-2d23-4bab-afb0-40df8a2c1b9f" providerId="ADAL" clId="{13E48CF6-3C07-4AA7-848A-1E964CBB0D3A}" dt="2022-11-29T17:49:19.363" v="9311" actId="1036"/>
          <ac:spMkLst>
            <pc:docMk/>
            <pc:sldMk cId="2099822551" sldId="2076138161"/>
            <ac:spMk id="16" creationId="{3B475548-B6E5-4B8E-A088-726BCE80ED93}"/>
          </ac:spMkLst>
        </pc:spChg>
        <pc:spChg chg="add del mod">
          <ac:chgData name="Kawtar SADIQ" userId="65df04e4-2d23-4bab-afb0-40df8a2c1b9f" providerId="ADAL" clId="{13E48CF6-3C07-4AA7-848A-1E964CBB0D3A}" dt="2022-11-29T17:50:27.672" v="9350" actId="478"/>
          <ac:spMkLst>
            <pc:docMk/>
            <pc:sldMk cId="2099822551" sldId="2076138161"/>
            <ac:spMk id="29" creationId="{1DEA1A11-D087-4A7C-A71A-89E488E833C5}"/>
          </ac:spMkLst>
        </pc:spChg>
        <pc:spChg chg="del mod">
          <ac:chgData name="Kawtar SADIQ" userId="65df04e4-2d23-4bab-afb0-40df8a2c1b9f" providerId="ADAL" clId="{13E48CF6-3C07-4AA7-848A-1E964CBB0D3A}" dt="2022-11-28T17:22:31.263" v="4211" actId="478"/>
          <ac:spMkLst>
            <pc:docMk/>
            <pc:sldMk cId="2099822551" sldId="2076138161"/>
            <ac:spMk id="29" creationId="{47B3D52B-A584-4CC4-A8CD-BDD93FC4EC69}"/>
          </ac:spMkLst>
        </pc:spChg>
        <pc:spChg chg="mod">
          <ac:chgData name="Kawtar SADIQ" userId="65df04e4-2d23-4bab-afb0-40df8a2c1b9f" providerId="ADAL" clId="{13E48CF6-3C07-4AA7-848A-1E964CBB0D3A}" dt="2022-11-29T17:49:09.057" v="9277" actId="1076"/>
          <ac:spMkLst>
            <pc:docMk/>
            <pc:sldMk cId="2099822551" sldId="2076138161"/>
            <ac:spMk id="30" creationId="{C1D8A24D-B958-42A8-8DF2-BD39E7D52925}"/>
          </ac:spMkLst>
        </pc:spChg>
        <pc:spChg chg="add mod">
          <ac:chgData name="Kawtar SADIQ" userId="65df04e4-2d23-4bab-afb0-40df8a2c1b9f" providerId="ADAL" clId="{13E48CF6-3C07-4AA7-848A-1E964CBB0D3A}" dt="2022-11-28T17:22:28.953" v="4209"/>
          <ac:spMkLst>
            <pc:docMk/>
            <pc:sldMk cId="2099822551" sldId="2076138161"/>
            <ac:spMk id="31" creationId="{27FCE564-B589-425D-A69F-65110CEB2F05}"/>
          </ac:spMkLst>
        </pc:spChg>
        <pc:spChg chg="add del mod">
          <ac:chgData name="Kawtar SADIQ" userId="65df04e4-2d23-4bab-afb0-40df8a2c1b9f" providerId="ADAL" clId="{13E48CF6-3C07-4AA7-848A-1E964CBB0D3A}" dt="2022-11-29T18:04:18.654" v="9751" actId="478"/>
          <ac:spMkLst>
            <pc:docMk/>
            <pc:sldMk cId="2099822551" sldId="2076138161"/>
            <ac:spMk id="32" creationId="{0A50C9EF-5A02-4B50-B69E-89C3B85E4611}"/>
          </ac:spMkLst>
        </pc:spChg>
        <pc:spChg chg="add mod">
          <ac:chgData name="Kawtar SADIQ" userId="65df04e4-2d23-4bab-afb0-40df8a2c1b9f" providerId="ADAL" clId="{13E48CF6-3C07-4AA7-848A-1E964CBB0D3A}" dt="2022-11-29T18:01:41.309" v="9602" actId="1036"/>
          <ac:spMkLst>
            <pc:docMk/>
            <pc:sldMk cId="2099822551" sldId="2076138161"/>
            <ac:spMk id="33" creationId="{4103B084-6B3A-454C-97B7-613B2648F2AC}"/>
          </ac:spMkLst>
        </pc:spChg>
        <pc:spChg chg="add mod">
          <ac:chgData name="Kawtar SADIQ" userId="65df04e4-2d23-4bab-afb0-40df8a2c1b9f" providerId="ADAL" clId="{13E48CF6-3C07-4AA7-848A-1E964CBB0D3A}" dt="2022-11-29T18:04:51.644" v="9752" actId="207"/>
          <ac:spMkLst>
            <pc:docMk/>
            <pc:sldMk cId="2099822551" sldId="2076138161"/>
            <ac:spMk id="34" creationId="{D073A106-F27C-4F51-8B2C-E1DAF0A2C9A3}"/>
          </ac:spMkLst>
        </pc:spChg>
        <pc:spChg chg="add mod">
          <ac:chgData name="Kawtar SADIQ" userId="65df04e4-2d23-4bab-afb0-40df8a2c1b9f" providerId="ADAL" clId="{13E48CF6-3C07-4AA7-848A-1E964CBB0D3A}" dt="2022-11-29T18:07:49.064" v="9856" actId="20577"/>
          <ac:spMkLst>
            <pc:docMk/>
            <pc:sldMk cId="2099822551" sldId="2076138161"/>
            <ac:spMk id="35" creationId="{BF363B79-4181-4A33-8AA6-C6FEB9CBA8B6}"/>
          </ac:spMkLst>
        </pc:spChg>
        <pc:spChg chg="add mod">
          <ac:chgData name="Kawtar SADIQ" userId="65df04e4-2d23-4bab-afb0-40df8a2c1b9f" providerId="ADAL" clId="{13E48CF6-3C07-4AA7-848A-1E964CBB0D3A}" dt="2022-11-29T18:05:31.607" v="9754"/>
          <ac:spMkLst>
            <pc:docMk/>
            <pc:sldMk cId="2099822551" sldId="2076138161"/>
            <ac:spMk id="36" creationId="{29662C7B-9A05-4A38-9B3F-311DC73967CD}"/>
          </ac:spMkLst>
        </pc:spChg>
        <pc:cxnChg chg="mod">
          <ac:chgData name="Kawtar SADIQ" userId="65df04e4-2d23-4bab-afb0-40df8a2c1b9f" providerId="ADAL" clId="{13E48CF6-3C07-4AA7-848A-1E964CBB0D3A}" dt="2022-11-29T17:49:19.363" v="9311" actId="1036"/>
          <ac:cxnSpMkLst>
            <pc:docMk/>
            <pc:sldMk cId="2099822551" sldId="2076138161"/>
            <ac:cxnSpMk id="12" creationId="{F6FF444D-207C-4511-8CDE-F27B750593AD}"/>
          </ac:cxnSpMkLst>
        </pc:cxnChg>
        <pc:cxnChg chg="mod">
          <ac:chgData name="Kawtar SADIQ" userId="65df04e4-2d23-4bab-afb0-40df8a2c1b9f" providerId="ADAL" clId="{13E48CF6-3C07-4AA7-848A-1E964CBB0D3A}" dt="2022-11-29T17:49:19.363" v="9311" actId="1036"/>
          <ac:cxnSpMkLst>
            <pc:docMk/>
            <pc:sldMk cId="2099822551" sldId="2076138161"/>
            <ac:cxnSpMk id="28" creationId="{0A0CFE68-E586-4973-8295-89C00668DC6D}"/>
          </ac:cxnSpMkLst>
        </pc:cxnChg>
      </pc:sldChg>
      <pc:sldChg chg="del">
        <pc:chgData name="Kawtar SADIQ" userId="65df04e4-2d23-4bab-afb0-40df8a2c1b9f" providerId="ADAL" clId="{13E48CF6-3C07-4AA7-848A-1E964CBB0D3A}" dt="2022-11-28T13:17:37.803" v="2285" actId="47"/>
        <pc:sldMkLst>
          <pc:docMk/>
          <pc:sldMk cId="2167523922" sldId="2076138162"/>
        </pc:sldMkLst>
      </pc:sldChg>
      <pc:sldChg chg="del">
        <pc:chgData name="Kawtar SADIQ" userId="65df04e4-2d23-4bab-afb0-40df8a2c1b9f" providerId="ADAL" clId="{13E48CF6-3C07-4AA7-848A-1E964CBB0D3A}" dt="2022-11-28T13:17:41.919" v="2287" actId="47"/>
        <pc:sldMkLst>
          <pc:docMk/>
          <pc:sldMk cId="743146147" sldId="2076138163"/>
        </pc:sldMkLst>
      </pc:sldChg>
      <pc:sldChg chg="del">
        <pc:chgData name="Kawtar SADIQ" userId="65df04e4-2d23-4bab-afb0-40df8a2c1b9f" providerId="ADAL" clId="{13E48CF6-3C07-4AA7-848A-1E964CBB0D3A}" dt="2022-11-29T20:49:55.870" v="13355" actId="47"/>
        <pc:sldMkLst>
          <pc:docMk/>
          <pc:sldMk cId="1091694360" sldId="2076138169"/>
        </pc:sldMkLst>
      </pc:sldChg>
      <pc:sldChg chg="del">
        <pc:chgData name="Kawtar SADIQ" userId="65df04e4-2d23-4bab-afb0-40df8a2c1b9f" providerId="ADAL" clId="{13E48CF6-3C07-4AA7-848A-1E964CBB0D3A}" dt="2022-11-28T14:36:49.835" v="3472" actId="47"/>
        <pc:sldMkLst>
          <pc:docMk/>
          <pc:sldMk cId="1700674335" sldId="2076138170"/>
        </pc:sldMkLst>
      </pc:sldChg>
      <pc:sldChg chg="del">
        <pc:chgData name="Kawtar SADIQ" userId="65df04e4-2d23-4bab-afb0-40df8a2c1b9f" providerId="ADAL" clId="{13E48CF6-3C07-4AA7-848A-1E964CBB0D3A}" dt="2022-11-28T14:36:51.041" v="3473" actId="47"/>
        <pc:sldMkLst>
          <pc:docMk/>
          <pc:sldMk cId="3708618716" sldId="2076138171"/>
        </pc:sldMkLst>
      </pc:sldChg>
      <pc:sldChg chg="del">
        <pc:chgData name="Kawtar SADIQ" userId="65df04e4-2d23-4bab-afb0-40df8a2c1b9f" providerId="ADAL" clId="{13E48CF6-3C07-4AA7-848A-1E964CBB0D3A}" dt="2022-11-25T17:08:43.366" v="1186" actId="47"/>
        <pc:sldMkLst>
          <pc:docMk/>
          <pc:sldMk cId="3124259909" sldId="2076138173"/>
        </pc:sldMkLst>
      </pc:sldChg>
      <pc:sldChg chg="addSp delSp modSp del mod">
        <pc:chgData name="Kawtar SADIQ" userId="65df04e4-2d23-4bab-afb0-40df8a2c1b9f" providerId="ADAL" clId="{13E48CF6-3C07-4AA7-848A-1E964CBB0D3A}" dt="2022-11-30T16:58:54.655" v="21258" actId="47"/>
        <pc:sldMkLst>
          <pc:docMk/>
          <pc:sldMk cId="639759389" sldId="2076138175"/>
        </pc:sldMkLst>
        <pc:spChg chg="add del mod">
          <ac:chgData name="Kawtar SADIQ" userId="65df04e4-2d23-4bab-afb0-40df8a2c1b9f" providerId="ADAL" clId="{13E48CF6-3C07-4AA7-848A-1E964CBB0D3A}" dt="2022-11-30T16:09:35.397" v="21204" actId="20577"/>
          <ac:spMkLst>
            <pc:docMk/>
            <pc:sldMk cId="639759389" sldId="2076138175"/>
            <ac:spMk id="2" creationId="{C09C89E3-711F-4372-80C1-31FAF1B9546D}"/>
          </ac:spMkLst>
        </pc:spChg>
        <pc:spChg chg="del">
          <ac:chgData name="Kawtar SADIQ" userId="65df04e4-2d23-4bab-afb0-40df8a2c1b9f" providerId="ADAL" clId="{13E48CF6-3C07-4AA7-848A-1E964CBB0D3A}" dt="2022-11-30T15:46:38.280" v="20974" actId="478"/>
          <ac:spMkLst>
            <pc:docMk/>
            <pc:sldMk cId="639759389" sldId="2076138175"/>
            <ac:spMk id="3" creationId="{59745F53-806B-46C4-B32D-5A16B1D11C66}"/>
          </ac:spMkLst>
        </pc:spChg>
        <pc:spChg chg="add del mod">
          <ac:chgData name="Kawtar SADIQ" userId="65df04e4-2d23-4bab-afb0-40df8a2c1b9f" providerId="ADAL" clId="{13E48CF6-3C07-4AA7-848A-1E964CBB0D3A}" dt="2022-11-30T15:46:58.433" v="20980"/>
          <ac:spMkLst>
            <pc:docMk/>
            <pc:sldMk cId="639759389" sldId="2076138175"/>
            <ac:spMk id="4" creationId="{C2CA0ADF-2B82-48F4-8B13-FD093A5D3AF1}"/>
          </ac:spMkLst>
        </pc:spChg>
        <pc:spChg chg="add del mod">
          <ac:chgData name="Kawtar SADIQ" userId="65df04e4-2d23-4bab-afb0-40df8a2c1b9f" providerId="ADAL" clId="{13E48CF6-3C07-4AA7-848A-1E964CBB0D3A}" dt="2022-11-30T15:46:58.433" v="20980"/>
          <ac:spMkLst>
            <pc:docMk/>
            <pc:sldMk cId="639759389" sldId="2076138175"/>
            <ac:spMk id="7" creationId="{15296762-2A70-401F-8DF6-FE25F899F6CB}"/>
          </ac:spMkLst>
        </pc:spChg>
        <pc:spChg chg="add del mod">
          <ac:chgData name="Kawtar SADIQ" userId="65df04e4-2d23-4bab-afb0-40df8a2c1b9f" providerId="ADAL" clId="{13E48CF6-3C07-4AA7-848A-1E964CBB0D3A}" dt="2022-11-30T15:46:57.963" v="20979" actId="478"/>
          <ac:spMkLst>
            <pc:docMk/>
            <pc:sldMk cId="639759389" sldId="2076138175"/>
            <ac:spMk id="10" creationId="{031FC186-7706-4F21-AAE2-1C9F48E2EDBF}"/>
          </ac:spMkLst>
        </pc:spChg>
        <pc:spChg chg="add del mod">
          <ac:chgData name="Kawtar SADIQ" userId="65df04e4-2d23-4bab-afb0-40df8a2c1b9f" providerId="ADAL" clId="{13E48CF6-3C07-4AA7-848A-1E964CBB0D3A}" dt="2022-11-30T15:51:38.578" v="21004"/>
          <ac:spMkLst>
            <pc:docMk/>
            <pc:sldMk cId="639759389" sldId="2076138175"/>
            <ac:spMk id="11" creationId="{E57D3D86-16E0-4B80-ACD3-0EAED651A7B5}"/>
          </ac:spMkLst>
        </pc:spChg>
        <pc:spChg chg="add del mod">
          <ac:chgData name="Kawtar SADIQ" userId="65df04e4-2d23-4bab-afb0-40df8a2c1b9f" providerId="ADAL" clId="{13E48CF6-3C07-4AA7-848A-1E964CBB0D3A}" dt="2022-11-30T15:51:38.578" v="21004"/>
          <ac:spMkLst>
            <pc:docMk/>
            <pc:sldMk cId="639759389" sldId="2076138175"/>
            <ac:spMk id="12" creationId="{C530051E-6DF9-493B-BA9F-501A39A4B95C}"/>
          </ac:spMkLst>
        </pc:spChg>
        <pc:graphicFrameChg chg="add del mod">
          <ac:chgData name="Kawtar SADIQ" userId="65df04e4-2d23-4bab-afb0-40df8a2c1b9f" providerId="ADAL" clId="{13E48CF6-3C07-4AA7-848A-1E964CBB0D3A}" dt="2022-11-30T15:46:58.433" v="20980"/>
          <ac:graphicFrameMkLst>
            <pc:docMk/>
            <pc:sldMk cId="639759389" sldId="2076138175"/>
            <ac:graphicFrameMk id="5" creationId="{929EF970-D8A2-4028-80FE-8E5C7B9DCE52}"/>
          </ac:graphicFrameMkLst>
        </pc:graphicFrameChg>
        <pc:graphicFrameChg chg="add del mod">
          <ac:chgData name="Kawtar SADIQ" userId="65df04e4-2d23-4bab-afb0-40df8a2c1b9f" providerId="ADAL" clId="{13E48CF6-3C07-4AA7-848A-1E964CBB0D3A}" dt="2022-11-30T15:46:58.433" v="20980"/>
          <ac:graphicFrameMkLst>
            <pc:docMk/>
            <pc:sldMk cId="639759389" sldId="2076138175"/>
            <ac:graphicFrameMk id="6" creationId="{1ACF1772-CB53-4C92-9EA6-B8D982899F20}"/>
          </ac:graphicFrameMkLst>
        </pc:graphicFrameChg>
        <pc:graphicFrameChg chg="add del mod">
          <ac:chgData name="Kawtar SADIQ" userId="65df04e4-2d23-4bab-afb0-40df8a2c1b9f" providerId="ADAL" clId="{13E48CF6-3C07-4AA7-848A-1E964CBB0D3A}" dt="2022-11-30T15:51:38.578" v="21004"/>
          <ac:graphicFrameMkLst>
            <pc:docMk/>
            <pc:sldMk cId="639759389" sldId="2076138175"/>
            <ac:graphicFrameMk id="13" creationId="{7A255007-CA5C-41F5-A8A2-46E0436604DB}"/>
          </ac:graphicFrameMkLst>
        </pc:graphicFrameChg>
        <pc:graphicFrameChg chg="add del mod">
          <ac:chgData name="Kawtar SADIQ" userId="65df04e4-2d23-4bab-afb0-40df8a2c1b9f" providerId="ADAL" clId="{13E48CF6-3C07-4AA7-848A-1E964CBB0D3A}" dt="2022-11-30T15:51:38.578" v="21004"/>
          <ac:graphicFrameMkLst>
            <pc:docMk/>
            <pc:sldMk cId="639759389" sldId="2076138175"/>
            <ac:graphicFrameMk id="14" creationId="{B244868A-F0C7-420D-9D0B-E3CF912DF440}"/>
          </ac:graphicFrameMkLst>
        </pc:graphicFrameChg>
        <pc:picChg chg="add del mod">
          <ac:chgData name="Kawtar SADIQ" userId="65df04e4-2d23-4bab-afb0-40df8a2c1b9f" providerId="ADAL" clId="{13E48CF6-3C07-4AA7-848A-1E964CBB0D3A}" dt="2022-11-30T15:46:58.433" v="20980"/>
          <ac:picMkLst>
            <pc:docMk/>
            <pc:sldMk cId="639759389" sldId="2076138175"/>
            <ac:picMk id="8" creationId="{832E95CC-B910-4B23-868F-9D489A528BDD}"/>
          </ac:picMkLst>
        </pc:picChg>
        <pc:picChg chg="add del mod">
          <ac:chgData name="Kawtar SADIQ" userId="65df04e4-2d23-4bab-afb0-40df8a2c1b9f" providerId="ADAL" clId="{13E48CF6-3C07-4AA7-848A-1E964CBB0D3A}" dt="2022-11-30T15:51:38.578" v="21004"/>
          <ac:picMkLst>
            <pc:docMk/>
            <pc:sldMk cId="639759389" sldId="2076138175"/>
            <ac:picMk id="15" creationId="{173B7C0F-30CE-4DD3-9F5D-6379F73334FF}"/>
          </ac:picMkLst>
        </pc:picChg>
      </pc:sldChg>
      <pc:sldChg chg="del ord">
        <pc:chgData name="Kawtar SADIQ" userId="65df04e4-2d23-4bab-afb0-40df8a2c1b9f" providerId="ADAL" clId="{13E48CF6-3C07-4AA7-848A-1E964CBB0D3A}" dt="2022-12-01T16:54:16.163" v="28035" actId="47"/>
        <pc:sldMkLst>
          <pc:docMk/>
          <pc:sldMk cId="786646020" sldId="2076138176"/>
        </pc:sldMkLst>
      </pc:sldChg>
      <pc:sldChg chg="addSp modSp del mod ord">
        <pc:chgData name="Kawtar SADIQ" userId="65df04e4-2d23-4bab-afb0-40df8a2c1b9f" providerId="ADAL" clId="{13E48CF6-3C07-4AA7-848A-1E964CBB0D3A}" dt="2022-11-30T10:49:29.620" v="16587" actId="47"/>
        <pc:sldMkLst>
          <pc:docMk/>
          <pc:sldMk cId="158994535" sldId="2076138177"/>
        </pc:sldMkLst>
        <pc:spChg chg="add mod">
          <ac:chgData name="Kawtar SADIQ" userId="65df04e4-2d23-4bab-afb0-40df8a2c1b9f" providerId="ADAL" clId="{13E48CF6-3C07-4AA7-848A-1E964CBB0D3A}" dt="2022-11-30T09:40:49.953" v="16115" actId="20577"/>
          <ac:spMkLst>
            <pc:docMk/>
            <pc:sldMk cId="158994535" sldId="2076138177"/>
            <ac:spMk id="4" creationId="{A4AFAAC6-F4D9-44CF-958A-74FF6545AF28}"/>
          </ac:spMkLst>
        </pc:spChg>
      </pc:sldChg>
      <pc:sldChg chg="addSp modSp del ord">
        <pc:chgData name="Kawtar SADIQ" userId="65df04e4-2d23-4bab-afb0-40df8a2c1b9f" providerId="ADAL" clId="{13E48CF6-3C07-4AA7-848A-1E964CBB0D3A}" dt="2022-11-30T10:49:30.352" v="16588" actId="47"/>
        <pc:sldMkLst>
          <pc:docMk/>
          <pc:sldMk cId="3491616630" sldId="2076138178"/>
        </pc:sldMkLst>
        <pc:spChg chg="add mod">
          <ac:chgData name="Kawtar SADIQ" userId="65df04e4-2d23-4bab-afb0-40df8a2c1b9f" providerId="ADAL" clId="{13E48CF6-3C07-4AA7-848A-1E964CBB0D3A}" dt="2022-11-30T09:40:55.647" v="16116"/>
          <ac:spMkLst>
            <pc:docMk/>
            <pc:sldMk cId="3491616630" sldId="2076138178"/>
            <ac:spMk id="4" creationId="{F0ED2129-1414-4CED-9699-8A804957050D}"/>
          </ac:spMkLst>
        </pc:spChg>
      </pc:sldChg>
      <pc:sldChg chg="del ord">
        <pc:chgData name="Kawtar SADIQ" userId="65df04e4-2d23-4bab-afb0-40df8a2c1b9f" providerId="ADAL" clId="{13E48CF6-3C07-4AA7-848A-1E964CBB0D3A}" dt="2022-11-30T09:40:27.858" v="16080" actId="47"/>
        <pc:sldMkLst>
          <pc:docMk/>
          <pc:sldMk cId="656393337" sldId="2076138179"/>
        </pc:sldMkLst>
      </pc:sldChg>
      <pc:sldChg chg="del">
        <pc:chgData name="Kawtar SADIQ" userId="65df04e4-2d23-4bab-afb0-40df8a2c1b9f" providerId="ADAL" clId="{13E48CF6-3C07-4AA7-848A-1E964CBB0D3A}" dt="2022-11-28T13:45:57.579" v="2823" actId="47"/>
        <pc:sldMkLst>
          <pc:docMk/>
          <pc:sldMk cId="100196108" sldId="2076138180"/>
        </pc:sldMkLst>
      </pc:sldChg>
      <pc:sldChg chg="del">
        <pc:chgData name="Kawtar SADIQ" userId="65df04e4-2d23-4bab-afb0-40df8a2c1b9f" providerId="ADAL" clId="{13E48CF6-3C07-4AA7-848A-1E964CBB0D3A}" dt="2022-11-28T13:17:35.131" v="2283" actId="47"/>
        <pc:sldMkLst>
          <pc:docMk/>
          <pc:sldMk cId="3746407770" sldId="2076138181"/>
        </pc:sldMkLst>
      </pc:sldChg>
      <pc:sldChg chg="del">
        <pc:chgData name="Kawtar SADIQ" userId="65df04e4-2d23-4bab-afb0-40df8a2c1b9f" providerId="ADAL" clId="{13E48CF6-3C07-4AA7-848A-1E964CBB0D3A}" dt="2022-11-28T13:17:43.928" v="2288" actId="47"/>
        <pc:sldMkLst>
          <pc:docMk/>
          <pc:sldMk cId="613806487" sldId="2076138182"/>
        </pc:sldMkLst>
      </pc:sldChg>
      <pc:sldChg chg="modSp del mod">
        <pc:chgData name="Kawtar SADIQ" userId="65df04e4-2d23-4bab-afb0-40df8a2c1b9f" providerId="ADAL" clId="{13E48CF6-3C07-4AA7-848A-1E964CBB0D3A}" dt="2022-11-28T19:21:31.010" v="5264" actId="47"/>
        <pc:sldMkLst>
          <pc:docMk/>
          <pc:sldMk cId="767527029" sldId="2076138183"/>
        </pc:sldMkLst>
        <pc:spChg chg="mod">
          <ac:chgData name="Kawtar SADIQ" userId="65df04e4-2d23-4bab-afb0-40df8a2c1b9f" providerId="ADAL" clId="{13E48CF6-3C07-4AA7-848A-1E964CBB0D3A}" dt="2022-11-28T14:48:05.022" v="3509" actId="20577"/>
          <ac:spMkLst>
            <pc:docMk/>
            <pc:sldMk cId="767527029" sldId="2076138183"/>
            <ac:spMk id="2" creationId="{87123A67-6A58-4487-998B-2CFAD1B3BA79}"/>
          </ac:spMkLst>
        </pc:spChg>
      </pc:sldChg>
      <pc:sldChg chg="del ord">
        <pc:chgData name="Kawtar SADIQ" userId="65df04e4-2d23-4bab-afb0-40df8a2c1b9f" providerId="ADAL" clId="{13E48CF6-3C07-4AA7-848A-1E964CBB0D3A}" dt="2022-11-29T11:50:44.507" v="9242" actId="47"/>
        <pc:sldMkLst>
          <pc:docMk/>
          <pc:sldMk cId="2512155146" sldId="2076138184"/>
        </pc:sldMkLst>
      </pc:sldChg>
      <pc:sldChg chg="del ord">
        <pc:chgData name="Kawtar SADIQ" userId="65df04e4-2d23-4bab-afb0-40df8a2c1b9f" providerId="ADAL" clId="{13E48CF6-3C07-4AA7-848A-1E964CBB0D3A}" dt="2022-11-29T11:50:46.347" v="9243" actId="47"/>
        <pc:sldMkLst>
          <pc:docMk/>
          <pc:sldMk cId="3890575317" sldId="2076138185"/>
        </pc:sldMkLst>
      </pc:sldChg>
      <pc:sldChg chg="del">
        <pc:chgData name="Kawtar SADIQ" userId="65df04e4-2d23-4bab-afb0-40df8a2c1b9f" providerId="ADAL" clId="{13E48CF6-3C07-4AA7-848A-1E964CBB0D3A}" dt="2022-11-28T14:10:52.976" v="3342" actId="47"/>
        <pc:sldMkLst>
          <pc:docMk/>
          <pc:sldMk cId="3751682813" sldId="2076138187"/>
        </pc:sldMkLst>
      </pc:sldChg>
      <pc:sldChg chg="del">
        <pc:chgData name="Kawtar SADIQ" userId="65df04e4-2d23-4bab-afb0-40df8a2c1b9f" providerId="ADAL" clId="{13E48CF6-3C07-4AA7-848A-1E964CBB0D3A}" dt="2022-11-28T14:10:53.722" v="3343" actId="47"/>
        <pc:sldMkLst>
          <pc:docMk/>
          <pc:sldMk cId="3173342459" sldId="2076138188"/>
        </pc:sldMkLst>
      </pc:sldChg>
      <pc:sldChg chg="addSp delSp modSp del mod modShow">
        <pc:chgData name="Kawtar SADIQ" userId="65df04e4-2d23-4bab-afb0-40df8a2c1b9f" providerId="ADAL" clId="{13E48CF6-3C07-4AA7-848A-1E964CBB0D3A}" dt="2022-11-28T13:48:49.717" v="2878" actId="47"/>
        <pc:sldMkLst>
          <pc:docMk/>
          <pc:sldMk cId="3928011031" sldId="2076138189"/>
        </pc:sldMkLst>
        <pc:spChg chg="add mod">
          <ac:chgData name="Kawtar SADIQ" userId="65df04e4-2d23-4bab-afb0-40df8a2c1b9f" providerId="ADAL" clId="{13E48CF6-3C07-4AA7-848A-1E964CBB0D3A}" dt="2022-11-25T17:05:19.506" v="1182" actId="20577"/>
          <ac:spMkLst>
            <pc:docMk/>
            <pc:sldMk cId="3928011031" sldId="2076138189"/>
            <ac:spMk id="2" creationId="{DE40CB64-1375-4638-AA0A-575163EFCA2D}"/>
          </ac:spMkLst>
        </pc:spChg>
        <pc:spChg chg="mod">
          <ac:chgData name="Kawtar SADIQ" userId="65df04e4-2d23-4bab-afb0-40df8a2c1b9f" providerId="ADAL" clId="{13E48CF6-3C07-4AA7-848A-1E964CBB0D3A}" dt="2022-11-25T17:05:25.367" v="1183" actId="1076"/>
          <ac:spMkLst>
            <pc:docMk/>
            <pc:sldMk cId="3928011031" sldId="2076138189"/>
            <ac:spMk id="3" creationId="{83773864-D1D2-8480-2478-D6767FCD4FB7}"/>
          </ac:spMkLst>
        </pc:spChg>
        <pc:spChg chg="add del mod">
          <ac:chgData name="Kawtar SADIQ" userId="65df04e4-2d23-4bab-afb0-40df8a2c1b9f" providerId="ADAL" clId="{13E48CF6-3C07-4AA7-848A-1E964CBB0D3A}" dt="2022-11-25T16:47:41.852" v="803" actId="478"/>
          <ac:spMkLst>
            <pc:docMk/>
            <pc:sldMk cId="3928011031" sldId="2076138189"/>
            <ac:spMk id="21" creationId="{00790F77-F599-4CD3-8AF8-5FF7D5A09EF9}"/>
          </ac:spMkLst>
        </pc:spChg>
        <pc:spChg chg="mod">
          <ac:chgData name="Kawtar SADIQ" userId="65df04e4-2d23-4bab-afb0-40df8a2c1b9f" providerId="ADAL" clId="{13E48CF6-3C07-4AA7-848A-1E964CBB0D3A}" dt="2022-11-25T14:57:18.884" v="33" actId="13926"/>
          <ac:spMkLst>
            <pc:docMk/>
            <pc:sldMk cId="3928011031" sldId="2076138189"/>
            <ac:spMk id="35" creationId="{B575BAC0-1618-4B33-A0A8-91858A61549D}"/>
          </ac:spMkLst>
        </pc:spChg>
        <pc:spChg chg="mod">
          <ac:chgData name="Kawtar SADIQ" userId="65df04e4-2d23-4bab-afb0-40df8a2c1b9f" providerId="ADAL" clId="{13E48CF6-3C07-4AA7-848A-1E964CBB0D3A}" dt="2022-11-25T17:01:28.522" v="1056" actId="20577"/>
          <ac:spMkLst>
            <pc:docMk/>
            <pc:sldMk cId="3928011031" sldId="2076138189"/>
            <ac:spMk id="39" creationId="{ECE33F57-5CDE-4B20-9FCA-58BCEAB64F81}"/>
          </ac:spMkLst>
        </pc:spChg>
        <pc:spChg chg="mod">
          <ac:chgData name="Kawtar SADIQ" userId="65df04e4-2d23-4bab-afb0-40df8a2c1b9f" providerId="ADAL" clId="{13E48CF6-3C07-4AA7-848A-1E964CBB0D3A}" dt="2022-11-25T16:53:17.202" v="870" actId="1076"/>
          <ac:spMkLst>
            <pc:docMk/>
            <pc:sldMk cId="3928011031" sldId="2076138189"/>
            <ac:spMk id="40" creationId="{43CE6B76-8331-498B-A1FC-3E770246689D}"/>
          </ac:spMkLst>
        </pc:spChg>
        <pc:spChg chg="mod">
          <ac:chgData name="Kawtar SADIQ" userId="65df04e4-2d23-4bab-afb0-40df8a2c1b9f" providerId="ADAL" clId="{13E48CF6-3C07-4AA7-848A-1E964CBB0D3A}" dt="2022-11-25T17:06:57.353" v="1185" actId="20577"/>
          <ac:spMkLst>
            <pc:docMk/>
            <pc:sldMk cId="3928011031" sldId="2076138189"/>
            <ac:spMk id="44" creationId="{ECF083C1-A008-4E57-9675-B2BEBD9FACC7}"/>
          </ac:spMkLst>
        </pc:spChg>
      </pc:sldChg>
      <pc:sldChg chg="addSp delSp modSp del mod delCm modCm">
        <pc:chgData name="Kawtar SADIQ" userId="65df04e4-2d23-4bab-afb0-40df8a2c1b9f" providerId="ADAL" clId="{13E48CF6-3C07-4AA7-848A-1E964CBB0D3A}" dt="2022-12-01T16:43:35.112" v="27962" actId="47"/>
        <pc:sldMkLst>
          <pc:docMk/>
          <pc:sldMk cId="3018744438" sldId="2076138191"/>
        </pc:sldMkLst>
        <pc:spChg chg="mod">
          <ac:chgData name="Kawtar SADIQ" userId="65df04e4-2d23-4bab-afb0-40df8a2c1b9f" providerId="ADAL" clId="{13E48CF6-3C07-4AA7-848A-1E964CBB0D3A}" dt="2022-11-28T18:58:27.318" v="4933"/>
          <ac:spMkLst>
            <pc:docMk/>
            <pc:sldMk cId="3018744438" sldId="2076138191"/>
            <ac:spMk id="2" creationId="{E11BF5BD-75C4-4E77-9598-7225EFF82CC5}"/>
          </ac:spMkLst>
        </pc:spChg>
        <pc:spChg chg="add del mod">
          <ac:chgData name="Kawtar SADIQ" userId="65df04e4-2d23-4bab-afb0-40df8a2c1b9f" providerId="ADAL" clId="{13E48CF6-3C07-4AA7-848A-1E964CBB0D3A}" dt="2022-11-29T18:24:20.572" v="10562" actId="478"/>
          <ac:spMkLst>
            <pc:docMk/>
            <pc:sldMk cId="3018744438" sldId="2076138191"/>
            <ac:spMk id="3" creationId="{EEF33552-917D-488C-9446-5955267F49CA}"/>
          </ac:spMkLst>
        </pc:spChg>
        <pc:spChg chg="mod">
          <ac:chgData name="Kawtar SADIQ" userId="65df04e4-2d23-4bab-afb0-40df8a2c1b9f" providerId="ADAL" clId="{13E48CF6-3C07-4AA7-848A-1E964CBB0D3A}" dt="2022-12-01T14:12:05.179" v="27848" actId="113"/>
          <ac:spMkLst>
            <pc:docMk/>
            <pc:sldMk cId="3018744438" sldId="2076138191"/>
            <ac:spMk id="4" creationId="{DFE4ECB6-193A-41CD-8C1D-5A9AA8C9E006}"/>
          </ac:spMkLst>
        </pc:spChg>
        <pc:spChg chg="mod">
          <ac:chgData name="Kawtar SADIQ" userId="65df04e4-2d23-4bab-afb0-40df8a2c1b9f" providerId="ADAL" clId="{13E48CF6-3C07-4AA7-848A-1E964CBB0D3A}" dt="2022-11-28T17:48:12.411" v="4235" actId="2711"/>
          <ac:spMkLst>
            <pc:docMk/>
            <pc:sldMk cId="3018744438" sldId="2076138191"/>
            <ac:spMk id="9" creationId="{B9D16533-3C4E-49F8-8625-77A29914D708}"/>
          </ac:spMkLst>
        </pc:spChg>
        <pc:spChg chg="mod">
          <ac:chgData name="Kawtar SADIQ" userId="65df04e4-2d23-4bab-afb0-40df8a2c1b9f" providerId="ADAL" clId="{13E48CF6-3C07-4AA7-848A-1E964CBB0D3A}" dt="2022-11-29T21:20:56.346" v="13822" actId="1035"/>
          <ac:spMkLst>
            <pc:docMk/>
            <pc:sldMk cId="3018744438" sldId="2076138191"/>
            <ac:spMk id="10" creationId="{2C1BE3D3-AF86-4F00-99E9-C106820D1EEC}"/>
          </ac:spMkLst>
        </pc:spChg>
        <pc:spChg chg="mod">
          <ac:chgData name="Kawtar SADIQ" userId="65df04e4-2d23-4bab-afb0-40df8a2c1b9f" providerId="ADAL" clId="{13E48CF6-3C07-4AA7-848A-1E964CBB0D3A}" dt="2022-11-28T17:48:12.411" v="4235" actId="2711"/>
          <ac:spMkLst>
            <pc:docMk/>
            <pc:sldMk cId="3018744438" sldId="2076138191"/>
            <ac:spMk id="11" creationId="{C292AB15-E768-45D5-AD2A-5C819B23BD9F}"/>
          </ac:spMkLst>
        </pc:spChg>
        <pc:spChg chg="mod">
          <ac:chgData name="Kawtar SADIQ" userId="65df04e4-2d23-4bab-afb0-40df8a2c1b9f" providerId="ADAL" clId="{13E48CF6-3C07-4AA7-848A-1E964CBB0D3A}" dt="2022-11-29T21:20:56.346" v="13822" actId="1035"/>
          <ac:spMkLst>
            <pc:docMk/>
            <pc:sldMk cId="3018744438" sldId="2076138191"/>
            <ac:spMk id="13" creationId="{E22D3A68-8C63-4250-BAEB-59D55544985D}"/>
          </ac:spMkLst>
        </pc:spChg>
        <pc:spChg chg="del mod">
          <ac:chgData name="Kawtar SADIQ" userId="65df04e4-2d23-4bab-afb0-40df8a2c1b9f" providerId="ADAL" clId="{13E48CF6-3C07-4AA7-848A-1E964CBB0D3A}" dt="2022-11-29T21:18:29.346" v="13796" actId="478"/>
          <ac:spMkLst>
            <pc:docMk/>
            <pc:sldMk cId="3018744438" sldId="2076138191"/>
            <ac:spMk id="15" creationId="{864E3EB6-63A0-4187-87C2-15847F11EF55}"/>
          </ac:spMkLst>
        </pc:spChg>
        <pc:spChg chg="del mod">
          <ac:chgData name="Kawtar SADIQ" userId="65df04e4-2d23-4bab-afb0-40df8a2c1b9f" providerId="ADAL" clId="{13E48CF6-3C07-4AA7-848A-1E964CBB0D3A}" dt="2022-11-29T21:18:29.346" v="13796" actId="478"/>
          <ac:spMkLst>
            <pc:docMk/>
            <pc:sldMk cId="3018744438" sldId="2076138191"/>
            <ac:spMk id="17" creationId="{081C14F2-F0CF-453C-B5E6-3AB28B427042}"/>
          </ac:spMkLst>
        </pc:spChg>
        <pc:spChg chg="del mod">
          <ac:chgData name="Kawtar SADIQ" userId="65df04e4-2d23-4bab-afb0-40df8a2c1b9f" providerId="ADAL" clId="{13E48CF6-3C07-4AA7-848A-1E964CBB0D3A}" dt="2022-11-29T21:28:23.515" v="13890" actId="478"/>
          <ac:spMkLst>
            <pc:docMk/>
            <pc:sldMk cId="3018744438" sldId="2076138191"/>
            <ac:spMk id="18" creationId="{59C85CC0-8072-4FC5-A63C-53061F14896F}"/>
          </ac:spMkLst>
        </pc:spChg>
        <pc:spChg chg="mod">
          <ac:chgData name="Kawtar SADIQ" userId="65df04e4-2d23-4bab-afb0-40df8a2c1b9f" providerId="ADAL" clId="{13E48CF6-3C07-4AA7-848A-1E964CBB0D3A}" dt="2022-11-29T21:24:48.195" v="13854" actId="2085"/>
          <ac:spMkLst>
            <pc:docMk/>
            <pc:sldMk cId="3018744438" sldId="2076138191"/>
            <ac:spMk id="19" creationId="{E5D12B18-7E25-4B86-97C3-8FE911A0B4BB}"/>
          </ac:spMkLst>
        </pc:spChg>
        <pc:spChg chg="mod">
          <ac:chgData name="Kawtar SADIQ" userId="65df04e4-2d23-4bab-afb0-40df8a2c1b9f" providerId="ADAL" clId="{13E48CF6-3C07-4AA7-848A-1E964CBB0D3A}" dt="2022-11-29T21:28:19.884" v="13889" actId="207"/>
          <ac:spMkLst>
            <pc:docMk/>
            <pc:sldMk cId="3018744438" sldId="2076138191"/>
            <ac:spMk id="20" creationId="{565DB432-08FF-4A9A-AB8C-670F8EEE2F58}"/>
          </ac:spMkLst>
        </pc:spChg>
        <pc:spChg chg="mod">
          <ac:chgData name="Kawtar SADIQ" userId="65df04e4-2d23-4bab-afb0-40df8a2c1b9f" providerId="ADAL" clId="{13E48CF6-3C07-4AA7-848A-1E964CBB0D3A}" dt="2022-11-29T18:52:35.827" v="10850" actId="1036"/>
          <ac:spMkLst>
            <pc:docMk/>
            <pc:sldMk cId="3018744438" sldId="2076138191"/>
            <ac:spMk id="21" creationId="{D9A988A6-DAA7-4D7C-B159-F26391976183}"/>
          </ac:spMkLst>
        </pc:spChg>
        <pc:spChg chg="mod">
          <ac:chgData name="Kawtar SADIQ" userId="65df04e4-2d23-4bab-afb0-40df8a2c1b9f" providerId="ADAL" clId="{13E48CF6-3C07-4AA7-848A-1E964CBB0D3A}" dt="2022-11-29T21:27:55.455" v="13888" actId="14100"/>
          <ac:spMkLst>
            <pc:docMk/>
            <pc:sldMk cId="3018744438" sldId="2076138191"/>
            <ac:spMk id="22" creationId="{855FD319-091B-4066-A0A7-835D74D088EB}"/>
          </ac:spMkLst>
        </pc:spChg>
        <pc:spChg chg="mod">
          <ac:chgData name="Kawtar SADIQ" userId="65df04e4-2d23-4bab-afb0-40df8a2c1b9f" providerId="ADAL" clId="{13E48CF6-3C07-4AA7-848A-1E964CBB0D3A}" dt="2022-11-30T11:51:14.291" v="17857" actId="12"/>
          <ac:spMkLst>
            <pc:docMk/>
            <pc:sldMk cId="3018744438" sldId="2076138191"/>
            <ac:spMk id="23" creationId="{CF817CD1-67EC-4FDD-827D-3DC9561FCB49}"/>
          </ac:spMkLst>
        </pc:spChg>
        <pc:spChg chg="mod">
          <ac:chgData name="Kawtar SADIQ" userId="65df04e4-2d23-4bab-afb0-40df8a2c1b9f" providerId="ADAL" clId="{13E48CF6-3C07-4AA7-848A-1E964CBB0D3A}" dt="2022-11-30T11:51:20.901" v="17858" actId="12"/>
          <ac:spMkLst>
            <pc:docMk/>
            <pc:sldMk cId="3018744438" sldId="2076138191"/>
            <ac:spMk id="25" creationId="{4AEFC871-E98C-485E-9163-A731FB3B27F0}"/>
          </ac:spMkLst>
        </pc:spChg>
        <pc:spChg chg="del">
          <ac:chgData name="Kawtar SADIQ" userId="65df04e4-2d23-4bab-afb0-40df8a2c1b9f" providerId="ADAL" clId="{13E48CF6-3C07-4AA7-848A-1E964CBB0D3A}" dt="2022-11-28T15:54:38.122" v="3813" actId="478"/>
          <ac:spMkLst>
            <pc:docMk/>
            <pc:sldMk cId="3018744438" sldId="2076138191"/>
            <ac:spMk id="26" creationId="{8644856D-689A-C1B3-7F85-829B912F7C7A}"/>
          </ac:spMkLst>
        </pc:spChg>
        <pc:spChg chg="mod">
          <ac:chgData name="Kawtar SADIQ" userId="65df04e4-2d23-4bab-afb0-40df8a2c1b9f" providerId="ADAL" clId="{13E48CF6-3C07-4AA7-848A-1E964CBB0D3A}" dt="2022-11-29T21:18:17.266" v="13794" actId="1076"/>
          <ac:spMkLst>
            <pc:docMk/>
            <pc:sldMk cId="3018744438" sldId="2076138191"/>
            <ac:spMk id="27" creationId="{69090CC5-2139-4042-A092-E56BBB183919}"/>
          </ac:spMkLst>
        </pc:spChg>
        <pc:spChg chg="add del mod">
          <ac:chgData name="Kawtar SADIQ" userId="65df04e4-2d23-4bab-afb0-40df8a2c1b9f" providerId="ADAL" clId="{13E48CF6-3C07-4AA7-848A-1E964CBB0D3A}" dt="2022-11-28T15:28:42.807" v="3747" actId="21"/>
          <ac:spMkLst>
            <pc:docMk/>
            <pc:sldMk cId="3018744438" sldId="2076138191"/>
            <ac:spMk id="28" creationId="{761DECD6-CEE3-4974-AD19-A109BD07E5C7}"/>
          </ac:spMkLst>
        </pc:spChg>
        <pc:spChg chg="add del mod">
          <ac:chgData name="Kawtar SADIQ" userId="65df04e4-2d23-4bab-afb0-40df8a2c1b9f" providerId="ADAL" clId="{13E48CF6-3C07-4AA7-848A-1E964CBB0D3A}" dt="2022-11-28T19:51:06.652" v="5743" actId="478"/>
          <ac:spMkLst>
            <pc:docMk/>
            <pc:sldMk cId="3018744438" sldId="2076138191"/>
            <ac:spMk id="28" creationId="{AA17585D-D37E-49EF-8E8A-528F010D4204}"/>
          </ac:spMkLst>
        </pc:spChg>
        <pc:spChg chg="add del mod">
          <ac:chgData name="Kawtar SADIQ" userId="65df04e4-2d23-4bab-afb0-40df8a2c1b9f" providerId="ADAL" clId="{13E48CF6-3C07-4AA7-848A-1E964CBB0D3A}" dt="2022-11-29T21:15:43.746" v="13765" actId="478"/>
          <ac:spMkLst>
            <pc:docMk/>
            <pc:sldMk cId="3018744438" sldId="2076138191"/>
            <ac:spMk id="28" creationId="{E6B5D504-702B-44DA-BADB-3A8F60A43BC4}"/>
          </ac:spMkLst>
        </pc:spChg>
        <pc:spChg chg="add mod">
          <ac:chgData name="Kawtar SADIQ" userId="65df04e4-2d23-4bab-afb0-40df8a2c1b9f" providerId="ADAL" clId="{13E48CF6-3C07-4AA7-848A-1E964CBB0D3A}" dt="2022-11-29T21:20:59.476" v="13824" actId="1036"/>
          <ac:spMkLst>
            <pc:docMk/>
            <pc:sldMk cId="3018744438" sldId="2076138191"/>
            <ac:spMk id="30" creationId="{37D9812B-94A1-4F25-B177-ECBE4007AC01}"/>
          </ac:spMkLst>
        </pc:spChg>
        <pc:spChg chg="add mod ord">
          <ac:chgData name="Kawtar SADIQ" userId="65df04e4-2d23-4bab-afb0-40df8a2c1b9f" providerId="ADAL" clId="{13E48CF6-3C07-4AA7-848A-1E964CBB0D3A}" dt="2022-11-29T21:27:50.974" v="13887" actId="14100"/>
          <ac:spMkLst>
            <pc:docMk/>
            <pc:sldMk cId="3018744438" sldId="2076138191"/>
            <ac:spMk id="32" creationId="{D24F298B-4E63-4D2A-AA7C-5908EAF1F7AC}"/>
          </ac:spMkLst>
        </pc:spChg>
        <pc:spChg chg="add mod ord">
          <ac:chgData name="Kawtar SADIQ" userId="65df04e4-2d23-4bab-afb0-40df8a2c1b9f" providerId="ADAL" clId="{13E48CF6-3C07-4AA7-848A-1E964CBB0D3A}" dt="2022-11-29T21:29:04.094" v="13893" actId="208"/>
          <ac:spMkLst>
            <pc:docMk/>
            <pc:sldMk cId="3018744438" sldId="2076138191"/>
            <ac:spMk id="33" creationId="{A67174EF-9508-48E4-A62A-821C2CD09C31}"/>
          </ac:spMkLst>
        </pc:spChg>
        <pc:picChg chg="mod">
          <ac:chgData name="Kawtar SADIQ" userId="65df04e4-2d23-4bab-afb0-40df8a2c1b9f" providerId="ADAL" clId="{13E48CF6-3C07-4AA7-848A-1E964CBB0D3A}" dt="2022-11-29T21:20:56.346" v="13822" actId="1035"/>
          <ac:picMkLst>
            <pc:docMk/>
            <pc:sldMk cId="3018744438" sldId="2076138191"/>
            <ac:picMk id="6" creationId="{CCA51F63-3D45-49D1-A294-FEE7069F69F3}"/>
          </ac:picMkLst>
        </pc:picChg>
        <pc:picChg chg="mod">
          <ac:chgData name="Kawtar SADIQ" userId="65df04e4-2d23-4bab-afb0-40df8a2c1b9f" providerId="ADAL" clId="{13E48CF6-3C07-4AA7-848A-1E964CBB0D3A}" dt="2022-11-29T21:18:23.927" v="13795" actId="1076"/>
          <ac:picMkLst>
            <pc:docMk/>
            <pc:sldMk cId="3018744438" sldId="2076138191"/>
            <ac:picMk id="24" creationId="{07A552B2-1363-45E7-BB1D-2B6DAE61A8ED}"/>
          </ac:picMkLst>
        </pc:picChg>
        <pc:cxnChg chg="mod">
          <ac:chgData name="Kawtar SADIQ" userId="65df04e4-2d23-4bab-afb0-40df8a2c1b9f" providerId="ADAL" clId="{13E48CF6-3C07-4AA7-848A-1E964CBB0D3A}" dt="2022-11-29T21:20:56.346" v="13822" actId="1035"/>
          <ac:cxnSpMkLst>
            <pc:docMk/>
            <pc:sldMk cId="3018744438" sldId="2076138191"/>
            <ac:cxnSpMk id="14" creationId="{CA362DFC-94B7-4CD5-8459-C95A5EA44217}"/>
          </ac:cxnSpMkLst>
        </pc:cxnChg>
        <pc:cxnChg chg="del">
          <ac:chgData name="Kawtar SADIQ" userId="65df04e4-2d23-4bab-afb0-40df8a2c1b9f" providerId="ADAL" clId="{13E48CF6-3C07-4AA7-848A-1E964CBB0D3A}" dt="2022-11-29T21:18:29.346" v="13796" actId="478"/>
          <ac:cxnSpMkLst>
            <pc:docMk/>
            <pc:sldMk cId="3018744438" sldId="2076138191"/>
            <ac:cxnSpMk id="16" creationId="{B8AE57C4-69CE-4608-8DDB-7E6E3218F160}"/>
          </ac:cxnSpMkLst>
        </pc:cxnChg>
        <pc:cxnChg chg="add mod">
          <ac:chgData name="Kawtar SADIQ" userId="65df04e4-2d23-4bab-afb0-40df8a2c1b9f" providerId="ADAL" clId="{13E48CF6-3C07-4AA7-848A-1E964CBB0D3A}" dt="2022-11-29T21:16:23.381" v="13767" actId="1076"/>
          <ac:cxnSpMkLst>
            <pc:docMk/>
            <pc:sldMk cId="3018744438" sldId="2076138191"/>
            <ac:cxnSpMk id="31" creationId="{48650AC2-28D4-44D9-B8B6-27DDACDF44D9}"/>
          </ac:cxnSpMkLst>
        </pc:cxnChg>
      </pc:sldChg>
      <pc:sldChg chg="addSp delSp modSp del mod addCm delCm modCm">
        <pc:chgData name="Kawtar SADIQ" userId="65df04e4-2d23-4bab-afb0-40df8a2c1b9f" providerId="ADAL" clId="{13E48CF6-3C07-4AA7-848A-1E964CBB0D3A}" dt="2022-12-01T16:44:11.558" v="27970" actId="47"/>
        <pc:sldMkLst>
          <pc:docMk/>
          <pc:sldMk cId="4202844115" sldId="2076138192"/>
        </pc:sldMkLst>
        <pc:spChg chg="mod">
          <ac:chgData name="Kawtar SADIQ" userId="65df04e4-2d23-4bab-afb0-40df8a2c1b9f" providerId="ADAL" clId="{13E48CF6-3C07-4AA7-848A-1E964CBB0D3A}" dt="2022-11-28T20:05:42.731" v="5898"/>
          <ac:spMkLst>
            <pc:docMk/>
            <pc:sldMk cId="4202844115" sldId="2076138192"/>
            <ac:spMk id="2" creationId="{E11BF5BD-75C4-4E77-9598-7225EFF82CC5}"/>
          </ac:spMkLst>
        </pc:spChg>
        <pc:spChg chg="del mod">
          <ac:chgData name="Kawtar SADIQ" userId="65df04e4-2d23-4bab-afb0-40df8a2c1b9f" providerId="ADAL" clId="{13E48CF6-3C07-4AA7-848A-1E964CBB0D3A}" dt="2022-11-25T16:09:46.416" v="286" actId="478"/>
          <ac:spMkLst>
            <pc:docMk/>
            <pc:sldMk cId="4202844115" sldId="2076138192"/>
            <ac:spMk id="3" creationId="{1DBF77F6-2EA0-CE5A-4D85-D5F7EA41D843}"/>
          </ac:spMkLst>
        </pc:spChg>
        <pc:spChg chg="mod">
          <ac:chgData name="Kawtar SADIQ" userId="65df04e4-2d23-4bab-afb0-40df8a2c1b9f" providerId="ADAL" clId="{13E48CF6-3C07-4AA7-848A-1E964CBB0D3A}" dt="2022-11-30T08:36:08.536" v="15009" actId="13926"/>
          <ac:spMkLst>
            <pc:docMk/>
            <pc:sldMk cId="4202844115" sldId="2076138192"/>
            <ac:spMk id="4" creationId="{DFE4ECB6-193A-41CD-8C1D-5A9AA8C9E006}"/>
          </ac:spMkLst>
        </pc:spChg>
        <pc:spChg chg="mod">
          <ac:chgData name="Kawtar SADIQ" userId="65df04e4-2d23-4bab-afb0-40df8a2c1b9f" providerId="ADAL" clId="{13E48CF6-3C07-4AA7-848A-1E964CBB0D3A}" dt="2022-11-28T17:48:32.105" v="4236" actId="2711"/>
          <ac:spMkLst>
            <pc:docMk/>
            <pc:sldMk cId="4202844115" sldId="2076138192"/>
            <ac:spMk id="9" creationId="{B9D16533-3C4E-49F8-8625-77A29914D708}"/>
          </ac:spMkLst>
        </pc:spChg>
        <pc:spChg chg="mod">
          <ac:chgData name="Kawtar SADIQ" userId="65df04e4-2d23-4bab-afb0-40df8a2c1b9f" providerId="ADAL" clId="{13E48CF6-3C07-4AA7-848A-1E964CBB0D3A}" dt="2022-11-29T21:37:45.568" v="14004" actId="1036"/>
          <ac:spMkLst>
            <pc:docMk/>
            <pc:sldMk cId="4202844115" sldId="2076138192"/>
            <ac:spMk id="10" creationId="{2C1BE3D3-AF86-4F00-99E9-C106820D1EEC}"/>
          </ac:spMkLst>
        </pc:spChg>
        <pc:spChg chg="mod">
          <ac:chgData name="Kawtar SADIQ" userId="65df04e4-2d23-4bab-afb0-40df8a2c1b9f" providerId="ADAL" clId="{13E48CF6-3C07-4AA7-848A-1E964CBB0D3A}" dt="2022-11-28T17:48:32.105" v="4236" actId="2711"/>
          <ac:spMkLst>
            <pc:docMk/>
            <pc:sldMk cId="4202844115" sldId="2076138192"/>
            <ac:spMk id="11" creationId="{C292AB15-E768-45D5-AD2A-5C819B23BD9F}"/>
          </ac:spMkLst>
        </pc:spChg>
        <pc:spChg chg="mod">
          <ac:chgData name="Kawtar SADIQ" userId="65df04e4-2d23-4bab-afb0-40df8a2c1b9f" providerId="ADAL" clId="{13E48CF6-3C07-4AA7-848A-1E964CBB0D3A}" dt="2022-11-30T09:03:02.088" v="15491" actId="123"/>
          <ac:spMkLst>
            <pc:docMk/>
            <pc:sldMk cId="4202844115" sldId="2076138192"/>
            <ac:spMk id="13" creationId="{E22D3A68-8C63-4250-BAEB-59D55544985D}"/>
          </ac:spMkLst>
        </pc:spChg>
        <pc:spChg chg="del mod">
          <ac:chgData name="Kawtar SADIQ" userId="65df04e4-2d23-4bab-afb0-40df8a2c1b9f" providerId="ADAL" clId="{13E48CF6-3C07-4AA7-848A-1E964CBB0D3A}" dt="2022-11-29T21:38:26.913" v="14012" actId="478"/>
          <ac:spMkLst>
            <pc:docMk/>
            <pc:sldMk cId="4202844115" sldId="2076138192"/>
            <ac:spMk id="15" creationId="{864E3EB6-63A0-4187-87C2-15847F11EF55}"/>
          </ac:spMkLst>
        </pc:spChg>
        <pc:spChg chg="mod">
          <ac:chgData name="Kawtar SADIQ" userId="65df04e4-2d23-4bab-afb0-40df8a2c1b9f" providerId="ADAL" clId="{13E48CF6-3C07-4AA7-848A-1E964CBB0D3A}" dt="2022-11-29T21:38:57.433" v="14023" actId="1035"/>
          <ac:spMkLst>
            <pc:docMk/>
            <pc:sldMk cId="4202844115" sldId="2076138192"/>
            <ac:spMk id="17" creationId="{081C14F2-F0CF-453C-B5E6-3AB28B427042}"/>
          </ac:spMkLst>
        </pc:spChg>
        <pc:spChg chg="del mod">
          <ac:chgData name="Kawtar SADIQ" userId="65df04e4-2d23-4bab-afb0-40df8a2c1b9f" providerId="ADAL" clId="{13E48CF6-3C07-4AA7-848A-1E964CBB0D3A}" dt="2022-11-29T21:42:07.162" v="14055" actId="478"/>
          <ac:spMkLst>
            <pc:docMk/>
            <pc:sldMk cId="4202844115" sldId="2076138192"/>
            <ac:spMk id="19" creationId="{32196ADF-F3F0-B69C-C2FA-C7DE71894B97}"/>
          </ac:spMkLst>
        </pc:spChg>
        <pc:spChg chg="add del mod">
          <ac:chgData name="Kawtar SADIQ" userId="65df04e4-2d23-4bab-afb0-40df8a2c1b9f" providerId="ADAL" clId="{13E48CF6-3C07-4AA7-848A-1E964CBB0D3A}" dt="2022-11-28T13:47:57.942" v="2874" actId="478"/>
          <ac:spMkLst>
            <pc:docMk/>
            <pc:sldMk cId="4202844115" sldId="2076138192"/>
            <ac:spMk id="20" creationId="{66C5AC03-8581-4B55-AC68-A6EE59ECD765}"/>
          </ac:spMkLst>
        </pc:spChg>
        <pc:spChg chg="mod">
          <ac:chgData name="Kawtar SADIQ" userId="65df04e4-2d23-4bab-afb0-40df8a2c1b9f" providerId="ADAL" clId="{13E48CF6-3C07-4AA7-848A-1E964CBB0D3A}" dt="2022-11-28T17:48:32.105" v="4236" actId="2711"/>
          <ac:spMkLst>
            <pc:docMk/>
            <pc:sldMk cId="4202844115" sldId="2076138192"/>
            <ac:spMk id="23" creationId="{979AB304-214C-9694-3BD3-BA16EE04B80C}"/>
          </ac:spMkLst>
        </pc:spChg>
        <pc:spChg chg="mod">
          <ac:chgData name="Kawtar SADIQ" userId="65df04e4-2d23-4bab-afb0-40df8a2c1b9f" providerId="ADAL" clId="{13E48CF6-3C07-4AA7-848A-1E964CBB0D3A}" dt="2022-11-30T11:50:09.819" v="17853" actId="207"/>
          <ac:spMkLst>
            <pc:docMk/>
            <pc:sldMk cId="4202844115" sldId="2076138192"/>
            <ac:spMk id="26" creationId="{915BF444-C4F8-02C2-B282-2C3A0A9FE3D1}"/>
          </ac:spMkLst>
        </pc:spChg>
        <pc:spChg chg="add del mod">
          <ac:chgData name="Kawtar SADIQ" userId="65df04e4-2d23-4bab-afb0-40df8a2c1b9f" providerId="ADAL" clId="{13E48CF6-3C07-4AA7-848A-1E964CBB0D3A}" dt="2022-11-25T16:10:22.799" v="289" actId="478"/>
          <ac:spMkLst>
            <pc:docMk/>
            <pc:sldMk cId="4202844115" sldId="2076138192"/>
            <ac:spMk id="27" creationId="{4DCAF909-F86F-4805-B25A-5E479A18CF95}"/>
          </ac:spMkLst>
        </pc:spChg>
        <pc:spChg chg="add del mod">
          <ac:chgData name="Kawtar SADIQ" userId="65df04e4-2d23-4bab-afb0-40df8a2c1b9f" providerId="ADAL" clId="{13E48CF6-3C07-4AA7-848A-1E964CBB0D3A}" dt="2022-11-29T21:44:06.273" v="14131" actId="478"/>
          <ac:spMkLst>
            <pc:docMk/>
            <pc:sldMk cId="4202844115" sldId="2076138192"/>
            <ac:spMk id="27" creationId="{7052C8DE-9DEB-473E-AB85-4F026BAE42AB}"/>
          </ac:spMkLst>
        </pc:spChg>
        <pc:spChg chg="mod">
          <ac:chgData name="Kawtar SADIQ" userId="65df04e4-2d23-4bab-afb0-40df8a2c1b9f" providerId="ADAL" clId="{13E48CF6-3C07-4AA7-848A-1E964CBB0D3A}" dt="2022-11-30T11:50:27.395" v="17854" actId="207"/>
          <ac:spMkLst>
            <pc:docMk/>
            <pc:sldMk cId="4202844115" sldId="2076138192"/>
            <ac:spMk id="28" creationId="{B7FF0F3E-15BB-70D5-1DE7-D8C4477C451D}"/>
          </ac:spMkLst>
        </pc:spChg>
        <pc:spChg chg="add del mod">
          <ac:chgData name="Kawtar SADIQ" userId="65df04e4-2d23-4bab-afb0-40df8a2c1b9f" providerId="ADAL" clId="{13E48CF6-3C07-4AA7-848A-1E964CBB0D3A}" dt="2022-11-28T15:55:07.824" v="3817" actId="478"/>
          <ac:spMkLst>
            <pc:docMk/>
            <pc:sldMk cId="4202844115" sldId="2076138192"/>
            <ac:spMk id="29" creationId="{6BC325AD-6980-4C37-A445-7168D31A969F}"/>
          </ac:spMkLst>
        </pc:spChg>
        <pc:spChg chg="add del mod">
          <ac:chgData name="Kawtar SADIQ" userId="65df04e4-2d23-4bab-afb0-40df8a2c1b9f" providerId="ADAL" clId="{13E48CF6-3C07-4AA7-848A-1E964CBB0D3A}" dt="2022-11-29T21:43:49.872" v="14130" actId="478"/>
          <ac:spMkLst>
            <pc:docMk/>
            <pc:sldMk cId="4202844115" sldId="2076138192"/>
            <ac:spMk id="29" creationId="{DE7A5FA5-AE40-45FF-A354-97B53CD59A54}"/>
          </ac:spMkLst>
        </pc:spChg>
        <pc:spChg chg="mod">
          <ac:chgData name="Kawtar SADIQ" userId="65df04e4-2d23-4bab-afb0-40df8a2c1b9f" providerId="ADAL" clId="{13E48CF6-3C07-4AA7-848A-1E964CBB0D3A}" dt="2022-11-30T11:47:13.242" v="17819" actId="554"/>
          <ac:spMkLst>
            <pc:docMk/>
            <pc:sldMk cId="4202844115" sldId="2076138192"/>
            <ac:spMk id="30" creationId="{EC82BFF7-1173-65B3-9889-D2C4C8404591}"/>
          </ac:spMkLst>
        </pc:spChg>
        <pc:spChg chg="add mod ord">
          <ac:chgData name="Kawtar SADIQ" userId="65df04e4-2d23-4bab-afb0-40df8a2c1b9f" providerId="ADAL" clId="{13E48CF6-3C07-4AA7-848A-1E964CBB0D3A}" dt="2022-11-30T12:49:21.509" v="18627" actId="14100"/>
          <ac:spMkLst>
            <pc:docMk/>
            <pc:sldMk cId="4202844115" sldId="2076138192"/>
            <ac:spMk id="31" creationId="{D2936613-AB22-4602-BF2C-A5270EAB9DC4}"/>
          </ac:spMkLst>
        </pc:spChg>
        <pc:spChg chg="add del mod">
          <ac:chgData name="Kawtar SADIQ" userId="65df04e4-2d23-4bab-afb0-40df8a2c1b9f" providerId="ADAL" clId="{13E48CF6-3C07-4AA7-848A-1E964CBB0D3A}" dt="2022-11-29T11:23:43.868" v="8381" actId="478"/>
          <ac:spMkLst>
            <pc:docMk/>
            <pc:sldMk cId="4202844115" sldId="2076138192"/>
            <ac:spMk id="31" creationId="{EF3371DE-4625-45F8-B7AA-2134484115BE}"/>
          </ac:spMkLst>
        </pc:spChg>
        <pc:spChg chg="mod">
          <ac:chgData name="Kawtar SADIQ" userId="65df04e4-2d23-4bab-afb0-40df8a2c1b9f" providerId="ADAL" clId="{13E48CF6-3C07-4AA7-848A-1E964CBB0D3A}" dt="2022-11-30T11:47:28.150" v="17820" actId="14100"/>
          <ac:spMkLst>
            <pc:docMk/>
            <pc:sldMk cId="4202844115" sldId="2076138192"/>
            <ac:spMk id="32" creationId="{A49DB489-6EEB-E7C6-FBAC-1362919EC200}"/>
          </ac:spMkLst>
        </pc:spChg>
        <pc:spChg chg="mod">
          <ac:chgData name="Kawtar SADIQ" userId="65df04e4-2d23-4bab-afb0-40df8a2c1b9f" providerId="ADAL" clId="{13E48CF6-3C07-4AA7-848A-1E964CBB0D3A}" dt="2022-11-30T11:46:45.736" v="17816" actId="554"/>
          <ac:spMkLst>
            <pc:docMk/>
            <pc:sldMk cId="4202844115" sldId="2076138192"/>
            <ac:spMk id="34" creationId="{585A3857-5C21-EF7E-8780-86C34F9A2194}"/>
          </ac:spMkLst>
        </pc:spChg>
        <pc:spChg chg="add mod">
          <ac:chgData name="Kawtar SADIQ" userId="65df04e4-2d23-4bab-afb0-40df8a2c1b9f" providerId="ADAL" clId="{13E48CF6-3C07-4AA7-848A-1E964CBB0D3A}" dt="2022-11-29T21:38:57.433" v="14023" actId="1035"/>
          <ac:spMkLst>
            <pc:docMk/>
            <pc:sldMk cId="4202844115" sldId="2076138192"/>
            <ac:spMk id="35" creationId="{5B55F28F-3682-4023-8173-EAF9056F989A}"/>
          </ac:spMkLst>
        </pc:spChg>
        <pc:spChg chg="mod">
          <ac:chgData name="Kawtar SADIQ" userId="65df04e4-2d23-4bab-afb0-40df8a2c1b9f" providerId="ADAL" clId="{13E48CF6-3C07-4AA7-848A-1E964CBB0D3A}" dt="2022-11-30T11:46:45.736" v="17816" actId="554"/>
          <ac:spMkLst>
            <pc:docMk/>
            <pc:sldMk cId="4202844115" sldId="2076138192"/>
            <ac:spMk id="36" creationId="{5D36C0E7-1BB3-69DD-0BFB-11E2BDCA63E2}"/>
          </ac:spMkLst>
        </pc:spChg>
        <pc:spChg chg="add del mod">
          <ac:chgData name="Kawtar SADIQ" userId="65df04e4-2d23-4bab-afb0-40df8a2c1b9f" providerId="ADAL" clId="{13E48CF6-3C07-4AA7-848A-1E964CBB0D3A}" dt="2022-11-29T21:40:05.713" v="14030"/>
          <ac:spMkLst>
            <pc:docMk/>
            <pc:sldMk cId="4202844115" sldId="2076138192"/>
            <ac:spMk id="38" creationId="{9D7A9674-3D2C-4891-948E-73203242ED45}"/>
          </ac:spMkLst>
        </pc:spChg>
        <pc:spChg chg="add del mod">
          <ac:chgData name="Kawtar SADIQ" userId="65df04e4-2d23-4bab-afb0-40df8a2c1b9f" providerId="ADAL" clId="{13E48CF6-3C07-4AA7-848A-1E964CBB0D3A}" dt="2022-11-30T08:34:10.231" v="14992" actId="478"/>
          <ac:spMkLst>
            <pc:docMk/>
            <pc:sldMk cId="4202844115" sldId="2076138192"/>
            <ac:spMk id="38" creationId="{C96432FE-AB6A-4E77-AE58-6422D713DDBF}"/>
          </ac:spMkLst>
        </pc:spChg>
        <pc:spChg chg="mod">
          <ac:chgData name="Kawtar SADIQ" userId="65df04e4-2d23-4bab-afb0-40df8a2c1b9f" providerId="ADAL" clId="{13E48CF6-3C07-4AA7-848A-1E964CBB0D3A}" dt="2022-11-29T21:41:19.263" v="14043" actId="207"/>
          <ac:spMkLst>
            <pc:docMk/>
            <pc:sldMk cId="4202844115" sldId="2076138192"/>
            <ac:spMk id="40" creationId="{3953C566-40FA-42D3-8CB9-DDF0956B53D0}"/>
          </ac:spMkLst>
        </pc:spChg>
        <pc:spChg chg="mod">
          <ac:chgData name="Kawtar SADIQ" userId="65df04e4-2d23-4bab-afb0-40df8a2c1b9f" providerId="ADAL" clId="{13E48CF6-3C07-4AA7-848A-1E964CBB0D3A}" dt="2022-11-29T21:41:35.096" v="14045" actId="207"/>
          <ac:spMkLst>
            <pc:docMk/>
            <pc:sldMk cId="4202844115" sldId="2076138192"/>
            <ac:spMk id="41" creationId="{09428271-9D03-4140-81C0-ACC50A291193}"/>
          </ac:spMkLst>
        </pc:spChg>
        <pc:spChg chg="add del mod">
          <ac:chgData name="Kawtar SADIQ" userId="65df04e4-2d23-4bab-afb0-40df8a2c1b9f" providerId="ADAL" clId="{13E48CF6-3C07-4AA7-848A-1E964CBB0D3A}" dt="2022-11-30T09:02:45.826" v="15490" actId="478"/>
          <ac:spMkLst>
            <pc:docMk/>
            <pc:sldMk cId="4202844115" sldId="2076138192"/>
            <ac:spMk id="42" creationId="{3402FDBC-F4DE-493F-8651-781F2BF27DC5}"/>
          </ac:spMkLst>
        </pc:spChg>
        <pc:spChg chg="del mod">
          <ac:chgData name="Kawtar SADIQ" userId="65df04e4-2d23-4bab-afb0-40df8a2c1b9f" providerId="ADAL" clId="{13E48CF6-3C07-4AA7-848A-1E964CBB0D3A}" dt="2022-11-29T21:40:27.552" v="14033" actId="478"/>
          <ac:spMkLst>
            <pc:docMk/>
            <pc:sldMk cId="4202844115" sldId="2076138192"/>
            <ac:spMk id="42" creationId="{B27292E2-48A7-495F-BADA-29A8C3294D03}"/>
          </ac:spMkLst>
        </pc:spChg>
        <pc:spChg chg="del mod">
          <ac:chgData name="Kawtar SADIQ" userId="65df04e4-2d23-4bab-afb0-40df8a2c1b9f" providerId="ADAL" clId="{13E48CF6-3C07-4AA7-848A-1E964CBB0D3A}" dt="2022-11-29T21:40:34.853" v="14036" actId="478"/>
          <ac:spMkLst>
            <pc:docMk/>
            <pc:sldMk cId="4202844115" sldId="2076138192"/>
            <ac:spMk id="43" creationId="{88AD8D8C-04F7-4B50-9C32-016ED43582D1}"/>
          </ac:spMkLst>
        </pc:spChg>
        <pc:spChg chg="add mod ord">
          <ac:chgData name="Kawtar SADIQ" userId="65df04e4-2d23-4bab-afb0-40df8a2c1b9f" providerId="ADAL" clId="{13E48CF6-3C07-4AA7-848A-1E964CBB0D3A}" dt="2022-11-30T11:46:59.458" v="17818" actId="1035"/>
          <ac:spMkLst>
            <pc:docMk/>
            <pc:sldMk cId="4202844115" sldId="2076138192"/>
            <ac:spMk id="43" creationId="{F9947A37-ABA1-4DD4-BE43-94D0558F6F1E}"/>
          </ac:spMkLst>
        </pc:spChg>
        <pc:spChg chg="add mod ord">
          <ac:chgData name="Kawtar SADIQ" userId="65df04e4-2d23-4bab-afb0-40df8a2c1b9f" providerId="ADAL" clId="{13E48CF6-3C07-4AA7-848A-1E964CBB0D3A}" dt="2022-11-30T11:46:59.458" v="17818" actId="1035"/>
          <ac:spMkLst>
            <pc:docMk/>
            <pc:sldMk cId="4202844115" sldId="2076138192"/>
            <ac:spMk id="44" creationId="{8AD4D679-896C-4512-A077-FA211484D96C}"/>
          </ac:spMkLst>
        </pc:spChg>
        <pc:spChg chg="del mod">
          <ac:chgData name="Kawtar SADIQ" userId="65df04e4-2d23-4bab-afb0-40df8a2c1b9f" providerId="ADAL" clId="{13E48CF6-3C07-4AA7-848A-1E964CBB0D3A}" dt="2022-11-29T21:40:31.903" v="14035" actId="478"/>
          <ac:spMkLst>
            <pc:docMk/>
            <pc:sldMk cId="4202844115" sldId="2076138192"/>
            <ac:spMk id="46" creationId="{A0D82780-A9FA-47CC-B68F-BF0172F9E295}"/>
          </ac:spMkLst>
        </pc:spChg>
        <pc:spChg chg="del mod">
          <ac:chgData name="Kawtar SADIQ" userId="65df04e4-2d23-4bab-afb0-40df8a2c1b9f" providerId="ADAL" clId="{13E48CF6-3C07-4AA7-848A-1E964CBB0D3A}" dt="2022-11-29T21:40:29.813" v="14034" actId="478"/>
          <ac:spMkLst>
            <pc:docMk/>
            <pc:sldMk cId="4202844115" sldId="2076138192"/>
            <ac:spMk id="47" creationId="{8EB6A48C-6090-4553-BE3F-BA136B0C5BAD}"/>
          </ac:spMkLst>
        </pc:spChg>
        <pc:spChg chg="del mod">
          <ac:chgData name="Kawtar SADIQ" userId="65df04e4-2d23-4bab-afb0-40df8a2c1b9f" providerId="ADAL" clId="{13E48CF6-3C07-4AA7-848A-1E964CBB0D3A}" dt="2022-11-29T21:40:57.883" v="14041" actId="478"/>
          <ac:spMkLst>
            <pc:docMk/>
            <pc:sldMk cId="4202844115" sldId="2076138192"/>
            <ac:spMk id="48" creationId="{D38C22BA-7559-4F21-A924-70FB22E0AC0F}"/>
          </ac:spMkLst>
        </pc:spChg>
        <pc:spChg chg="del mod">
          <ac:chgData name="Kawtar SADIQ" userId="65df04e4-2d23-4bab-afb0-40df8a2c1b9f" providerId="ADAL" clId="{13E48CF6-3C07-4AA7-848A-1E964CBB0D3A}" dt="2022-11-29T21:40:54.022" v="14040" actId="478"/>
          <ac:spMkLst>
            <pc:docMk/>
            <pc:sldMk cId="4202844115" sldId="2076138192"/>
            <ac:spMk id="49" creationId="{FC657FF7-EFD1-4C9C-98D7-987F36755CDC}"/>
          </ac:spMkLst>
        </pc:spChg>
        <pc:spChg chg="add mod">
          <ac:chgData name="Kawtar SADIQ" userId="65df04e4-2d23-4bab-afb0-40df8a2c1b9f" providerId="ADAL" clId="{13E48CF6-3C07-4AA7-848A-1E964CBB0D3A}" dt="2022-11-29T21:43:25.062" v="14129" actId="20577"/>
          <ac:spMkLst>
            <pc:docMk/>
            <pc:sldMk cId="4202844115" sldId="2076138192"/>
            <ac:spMk id="50" creationId="{294986C4-4499-4A40-AEA5-4BEA7F8FD455}"/>
          </ac:spMkLst>
        </pc:spChg>
        <pc:spChg chg="add mod">
          <ac:chgData name="Kawtar SADIQ" userId="65df04e4-2d23-4bab-afb0-40df8a2c1b9f" providerId="ADAL" clId="{13E48CF6-3C07-4AA7-848A-1E964CBB0D3A}" dt="2022-11-29T21:42:56.590" v="14110" actId="1038"/>
          <ac:spMkLst>
            <pc:docMk/>
            <pc:sldMk cId="4202844115" sldId="2076138192"/>
            <ac:spMk id="51" creationId="{96510C5D-A469-4A6C-BAB8-5508D8392A01}"/>
          </ac:spMkLst>
        </pc:spChg>
        <pc:grpChg chg="add mod">
          <ac:chgData name="Kawtar SADIQ" userId="65df04e4-2d23-4bab-afb0-40df8a2c1b9f" providerId="ADAL" clId="{13E48CF6-3C07-4AA7-848A-1E964CBB0D3A}" dt="2022-11-29T21:40:39.932" v="14037" actId="1076"/>
          <ac:grpSpMkLst>
            <pc:docMk/>
            <pc:sldMk cId="4202844115" sldId="2076138192"/>
            <ac:grpSpMk id="39" creationId="{B6DBDE15-6159-4BE0-8084-4D3D24DF4752}"/>
          </ac:grpSpMkLst>
        </pc:grpChg>
        <pc:grpChg chg="del mod">
          <ac:chgData name="Kawtar SADIQ" userId="65df04e4-2d23-4bab-afb0-40df8a2c1b9f" providerId="ADAL" clId="{13E48CF6-3C07-4AA7-848A-1E964CBB0D3A}" dt="2022-11-29T21:40:54.022" v="14040" actId="478"/>
          <ac:grpSpMkLst>
            <pc:docMk/>
            <pc:sldMk cId="4202844115" sldId="2076138192"/>
            <ac:grpSpMk id="44" creationId="{AA3F862C-DCAD-4CE2-8C55-010E7FA35FC2}"/>
          </ac:grpSpMkLst>
        </pc:grpChg>
        <pc:grpChg chg="del mod">
          <ac:chgData name="Kawtar SADIQ" userId="65df04e4-2d23-4bab-afb0-40df8a2c1b9f" providerId="ADAL" clId="{13E48CF6-3C07-4AA7-848A-1E964CBB0D3A}" dt="2022-11-29T21:40:29.813" v="14034" actId="478"/>
          <ac:grpSpMkLst>
            <pc:docMk/>
            <pc:sldMk cId="4202844115" sldId="2076138192"/>
            <ac:grpSpMk id="45" creationId="{C8548E9E-8DFD-4799-B2F7-10562BC58645}"/>
          </ac:grpSpMkLst>
        </pc:grpChg>
        <pc:picChg chg="mod">
          <ac:chgData name="Kawtar SADIQ" userId="65df04e4-2d23-4bab-afb0-40df8a2c1b9f" providerId="ADAL" clId="{13E48CF6-3C07-4AA7-848A-1E964CBB0D3A}" dt="2022-11-29T21:37:45.568" v="14004" actId="1036"/>
          <ac:picMkLst>
            <pc:docMk/>
            <pc:sldMk cId="4202844115" sldId="2076138192"/>
            <ac:picMk id="6" creationId="{CCA51F63-3D45-49D1-A294-FEE7069F69F3}"/>
          </ac:picMkLst>
        </pc:picChg>
        <pc:picChg chg="del mod">
          <ac:chgData name="Kawtar SADIQ" userId="65df04e4-2d23-4bab-afb0-40df8a2c1b9f" providerId="ADAL" clId="{13E48CF6-3C07-4AA7-848A-1E964CBB0D3A}" dt="2022-11-29T21:38:22.994" v="14010" actId="478"/>
          <ac:picMkLst>
            <pc:docMk/>
            <pc:sldMk cId="4202844115" sldId="2076138192"/>
            <ac:picMk id="24" creationId="{07A552B2-1363-45E7-BB1D-2B6DAE61A8ED}"/>
          </ac:picMkLst>
        </pc:picChg>
        <pc:picChg chg="add mod">
          <ac:chgData name="Kawtar SADIQ" userId="65df04e4-2d23-4bab-afb0-40df8a2c1b9f" providerId="ADAL" clId="{13E48CF6-3C07-4AA7-848A-1E964CBB0D3A}" dt="2022-11-29T21:38:57.433" v="14023" actId="1035"/>
          <ac:picMkLst>
            <pc:docMk/>
            <pc:sldMk cId="4202844115" sldId="2076138192"/>
            <ac:picMk id="33" creationId="{2DBF09F2-27F2-480D-AB9F-7CF18D99760F}"/>
          </ac:picMkLst>
        </pc:picChg>
        <pc:cxnChg chg="mod">
          <ac:chgData name="Kawtar SADIQ" userId="65df04e4-2d23-4bab-afb0-40df8a2c1b9f" providerId="ADAL" clId="{13E48CF6-3C07-4AA7-848A-1E964CBB0D3A}" dt="2022-11-29T21:37:45.568" v="14004" actId="1036"/>
          <ac:cxnSpMkLst>
            <pc:docMk/>
            <pc:sldMk cId="4202844115" sldId="2076138192"/>
            <ac:cxnSpMk id="14" creationId="{CA362DFC-94B7-4CD5-8459-C95A5EA44217}"/>
          </ac:cxnSpMkLst>
        </pc:cxnChg>
        <pc:cxnChg chg="del mod">
          <ac:chgData name="Kawtar SADIQ" userId="65df04e4-2d23-4bab-afb0-40df8a2c1b9f" providerId="ADAL" clId="{13E48CF6-3C07-4AA7-848A-1E964CBB0D3A}" dt="2022-11-29T21:38:26.913" v="14012" actId="478"/>
          <ac:cxnSpMkLst>
            <pc:docMk/>
            <pc:sldMk cId="4202844115" sldId="2076138192"/>
            <ac:cxnSpMk id="16" creationId="{B8AE57C4-69CE-4608-8DDB-7E6E3218F160}"/>
          </ac:cxnSpMkLst>
        </pc:cxnChg>
        <pc:cxnChg chg="add mod">
          <ac:chgData name="Kawtar SADIQ" userId="65df04e4-2d23-4bab-afb0-40df8a2c1b9f" providerId="ADAL" clId="{13E48CF6-3C07-4AA7-848A-1E964CBB0D3A}" dt="2022-11-29T21:38:57.433" v="14023" actId="1035"/>
          <ac:cxnSpMkLst>
            <pc:docMk/>
            <pc:sldMk cId="4202844115" sldId="2076138192"/>
            <ac:cxnSpMk id="37" creationId="{F74C12DF-C674-4A49-AA6E-228B9B163868}"/>
          </ac:cxnSpMkLst>
        </pc:cxnChg>
      </pc:sldChg>
      <pc:sldChg chg="modSp del mod ord">
        <pc:chgData name="Kawtar SADIQ" userId="65df04e4-2d23-4bab-afb0-40df8a2c1b9f" providerId="ADAL" clId="{13E48CF6-3C07-4AA7-848A-1E964CBB0D3A}" dt="2022-12-01T16:53:46.673" v="28029" actId="47"/>
        <pc:sldMkLst>
          <pc:docMk/>
          <pc:sldMk cId="900587960" sldId="2076138193"/>
        </pc:sldMkLst>
        <pc:spChg chg="mod">
          <ac:chgData name="Kawtar SADIQ" userId="65df04e4-2d23-4bab-afb0-40df8a2c1b9f" providerId="ADAL" clId="{13E48CF6-3C07-4AA7-848A-1E964CBB0D3A}" dt="2022-11-30T09:28:21.241" v="15801"/>
          <ac:spMkLst>
            <pc:docMk/>
            <pc:sldMk cId="900587960" sldId="2076138193"/>
            <ac:spMk id="4" creationId="{27CA8741-8B14-478B-98F4-DF9C36105620}"/>
          </ac:spMkLst>
        </pc:spChg>
      </pc:sldChg>
      <pc:sldChg chg="addSp delSp modSp del mod">
        <pc:chgData name="Kawtar SADIQ" userId="65df04e4-2d23-4bab-afb0-40df8a2c1b9f" providerId="ADAL" clId="{13E48CF6-3C07-4AA7-848A-1E964CBB0D3A}" dt="2022-12-01T16:44:45.313" v="27978" actId="47"/>
        <pc:sldMkLst>
          <pc:docMk/>
          <pc:sldMk cId="4242148046" sldId="2076138194"/>
        </pc:sldMkLst>
        <pc:spChg chg="del mod">
          <ac:chgData name="Kawtar SADIQ" userId="65df04e4-2d23-4bab-afb0-40df8a2c1b9f" providerId="ADAL" clId="{13E48CF6-3C07-4AA7-848A-1E964CBB0D3A}" dt="2022-11-30T13:30:18.767" v="19362" actId="478"/>
          <ac:spMkLst>
            <pc:docMk/>
            <pc:sldMk cId="4242148046" sldId="2076138194"/>
            <ac:spMk id="3" creationId="{EA48CAD3-7416-4FD9-9808-73D732A7F6C7}"/>
          </ac:spMkLst>
        </pc:spChg>
        <pc:spChg chg="mod">
          <ac:chgData name="Kawtar SADIQ" userId="65df04e4-2d23-4bab-afb0-40df8a2c1b9f" providerId="ADAL" clId="{13E48CF6-3C07-4AA7-848A-1E964CBB0D3A}" dt="2022-11-30T09:36:31.239" v="16033" actId="123"/>
          <ac:spMkLst>
            <pc:docMk/>
            <pc:sldMk cId="4242148046" sldId="2076138194"/>
            <ac:spMk id="4" creationId="{DFE4ECB6-193A-41CD-8C1D-5A9AA8C9E006}"/>
          </ac:spMkLst>
        </pc:spChg>
        <pc:spChg chg="mod">
          <ac:chgData name="Kawtar SADIQ" userId="65df04e4-2d23-4bab-afb0-40df8a2c1b9f" providerId="ADAL" clId="{13E48CF6-3C07-4AA7-848A-1E964CBB0D3A}" dt="2022-11-30T09:45:53.794" v="16117" actId="1076"/>
          <ac:spMkLst>
            <pc:docMk/>
            <pc:sldMk cId="4242148046" sldId="2076138194"/>
            <ac:spMk id="9" creationId="{B9D16533-3C4E-49F8-8625-77A29914D708}"/>
          </ac:spMkLst>
        </pc:spChg>
        <pc:spChg chg="mod">
          <ac:chgData name="Kawtar SADIQ" userId="65df04e4-2d23-4bab-afb0-40df8a2c1b9f" providerId="ADAL" clId="{13E48CF6-3C07-4AA7-848A-1E964CBB0D3A}" dt="2022-11-30T09:38:09.305" v="16052" actId="20577"/>
          <ac:spMkLst>
            <pc:docMk/>
            <pc:sldMk cId="4242148046" sldId="2076138194"/>
            <ac:spMk id="13" creationId="{E22D3A68-8C63-4250-BAEB-59D55544985D}"/>
          </ac:spMkLst>
        </pc:spChg>
        <pc:spChg chg="del">
          <ac:chgData name="Kawtar SADIQ" userId="65df04e4-2d23-4bab-afb0-40df8a2c1b9f" providerId="ADAL" clId="{13E48CF6-3C07-4AA7-848A-1E964CBB0D3A}" dt="2022-11-30T09:36:03.209" v="16018" actId="478"/>
          <ac:spMkLst>
            <pc:docMk/>
            <pc:sldMk cId="4242148046" sldId="2076138194"/>
            <ac:spMk id="15" creationId="{864E3EB6-63A0-4187-87C2-15847F11EF55}"/>
          </ac:spMkLst>
        </pc:spChg>
        <pc:spChg chg="mod">
          <ac:chgData name="Kawtar SADIQ" userId="65df04e4-2d23-4bab-afb0-40df8a2c1b9f" providerId="ADAL" clId="{13E48CF6-3C07-4AA7-848A-1E964CBB0D3A}" dt="2022-11-30T09:38:30.309" v="16075" actId="1035"/>
          <ac:spMkLst>
            <pc:docMk/>
            <pc:sldMk cId="4242148046" sldId="2076138194"/>
            <ac:spMk id="17" creationId="{081C14F2-F0CF-453C-B5E6-3AB28B427042}"/>
          </ac:spMkLst>
        </pc:spChg>
        <pc:spChg chg="mod">
          <ac:chgData name="Kawtar SADIQ" userId="65df04e4-2d23-4bab-afb0-40df8a2c1b9f" providerId="ADAL" clId="{13E48CF6-3C07-4AA7-848A-1E964CBB0D3A}" dt="2022-11-28T12:29:41.739" v="2221" actId="113"/>
          <ac:spMkLst>
            <pc:docMk/>
            <pc:sldMk cId="4242148046" sldId="2076138194"/>
            <ac:spMk id="18" creationId="{59C85CC0-8072-4FC5-A63C-53061F14896F}"/>
          </ac:spMkLst>
        </pc:spChg>
        <pc:spChg chg="del mod">
          <ac:chgData name="Kawtar SADIQ" userId="65df04e4-2d23-4bab-afb0-40df8a2c1b9f" providerId="ADAL" clId="{13E48CF6-3C07-4AA7-848A-1E964CBB0D3A}" dt="2022-11-30T13:30:16.923" v="19361" actId="478"/>
          <ac:spMkLst>
            <pc:docMk/>
            <pc:sldMk cId="4242148046" sldId="2076138194"/>
            <ac:spMk id="18" creationId="{B6B3BCAA-E997-40CA-BC00-E0049A3DEC0E}"/>
          </ac:spMkLst>
        </pc:spChg>
        <pc:spChg chg="mod">
          <ac:chgData name="Kawtar SADIQ" userId="65df04e4-2d23-4bab-afb0-40df8a2c1b9f" providerId="ADAL" clId="{13E48CF6-3C07-4AA7-848A-1E964CBB0D3A}" dt="2022-11-29T11:24:55.166" v="8427" actId="20577"/>
          <ac:spMkLst>
            <pc:docMk/>
            <pc:sldMk cId="4242148046" sldId="2076138194"/>
            <ac:spMk id="19" creationId="{5969D71F-804D-435F-BF8F-6FA7698E4868}"/>
          </ac:spMkLst>
        </pc:spChg>
        <pc:spChg chg="add mod">
          <ac:chgData name="Kawtar SADIQ" userId="65df04e4-2d23-4bab-afb0-40df8a2c1b9f" providerId="ADAL" clId="{13E48CF6-3C07-4AA7-848A-1E964CBB0D3A}" dt="2022-11-28T15:15:55.228" v="3741" actId="1076"/>
          <ac:spMkLst>
            <pc:docMk/>
            <pc:sldMk cId="4242148046" sldId="2076138194"/>
            <ac:spMk id="20" creationId="{D43FBB6C-DC64-4FE2-9955-E5975EE587FE}"/>
          </ac:spMkLst>
        </pc:spChg>
        <pc:spChg chg="add mod">
          <ac:chgData name="Kawtar SADIQ" userId="65df04e4-2d23-4bab-afb0-40df8a2c1b9f" providerId="ADAL" clId="{13E48CF6-3C07-4AA7-848A-1E964CBB0D3A}" dt="2022-11-28T15:15:55.228" v="3741" actId="1076"/>
          <ac:spMkLst>
            <pc:docMk/>
            <pc:sldMk cId="4242148046" sldId="2076138194"/>
            <ac:spMk id="21" creationId="{0F502C7A-28B8-43A3-81A5-4F6BAABD73C7}"/>
          </ac:spMkLst>
        </pc:spChg>
        <pc:spChg chg="add mod topLvl">
          <ac:chgData name="Kawtar SADIQ" userId="65df04e4-2d23-4bab-afb0-40df8a2c1b9f" providerId="ADAL" clId="{13E48CF6-3C07-4AA7-848A-1E964CBB0D3A}" dt="2022-11-30T13:49:00.822" v="20068" actId="6549"/>
          <ac:spMkLst>
            <pc:docMk/>
            <pc:sldMk cId="4242148046" sldId="2076138194"/>
            <ac:spMk id="21" creationId="{E3E5D576-615A-432F-81B8-14705D567A26}"/>
          </ac:spMkLst>
        </pc:spChg>
        <pc:spChg chg="mod ord">
          <ac:chgData name="Kawtar SADIQ" userId="65df04e4-2d23-4bab-afb0-40df8a2c1b9f" providerId="ADAL" clId="{13E48CF6-3C07-4AA7-848A-1E964CBB0D3A}" dt="2022-11-30T13:47:48.878" v="20062" actId="207"/>
          <ac:spMkLst>
            <pc:docMk/>
            <pc:sldMk cId="4242148046" sldId="2076138194"/>
            <ac:spMk id="22" creationId="{25A0427D-C2B7-4B55-8335-F5A67F14BCD9}"/>
          </ac:spMkLst>
        </pc:spChg>
        <pc:spChg chg="mod">
          <ac:chgData name="Kawtar SADIQ" userId="65df04e4-2d23-4bab-afb0-40df8a2c1b9f" providerId="ADAL" clId="{13E48CF6-3C07-4AA7-848A-1E964CBB0D3A}" dt="2022-11-30T13:47:53.298" v="20063" actId="207"/>
          <ac:spMkLst>
            <pc:docMk/>
            <pc:sldMk cId="4242148046" sldId="2076138194"/>
            <ac:spMk id="23" creationId="{5885AC2F-934E-4876-B5C9-655B82CFDCC1}"/>
          </ac:spMkLst>
        </pc:spChg>
        <pc:spChg chg="mod topLvl">
          <ac:chgData name="Kawtar SADIQ" userId="65df04e4-2d23-4bab-afb0-40df8a2c1b9f" providerId="ADAL" clId="{13E48CF6-3C07-4AA7-848A-1E964CBB0D3A}" dt="2022-11-30T13:48:21.076" v="20067" actId="122"/>
          <ac:spMkLst>
            <pc:docMk/>
            <pc:sldMk cId="4242148046" sldId="2076138194"/>
            <ac:spMk id="25" creationId="{1A96640A-8828-47F5-AC1E-CD388212CB4B}"/>
          </ac:spMkLst>
        </pc:spChg>
        <pc:spChg chg="mod">
          <ac:chgData name="Kawtar SADIQ" userId="65df04e4-2d23-4bab-afb0-40df8a2c1b9f" providerId="ADAL" clId="{13E48CF6-3C07-4AA7-848A-1E964CBB0D3A}" dt="2022-11-30T13:47:57.404" v="20064" actId="207"/>
          <ac:spMkLst>
            <pc:docMk/>
            <pc:sldMk cId="4242148046" sldId="2076138194"/>
            <ac:spMk id="26" creationId="{D82B2754-BF0C-48F0-BB0B-64A6A0DA6F75}"/>
          </ac:spMkLst>
        </pc:spChg>
        <pc:spChg chg="mod">
          <ac:chgData name="Kawtar SADIQ" userId="65df04e4-2d23-4bab-afb0-40df8a2c1b9f" providerId="ADAL" clId="{13E48CF6-3C07-4AA7-848A-1E964CBB0D3A}" dt="2022-11-30T13:48:06.272" v="20065" actId="207"/>
          <ac:spMkLst>
            <pc:docMk/>
            <pc:sldMk cId="4242148046" sldId="2076138194"/>
            <ac:spMk id="27" creationId="{6A89A6D0-1C67-412C-99FE-1868B5AD8339}"/>
          </ac:spMkLst>
        </pc:spChg>
        <pc:spChg chg="mod">
          <ac:chgData name="Kawtar SADIQ" userId="65df04e4-2d23-4bab-afb0-40df8a2c1b9f" providerId="ADAL" clId="{13E48CF6-3C07-4AA7-848A-1E964CBB0D3A}" dt="2022-11-30T13:48:10.263" v="20066" actId="207"/>
          <ac:spMkLst>
            <pc:docMk/>
            <pc:sldMk cId="4242148046" sldId="2076138194"/>
            <ac:spMk id="28" creationId="{7F5A8520-83C4-4BBE-96EF-CA5D172E6545}"/>
          </ac:spMkLst>
        </pc:spChg>
        <pc:spChg chg="add mod">
          <ac:chgData name="Kawtar SADIQ" userId="65df04e4-2d23-4bab-afb0-40df8a2c1b9f" providerId="ADAL" clId="{13E48CF6-3C07-4AA7-848A-1E964CBB0D3A}" dt="2022-11-30T09:39:05.063" v="16079" actId="1076"/>
          <ac:spMkLst>
            <pc:docMk/>
            <pc:sldMk cId="4242148046" sldId="2076138194"/>
            <ac:spMk id="29" creationId="{A89F46EA-6EDE-4127-B5BC-CF7D38121E22}"/>
          </ac:spMkLst>
        </pc:spChg>
        <pc:spChg chg="add mod">
          <ac:chgData name="Kawtar SADIQ" userId="65df04e4-2d23-4bab-afb0-40df8a2c1b9f" providerId="ADAL" clId="{13E48CF6-3C07-4AA7-848A-1E964CBB0D3A}" dt="2022-11-30T09:38:30.309" v="16075" actId="1035"/>
          <ac:spMkLst>
            <pc:docMk/>
            <pc:sldMk cId="4242148046" sldId="2076138194"/>
            <ac:spMk id="31" creationId="{DA295656-5D46-4698-BEB4-332C6F2A7E12}"/>
          </ac:spMkLst>
        </pc:spChg>
        <pc:spChg chg="add mod">
          <ac:chgData name="Kawtar SADIQ" userId="65df04e4-2d23-4bab-afb0-40df8a2c1b9f" providerId="ADAL" clId="{13E48CF6-3C07-4AA7-848A-1E964CBB0D3A}" dt="2022-11-30T09:39:00.311" v="16076" actId="1076"/>
          <ac:spMkLst>
            <pc:docMk/>
            <pc:sldMk cId="4242148046" sldId="2076138194"/>
            <ac:spMk id="33" creationId="{3B2B3B86-D3C3-4542-BFF6-4D99E4C0E7AD}"/>
          </ac:spMkLst>
        </pc:spChg>
        <pc:spChg chg="add del mod">
          <ac:chgData name="Kawtar SADIQ" userId="65df04e4-2d23-4bab-afb0-40df8a2c1b9f" providerId="ADAL" clId="{13E48CF6-3C07-4AA7-848A-1E964CBB0D3A}" dt="2022-11-30T13:30:21.332" v="19364" actId="478"/>
          <ac:spMkLst>
            <pc:docMk/>
            <pc:sldMk cId="4242148046" sldId="2076138194"/>
            <ac:spMk id="37" creationId="{FEE325D1-E47D-4B19-9644-4C2AE67680B9}"/>
          </ac:spMkLst>
        </pc:spChg>
        <pc:spChg chg="add del mod">
          <ac:chgData name="Kawtar SADIQ" userId="65df04e4-2d23-4bab-afb0-40df8a2c1b9f" providerId="ADAL" clId="{13E48CF6-3C07-4AA7-848A-1E964CBB0D3A}" dt="2022-11-30T12:56:56.823" v="18707" actId="478"/>
          <ac:spMkLst>
            <pc:docMk/>
            <pc:sldMk cId="4242148046" sldId="2076138194"/>
            <ac:spMk id="38" creationId="{1B4E54A5-EA66-4DA8-9AAC-79BA1414C5D4}"/>
          </ac:spMkLst>
        </pc:spChg>
        <pc:spChg chg="add del mod ord">
          <ac:chgData name="Kawtar SADIQ" userId="65df04e4-2d23-4bab-afb0-40df8a2c1b9f" providerId="ADAL" clId="{13E48CF6-3C07-4AA7-848A-1E964CBB0D3A}" dt="2022-11-30T12:56:58.912" v="18708" actId="478"/>
          <ac:spMkLst>
            <pc:docMk/>
            <pc:sldMk cId="4242148046" sldId="2076138194"/>
            <ac:spMk id="39" creationId="{8B7798C0-EAB3-4A1F-919D-8DDE8A564EFB}"/>
          </ac:spMkLst>
        </pc:spChg>
        <pc:spChg chg="add del mod ord">
          <ac:chgData name="Kawtar SADIQ" userId="65df04e4-2d23-4bab-afb0-40df8a2c1b9f" providerId="ADAL" clId="{13E48CF6-3C07-4AA7-848A-1E964CBB0D3A}" dt="2022-11-30T13:08:54.133" v="18842" actId="478"/>
          <ac:spMkLst>
            <pc:docMk/>
            <pc:sldMk cId="4242148046" sldId="2076138194"/>
            <ac:spMk id="40" creationId="{67C1C4EC-F587-49B2-A923-C78219EAD336}"/>
          </ac:spMkLst>
        </pc:spChg>
        <pc:spChg chg="add del mod">
          <ac:chgData name="Kawtar SADIQ" userId="65df04e4-2d23-4bab-afb0-40df8a2c1b9f" providerId="ADAL" clId="{13E48CF6-3C07-4AA7-848A-1E964CBB0D3A}" dt="2022-11-30T13:08:52.139" v="18841" actId="478"/>
          <ac:spMkLst>
            <pc:docMk/>
            <pc:sldMk cId="4242148046" sldId="2076138194"/>
            <ac:spMk id="41" creationId="{5EB2E1E8-F340-4432-B5D1-A17738CF8047}"/>
          </ac:spMkLst>
        </pc:spChg>
        <pc:spChg chg="add mod">
          <ac:chgData name="Kawtar SADIQ" userId="65df04e4-2d23-4bab-afb0-40df8a2c1b9f" providerId="ADAL" clId="{13E48CF6-3C07-4AA7-848A-1E964CBB0D3A}" dt="2022-11-30T13:13:46.154" v="19104" actId="403"/>
          <ac:spMkLst>
            <pc:docMk/>
            <pc:sldMk cId="4242148046" sldId="2076138194"/>
            <ac:spMk id="42" creationId="{072D7D0F-EDF4-4795-BD0E-D390EC7AE1D9}"/>
          </ac:spMkLst>
        </pc:spChg>
        <pc:spChg chg="add mod">
          <ac:chgData name="Kawtar SADIQ" userId="65df04e4-2d23-4bab-afb0-40df8a2c1b9f" providerId="ADAL" clId="{13E48CF6-3C07-4AA7-848A-1E964CBB0D3A}" dt="2022-11-30T13:13:48.427" v="19105" actId="403"/>
          <ac:spMkLst>
            <pc:docMk/>
            <pc:sldMk cId="4242148046" sldId="2076138194"/>
            <ac:spMk id="43" creationId="{7D722F1C-128A-4F60-89C0-32BCEF952E62}"/>
          </ac:spMkLst>
        </pc:spChg>
        <pc:spChg chg="add mod">
          <ac:chgData name="Kawtar SADIQ" userId="65df04e4-2d23-4bab-afb0-40df8a2c1b9f" providerId="ADAL" clId="{13E48CF6-3C07-4AA7-848A-1E964CBB0D3A}" dt="2022-11-30T13:13:51.463" v="19106" actId="403"/>
          <ac:spMkLst>
            <pc:docMk/>
            <pc:sldMk cId="4242148046" sldId="2076138194"/>
            <ac:spMk id="44" creationId="{A652927C-F707-4E5C-A50A-E583A4B3C76A}"/>
          </ac:spMkLst>
        </pc:spChg>
        <pc:spChg chg="add mod">
          <ac:chgData name="Kawtar SADIQ" userId="65df04e4-2d23-4bab-afb0-40df8a2c1b9f" providerId="ADAL" clId="{13E48CF6-3C07-4AA7-848A-1E964CBB0D3A}" dt="2022-11-30T13:14:00.633" v="19107" actId="403"/>
          <ac:spMkLst>
            <pc:docMk/>
            <pc:sldMk cId="4242148046" sldId="2076138194"/>
            <ac:spMk id="45" creationId="{3EFB9033-D53E-446E-9244-2FCEED140751}"/>
          </ac:spMkLst>
        </pc:spChg>
        <pc:spChg chg="add mod">
          <ac:chgData name="Kawtar SADIQ" userId="65df04e4-2d23-4bab-afb0-40df8a2c1b9f" providerId="ADAL" clId="{13E48CF6-3C07-4AA7-848A-1E964CBB0D3A}" dt="2022-11-30T13:14:03.327" v="19108" actId="403"/>
          <ac:spMkLst>
            <pc:docMk/>
            <pc:sldMk cId="4242148046" sldId="2076138194"/>
            <ac:spMk id="46" creationId="{847F8294-876C-4E1F-931C-E01D8429BD81}"/>
          </ac:spMkLst>
        </pc:spChg>
        <pc:spChg chg="add mod">
          <ac:chgData name="Kawtar SADIQ" userId="65df04e4-2d23-4bab-afb0-40df8a2c1b9f" providerId="ADAL" clId="{13E48CF6-3C07-4AA7-848A-1E964CBB0D3A}" dt="2022-11-30T13:14:05.737" v="19109" actId="403"/>
          <ac:spMkLst>
            <pc:docMk/>
            <pc:sldMk cId="4242148046" sldId="2076138194"/>
            <ac:spMk id="47" creationId="{1B542DFB-8E9C-43CB-BBF9-DEDDB4CFF7AB}"/>
          </ac:spMkLst>
        </pc:spChg>
        <pc:spChg chg="mod">
          <ac:chgData name="Kawtar SADIQ" userId="65df04e4-2d23-4bab-afb0-40df8a2c1b9f" providerId="ADAL" clId="{13E48CF6-3C07-4AA7-848A-1E964CBB0D3A}" dt="2022-11-30T13:49:41.624" v="20070" actId="14100"/>
          <ac:spMkLst>
            <pc:docMk/>
            <pc:sldMk cId="4242148046" sldId="2076138194"/>
            <ac:spMk id="51" creationId="{30894525-FD72-4F91-844F-122239469A7F}"/>
          </ac:spMkLst>
        </pc:spChg>
        <pc:spChg chg="mod">
          <ac:chgData name="Kawtar SADIQ" userId="65df04e4-2d23-4bab-afb0-40df8a2c1b9f" providerId="ADAL" clId="{13E48CF6-3C07-4AA7-848A-1E964CBB0D3A}" dt="2022-11-30T13:49:58.423" v="20076" actId="1037"/>
          <ac:spMkLst>
            <pc:docMk/>
            <pc:sldMk cId="4242148046" sldId="2076138194"/>
            <ac:spMk id="52" creationId="{49198256-FC93-4175-9F6D-E1245EFAEB49}"/>
          </ac:spMkLst>
        </pc:spChg>
        <pc:spChg chg="add mod">
          <ac:chgData name="Kawtar SADIQ" userId="65df04e4-2d23-4bab-afb0-40df8a2c1b9f" providerId="ADAL" clId="{13E48CF6-3C07-4AA7-848A-1E964CBB0D3A}" dt="2022-11-30T13:50:40.511" v="20080" actId="113"/>
          <ac:spMkLst>
            <pc:docMk/>
            <pc:sldMk cId="4242148046" sldId="2076138194"/>
            <ac:spMk id="54" creationId="{745720B6-84C7-4720-85AF-2F162D44B4BA}"/>
          </ac:spMkLst>
        </pc:spChg>
        <pc:grpChg chg="add del mod">
          <ac:chgData name="Kawtar SADIQ" userId="65df04e4-2d23-4bab-afb0-40df8a2c1b9f" providerId="ADAL" clId="{13E48CF6-3C07-4AA7-848A-1E964CBB0D3A}" dt="2022-11-30T13:26:20.574" v="19288" actId="165"/>
          <ac:grpSpMkLst>
            <pc:docMk/>
            <pc:sldMk cId="4242148046" sldId="2076138194"/>
            <ac:grpSpMk id="36" creationId="{ACE72D11-387F-4683-9E45-03FBA78E0572}"/>
          </ac:grpSpMkLst>
        </pc:grpChg>
        <pc:grpChg chg="add mod ord">
          <ac:chgData name="Kawtar SADIQ" userId="65df04e4-2d23-4bab-afb0-40df8a2c1b9f" providerId="ADAL" clId="{13E48CF6-3C07-4AA7-848A-1E964CBB0D3A}" dt="2022-11-30T13:44:08.217" v="19971" actId="1076"/>
          <ac:grpSpMkLst>
            <pc:docMk/>
            <pc:sldMk cId="4242148046" sldId="2076138194"/>
            <ac:grpSpMk id="50" creationId="{EDCB1BD2-4777-497E-A3E4-557C85485E17}"/>
          </ac:grpSpMkLst>
        </pc:grpChg>
        <pc:picChg chg="add mod topLvl">
          <ac:chgData name="Kawtar SADIQ" userId="65df04e4-2d23-4bab-afb0-40df8a2c1b9f" providerId="ADAL" clId="{13E48CF6-3C07-4AA7-848A-1E964CBB0D3A}" dt="2022-12-01T12:44:06.619" v="27598" actId="207"/>
          <ac:picMkLst>
            <pc:docMk/>
            <pc:sldMk cId="4242148046" sldId="2076138194"/>
            <ac:picMk id="20" creationId="{2BD3836F-C967-49E6-A408-FB364494F018}"/>
          </ac:picMkLst>
        </pc:picChg>
        <pc:picChg chg="del">
          <ac:chgData name="Kawtar SADIQ" userId="65df04e4-2d23-4bab-afb0-40df8a2c1b9f" providerId="ADAL" clId="{13E48CF6-3C07-4AA7-848A-1E964CBB0D3A}" dt="2022-11-30T09:36:03.209" v="16018" actId="478"/>
          <ac:picMkLst>
            <pc:docMk/>
            <pc:sldMk cId="4242148046" sldId="2076138194"/>
            <ac:picMk id="24" creationId="{07A552B2-1363-45E7-BB1D-2B6DAE61A8ED}"/>
          </ac:picMkLst>
        </pc:picChg>
        <pc:picChg chg="add mod">
          <ac:chgData name="Kawtar SADIQ" userId="65df04e4-2d23-4bab-afb0-40df8a2c1b9f" providerId="ADAL" clId="{13E48CF6-3C07-4AA7-848A-1E964CBB0D3A}" dt="2022-11-30T09:38:30.309" v="16075" actId="1035"/>
          <ac:picMkLst>
            <pc:docMk/>
            <pc:sldMk cId="4242148046" sldId="2076138194"/>
            <ac:picMk id="30" creationId="{684F6630-AA47-4A87-B452-5FF7C024A5C0}"/>
          </ac:picMkLst>
        </pc:picChg>
        <pc:picChg chg="add del mod">
          <ac:chgData name="Kawtar SADIQ" userId="65df04e4-2d23-4bab-afb0-40df8a2c1b9f" providerId="ADAL" clId="{13E48CF6-3C07-4AA7-848A-1E964CBB0D3A}" dt="2022-11-30T12:06:08.798" v="18411" actId="478"/>
          <ac:picMkLst>
            <pc:docMk/>
            <pc:sldMk cId="4242148046" sldId="2076138194"/>
            <ac:picMk id="34" creationId="{869D6421-1F5A-49B1-8377-3A71982107C5}"/>
          </ac:picMkLst>
        </pc:picChg>
        <pc:picChg chg="add mod">
          <ac:chgData name="Kawtar SADIQ" userId="65df04e4-2d23-4bab-afb0-40df8a2c1b9f" providerId="ADAL" clId="{13E48CF6-3C07-4AA7-848A-1E964CBB0D3A}" dt="2022-12-01T12:44:11.279" v="27599" actId="207"/>
          <ac:picMkLst>
            <pc:docMk/>
            <pc:sldMk cId="4242148046" sldId="2076138194"/>
            <ac:picMk id="35" creationId="{D6AA55A7-A03D-45DC-9B22-54D2CFC8DFB8}"/>
          </ac:picMkLst>
        </pc:picChg>
        <pc:picChg chg="add mod">
          <ac:chgData name="Kawtar SADIQ" userId="65df04e4-2d23-4bab-afb0-40df8a2c1b9f" providerId="ADAL" clId="{13E48CF6-3C07-4AA7-848A-1E964CBB0D3A}" dt="2022-11-30T13:33:40.953" v="19597" actId="1036"/>
          <ac:picMkLst>
            <pc:docMk/>
            <pc:sldMk cId="4242148046" sldId="2076138194"/>
            <ac:picMk id="49" creationId="{FAF2B024-65A7-4785-8BD7-6DCB35102D45}"/>
          </ac:picMkLst>
        </pc:picChg>
        <pc:cxnChg chg="del">
          <ac:chgData name="Kawtar SADIQ" userId="65df04e4-2d23-4bab-afb0-40df8a2c1b9f" providerId="ADAL" clId="{13E48CF6-3C07-4AA7-848A-1E964CBB0D3A}" dt="2022-11-30T09:36:03.209" v="16018" actId="478"/>
          <ac:cxnSpMkLst>
            <pc:docMk/>
            <pc:sldMk cId="4242148046" sldId="2076138194"/>
            <ac:cxnSpMk id="16" creationId="{B8AE57C4-69CE-4608-8DDB-7E6E3218F160}"/>
          </ac:cxnSpMkLst>
        </pc:cxnChg>
        <pc:cxnChg chg="add mod">
          <ac:chgData name="Kawtar SADIQ" userId="65df04e4-2d23-4bab-afb0-40df8a2c1b9f" providerId="ADAL" clId="{13E48CF6-3C07-4AA7-848A-1E964CBB0D3A}" dt="2022-11-30T12:54:37.632" v="18661" actId="1076"/>
          <ac:cxnSpMkLst>
            <pc:docMk/>
            <pc:sldMk cId="4242148046" sldId="2076138194"/>
            <ac:cxnSpMk id="32" creationId="{B9E8BAD9-D2D0-43FF-8EA8-7394656A41F6}"/>
          </ac:cxnSpMkLst>
        </pc:cxnChg>
      </pc:sldChg>
      <pc:sldChg chg="delSp modSp add del mod">
        <pc:chgData name="Kawtar SADIQ" userId="65df04e4-2d23-4bab-afb0-40df8a2c1b9f" providerId="ADAL" clId="{13E48CF6-3C07-4AA7-848A-1E964CBB0D3A}" dt="2022-12-01T16:42:56.413" v="27954" actId="47"/>
        <pc:sldMkLst>
          <pc:docMk/>
          <pc:sldMk cId="2276119336" sldId="2076138195"/>
        </pc:sldMkLst>
        <pc:spChg chg="mod">
          <ac:chgData name="Kawtar SADIQ" userId="65df04e4-2d23-4bab-afb0-40df8a2c1b9f" providerId="ADAL" clId="{13E48CF6-3C07-4AA7-848A-1E964CBB0D3A}" dt="2022-11-28T19:00:14.201" v="5011" actId="14100"/>
          <ac:spMkLst>
            <pc:docMk/>
            <pc:sldMk cId="2276119336" sldId="2076138195"/>
            <ac:spMk id="2" creationId="{E11BF5BD-75C4-4E77-9598-7225EFF82CC5}"/>
          </ac:spMkLst>
        </pc:spChg>
        <pc:spChg chg="mod">
          <ac:chgData name="Kawtar SADIQ" userId="65df04e4-2d23-4bab-afb0-40df8a2c1b9f" providerId="ADAL" clId="{13E48CF6-3C07-4AA7-848A-1E964CBB0D3A}" dt="2022-11-28T18:17:45.063" v="4719" actId="20577"/>
          <ac:spMkLst>
            <pc:docMk/>
            <pc:sldMk cId="2276119336" sldId="2076138195"/>
            <ac:spMk id="3" creationId="{682B979F-3C43-411F-AC92-06B92AF8AD62}"/>
          </ac:spMkLst>
        </pc:spChg>
        <pc:spChg chg="mod">
          <ac:chgData name="Kawtar SADIQ" userId="65df04e4-2d23-4bab-afb0-40df8a2c1b9f" providerId="ADAL" clId="{13E48CF6-3C07-4AA7-848A-1E964CBB0D3A}" dt="2022-12-01T14:12:11.420" v="27850" actId="113"/>
          <ac:spMkLst>
            <pc:docMk/>
            <pc:sldMk cId="2276119336" sldId="2076138195"/>
            <ac:spMk id="4" creationId="{DFE4ECB6-193A-41CD-8C1D-5A9AA8C9E006}"/>
          </ac:spMkLst>
        </pc:spChg>
        <pc:spChg chg="mod">
          <ac:chgData name="Kawtar SADIQ" userId="65df04e4-2d23-4bab-afb0-40df8a2c1b9f" providerId="ADAL" clId="{13E48CF6-3C07-4AA7-848A-1E964CBB0D3A}" dt="2022-11-28T13:44:53.844" v="2820" actId="1035"/>
          <ac:spMkLst>
            <pc:docMk/>
            <pc:sldMk cId="2276119336" sldId="2076138195"/>
            <ac:spMk id="10" creationId="{2C1BE3D3-AF86-4F00-99E9-C106820D1EEC}"/>
          </ac:spMkLst>
        </pc:spChg>
        <pc:spChg chg="mod">
          <ac:chgData name="Kawtar SADIQ" userId="65df04e4-2d23-4bab-afb0-40df8a2c1b9f" providerId="ADAL" clId="{13E48CF6-3C07-4AA7-848A-1E964CBB0D3A}" dt="2022-11-28T18:56:18.131" v="4931" actId="20577"/>
          <ac:spMkLst>
            <pc:docMk/>
            <pc:sldMk cId="2276119336" sldId="2076138195"/>
            <ac:spMk id="13" creationId="{E22D3A68-8C63-4250-BAEB-59D55544985D}"/>
          </ac:spMkLst>
        </pc:spChg>
        <pc:spChg chg="mod">
          <ac:chgData name="Kawtar SADIQ" userId="65df04e4-2d23-4bab-afb0-40df8a2c1b9f" providerId="ADAL" clId="{13E48CF6-3C07-4AA7-848A-1E964CBB0D3A}" dt="2022-11-28T13:44:53.112" v="2819" actId="1037"/>
          <ac:spMkLst>
            <pc:docMk/>
            <pc:sldMk cId="2276119336" sldId="2076138195"/>
            <ac:spMk id="15" creationId="{864E3EB6-63A0-4187-87C2-15847F11EF55}"/>
          </ac:spMkLst>
        </pc:spChg>
        <pc:spChg chg="mod">
          <ac:chgData name="Kawtar SADIQ" userId="65df04e4-2d23-4bab-afb0-40df8a2c1b9f" providerId="ADAL" clId="{13E48CF6-3C07-4AA7-848A-1E964CBB0D3A}" dt="2022-11-28T17:51:59.586" v="4255" actId="12"/>
          <ac:spMkLst>
            <pc:docMk/>
            <pc:sldMk cId="2276119336" sldId="2076138195"/>
            <ac:spMk id="17" creationId="{081C14F2-F0CF-453C-B5E6-3AB28B427042}"/>
          </ac:spMkLst>
        </pc:spChg>
        <pc:spChg chg="mod">
          <ac:chgData name="Kawtar SADIQ" userId="65df04e4-2d23-4bab-afb0-40df8a2c1b9f" providerId="ADAL" clId="{13E48CF6-3C07-4AA7-848A-1E964CBB0D3A}" dt="2022-11-28T18:16:29.477" v="4707" actId="14100"/>
          <ac:spMkLst>
            <pc:docMk/>
            <pc:sldMk cId="2276119336" sldId="2076138195"/>
            <ac:spMk id="65" creationId="{B959AFFE-BCAB-45A9-8A9D-C1766115D6E9}"/>
          </ac:spMkLst>
        </pc:spChg>
        <pc:spChg chg="mod">
          <ac:chgData name="Kawtar SADIQ" userId="65df04e4-2d23-4bab-afb0-40df8a2c1b9f" providerId="ADAL" clId="{13E48CF6-3C07-4AA7-848A-1E964CBB0D3A}" dt="2022-11-29T11:17:36.768" v="8246" actId="13926"/>
          <ac:spMkLst>
            <pc:docMk/>
            <pc:sldMk cId="2276119336" sldId="2076138195"/>
            <ac:spMk id="69" creationId="{3CBF212F-0C7D-4BA2-814A-07D4343A3112}"/>
          </ac:spMkLst>
        </pc:spChg>
        <pc:spChg chg="del">
          <ac:chgData name="Kawtar SADIQ" userId="65df04e4-2d23-4bab-afb0-40df8a2c1b9f" providerId="ADAL" clId="{13E48CF6-3C07-4AA7-848A-1E964CBB0D3A}" dt="2022-11-28T13:36:24.080" v="2355" actId="478"/>
          <ac:spMkLst>
            <pc:docMk/>
            <pc:sldMk cId="2276119336" sldId="2076138195"/>
            <ac:spMk id="70" creationId="{E0626E85-C545-4800-BDEA-3231E59607AE}"/>
          </ac:spMkLst>
        </pc:spChg>
        <pc:spChg chg="del">
          <ac:chgData name="Kawtar SADIQ" userId="65df04e4-2d23-4bab-afb0-40df8a2c1b9f" providerId="ADAL" clId="{13E48CF6-3C07-4AA7-848A-1E964CBB0D3A}" dt="2022-11-28T13:36:27.311" v="2356" actId="478"/>
          <ac:spMkLst>
            <pc:docMk/>
            <pc:sldMk cId="2276119336" sldId="2076138195"/>
            <ac:spMk id="80" creationId="{D74B51B2-6D65-4F7C-88C5-AC5E0BB8B17F}"/>
          </ac:spMkLst>
        </pc:spChg>
        <pc:spChg chg="mod">
          <ac:chgData name="Kawtar SADIQ" userId="65df04e4-2d23-4bab-afb0-40df8a2c1b9f" providerId="ADAL" clId="{13E48CF6-3C07-4AA7-848A-1E964CBB0D3A}" dt="2022-11-28T17:58:08.873" v="4302" actId="113"/>
          <ac:spMkLst>
            <pc:docMk/>
            <pc:sldMk cId="2276119336" sldId="2076138195"/>
            <ac:spMk id="93" creationId="{7D7991E1-5821-4FA7-8000-F9170B37A40E}"/>
          </ac:spMkLst>
        </pc:spChg>
        <pc:spChg chg="mod">
          <ac:chgData name="Kawtar SADIQ" userId="65df04e4-2d23-4bab-afb0-40df8a2c1b9f" providerId="ADAL" clId="{13E48CF6-3C07-4AA7-848A-1E964CBB0D3A}" dt="2022-11-28T15:42:23.437" v="3754" actId="207"/>
          <ac:spMkLst>
            <pc:docMk/>
            <pc:sldMk cId="2276119336" sldId="2076138195"/>
            <ac:spMk id="100" creationId="{CBA95CF9-9388-4E09-9CE4-D8B88B4CD491}"/>
          </ac:spMkLst>
        </pc:spChg>
        <pc:spChg chg="mod">
          <ac:chgData name="Kawtar SADIQ" userId="65df04e4-2d23-4bab-afb0-40df8a2c1b9f" providerId="ADAL" clId="{13E48CF6-3C07-4AA7-848A-1E964CBB0D3A}" dt="2022-11-28T15:42:30.872" v="3756" actId="207"/>
          <ac:spMkLst>
            <pc:docMk/>
            <pc:sldMk cId="2276119336" sldId="2076138195"/>
            <ac:spMk id="101" creationId="{82116F28-F3CA-4E18-B6E9-5688B5F8F2CF}"/>
          </ac:spMkLst>
        </pc:spChg>
        <pc:spChg chg="mod">
          <ac:chgData name="Kawtar SADIQ" userId="65df04e4-2d23-4bab-afb0-40df8a2c1b9f" providerId="ADAL" clId="{13E48CF6-3C07-4AA7-848A-1E964CBB0D3A}" dt="2022-11-28T15:42:33.698" v="3757" actId="207"/>
          <ac:spMkLst>
            <pc:docMk/>
            <pc:sldMk cId="2276119336" sldId="2076138195"/>
            <ac:spMk id="102" creationId="{370D9CBA-E0CF-42FD-ACA9-AEEE033A58C0}"/>
          </ac:spMkLst>
        </pc:spChg>
        <pc:spChg chg="mod">
          <ac:chgData name="Kawtar SADIQ" userId="65df04e4-2d23-4bab-afb0-40df8a2c1b9f" providerId="ADAL" clId="{13E48CF6-3C07-4AA7-848A-1E964CBB0D3A}" dt="2022-11-28T15:42:27.658" v="3755" actId="207"/>
          <ac:spMkLst>
            <pc:docMk/>
            <pc:sldMk cId="2276119336" sldId="2076138195"/>
            <ac:spMk id="103" creationId="{3ED5C3CA-D789-42F7-A81A-F1022462E5F4}"/>
          </ac:spMkLst>
        </pc:spChg>
        <pc:spChg chg="mod">
          <ac:chgData name="Kawtar SADIQ" userId="65df04e4-2d23-4bab-afb0-40df8a2c1b9f" providerId="ADAL" clId="{13E48CF6-3C07-4AA7-848A-1E964CBB0D3A}" dt="2022-11-28T18:03:21.143" v="4432" actId="14100"/>
          <ac:spMkLst>
            <pc:docMk/>
            <pc:sldMk cId="2276119336" sldId="2076138195"/>
            <ac:spMk id="120" creationId="{C60DBE9D-DD47-4C49-893B-005402689A2C}"/>
          </ac:spMkLst>
        </pc:spChg>
        <pc:spChg chg="mod">
          <ac:chgData name="Kawtar SADIQ" userId="65df04e4-2d23-4bab-afb0-40df8a2c1b9f" providerId="ADAL" clId="{13E48CF6-3C07-4AA7-848A-1E964CBB0D3A}" dt="2022-11-28T18:02:53.833" v="4430" actId="114"/>
          <ac:spMkLst>
            <pc:docMk/>
            <pc:sldMk cId="2276119336" sldId="2076138195"/>
            <ac:spMk id="127" creationId="{0F123CAD-DEF9-4087-A89E-2EE8A89E646A}"/>
          </ac:spMkLst>
        </pc:spChg>
        <pc:picChg chg="mod">
          <ac:chgData name="Kawtar SADIQ" userId="65df04e4-2d23-4bab-afb0-40df8a2c1b9f" providerId="ADAL" clId="{13E48CF6-3C07-4AA7-848A-1E964CBB0D3A}" dt="2022-11-28T13:44:53.844" v="2820" actId="1035"/>
          <ac:picMkLst>
            <pc:docMk/>
            <pc:sldMk cId="2276119336" sldId="2076138195"/>
            <ac:picMk id="6" creationId="{CCA51F63-3D45-49D1-A294-FEE7069F69F3}"/>
          </ac:picMkLst>
        </pc:picChg>
        <pc:picChg chg="mod">
          <ac:chgData name="Kawtar SADIQ" userId="65df04e4-2d23-4bab-afb0-40df8a2c1b9f" providerId="ADAL" clId="{13E48CF6-3C07-4AA7-848A-1E964CBB0D3A}" dt="2022-11-28T13:44:53.112" v="2819" actId="1037"/>
          <ac:picMkLst>
            <pc:docMk/>
            <pc:sldMk cId="2276119336" sldId="2076138195"/>
            <ac:picMk id="24" creationId="{07A552B2-1363-45E7-BB1D-2B6DAE61A8ED}"/>
          </ac:picMkLst>
        </pc:picChg>
        <pc:cxnChg chg="mod">
          <ac:chgData name="Kawtar SADIQ" userId="65df04e4-2d23-4bab-afb0-40df8a2c1b9f" providerId="ADAL" clId="{13E48CF6-3C07-4AA7-848A-1E964CBB0D3A}" dt="2022-11-28T13:44:53.844" v="2820" actId="1035"/>
          <ac:cxnSpMkLst>
            <pc:docMk/>
            <pc:sldMk cId="2276119336" sldId="2076138195"/>
            <ac:cxnSpMk id="14" creationId="{CA362DFC-94B7-4CD5-8459-C95A5EA44217}"/>
          </ac:cxnSpMkLst>
        </pc:cxnChg>
        <pc:cxnChg chg="mod">
          <ac:chgData name="Kawtar SADIQ" userId="65df04e4-2d23-4bab-afb0-40df8a2c1b9f" providerId="ADAL" clId="{13E48CF6-3C07-4AA7-848A-1E964CBB0D3A}" dt="2022-11-28T13:44:53.112" v="2819" actId="1037"/>
          <ac:cxnSpMkLst>
            <pc:docMk/>
            <pc:sldMk cId="2276119336" sldId="2076138195"/>
            <ac:cxnSpMk id="16" creationId="{B8AE57C4-69CE-4608-8DDB-7E6E3218F160}"/>
          </ac:cxnSpMkLst>
        </pc:cxnChg>
        <pc:cxnChg chg="mod">
          <ac:chgData name="Kawtar SADIQ" userId="65df04e4-2d23-4bab-afb0-40df8a2c1b9f" providerId="ADAL" clId="{13E48CF6-3C07-4AA7-848A-1E964CBB0D3A}" dt="2022-11-28T15:42:39.019" v="3758" actId="208"/>
          <ac:cxnSpMkLst>
            <pc:docMk/>
            <pc:sldMk cId="2276119336" sldId="2076138195"/>
            <ac:cxnSpMk id="62" creationId="{8E73E7EA-28C9-4A7C-9193-BD8E6AEBA81E}"/>
          </ac:cxnSpMkLst>
        </pc:cxnChg>
        <pc:cxnChg chg="mod">
          <ac:chgData name="Kawtar SADIQ" userId="65df04e4-2d23-4bab-afb0-40df8a2c1b9f" providerId="ADAL" clId="{13E48CF6-3C07-4AA7-848A-1E964CBB0D3A}" dt="2022-11-28T15:42:43.884" v="3759" actId="208"/>
          <ac:cxnSpMkLst>
            <pc:docMk/>
            <pc:sldMk cId="2276119336" sldId="2076138195"/>
            <ac:cxnSpMk id="77" creationId="{48640575-DA80-4657-9FE7-3C4F877F77E3}"/>
          </ac:cxnSpMkLst>
        </pc:cxnChg>
      </pc:sldChg>
      <pc:sldChg chg="addSp delSp add del mod">
        <pc:chgData name="Kawtar SADIQ" userId="65df04e4-2d23-4bab-afb0-40df8a2c1b9f" providerId="ADAL" clId="{13E48CF6-3C07-4AA7-848A-1E964CBB0D3A}" dt="2022-12-01T16:54:01.420" v="28032" actId="47"/>
        <pc:sldMkLst>
          <pc:docMk/>
          <pc:sldMk cId="1458253537" sldId="2076138196"/>
        </pc:sldMkLst>
        <pc:spChg chg="add del">
          <ac:chgData name="Kawtar SADIQ" userId="65df04e4-2d23-4bab-afb0-40df8a2c1b9f" providerId="ADAL" clId="{13E48CF6-3C07-4AA7-848A-1E964CBB0D3A}" dt="2022-11-28T14:59:23.949" v="3697" actId="22"/>
          <ac:spMkLst>
            <pc:docMk/>
            <pc:sldMk cId="1458253537" sldId="2076138196"/>
            <ac:spMk id="5" creationId="{BF0058F7-4DA8-4A57-8661-20286E4F4D50}"/>
          </ac:spMkLst>
        </pc:spChg>
        <pc:spChg chg="add del">
          <ac:chgData name="Kawtar SADIQ" userId="65df04e4-2d23-4bab-afb0-40df8a2c1b9f" providerId="ADAL" clId="{13E48CF6-3C07-4AA7-848A-1E964CBB0D3A}" dt="2022-11-28T14:59:26.674" v="3699" actId="22"/>
          <ac:spMkLst>
            <pc:docMk/>
            <pc:sldMk cId="1458253537" sldId="2076138196"/>
            <ac:spMk id="7" creationId="{88EEDD34-23C9-4446-8E93-1A08693FDB4C}"/>
          </ac:spMkLst>
        </pc:spChg>
        <pc:spChg chg="add del">
          <ac:chgData name="Kawtar SADIQ" userId="65df04e4-2d23-4bab-afb0-40df8a2c1b9f" providerId="ADAL" clId="{13E48CF6-3C07-4AA7-848A-1E964CBB0D3A}" dt="2022-11-28T14:59:35.689" v="3701" actId="478"/>
          <ac:spMkLst>
            <pc:docMk/>
            <pc:sldMk cId="1458253537" sldId="2076138196"/>
            <ac:spMk id="9" creationId="{E2992792-F2EA-4201-8330-1442F43BB8C5}"/>
          </ac:spMkLst>
        </pc:spChg>
      </pc:sldChg>
      <pc:sldChg chg="addSp delSp modSp add del mod">
        <pc:chgData name="Kawtar SADIQ" userId="65df04e4-2d23-4bab-afb0-40df8a2c1b9f" providerId="ADAL" clId="{13E48CF6-3C07-4AA7-848A-1E964CBB0D3A}" dt="2022-12-01T15:25:02.011" v="27861" actId="47"/>
        <pc:sldMkLst>
          <pc:docMk/>
          <pc:sldMk cId="149410661" sldId="2076138197"/>
        </pc:sldMkLst>
        <pc:spChg chg="mod">
          <ac:chgData name="Kawtar SADIQ" userId="65df04e4-2d23-4bab-afb0-40df8a2c1b9f" providerId="ADAL" clId="{13E48CF6-3C07-4AA7-848A-1E964CBB0D3A}" dt="2022-11-30T07:45:51.672" v="14179" actId="1036"/>
          <ac:spMkLst>
            <pc:docMk/>
            <pc:sldMk cId="149410661" sldId="2076138197"/>
            <ac:spMk id="6" creationId="{D23AE0C6-6FD8-41BC-BA07-896C51E2F613}"/>
          </ac:spMkLst>
        </pc:spChg>
        <pc:spChg chg="add mod">
          <ac:chgData name="Kawtar SADIQ" userId="65df04e4-2d23-4bab-afb0-40df8a2c1b9f" providerId="ADAL" clId="{13E48CF6-3C07-4AA7-848A-1E964CBB0D3A}" dt="2022-11-30T07:45:45.151" v="14169" actId="1036"/>
          <ac:spMkLst>
            <pc:docMk/>
            <pc:sldMk cId="149410661" sldId="2076138197"/>
            <ac:spMk id="7" creationId="{91B91CFF-3051-4E98-972B-CA05837C2750}"/>
          </ac:spMkLst>
        </pc:spChg>
        <pc:spChg chg="mod">
          <ac:chgData name="Kawtar SADIQ" userId="65df04e4-2d23-4bab-afb0-40df8a2c1b9f" providerId="ADAL" clId="{13E48CF6-3C07-4AA7-848A-1E964CBB0D3A}" dt="2022-11-30T07:45:56.386" v="14199" actId="1035"/>
          <ac:spMkLst>
            <pc:docMk/>
            <pc:sldMk cId="149410661" sldId="2076138197"/>
            <ac:spMk id="8" creationId="{7E2C1AFF-D652-406C-9082-1AE6AC28F265}"/>
          </ac:spMkLst>
        </pc:spChg>
        <pc:spChg chg="mod">
          <ac:chgData name="Kawtar SADIQ" userId="65df04e4-2d23-4bab-afb0-40df8a2c1b9f" providerId="ADAL" clId="{13E48CF6-3C07-4AA7-848A-1E964CBB0D3A}" dt="2022-11-30T07:46:06.461" v="14219" actId="1036"/>
          <ac:spMkLst>
            <pc:docMk/>
            <pc:sldMk cId="149410661" sldId="2076138197"/>
            <ac:spMk id="9" creationId="{20D2B6C6-8CAD-4273-8D5F-ED56C137ED91}"/>
          </ac:spMkLst>
        </pc:spChg>
        <pc:spChg chg="mod">
          <ac:chgData name="Kawtar SADIQ" userId="65df04e4-2d23-4bab-afb0-40df8a2c1b9f" providerId="ADAL" clId="{13E48CF6-3C07-4AA7-848A-1E964CBB0D3A}" dt="2022-11-30T07:46:13.573" v="14225" actId="1035"/>
          <ac:spMkLst>
            <pc:docMk/>
            <pc:sldMk cId="149410661" sldId="2076138197"/>
            <ac:spMk id="11" creationId="{9709138F-5E66-41FB-B0A7-CB944F0AFE37}"/>
          </ac:spMkLst>
        </pc:spChg>
        <pc:spChg chg="mod">
          <ac:chgData name="Kawtar SADIQ" userId="65df04e4-2d23-4bab-afb0-40df8a2c1b9f" providerId="ADAL" clId="{13E48CF6-3C07-4AA7-848A-1E964CBB0D3A}" dt="2022-11-30T07:46:17.411" v="14236" actId="1036"/>
          <ac:spMkLst>
            <pc:docMk/>
            <pc:sldMk cId="149410661" sldId="2076138197"/>
            <ac:spMk id="12" creationId="{DFFB2073-F5BA-4AB0-8F36-E797AA256CAE}"/>
          </ac:spMkLst>
        </pc:spChg>
        <pc:graphicFrameChg chg="mod modGraphic">
          <ac:chgData name="Kawtar SADIQ" userId="65df04e4-2d23-4bab-afb0-40df8a2c1b9f" providerId="ADAL" clId="{13E48CF6-3C07-4AA7-848A-1E964CBB0D3A}" dt="2022-11-30T07:45:15.024" v="14162" actId="14734"/>
          <ac:graphicFrameMkLst>
            <pc:docMk/>
            <pc:sldMk cId="149410661" sldId="2076138197"/>
            <ac:graphicFrameMk id="10" creationId="{ECDEBFF2-3228-4EAF-B73B-229926EDB8E1}"/>
          </ac:graphicFrameMkLst>
        </pc:graphicFrameChg>
        <pc:graphicFrameChg chg="add del mod">
          <ac:chgData name="Kawtar SADIQ" userId="65df04e4-2d23-4bab-afb0-40df8a2c1b9f" providerId="ADAL" clId="{13E48CF6-3C07-4AA7-848A-1E964CBB0D3A}" dt="2022-11-30T07:43:56.028" v="14142"/>
          <ac:graphicFrameMkLst>
            <pc:docMk/>
            <pc:sldMk cId="149410661" sldId="2076138197"/>
            <ac:graphicFrameMk id="13" creationId="{8F4F6D5B-9BBE-48A3-BC3F-91ED2764D851}"/>
          </ac:graphicFrameMkLst>
        </pc:graphicFrameChg>
        <pc:graphicFrameChg chg="add del mod">
          <ac:chgData name="Kawtar SADIQ" userId="65df04e4-2d23-4bab-afb0-40df8a2c1b9f" providerId="ADAL" clId="{13E48CF6-3C07-4AA7-848A-1E964CBB0D3A}" dt="2022-11-30T07:44:38.091" v="14149" actId="478"/>
          <ac:graphicFrameMkLst>
            <pc:docMk/>
            <pc:sldMk cId="149410661" sldId="2076138197"/>
            <ac:graphicFrameMk id="14" creationId="{E4857E1C-017F-483E-8454-CDFA76A19AE2}"/>
          </ac:graphicFrameMkLst>
        </pc:graphicFrameChg>
        <pc:picChg chg="del mod">
          <ac:chgData name="Kawtar SADIQ" userId="65df04e4-2d23-4bab-afb0-40df8a2c1b9f" providerId="ADAL" clId="{13E48CF6-3C07-4AA7-848A-1E964CBB0D3A}" dt="2022-11-28T14:24:32.743" v="3384" actId="478"/>
          <ac:picMkLst>
            <pc:docMk/>
            <pc:sldMk cId="149410661" sldId="2076138197"/>
            <ac:picMk id="13" creationId="{A4CA15D0-F669-42B7-B1A2-149566572B1B}"/>
          </ac:picMkLst>
        </pc:picChg>
      </pc:sldChg>
      <pc:sldChg chg="delSp modSp add del mod">
        <pc:chgData name="Kawtar SADIQ" userId="65df04e4-2d23-4bab-afb0-40df8a2c1b9f" providerId="ADAL" clId="{13E48CF6-3C07-4AA7-848A-1E964CBB0D3A}" dt="2022-11-30T07:46:33.332" v="14239" actId="478"/>
        <pc:sldMkLst>
          <pc:docMk/>
          <pc:sldMk cId="423063643" sldId="2076138198"/>
        </pc:sldMkLst>
        <pc:spChg chg="del mod">
          <ac:chgData name="Kawtar SADIQ" userId="65df04e4-2d23-4bab-afb0-40df8a2c1b9f" providerId="ADAL" clId="{13E48CF6-3C07-4AA7-848A-1E964CBB0D3A}" dt="2022-11-30T07:46:33.332" v="14239" actId="478"/>
          <ac:spMkLst>
            <pc:docMk/>
            <pc:sldMk cId="423063643" sldId="2076138198"/>
            <ac:spMk id="18" creationId="{ABEE9D2F-F633-4572-BC46-E8B9FA256A60}"/>
          </ac:spMkLst>
        </pc:spChg>
        <pc:graphicFrameChg chg="mod modGraphic">
          <ac:chgData name="Kawtar SADIQ" userId="65df04e4-2d23-4bab-afb0-40df8a2c1b9f" providerId="ADAL" clId="{13E48CF6-3C07-4AA7-848A-1E964CBB0D3A}" dt="2022-11-28T14:32:59.687" v="3471" actId="207"/>
          <ac:graphicFrameMkLst>
            <pc:docMk/>
            <pc:sldMk cId="423063643" sldId="2076138198"/>
            <ac:graphicFrameMk id="10" creationId="{ECDEBFF2-3228-4EAF-B73B-229926EDB8E1}"/>
          </ac:graphicFrameMkLst>
        </pc:graphicFrameChg>
      </pc:sldChg>
      <pc:sldChg chg="new del">
        <pc:chgData name="Kawtar SADIQ" userId="65df04e4-2d23-4bab-afb0-40df8a2c1b9f" providerId="ADAL" clId="{13E48CF6-3C07-4AA7-848A-1E964CBB0D3A}" dt="2022-11-28T14:37:07.411" v="3477" actId="680"/>
        <pc:sldMkLst>
          <pc:docMk/>
          <pc:sldMk cId="1901739671" sldId="2076138199"/>
        </pc:sldMkLst>
      </pc:sldChg>
      <pc:sldChg chg="add del">
        <pc:chgData name="Kawtar SADIQ" userId="65df04e4-2d23-4bab-afb0-40df8a2c1b9f" providerId="ADAL" clId="{13E48CF6-3C07-4AA7-848A-1E964CBB0D3A}" dt="2022-11-30T09:27:54.328" v="15798" actId="47"/>
        <pc:sldMkLst>
          <pc:docMk/>
          <pc:sldMk cId="2501159521" sldId="2076138199"/>
        </pc:sldMkLst>
      </pc:sldChg>
      <pc:sldChg chg="addSp delSp modSp new del mod">
        <pc:chgData name="Kawtar SADIQ" userId="65df04e4-2d23-4bab-afb0-40df8a2c1b9f" providerId="ADAL" clId="{13E48CF6-3C07-4AA7-848A-1E964CBB0D3A}" dt="2022-11-30T09:24:14.637" v="15738" actId="47"/>
        <pc:sldMkLst>
          <pc:docMk/>
          <pc:sldMk cId="857781874" sldId="2076138200"/>
        </pc:sldMkLst>
        <pc:spChg chg="mod">
          <ac:chgData name="Kawtar SADIQ" userId="65df04e4-2d23-4bab-afb0-40df8a2c1b9f" providerId="ADAL" clId="{13E48CF6-3C07-4AA7-848A-1E964CBB0D3A}" dt="2022-11-28T15:49:43.232" v="3764"/>
          <ac:spMkLst>
            <pc:docMk/>
            <pc:sldMk cId="857781874" sldId="2076138200"/>
            <ac:spMk id="2" creationId="{E39CFDDE-06BA-49E6-B3F4-45286649825B}"/>
          </ac:spMkLst>
        </pc:spChg>
        <pc:spChg chg="del">
          <ac:chgData name="Kawtar SADIQ" userId="65df04e4-2d23-4bab-afb0-40df8a2c1b9f" providerId="ADAL" clId="{13E48CF6-3C07-4AA7-848A-1E964CBB0D3A}" dt="2022-11-28T15:49:21.510" v="3763" actId="478"/>
          <ac:spMkLst>
            <pc:docMk/>
            <pc:sldMk cId="857781874" sldId="2076138200"/>
            <ac:spMk id="3" creationId="{52306AD0-0443-4C9F-97EC-8CCA3137B351}"/>
          </ac:spMkLst>
        </pc:spChg>
        <pc:spChg chg="add mod">
          <ac:chgData name="Kawtar SADIQ" userId="65df04e4-2d23-4bab-afb0-40df8a2c1b9f" providerId="ADAL" clId="{13E48CF6-3C07-4AA7-848A-1E964CBB0D3A}" dt="2022-11-28T19:48:32.550" v="5740" actId="207"/>
          <ac:spMkLst>
            <pc:docMk/>
            <pc:sldMk cId="857781874" sldId="2076138200"/>
            <ac:spMk id="4" creationId="{78E687CA-B460-4337-A4A1-B1E21F0E3BD7}"/>
          </ac:spMkLst>
        </pc:spChg>
        <pc:spChg chg="add mod">
          <ac:chgData name="Kawtar SADIQ" userId="65df04e4-2d23-4bab-afb0-40df8a2c1b9f" providerId="ADAL" clId="{13E48CF6-3C07-4AA7-848A-1E964CBB0D3A}" dt="2022-11-28T15:49:48.584" v="3765" actId="207"/>
          <ac:spMkLst>
            <pc:docMk/>
            <pc:sldMk cId="857781874" sldId="2076138200"/>
            <ac:spMk id="5" creationId="{EE85C1C8-EDE5-4ACC-8FCD-2C52F537133D}"/>
          </ac:spMkLst>
        </pc:spChg>
        <pc:spChg chg="add mod">
          <ac:chgData name="Kawtar SADIQ" userId="65df04e4-2d23-4bab-afb0-40df8a2c1b9f" providerId="ADAL" clId="{13E48CF6-3C07-4AA7-848A-1E964CBB0D3A}" dt="2022-11-28T15:50:04.718" v="3771" actId="207"/>
          <ac:spMkLst>
            <pc:docMk/>
            <pc:sldMk cId="857781874" sldId="2076138200"/>
            <ac:spMk id="6" creationId="{84410E18-906A-4912-A2F5-7F6C7181069C}"/>
          </ac:spMkLst>
        </pc:spChg>
        <pc:spChg chg="add mod">
          <ac:chgData name="Kawtar SADIQ" userId="65df04e4-2d23-4bab-afb0-40df8a2c1b9f" providerId="ADAL" clId="{13E48CF6-3C07-4AA7-848A-1E964CBB0D3A}" dt="2022-11-28T15:49:19.002" v="3762"/>
          <ac:spMkLst>
            <pc:docMk/>
            <pc:sldMk cId="857781874" sldId="2076138200"/>
            <ac:spMk id="7" creationId="{C339E47E-959E-436F-BDB2-D482DACD7ED8}"/>
          </ac:spMkLst>
        </pc:spChg>
        <pc:spChg chg="add mod">
          <ac:chgData name="Kawtar SADIQ" userId="65df04e4-2d23-4bab-afb0-40df8a2c1b9f" providerId="ADAL" clId="{13E48CF6-3C07-4AA7-848A-1E964CBB0D3A}" dt="2022-11-28T15:50:01.760" v="3770" actId="207"/>
          <ac:spMkLst>
            <pc:docMk/>
            <pc:sldMk cId="857781874" sldId="2076138200"/>
            <ac:spMk id="8" creationId="{571459A4-0D80-4D32-88F7-4B058A520D6C}"/>
          </ac:spMkLst>
        </pc:spChg>
        <pc:spChg chg="add mod">
          <ac:chgData name="Kawtar SADIQ" userId="65df04e4-2d23-4bab-afb0-40df8a2c1b9f" providerId="ADAL" clId="{13E48CF6-3C07-4AA7-848A-1E964CBB0D3A}" dt="2022-11-28T15:49:50.778" v="3766" actId="207"/>
          <ac:spMkLst>
            <pc:docMk/>
            <pc:sldMk cId="857781874" sldId="2076138200"/>
            <ac:spMk id="9" creationId="{E87A11C0-32FC-4AA6-A1D4-21DE6A0DD690}"/>
          </ac:spMkLst>
        </pc:spChg>
        <pc:spChg chg="add mod">
          <ac:chgData name="Kawtar SADIQ" userId="65df04e4-2d23-4bab-afb0-40df8a2c1b9f" providerId="ADAL" clId="{13E48CF6-3C07-4AA7-848A-1E964CBB0D3A}" dt="2022-11-28T15:50:06.996" v="3772" actId="207"/>
          <ac:spMkLst>
            <pc:docMk/>
            <pc:sldMk cId="857781874" sldId="2076138200"/>
            <ac:spMk id="17" creationId="{79309EB9-46EF-4A55-A3A4-AEA3C29ABE1B}"/>
          </ac:spMkLst>
        </pc:spChg>
        <pc:spChg chg="add mod">
          <ac:chgData name="Kawtar SADIQ" userId="65df04e4-2d23-4bab-afb0-40df8a2c1b9f" providerId="ADAL" clId="{13E48CF6-3C07-4AA7-848A-1E964CBB0D3A}" dt="2022-11-28T15:49:19.002" v="3762"/>
          <ac:spMkLst>
            <pc:docMk/>
            <pc:sldMk cId="857781874" sldId="2076138200"/>
            <ac:spMk id="19" creationId="{AAF93629-071D-4641-B26F-A8080DC14076}"/>
          </ac:spMkLst>
        </pc:spChg>
        <pc:spChg chg="add mod">
          <ac:chgData name="Kawtar SADIQ" userId="65df04e4-2d23-4bab-afb0-40df8a2c1b9f" providerId="ADAL" clId="{13E48CF6-3C07-4AA7-848A-1E964CBB0D3A}" dt="2022-11-28T15:49:19.002" v="3762"/>
          <ac:spMkLst>
            <pc:docMk/>
            <pc:sldMk cId="857781874" sldId="2076138200"/>
            <ac:spMk id="20" creationId="{071BAF4E-94A0-45B5-8715-BF6A0C7C97F0}"/>
          </ac:spMkLst>
        </pc:spChg>
        <pc:spChg chg="add mod">
          <ac:chgData name="Kawtar SADIQ" userId="65df04e4-2d23-4bab-afb0-40df8a2c1b9f" providerId="ADAL" clId="{13E48CF6-3C07-4AA7-848A-1E964CBB0D3A}" dt="2022-11-28T15:49:19.002" v="3762"/>
          <ac:spMkLst>
            <pc:docMk/>
            <pc:sldMk cId="857781874" sldId="2076138200"/>
            <ac:spMk id="21" creationId="{BF7C001C-4068-4BCB-A9D0-9F9B5CA68AD9}"/>
          </ac:spMkLst>
        </pc:spChg>
        <pc:spChg chg="add mod">
          <ac:chgData name="Kawtar SADIQ" userId="65df04e4-2d23-4bab-afb0-40df8a2c1b9f" providerId="ADAL" clId="{13E48CF6-3C07-4AA7-848A-1E964CBB0D3A}" dt="2022-11-28T15:49:19.002" v="3762"/>
          <ac:spMkLst>
            <pc:docMk/>
            <pc:sldMk cId="857781874" sldId="2076138200"/>
            <ac:spMk id="22" creationId="{44BF4D52-84FA-4CF4-9586-B3EE4B77AB70}"/>
          </ac:spMkLst>
        </pc:spChg>
        <pc:spChg chg="add mod">
          <ac:chgData name="Kawtar SADIQ" userId="65df04e4-2d23-4bab-afb0-40df8a2c1b9f" providerId="ADAL" clId="{13E48CF6-3C07-4AA7-848A-1E964CBB0D3A}" dt="2022-11-28T15:49:58.545" v="3769" actId="207"/>
          <ac:spMkLst>
            <pc:docMk/>
            <pc:sldMk cId="857781874" sldId="2076138200"/>
            <ac:spMk id="23" creationId="{38C38006-582A-46B9-AA44-28D118EECBA1}"/>
          </ac:spMkLst>
        </pc:spChg>
        <pc:spChg chg="add mod">
          <ac:chgData name="Kawtar SADIQ" userId="65df04e4-2d23-4bab-afb0-40df8a2c1b9f" providerId="ADAL" clId="{13E48CF6-3C07-4AA7-848A-1E964CBB0D3A}" dt="2022-11-28T15:50:09.591" v="3773" actId="207"/>
          <ac:spMkLst>
            <pc:docMk/>
            <pc:sldMk cId="857781874" sldId="2076138200"/>
            <ac:spMk id="24" creationId="{23BB1496-DCD8-43A7-B3A7-93BA621454AE}"/>
          </ac:spMkLst>
        </pc:spChg>
        <pc:spChg chg="add mod">
          <ac:chgData name="Kawtar SADIQ" userId="65df04e4-2d23-4bab-afb0-40df8a2c1b9f" providerId="ADAL" clId="{13E48CF6-3C07-4AA7-848A-1E964CBB0D3A}" dt="2022-11-28T15:50:16.101" v="3775" actId="14100"/>
          <ac:spMkLst>
            <pc:docMk/>
            <pc:sldMk cId="857781874" sldId="2076138200"/>
            <ac:spMk id="26" creationId="{F3142773-E09E-48B6-8C10-A2526DB405E4}"/>
          </ac:spMkLst>
        </pc:spChg>
        <pc:spChg chg="add mod">
          <ac:chgData name="Kawtar SADIQ" userId="65df04e4-2d23-4bab-afb0-40df8a2c1b9f" providerId="ADAL" clId="{13E48CF6-3C07-4AA7-848A-1E964CBB0D3A}" dt="2022-11-28T15:49:19.002" v="3762"/>
          <ac:spMkLst>
            <pc:docMk/>
            <pc:sldMk cId="857781874" sldId="2076138200"/>
            <ac:spMk id="27" creationId="{F9982F5D-3F17-4212-8EF8-3FA2E9DD1E81}"/>
          </ac:spMkLst>
        </pc:spChg>
        <pc:spChg chg="add mod">
          <ac:chgData name="Kawtar SADIQ" userId="65df04e4-2d23-4bab-afb0-40df8a2c1b9f" providerId="ADAL" clId="{13E48CF6-3C07-4AA7-848A-1E964CBB0D3A}" dt="2022-11-28T15:49:19.002" v="3762"/>
          <ac:spMkLst>
            <pc:docMk/>
            <pc:sldMk cId="857781874" sldId="2076138200"/>
            <ac:spMk id="28" creationId="{B4027C95-2F82-41E8-BAD8-699F419BFFF1}"/>
          </ac:spMkLst>
        </pc:spChg>
        <pc:spChg chg="add mod">
          <ac:chgData name="Kawtar SADIQ" userId="65df04e4-2d23-4bab-afb0-40df8a2c1b9f" providerId="ADAL" clId="{13E48CF6-3C07-4AA7-848A-1E964CBB0D3A}" dt="2022-11-28T15:49:19.002" v="3762"/>
          <ac:spMkLst>
            <pc:docMk/>
            <pc:sldMk cId="857781874" sldId="2076138200"/>
            <ac:spMk id="29" creationId="{20BED51B-5933-45E6-BA7C-0EBCE0F1A25F}"/>
          </ac:spMkLst>
        </pc:spChg>
        <pc:spChg chg="add mod">
          <ac:chgData name="Kawtar SADIQ" userId="65df04e4-2d23-4bab-afb0-40df8a2c1b9f" providerId="ADAL" clId="{13E48CF6-3C07-4AA7-848A-1E964CBB0D3A}" dt="2022-11-28T15:50:11.782" v="3774" actId="207"/>
          <ac:spMkLst>
            <pc:docMk/>
            <pc:sldMk cId="857781874" sldId="2076138200"/>
            <ac:spMk id="30" creationId="{36FF180B-1B74-4AAC-BA74-3401FFFBB2B9}"/>
          </ac:spMkLst>
        </pc:spChg>
        <pc:spChg chg="add mod">
          <ac:chgData name="Kawtar SADIQ" userId="65df04e4-2d23-4bab-afb0-40df8a2c1b9f" providerId="ADAL" clId="{13E48CF6-3C07-4AA7-848A-1E964CBB0D3A}" dt="2022-11-28T15:49:19.002" v="3762"/>
          <ac:spMkLst>
            <pc:docMk/>
            <pc:sldMk cId="857781874" sldId="2076138200"/>
            <ac:spMk id="32" creationId="{C79D0BA6-0CB0-4335-9163-666E88EFB1E1}"/>
          </ac:spMkLst>
        </pc:spChg>
        <pc:spChg chg="add mod">
          <ac:chgData name="Kawtar SADIQ" userId="65df04e4-2d23-4bab-afb0-40df8a2c1b9f" providerId="ADAL" clId="{13E48CF6-3C07-4AA7-848A-1E964CBB0D3A}" dt="2022-11-28T15:49:53.488" v="3767" actId="207"/>
          <ac:spMkLst>
            <pc:docMk/>
            <pc:sldMk cId="857781874" sldId="2076138200"/>
            <ac:spMk id="33" creationId="{41837682-08C3-465D-A84D-EC1DB6F06CDC}"/>
          </ac:spMkLst>
        </pc:spChg>
        <pc:spChg chg="add mod">
          <ac:chgData name="Kawtar SADIQ" userId="65df04e4-2d23-4bab-afb0-40df8a2c1b9f" providerId="ADAL" clId="{13E48CF6-3C07-4AA7-848A-1E964CBB0D3A}" dt="2022-11-28T15:49:55.913" v="3768" actId="207"/>
          <ac:spMkLst>
            <pc:docMk/>
            <pc:sldMk cId="857781874" sldId="2076138200"/>
            <ac:spMk id="34" creationId="{6796E43A-41F2-4BA6-8405-9460349EA1BC}"/>
          </ac:spMkLst>
        </pc:spChg>
        <pc:spChg chg="add mod">
          <ac:chgData name="Kawtar SADIQ" userId="65df04e4-2d23-4bab-afb0-40df8a2c1b9f" providerId="ADAL" clId="{13E48CF6-3C07-4AA7-848A-1E964CBB0D3A}" dt="2022-11-28T15:50:32.119" v="3779" actId="14100"/>
          <ac:spMkLst>
            <pc:docMk/>
            <pc:sldMk cId="857781874" sldId="2076138200"/>
            <ac:spMk id="35" creationId="{3DD7F94D-757A-4B77-B0D6-F0A9A47506BD}"/>
          </ac:spMkLst>
        </pc:spChg>
        <pc:spChg chg="add del mod">
          <ac:chgData name="Kawtar SADIQ" userId="65df04e4-2d23-4bab-afb0-40df8a2c1b9f" providerId="ADAL" clId="{13E48CF6-3C07-4AA7-848A-1E964CBB0D3A}" dt="2022-11-30T09:20:49.130" v="15671" actId="478"/>
          <ac:spMkLst>
            <pc:docMk/>
            <pc:sldMk cId="857781874" sldId="2076138200"/>
            <ac:spMk id="36" creationId="{43FA6044-D9A1-4B37-874A-9C7BA3A69882}"/>
          </ac:spMkLst>
        </pc:spChg>
        <pc:spChg chg="add mod">
          <ac:chgData name="Kawtar SADIQ" userId="65df04e4-2d23-4bab-afb0-40df8a2c1b9f" providerId="ADAL" clId="{13E48CF6-3C07-4AA7-848A-1E964CBB0D3A}" dt="2022-11-30T09:10:44.067" v="15540" actId="20577"/>
          <ac:spMkLst>
            <pc:docMk/>
            <pc:sldMk cId="857781874" sldId="2076138200"/>
            <ac:spMk id="37" creationId="{1930E30B-781D-4D38-ABB3-A44C6545D799}"/>
          </ac:spMkLst>
        </pc:spChg>
        <pc:graphicFrameChg chg="add del mod ord modGraphic">
          <ac:chgData name="Kawtar SADIQ" userId="65df04e4-2d23-4bab-afb0-40df8a2c1b9f" providerId="ADAL" clId="{13E48CF6-3C07-4AA7-848A-1E964CBB0D3A}" dt="2022-11-30T09:21:27.512" v="15679"/>
          <ac:graphicFrameMkLst>
            <pc:docMk/>
            <pc:sldMk cId="857781874" sldId="2076138200"/>
            <ac:graphicFrameMk id="38" creationId="{D8D7CF40-AB49-4789-A28E-A31B0992E580}"/>
          </ac:graphicFrameMkLst>
        </pc:graphicFrameChg>
        <pc:picChg chg="add mod">
          <ac:chgData name="Kawtar SADIQ" userId="65df04e4-2d23-4bab-afb0-40df8a2c1b9f" providerId="ADAL" clId="{13E48CF6-3C07-4AA7-848A-1E964CBB0D3A}" dt="2022-11-28T15:49:19.002" v="3762"/>
          <ac:picMkLst>
            <pc:docMk/>
            <pc:sldMk cId="857781874" sldId="2076138200"/>
            <ac:picMk id="16" creationId="{EBBEB2F2-4F7D-4D31-AD27-3DC8B9800050}"/>
          </ac:picMkLst>
        </pc:picChg>
        <pc:picChg chg="add mod">
          <ac:chgData name="Kawtar SADIQ" userId="65df04e4-2d23-4bab-afb0-40df8a2c1b9f" providerId="ADAL" clId="{13E48CF6-3C07-4AA7-848A-1E964CBB0D3A}" dt="2022-11-28T15:49:19.002" v="3762"/>
          <ac:picMkLst>
            <pc:docMk/>
            <pc:sldMk cId="857781874" sldId="2076138200"/>
            <ac:picMk id="18" creationId="{B0418879-A43C-4495-9B6F-D0AE706814F5}"/>
          </ac:picMkLst>
        </pc:picChg>
        <pc:picChg chg="add mod">
          <ac:chgData name="Kawtar SADIQ" userId="65df04e4-2d23-4bab-afb0-40df8a2c1b9f" providerId="ADAL" clId="{13E48CF6-3C07-4AA7-848A-1E964CBB0D3A}" dt="2022-11-28T15:49:19.002" v="3762"/>
          <ac:picMkLst>
            <pc:docMk/>
            <pc:sldMk cId="857781874" sldId="2076138200"/>
            <ac:picMk id="31" creationId="{EC57926D-ABD6-4D2A-B389-3B8CC01CA88F}"/>
          </ac:picMkLst>
        </pc:picChg>
        <pc:cxnChg chg="add mod">
          <ac:chgData name="Kawtar SADIQ" userId="65df04e4-2d23-4bab-afb0-40df8a2c1b9f" providerId="ADAL" clId="{13E48CF6-3C07-4AA7-848A-1E964CBB0D3A}" dt="2022-11-28T15:49:19.002" v="3762"/>
          <ac:cxnSpMkLst>
            <pc:docMk/>
            <pc:sldMk cId="857781874" sldId="2076138200"/>
            <ac:cxnSpMk id="10" creationId="{C87201C1-97F4-49B5-95D1-D21ADFEA63CE}"/>
          </ac:cxnSpMkLst>
        </pc:cxnChg>
        <pc:cxnChg chg="add mod">
          <ac:chgData name="Kawtar SADIQ" userId="65df04e4-2d23-4bab-afb0-40df8a2c1b9f" providerId="ADAL" clId="{13E48CF6-3C07-4AA7-848A-1E964CBB0D3A}" dt="2022-11-28T15:49:19.002" v="3762"/>
          <ac:cxnSpMkLst>
            <pc:docMk/>
            <pc:sldMk cId="857781874" sldId="2076138200"/>
            <ac:cxnSpMk id="11" creationId="{FE8FE72A-43C5-4E18-9F41-98538FDC162B}"/>
          </ac:cxnSpMkLst>
        </pc:cxnChg>
        <pc:cxnChg chg="add mod">
          <ac:chgData name="Kawtar SADIQ" userId="65df04e4-2d23-4bab-afb0-40df8a2c1b9f" providerId="ADAL" clId="{13E48CF6-3C07-4AA7-848A-1E964CBB0D3A}" dt="2022-11-28T15:49:19.002" v="3762"/>
          <ac:cxnSpMkLst>
            <pc:docMk/>
            <pc:sldMk cId="857781874" sldId="2076138200"/>
            <ac:cxnSpMk id="12" creationId="{C5666678-0A94-4944-8A42-D3C604B4E9CE}"/>
          </ac:cxnSpMkLst>
        </pc:cxnChg>
        <pc:cxnChg chg="add mod">
          <ac:chgData name="Kawtar SADIQ" userId="65df04e4-2d23-4bab-afb0-40df8a2c1b9f" providerId="ADAL" clId="{13E48CF6-3C07-4AA7-848A-1E964CBB0D3A}" dt="2022-11-28T15:49:19.002" v="3762"/>
          <ac:cxnSpMkLst>
            <pc:docMk/>
            <pc:sldMk cId="857781874" sldId="2076138200"/>
            <ac:cxnSpMk id="13" creationId="{2A930BEF-569A-4E0B-A646-B1864EC82C22}"/>
          </ac:cxnSpMkLst>
        </pc:cxnChg>
        <pc:cxnChg chg="add del mod">
          <ac:chgData name="Kawtar SADIQ" userId="65df04e4-2d23-4bab-afb0-40df8a2c1b9f" providerId="ADAL" clId="{13E48CF6-3C07-4AA7-848A-1E964CBB0D3A}" dt="2022-11-30T09:21:09.875" v="15673" actId="478"/>
          <ac:cxnSpMkLst>
            <pc:docMk/>
            <pc:sldMk cId="857781874" sldId="2076138200"/>
            <ac:cxnSpMk id="14" creationId="{8A03B733-683C-48FB-8199-55FD86E6CAD4}"/>
          </ac:cxnSpMkLst>
        </pc:cxnChg>
        <pc:cxnChg chg="add mod">
          <ac:chgData name="Kawtar SADIQ" userId="65df04e4-2d23-4bab-afb0-40df8a2c1b9f" providerId="ADAL" clId="{13E48CF6-3C07-4AA7-848A-1E964CBB0D3A}" dt="2022-11-28T15:49:19.002" v="3762"/>
          <ac:cxnSpMkLst>
            <pc:docMk/>
            <pc:sldMk cId="857781874" sldId="2076138200"/>
            <ac:cxnSpMk id="15" creationId="{6552B4DD-F2B5-421E-8461-7A5E25D5E7DC}"/>
          </ac:cxnSpMkLst>
        </pc:cxnChg>
        <pc:cxnChg chg="add mod">
          <ac:chgData name="Kawtar SADIQ" userId="65df04e4-2d23-4bab-afb0-40df8a2c1b9f" providerId="ADAL" clId="{13E48CF6-3C07-4AA7-848A-1E964CBB0D3A}" dt="2022-11-28T15:49:19.002" v="3762"/>
          <ac:cxnSpMkLst>
            <pc:docMk/>
            <pc:sldMk cId="857781874" sldId="2076138200"/>
            <ac:cxnSpMk id="25" creationId="{1EC6596B-ED34-4327-AA89-5AD8C270FA48}"/>
          </ac:cxnSpMkLst>
        </pc:cxnChg>
      </pc:sldChg>
      <pc:sldChg chg="new del">
        <pc:chgData name="Kawtar SADIQ" userId="65df04e4-2d23-4bab-afb0-40df8a2c1b9f" providerId="ADAL" clId="{13E48CF6-3C07-4AA7-848A-1E964CBB0D3A}" dt="2022-11-28T14:59:54.686" v="3707" actId="47"/>
        <pc:sldMkLst>
          <pc:docMk/>
          <pc:sldMk cId="2115601384" sldId="2076138200"/>
        </pc:sldMkLst>
      </pc:sldChg>
      <pc:sldChg chg="addSp delSp modSp new del mod">
        <pc:chgData name="Kawtar SADIQ" userId="65df04e4-2d23-4bab-afb0-40df8a2c1b9f" providerId="ADAL" clId="{13E48CF6-3C07-4AA7-848A-1E964CBB0D3A}" dt="2022-11-28T17:49:13.279" v="4238" actId="47"/>
        <pc:sldMkLst>
          <pc:docMk/>
          <pc:sldMk cId="1545963155" sldId="2076138201"/>
        </pc:sldMkLst>
        <pc:spChg chg="del">
          <ac:chgData name="Kawtar SADIQ" userId="65df04e4-2d23-4bab-afb0-40df8a2c1b9f" providerId="ADAL" clId="{13E48CF6-3C07-4AA7-848A-1E964CBB0D3A}" dt="2022-11-28T17:27:43.513" v="4212" actId="478"/>
          <ac:spMkLst>
            <pc:docMk/>
            <pc:sldMk cId="1545963155" sldId="2076138201"/>
            <ac:spMk id="3" creationId="{8B042F6A-1380-4C7C-B5B6-9D920213A6E0}"/>
          </ac:spMkLst>
        </pc:spChg>
        <pc:spChg chg="add del mod">
          <ac:chgData name="Kawtar SADIQ" userId="65df04e4-2d23-4bab-afb0-40df8a2c1b9f" providerId="ADAL" clId="{13E48CF6-3C07-4AA7-848A-1E964CBB0D3A}" dt="2022-11-28T17:27:46.044" v="4214" actId="478"/>
          <ac:spMkLst>
            <pc:docMk/>
            <pc:sldMk cId="1545963155" sldId="2076138201"/>
            <ac:spMk id="4" creationId="{980BBDE6-1166-44FA-821D-020BA281312C}"/>
          </ac:spMkLst>
        </pc:spChg>
        <pc:spChg chg="add del mod">
          <ac:chgData name="Kawtar SADIQ" userId="65df04e4-2d23-4bab-afb0-40df8a2c1b9f" providerId="ADAL" clId="{13E48CF6-3C07-4AA7-848A-1E964CBB0D3A}" dt="2022-11-28T17:27:58.643" v="4216" actId="478"/>
          <ac:spMkLst>
            <pc:docMk/>
            <pc:sldMk cId="1545963155" sldId="2076138201"/>
            <ac:spMk id="5" creationId="{DB59AFAD-CE80-4270-9A33-6D698E4848E0}"/>
          </ac:spMkLst>
        </pc:spChg>
      </pc:sldChg>
      <pc:sldChg chg="addSp delSp modSp new del mod">
        <pc:chgData name="Kawtar SADIQ" userId="65df04e4-2d23-4bab-afb0-40df8a2c1b9f" providerId="ADAL" clId="{13E48CF6-3C07-4AA7-848A-1E964CBB0D3A}" dt="2022-12-01T16:43:17.483" v="27958" actId="47"/>
        <pc:sldMkLst>
          <pc:docMk/>
          <pc:sldMk cId="2101430142" sldId="2076138201"/>
        </pc:sldMkLst>
        <pc:spChg chg="mod">
          <ac:chgData name="Kawtar SADIQ" userId="65df04e4-2d23-4bab-afb0-40df8a2c1b9f" providerId="ADAL" clId="{13E48CF6-3C07-4AA7-848A-1E964CBB0D3A}" dt="2022-11-28T19:00:17.669" v="5013"/>
          <ac:spMkLst>
            <pc:docMk/>
            <pc:sldMk cId="2101430142" sldId="2076138201"/>
            <ac:spMk id="2" creationId="{1BC129E2-07B5-4C48-A744-6E597796217E}"/>
          </ac:spMkLst>
        </pc:spChg>
        <pc:spChg chg="mod">
          <ac:chgData name="Kawtar SADIQ" userId="65df04e4-2d23-4bab-afb0-40df8a2c1b9f" providerId="ADAL" clId="{13E48CF6-3C07-4AA7-848A-1E964CBB0D3A}" dt="2022-11-28T21:49:04.870" v="6562" actId="1076"/>
          <ac:spMkLst>
            <pc:docMk/>
            <pc:sldMk cId="2101430142" sldId="2076138201"/>
            <ac:spMk id="3" creationId="{216563DB-21F0-4F0F-BF06-5ADF50C0D98A}"/>
          </ac:spMkLst>
        </pc:spChg>
        <pc:spChg chg="add mod">
          <ac:chgData name="Kawtar SADIQ" userId="65df04e4-2d23-4bab-afb0-40df8a2c1b9f" providerId="ADAL" clId="{13E48CF6-3C07-4AA7-848A-1E964CBB0D3A}" dt="2022-11-30T17:37:17.539" v="21598" actId="20577"/>
          <ac:spMkLst>
            <pc:docMk/>
            <pc:sldMk cId="2101430142" sldId="2076138201"/>
            <ac:spMk id="4" creationId="{615E13CC-9EBA-477E-A883-8DCF5A071EE2}"/>
          </ac:spMkLst>
        </pc:spChg>
        <pc:spChg chg="add mod ord">
          <ac:chgData name="Kawtar SADIQ" userId="65df04e4-2d23-4bab-afb0-40df8a2c1b9f" providerId="ADAL" clId="{13E48CF6-3C07-4AA7-848A-1E964CBB0D3A}" dt="2022-11-29T11:11:19.684" v="8037" actId="14100"/>
          <ac:spMkLst>
            <pc:docMk/>
            <pc:sldMk cId="2101430142" sldId="2076138201"/>
            <ac:spMk id="7" creationId="{43143EE8-6812-4BF8-A23E-B2CE45E9FDB4}"/>
          </ac:spMkLst>
        </pc:spChg>
        <pc:spChg chg="add del mod">
          <ac:chgData name="Kawtar SADIQ" userId="65df04e4-2d23-4bab-afb0-40df8a2c1b9f" providerId="ADAL" clId="{13E48CF6-3C07-4AA7-848A-1E964CBB0D3A}" dt="2022-11-28T19:44:11.811" v="5686" actId="478"/>
          <ac:spMkLst>
            <pc:docMk/>
            <pc:sldMk cId="2101430142" sldId="2076138201"/>
            <ac:spMk id="12" creationId="{B7963BDC-32A4-4561-83CE-1CE6C95FF4FB}"/>
          </ac:spMkLst>
        </pc:spChg>
        <pc:spChg chg="add del mod ord topLvl">
          <ac:chgData name="Kawtar SADIQ" userId="65df04e4-2d23-4bab-afb0-40df8a2c1b9f" providerId="ADAL" clId="{13E48CF6-3C07-4AA7-848A-1E964CBB0D3A}" dt="2022-11-28T21:54:53.015" v="6618" actId="478"/>
          <ac:spMkLst>
            <pc:docMk/>
            <pc:sldMk cId="2101430142" sldId="2076138201"/>
            <ac:spMk id="14" creationId="{A6A13038-2643-4221-A1A6-2065C7D82B39}"/>
          </ac:spMkLst>
        </pc:spChg>
        <pc:spChg chg="add mod">
          <ac:chgData name="Kawtar SADIQ" userId="65df04e4-2d23-4bab-afb0-40df8a2c1b9f" providerId="ADAL" clId="{13E48CF6-3C07-4AA7-848A-1E964CBB0D3A}" dt="2022-11-30T17:17:04.267" v="21446" actId="108"/>
          <ac:spMkLst>
            <pc:docMk/>
            <pc:sldMk cId="2101430142" sldId="2076138201"/>
            <ac:spMk id="19" creationId="{2B120BCC-C626-487B-9D4D-35CFC546F2C1}"/>
          </ac:spMkLst>
        </pc:spChg>
        <pc:spChg chg="add del mod">
          <ac:chgData name="Kawtar SADIQ" userId="65df04e4-2d23-4bab-afb0-40df8a2c1b9f" providerId="ADAL" clId="{13E48CF6-3C07-4AA7-848A-1E964CBB0D3A}" dt="2022-11-28T21:50:17.436" v="6583" actId="478"/>
          <ac:spMkLst>
            <pc:docMk/>
            <pc:sldMk cId="2101430142" sldId="2076138201"/>
            <ac:spMk id="19" creationId="{859EF237-830F-471E-8C24-B98F57F5EB9B}"/>
          </ac:spMkLst>
        </pc:spChg>
        <pc:spChg chg="add del mod">
          <ac:chgData name="Kawtar SADIQ" userId="65df04e4-2d23-4bab-afb0-40df8a2c1b9f" providerId="ADAL" clId="{13E48CF6-3C07-4AA7-848A-1E964CBB0D3A}" dt="2022-11-30T17:36:45.923" v="21583" actId="478"/>
          <ac:spMkLst>
            <pc:docMk/>
            <pc:sldMk cId="2101430142" sldId="2076138201"/>
            <ac:spMk id="20" creationId="{290D976E-A8A5-4A2D-A821-63B3509F7713}"/>
          </ac:spMkLst>
        </pc:spChg>
        <pc:spChg chg="add del mod">
          <ac:chgData name="Kawtar SADIQ" userId="65df04e4-2d23-4bab-afb0-40df8a2c1b9f" providerId="ADAL" clId="{13E48CF6-3C07-4AA7-848A-1E964CBB0D3A}" dt="2022-11-28T19:33:03.047" v="5376" actId="478"/>
          <ac:spMkLst>
            <pc:docMk/>
            <pc:sldMk cId="2101430142" sldId="2076138201"/>
            <ac:spMk id="20" creationId="{CF8060D8-90BB-474C-AB02-0B025A7BA0BE}"/>
          </ac:spMkLst>
        </pc:spChg>
        <pc:spChg chg="add del mod">
          <ac:chgData name="Kawtar SADIQ" userId="65df04e4-2d23-4bab-afb0-40df8a2c1b9f" providerId="ADAL" clId="{13E48CF6-3C07-4AA7-848A-1E964CBB0D3A}" dt="2022-11-28T19:38:14.104" v="5439" actId="478"/>
          <ac:spMkLst>
            <pc:docMk/>
            <pc:sldMk cId="2101430142" sldId="2076138201"/>
            <ac:spMk id="21" creationId="{BD273DC4-B2F4-489B-B361-7F9594568CD9}"/>
          </ac:spMkLst>
        </pc:spChg>
        <pc:spChg chg="add del mod ord">
          <ac:chgData name="Kawtar SADIQ" userId="65df04e4-2d23-4bab-afb0-40df8a2c1b9f" providerId="ADAL" clId="{13E48CF6-3C07-4AA7-848A-1E964CBB0D3A}" dt="2022-11-29T11:05:05.266" v="7962" actId="478"/>
          <ac:spMkLst>
            <pc:docMk/>
            <pc:sldMk cId="2101430142" sldId="2076138201"/>
            <ac:spMk id="22" creationId="{E9CDFBE1-7AD1-401D-BF77-B81FEE24D9B0}"/>
          </ac:spMkLst>
        </pc:spChg>
        <pc:spChg chg="add mod ord">
          <ac:chgData name="Kawtar SADIQ" userId="65df04e4-2d23-4bab-afb0-40df8a2c1b9f" providerId="ADAL" clId="{13E48CF6-3C07-4AA7-848A-1E964CBB0D3A}" dt="2022-11-29T11:11:31.994" v="8038" actId="167"/>
          <ac:spMkLst>
            <pc:docMk/>
            <pc:sldMk cId="2101430142" sldId="2076138201"/>
            <ac:spMk id="23" creationId="{C97AA9DF-5335-4C58-A0B3-81929A67EB25}"/>
          </ac:spMkLst>
        </pc:spChg>
        <pc:spChg chg="add del mod ord">
          <ac:chgData name="Kawtar SADIQ" userId="65df04e4-2d23-4bab-afb0-40df8a2c1b9f" providerId="ADAL" clId="{13E48CF6-3C07-4AA7-848A-1E964CBB0D3A}" dt="2022-11-28T21:54:18.841" v="6606" actId="478"/>
          <ac:spMkLst>
            <pc:docMk/>
            <pc:sldMk cId="2101430142" sldId="2076138201"/>
            <ac:spMk id="23" creationId="{E85B63E4-E3EB-4E47-92CC-72F008B76E32}"/>
          </ac:spMkLst>
        </pc:spChg>
        <pc:spChg chg="add del mod ord">
          <ac:chgData name="Kawtar SADIQ" userId="65df04e4-2d23-4bab-afb0-40df8a2c1b9f" providerId="ADAL" clId="{13E48CF6-3C07-4AA7-848A-1E964CBB0D3A}" dt="2022-11-28T21:54:17.451" v="6605" actId="478"/>
          <ac:spMkLst>
            <pc:docMk/>
            <pc:sldMk cId="2101430142" sldId="2076138201"/>
            <ac:spMk id="24" creationId="{C9179386-9B34-4507-9865-0A9FCC4E2451}"/>
          </ac:spMkLst>
        </pc:spChg>
        <pc:spChg chg="add del mod">
          <ac:chgData name="Kawtar SADIQ" userId="65df04e4-2d23-4bab-afb0-40df8a2c1b9f" providerId="ADAL" clId="{13E48CF6-3C07-4AA7-848A-1E964CBB0D3A}" dt="2022-12-01T07:14:00.854" v="24542" actId="478"/>
          <ac:spMkLst>
            <pc:docMk/>
            <pc:sldMk cId="2101430142" sldId="2076138201"/>
            <ac:spMk id="24" creationId="{C976B747-51A7-45C7-AE8A-18901212C2FB}"/>
          </ac:spMkLst>
        </pc:spChg>
        <pc:spChg chg="add del mod">
          <ac:chgData name="Kawtar SADIQ" userId="65df04e4-2d23-4bab-afb0-40df8a2c1b9f" providerId="ADAL" clId="{13E48CF6-3C07-4AA7-848A-1E964CBB0D3A}" dt="2022-11-28T21:49:37.644" v="6572" actId="478"/>
          <ac:spMkLst>
            <pc:docMk/>
            <pc:sldMk cId="2101430142" sldId="2076138201"/>
            <ac:spMk id="25" creationId="{67E5E576-5A58-4FED-B6AF-22782DE0BFA5}"/>
          </ac:spMkLst>
        </pc:spChg>
        <pc:spChg chg="mod">
          <ac:chgData name="Kawtar SADIQ" userId="65df04e4-2d23-4bab-afb0-40df8a2c1b9f" providerId="ADAL" clId="{13E48CF6-3C07-4AA7-848A-1E964CBB0D3A}" dt="2022-11-28T21:48:41.751" v="6559" actId="207"/>
          <ac:spMkLst>
            <pc:docMk/>
            <pc:sldMk cId="2101430142" sldId="2076138201"/>
            <ac:spMk id="29" creationId="{A9A14602-BAE2-4D87-A081-A0417AB64058}"/>
          </ac:spMkLst>
        </pc:spChg>
        <pc:spChg chg="mod">
          <ac:chgData name="Kawtar SADIQ" userId="65df04e4-2d23-4bab-afb0-40df8a2c1b9f" providerId="ADAL" clId="{13E48CF6-3C07-4AA7-848A-1E964CBB0D3A}" dt="2022-11-28T21:48:41.751" v="6559" actId="207"/>
          <ac:spMkLst>
            <pc:docMk/>
            <pc:sldMk cId="2101430142" sldId="2076138201"/>
            <ac:spMk id="30" creationId="{9DA5DE96-EE10-4960-B16A-507D86EE30C9}"/>
          </ac:spMkLst>
        </pc:spChg>
        <pc:spChg chg="mod">
          <ac:chgData name="Kawtar SADIQ" userId="65df04e4-2d23-4bab-afb0-40df8a2c1b9f" providerId="ADAL" clId="{13E48CF6-3C07-4AA7-848A-1E964CBB0D3A}" dt="2022-11-28T21:48:41.751" v="6559" actId="207"/>
          <ac:spMkLst>
            <pc:docMk/>
            <pc:sldMk cId="2101430142" sldId="2076138201"/>
            <ac:spMk id="31" creationId="{5706ECE7-B3DA-46A5-A05D-8C056C92B142}"/>
          </ac:spMkLst>
        </pc:spChg>
        <pc:spChg chg="mod">
          <ac:chgData name="Kawtar SADIQ" userId="65df04e4-2d23-4bab-afb0-40df8a2c1b9f" providerId="ADAL" clId="{13E48CF6-3C07-4AA7-848A-1E964CBB0D3A}" dt="2022-11-28T21:49:10.334" v="6563"/>
          <ac:spMkLst>
            <pc:docMk/>
            <pc:sldMk cId="2101430142" sldId="2076138201"/>
            <ac:spMk id="33" creationId="{C98DCA10-655D-416B-8E04-F65B37EF7ADD}"/>
          </ac:spMkLst>
        </pc:spChg>
        <pc:spChg chg="mod">
          <ac:chgData name="Kawtar SADIQ" userId="65df04e4-2d23-4bab-afb0-40df8a2c1b9f" providerId="ADAL" clId="{13E48CF6-3C07-4AA7-848A-1E964CBB0D3A}" dt="2022-11-28T21:49:10.334" v="6563"/>
          <ac:spMkLst>
            <pc:docMk/>
            <pc:sldMk cId="2101430142" sldId="2076138201"/>
            <ac:spMk id="34" creationId="{3BA8C862-19B9-482F-8D3A-01087C244B53}"/>
          </ac:spMkLst>
        </pc:spChg>
        <pc:spChg chg="mod">
          <ac:chgData name="Kawtar SADIQ" userId="65df04e4-2d23-4bab-afb0-40df8a2c1b9f" providerId="ADAL" clId="{13E48CF6-3C07-4AA7-848A-1E964CBB0D3A}" dt="2022-11-28T21:49:10.334" v="6563"/>
          <ac:spMkLst>
            <pc:docMk/>
            <pc:sldMk cId="2101430142" sldId="2076138201"/>
            <ac:spMk id="35" creationId="{1B457EED-C46A-494B-978A-324FFF387AA9}"/>
          </ac:spMkLst>
        </pc:spChg>
        <pc:spChg chg="add del mod">
          <ac:chgData name="Kawtar SADIQ" userId="65df04e4-2d23-4bab-afb0-40df8a2c1b9f" providerId="ADAL" clId="{13E48CF6-3C07-4AA7-848A-1E964CBB0D3A}" dt="2022-11-28T21:49:13.431" v="6564"/>
          <ac:spMkLst>
            <pc:docMk/>
            <pc:sldMk cId="2101430142" sldId="2076138201"/>
            <ac:spMk id="36" creationId="{A84A9E2D-A168-4B81-BE34-68856645E3D6}"/>
          </ac:spMkLst>
        </pc:spChg>
        <pc:spChg chg="mod">
          <ac:chgData name="Kawtar SADIQ" userId="65df04e4-2d23-4bab-afb0-40df8a2c1b9f" providerId="ADAL" clId="{13E48CF6-3C07-4AA7-848A-1E964CBB0D3A}" dt="2022-11-28T21:49:41.371" v="6576" actId="1036"/>
          <ac:spMkLst>
            <pc:docMk/>
            <pc:sldMk cId="2101430142" sldId="2076138201"/>
            <ac:spMk id="40" creationId="{55786F80-D679-4C18-882D-8147418FEFED}"/>
          </ac:spMkLst>
        </pc:spChg>
        <pc:spChg chg="mod">
          <ac:chgData name="Kawtar SADIQ" userId="65df04e4-2d23-4bab-afb0-40df8a2c1b9f" providerId="ADAL" clId="{13E48CF6-3C07-4AA7-848A-1E964CBB0D3A}" dt="2022-11-28T21:49:21.740" v="6568"/>
          <ac:spMkLst>
            <pc:docMk/>
            <pc:sldMk cId="2101430142" sldId="2076138201"/>
            <ac:spMk id="41" creationId="{1FD0929F-66F8-4576-83F6-8414A963ED58}"/>
          </ac:spMkLst>
        </pc:spChg>
        <pc:spChg chg="mod">
          <ac:chgData name="Kawtar SADIQ" userId="65df04e4-2d23-4bab-afb0-40df8a2c1b9f" providerId="ADAL" clId="{13E48CF6-3C07-4AA7-848A-1E964CBB0D3A}" dt="2022-11-28T21:49:21.740" v="6568"/>
          <ac:spMkLst>
            <pc:docMk/>
            <pc:sldMk cId="2101430142" sldId="2076138201"/>
            <ac:spMk id="42" creationId="{E1436F9D-E6EE-4EF0-9427-9E8C4A01A4F6}"/>
          </ac:spMkLst>
        </pc:spChg>
        <pc:spChg chg="mod">
          <ac:chgData name="Kawtar SADIQ" userId="65df04e4-2d23-4bab-afb0-40df8a2c1b9f" providerId="ADAL" clId="{13E48CF6-3C07-4AA7-848A-1E964CBB0D3A}" dt="2022-11-28T21:49:21.740" v="6568"/>
          <ac:spMkLst>
            <pc:docMk/>
            <pc:sldMk cId="2101430142" sldId="2076138201"/>
            <ac:spMk id="43" creationId="{5B40E0DA-181B-44ED-B803-9CFC2F4516E6}"/>
          </ac:spMkLst>
        </pc:spChg>
        <pc:spChg chg="mod">
          <ac:chgData name="Kawtar SADIQ" userId="65df04e4-2d23-4bab-afb0-40df8a2c1b9f" providerId="ADAL" clId="{13E48CF6-3C07-4AA7-848A-1E964CBB0D3A}" dt="2022-11-28T21:50:15.810" v="6582" actId="207"/>
          <ac:spMkLst>
            <pc:docMk/>
            <pc:sldMk cId="2101430142" sldId="2076138201"/>
            <ac:spMk id="46" creationId="{3F35BB2D-F24C-45E7-B608-CDF4D14C8405}"/>
          </ac:spMkLst>
        </pc:spChg>
        <pc:spChg chg="mod">
          <ac:chgData name="Kawtar SADIQ" userId="65df04e4-2d23-4bab-afb0-40df8a2c1b9f" providerId="ADAL" clId="{13E48CF6-3C07-4AA7-848A-1E964CBB0D3A}" dt="2022-11-28T21:50:03.327" v="6579"/>
          <ac:spMkLst>
            <pc:docMk/>
            <pc:sldMk cId="2101430142" sldId="2076138201"/>
            <ac:spMk id="47" creationId="{18EBABEC-389B-4A97-8432-AE7E71D92CC2}"/>
          </ac:spMkLst>
        </pc:spChg>
        <pc:spChg chg="mod">
          <ac:chgData name="Kawtar SADIQ" userId="65df04e4-2d23-4bab-afb0-40df8a2c1b9f" providerId="ADAL" clId="{13E48CF6-3C07-4AA7-848A-1E964CBB0D3A}" dt="2022-11-28T21:50:03.327" v="6579"/>
          <ac:spMkLst>
            <pc:docMk/>
            <pc:sldMk cId="2101430142" sldId="2076138201"/>
            <ac:spMk id="48" creationId="{0A1A62FF-CFFC-45E1-9043-DA8324A96811}"/>
          </ac:spMkLst>
        </pc:spChg>
        <pc:spChg chg="mod">
          <ac:chgData name="Kawtar SADIQ" userId="65df04e4-2d23-4bab-afb0-40df8a2c1b9f" providerId="ADAL" clId="{13E48CF6-3C07-4AA7-848A-1E964CBB0D3A}" dt="2022-11-28T21:50:03.327" v="6579"/>
          <ac:spMkLst>
            <pc:docMk/>
            <pc:sldMk cId="2101430142" sldId="2076138201"/>
            <ac:spMk id="49" creationId="{8299A08B-FD78-450C-B498-25275423D106}"/>
          </ac:spMkLst>
        </pc:spChg>
        <pc:spChg chg="add del mod ord">
          <ac:chgData name="Kawtar SADIQ" userId="65df04e4-2d23-4bab-afb0-40df8a2c1b9f" providerId="ADAL" clId="{13E48CF6-3C07-4AA7-848A-1E964CBB0D3A}" dt="2022-11-29T11:10:04.404" v="8018" actId="478"/>
          <ac:spMkLst>
            <pc:docMk/>
            <pc:sldMk cId="2101430142" sldId="2076138201"/>
            <ac:spMk id="51" creationId="{109379B7-85B0-4361-B169-9B75DBAC31B7}"/>
          </ac:spMkLst>
        </pc:spChg>
        <pc:spChg chg="add del mod">
          <ac:chgData name="Kawtar SADIQ" userId="65df04e4-2d23-4bab-afb0-40df8a2c1b9f" providerId="ADAL" clId="{13E48CF6-3C07-4AA7-848A-1E964CBB0D3A}" dt="2022-11-28T21:58:41.519" v="6669" actId="478"/>
          <ac:spMkLst>
            <pc:docMk/>
            <pc:sldMk cId="2101430142" sldId="2076138201"/>
            <ac:spMk id="53" creationId="{85196B6B-8961-499A-9481-53DC6DC3B9F2}"/>
          </ac:spMkLst>
        </pc:spChg>
        <pc:spChg chg="add del mod">
          <ac:chgData name="Kawtar SADIQ" userId="65df04e4-2d23-4bab-afb0-40df8a2c1b9f" providerId="ADAL" clId="{13E48CF6-3C07-4AA7-848A-1E964CBB0D3A}" dt="2022-11-29T11:10:13.757" v="8022" actId="478"/>
          <ac:spMkLst>
            <pc:docMk/>
            <pc:sldMk cId="2101430142" sldId="2076138201"/>
            <ac:spMk id="55" creationId="{3CB51737-DDF1-40BD-8B5E-A4421BE74067}"/>
          </ac:spMkLst>
        </pc:spChg>
        <pc:spChg chg="add del mod">
          <ac:chgData name="Kawtar SADIQ" userId="65df04e4-2d23-4bab-afb0-40df8a2c1b9f" providerId="ADAL" clId="{13E48CF6-3C07-4AA7-848A-1E964CBB0D3A}" dt="2022-11-29T11:08:26.946" v="8003" actId="478"/>
          <ac:spMkLst>
            <pc:docMk/>
            <pc:sldMk cId="2101430142" sldId="2076138201"/>
            <ac:spMk id="62" creationId="{21C472E3-8AE3-4B12-B752-8118E675D29E}"/>
          </ac:spMkLst>
        </pc:spChg>
        <pc:spChg chg="add mod">
          <ac:chgData name="Kawtar SADIQ" userId="65df04e4-2d23-4bab-afb0-40df8a2c1b9f" providerId="ADAL" clId="{13E48CF6-3C07-4AA7-848A-1E964CBB0D3A}" dt="2022-11-29T11:09:45.272" v="8013" actId="207"/>
          <ac:spMkLst>
            <pc:docMk/>
            <pc:sldMk cId="2101430142" sldId="2076138201"/>
            <ac:spMk id="67" creationId="{7E98BB18-0FB8-406D-8C28-2BDED9DCBF0F}"/>
          </ac:spMkLst>
        </pc:spChg>
        <pc:grpChg chg="add mod">
          <ac:chgData name="Kawtar SADIQ" userId="65df04e4-2d23-4bab-afb0-40df8a2c1b9f" providerId="ADAL" clId="{13E48CF6-3C07-4AA7-848A-1E964CBB0D3A}" dt="2022-11-29T19:24:59.477" v="11686" actId="14100"/>
          <ac:grpSpMkLst>
            <pc:docMk/>
            <pc:sldMk cId="2101430142" sldId="2076138201"/>
            <ac:grpSpMk id="15" creationId="{02664287-B538-4B40-AB50-1B53CEC2D68C}"/>
          </ac:grpSpMkLst>
        </pc:grpChg>
        <pc:grpChg chg="add del mod topLvl">
          <ac:chgData name="Kawtar SADIQ" userId="65df04e4-2d23-4bab-afb0-40df8a2c1b9f" providerId="ADAL" clId="{13E48CF6-3C07-4AA7-848A-1E964CBB0D3A}" dt="2022-11-28T21:54:53.923" v="6619" actId="478"/>
          <ac:grpSpMkLst>
            <pc:docMk/>
            <pc:sldMk cId="2101430142" sldId="2076138201"/>
            <ac:grpSpMk id="28" creationId="{47F44DB4-8742-4C2B-BBE2-C162FB06E8B0}"/>
          </ac:grpSpMkLst>
        </pc:grpChg>
        <pc:grpChg chg="add del mod">
          <ac:chgData name="Kawtar SADIQ" userId="65df04e4-2d23-4bab-afb0-40df8a2c1b9f" providerId="ADAL" clId="{13E48CF6-3C07-4AA7-848A-1E964CBB0D3A}" dt="2022-11-28T21:49:13.431" v="6564"/>
          <ac:grpSpMkLst>
            <pc:docMk/>
            <pc:sldMk cId="2101430142" sldId="2076138201"/>
            <ac:grpSpMk id="32" creationId="{0686F670-2EDB-4DC4-96BA-2AF8FC8E24E9}"/>
          </ac:grpSpMkLst>
        </pc:grpChg>
        <pc:grpChg chg="add del mod">
          <ac:chgData name="Kawtar SADIQ" userId="65df04e4-2d23-4bab-afb0-40df8a2c1b9f" providerId="ADAL" clId="{13E48CF6-3C07-4AA7-848A-1E964CBB0D3A}" dt="2022-11-28T21:54:53.015" v="6618" actId="478"/>
          <ac:grpSpMkLst>
            <pc:docMk/>
            <pc:sldMk cId="2101430142" sldId="2076138201"/>
            <ac:grpSpMk id="37" creationId="{3D6487D0-30FD-444E-8686-D12612F32EEC}"/>
          </ac:grpSpMkLst>
        </pc:grpChg>
        <pc:grpChg chg="add del mod">
          <ac:chgData name="Kawtar SADIQ" userId="65df04e4-2d23-4bab-afb0-40df8a2c1b9f" providerId="ADAL" clId="{13E48CF6-3C07-4AA7-848A-1E964CBB0D3A}" dt="2022-11-28T21:53:59.141" v="6603" actId="478"/>
          <ac:grpSpMkLst>
            <pc:docMk/>
            <pc:sldMk cId="2101430142" sldId="2076138201"/>
            <ac:grpSpMk id="38" creationId="{9928FF2B-C9DD-4448-9941-4D83066C2F39}"/>
          </ac:grpSpMkLst>
        </pc:grpChg>
        <pc:grpChg chg="mod">
          <ac:chgData name="Kawtar SADIQ" userId="65df04e4-2d23-4bab-afb0-40df8a2c1b9f" providerId="ADAL" clId="{13E48CF6-3C07-4AA7-848A-1E964CBB0D3A}" dt="2022-11-28T21:49:21.740" v="6568"/>
          <ac:grpSpMkLst>
            <pc:docMk/>
            <pc:sldMk cId="2101430142" sldId="2076138201"/>
            <ac:grpSpMk id="39" creationId="{363912B0-5020-480C-9198-ADD39CC425EB}"/>
          </ac:grpSpMkLst>
        </pc:grpChg>
        <pc:grpChg chg="add del mod">
          <ac:chgData name="Kawtar SADIQ" userId="65df04e4-2d23-4bab-afb0-40df8a2c1b9f" providerId="ADAL" clId="{13E48CF6-3C07-4AA7-848A-1E964CBB0D3A}" dt="2022-11-28T21:55:08.559" v="6624" actId="478"/>
          <ac:grpSpMkLst>
            <pc:docMk/>
            <pc:sldMk cId="2101430142" sldId="2076138201"/>
            <ac:grpSpMk id="44" creationId="{CBE8B905-F6E9-4BC8-B12C-61517C93FC97}"/>
          </ac:grpSpMkLst>
        </pc:grpChg>
        <pc:grpChg chg="mod">
          <ac:chgData name="Kawtar SADIQ" userId="65df04e4-2d23-4bab-afb0-40df8a2c1b9f" providerId="ADAL" clId="{13E48CF6-3C07-4AA7-848A-1E964CBB0D3A}" dt="2022-11-28T21:50:03.327" v="6579"/>
          <ac:grpSpMkLst>
            <pc:docMk/>
            <pc:sldMk cId="2101430142" sldId="2076138201"/>
            <ac:grpSpMk id="45" creationId="{ADF60971-CA21-4A9E-83FF-CD77E2AB8B75}"/>
          </ac:grpSpMkLst>
        </pc:grpChg>
        <pc:picChg chg="mod">
          <ac:chgData name="Kawtar SADIQ" userId="65df04e4-2d23-4bab-afb0-40df8a2c1b9f" providerId="ADAL" clId="{13E48CF6-3C07-4AA7-848A-1E964CBB0D3A}" dt="2022-11-30T17:11:36.063" v="21437" actId="1038"/>
          <ac:picMkLst>
            <pc:docMk/>
            <pc:sldMk cId="2101430142" sldId="2076138201"/>
            <ac:picMk id="8" creationId="{954680C5-444D-AC83-35AD-13B633442307}"/>
          </ac:picMkLst>
        </pc:picChg>
        <pc:picChg chg="add mod">
          <ac:chgData name="Kawtar SADIQ" userId="65df04e4-2d23-4bab-afb0-40df8a2c1b9f" providerId="ADAL" clId="{13E48CF6-3C07-4AA7-848A-1E964CBB0D3A}" dt="2022-11-30T17:36:49.303" v="21585" actId="1076"/>
          <ac:picMkLst>
            <pc:docMk/>
            <pc:sldMk cId="2101430142" sldId="2076138201"/>
            <ac:picMk id="9" creationId="{091F332B-8A67-495A-B664-C4A3365AB125}"/>
          </ac:picMkLst>
        </pc:picChg>
        <pc:picChg chg="mod">
          <ac:chgData name="Kawtar SADIQ" userId="65df04e4-2d23-4bab-afb0-40df8a2c1b9f" providerId="ADAL" clId="{13E48CF6-3C07-4AA7-848A-1E964CBB0D3A}" dt="2022-11-30T17:11:36.063" v="21437" actId="1038"/>
          <ac:picMkLst>
            <pc:docMk/>
            <pc:sldMk cId="2101430142" sldId="2076138201"/>
            <ac:picMk id="10" creationId="{456403CF-9165-BC69-A3A1-9480A1B06B61}"/>
          </ac:picMkLst>
        </pc:picChg>
        <pc:picChg chg="mod">
          <ac:chgData name="Kawtar SADIQ" userId="65df04e4-2d23-4bab-afb0-40df8a2c1b9f" providerId="ADAL" clId="{13E48CF6-3C07-4AA7-848A-1E964CBB0D3A}" dt="2022-11-30T17:35:56.062" v="21569" actId="1076"/>
          <ac:picMkLst>
            <pc:docMk/>
            <pc:sldMk cId="2101430142" sldId="2076138201"/>
            <ac:picMk id="14" creationId="{E6E8B5B5-E846-6C1E-73E0-73F31F39C295}"/>
          </ac:picMkLst>
        </pc:picChg>
        <pc:picChg chg="mod">
          <ac:chgData name="Kawtar SADIQ" userId="65df04e4-2d23-4bab-afb0-40df8a2c1b9f" providerId="ADAL" clId="{13E48CF6-3C07-4AA7-848A-1E964CBB0D3A}" dt="2022-11-30T17:11:40.303" v="21438" actId="108"/>
          <ac:picMkLst>
            <pc:docMk/>
            <pc:sldMk cId="2101430142" sldId="2076138201"/>
            <ac:picMk id="16" creationId="{3648C1AC-8B44-4B42-9C4E-B675FB090BCA}"/>
          </ac:picMkLst>
        </pc:picChg>
        <pc:picChg chg="mod">
          <ac:chgData name="Kawtar SADIQ" userId="65df04e4-2d23-4bab-afb0-40df8a2c1b9f" providerId="ADAL" clId="{13E48CF6-3C07-4AA7-848A-1E964CBB0D3A}" dt="2022-11-30T17:11:40.303" v="21438" actId="108"/>
          <ac:picMkLst>
            <pc:docMk/>
            <pc:sldMk cId="2101430142" sldId="2076138201"/>
            <ac:picMk id="17" creationId="{2F53C643-F4F3-4C33-9F7B-FD10EC2D3E3C}"/>
          </ac:picMkLst>
        </pc:picChg>
        <pc:picChg chg="add del mod">
          <ac:chgData name="Kawtar SADIQ" userId="65df04e4-2d23-4bab-afb0-40df8a2c1b9f" providerId="ADAL" clId="{13E48CF6-3C07-4AA7-848A-1E964CBB0D3A}" dt="2022-11-28T20:01:13.719" v="5817" actId="478"/>
          <ac:picMkLst>
            <pc:docMk/>
            <pc:sldMk cId="2101430142" sldId="2076138201"/>
            <ac:picMk id="18" creationId="{F552271D-4932-45DB-BAB9-5C6A15871F5F}"/>
          </ac:picMkLst>
        </pc:picChg>
        <pc:picChg chg="mod">
          <ac:chgData name="Kawtar SADIQ" userId="65df04e4-2d23-4bab-afb0-40df8a2c1b9f" providerId="ADAL" clId="{13E48CF6-3C07-4AA7-848A-1E964CBB0D3A}" dt="2022-12-01T13:14:14.468" v="27723" actId="1076"/>
          <ac:picMkLst>
            <pc:docMk/>
            <pc:sldMk cId="2101430142" sldId="2076138201"/>
            <ac:picMk id="21" creationId="{E0D2647B-C808-6B54-BEC8-91C97764FDB1}"/>
          </ac:picMkLst>
        </pc:picChg>
        <pc:picChg chg="add del mod">
          <ac:chgData name="Kawtar SADIQ" userId="65df04e4-2d23-4bab-afb0-40df8a2c1b9f" providerId="ADAL" clId="{13E48CF6-3C07-4AA7-848A-1E964CBB0D3A}" dt="2022-11-28T19:55:51.863" v="5779" actId="478"/>
          <ac:picMkLst>
            <pc:docMk/>
            <pc:sldMk cId="2101430142" sldId="2076138201"/>
            <ac:picMk id="26" creationId="{A5729DCA-770F-459F-99AE-925CE1E3D9FB}"/>
          </ac:picMkLst>
        </pc:picChg>
        <pc:picChg chg="add del mod">
          <ac:chgData name="Kawtar SADIQ" userId="65df04e4-2d23-4bab-afb0-40df8a2c1b9f" providerId="ADAL" clId="{13E48CF6-3C07-4AA7-848A-1E964CBB0D3A}" dt="2022-11-28T20:01:21.622" v="5820" actId="478"/>
          <ac:picMkLst>
            <pc:docMk/>
            <pc:sldMk cId="2101430142" sldId="2076138201"/>
            <ac:picMk id="27" creationId="{6CEF50DD-5FF7-467C-B19C-D636D48E2161}"/>
          </ac:picMkLst>
        </pc:picChg>
        <pc:picChg chg="add del mod">
          <ac:chgData name="Kawtar SADIQ" userId="65df04e4-2d23-4bab-afb0-40df8a2c1b9f" providerId="ADAL" clId="{13E48CF6-3C07-4AA7-848A-1E964CBB0D3A}" dt="2022-11-28T21:59:19.090" v="6699" actId="478"/>
          <ac:picMkLst>
            <pc:docMk/>
            <pc:sldMk cId="2101430142" sldId="2076138201"/>
            <ac:picMk id="50" creationId="{D10614AB-2744-4A6C-9A2A-08D8574283F6}"/>
          </ac:picMkLst>
        </pc:picChg>
        <pc:picChg chg="add del mod">
          <ac:chgData name="Kawtar SADIQ" userId="65df04e4-2d23-4bab-afb0-40df8a2c1b9f" providerId="ADAL" clId="{13E48CF6-3C07-4AA7-848A-1E964CBB0D3A}" dt="2022-11-28T21:58:41.519" v="6669" actId="478"/>
          <ac:picMkLst>
            <pc:docMk/>
            <pc:sldMk cId="2101430142" sldId="2076138201"/>
            <ac:picMk id="52" creationId="{C335F37E-D436-42F7-88F9-3B3DC1D30D62}"/>
          </ac:picMkLst>
        </pc:picChg>
        <pc:picChg chg="add del mod">
          <ac:chgData name="Kawtar SADIQ" userId="65df04e4-2d23-4bab-afb0-40df8a2c1b9f" providerId="ADAL" clId="{13E48CF6-3C07-4AA7-848A-1E964CBB0D3A}" dt="2022-11-28T21:58:50.948" v="6671" actId="478"/>
          <ac:picMkLst>
            <pc:docMk/>
            <pc:sldMk cId="2101430142" sldId="2076138201"/>
            <ac:picMk id="54" creationId="{D685DBDA-877F-4EA3-8CCB-31AD8DD243DC}"/>
          </ac:picMkLst>
        </pc:picChg>
        <pc:picChg chg="add del mod">
          <ac:chgData name="Kawtar SADIQ" userId="65df04e4-2d23-4bab-afb0-40df8a2c1b9f" providerId="ADAL" clId="{13E48CF6-3C07-4AA7-848A-1E964CBB0D3A}" dt="2022-11-29T11:08:21.678" v="8002" actId="478"/>
          <ac:picMkLst>
            <pc:docMk/>
            <pc:sldMk cId="2101430142" sldId="2076138201"/>
            <ac:picMk id="61" creationId="{B799E5D7-F396-4668-A051-33988E85C64C}"/>
          </ac:picMkLst>
        </pc:picChg>
        <pc:picChg chg="add del mod ord">
          <ac:chgData name="Kawtar SADIQ" userId="65df04e4-2d23-4bab-afb0-40df8a2c1b9f" providerId="ADAL" clId="{13E48CF6-3C07-4AA7-848A-1E964CBB0D3A}" dt="2022-11-29T11:10:14.292" v="8023" actId="478"/>
          <ac:picMkLst>
            <pc:docMk/>
            <pc:sldMk cId="2101430142" sldId="2076138201"/>
            <ac:picMk id="63" creationId="{DA752B43-24BF-4F27-8ACE-DA6C69314566}"/>
          </ac:picMkLst>
        </pc:picChg>
        <pc:picChg chg="add del mod">
          <ac:chgData name="Kawtar SADIQ" userId="65df04e4-2d23-4bab-afb0-40df8a2c1b9f" providerId="ADAL" clId="{13E48CF6-3C07-4AA7-848A-1E964CBB0D3A}" dt="2022-11-29T11:10:01.290" v="8017" actId="478"/>
          <ac:picMkLst>
            <pc:docMk/>
            <pc:sldMk cId="2101430142" sldId="2076138201"/>
            <ac:picMk id="64" creationId="{5AF7FB58-2EF7-458A-8B65-2BBF527EE557}"/>
          </ac:picMkLst>
        </pc:picChg>
        <pc:cxnChg chg="add del mod">
          <ac:chgData name="Kawtar SADIQ" userId="65df04e4-2d23-4bab-afb0-40df8a2c1b9f" providerId="ADAL" clId="{13E48CF6-3C07-4AA7-848A-1E964CBB0D3A}" dt="2022-11-28T19:02:58.403" v="5065" actId="478"/>
          <ac:cxnSpMkLst>
            <pc:docMk/>
            <pc:sldMk cId="2101430142" sldId="2076138201"/>
            <ac:cxnSpMk id="5" creationId="{EEE72221-4D83-4719-8501-E4C13B2CFFFD}"/>
          </ac:cxnSpMkLst>
        </pc:cxnChg>
        <pc:cxnChg chg="add del mod">
          <ac:chgData name="Kawtar SADIQ" userId="65df04e4-2d23-4bab-afb0-40df8a2c1b9f" providerId="ADAL" clId="{13E48CF6-3C07-4AA7-848A-1E964CBB0D3A}" dt="2022-11-28T19:07:52.834" v="5075" actId="478"/>
          <ac:cxnSpMkLst>
            <pc:docMk/>
            <pc:sldMk cId="2101430142" sldId="2076138201"/>
            <ac:cxnSpMk id="9" creationId="{C20F82D2-E69D-4F86-86CE-5F676C6FEC71}"/>
          </ac:cxnSpMkLst>
        </pc:cxnChg>
        <pc:cxnChg chg="add del mod">
          <ac:chgData name="Kawtar SADIQ" userId="65df04e4-2d23-4bab-afb0-40df8a2c1b9f" providerId="ADAL" clId="{13E48CF6-3C07-4AA7-848A-1E964CBB0D3A}" dt="2022-11-28T19:07:54.637" v="5076" actId="478"/>
          <ac:cxnSpMkLst>
            <pc:docMk/>
            <pc:sldMk cId="2101430142" sldId="2076138201"/>
            <ac:cxnSpMk id="11" creationId="{5F9EC7D9-3042-49B1-AD10-FB3540B9640F}"/>
          </ac:cxnSpMkLst>
        </pc:cxnChg>
        <pc:cxnChg chg="add del mod">
          <ac:chgData name="Kawtar SADIQ" userId="65df04e4-2d23-4bab-afb0-40df8a2c1b9f" providerId="ADAL" clId="{13E48CF6-3C07-4AA7-848A-1E964CBB0D3A}" dt="2022-11-29T11:10:57.604" v="8031" actId="478"/>
          <ac:cxnSpMkLst>
            <pc:docMk/>
            <pc:sldMk cId="2101430142" sldId="2076138201"/>
            <ac:cxnSpMk id="57" creationId="{7B73868F-5230-46F3-99D5-8852E08FF818}"/>
          </ac:cxnSpMkLst>
        </pc:cxnChg>
        <pc:cxnChg chg="add del mod ord">
          <ac:chgData name="Kawtar SADIQ" userId="65df04e4-2d23-4bab-afb0-40df8a2c1b9f" providerId="ADAL" clId="{13E48CF6-3C07-4AA7-848A-1E964CBB0D3A}" dt="2022-11-29T11:09:06.209" v="8011" actId="478"/>
          <ac:cxnSpMkLst>
            <pc:docMk/>
            <pc:sldMk cId="2101430142" sldId="2076138201"/>
            <ac:cxnSpMk id="60" creationId="{A62C6900-73B5-47BE-BD67-5F8D2912C3BE}"/>
          </ac:cxnSpMkLst>
        </pc:cxnChg>
      </pc:sldChg>
      <pc:sldChg chg="addSp delSp new del mod">
        <pc:chgData name="Kawtar SADIQ" userId="65df04e4-2d23-4bab-afb0-40df8a2c1b9f" providerId="ADAL" clId="{13E48CF6-3C07-4AA7-848A-1E964CBB0D3A}" dt="2022-11-28T14:59:52.938" v="3706" actId="47"/>
        <pc:sldMkLst>
          <pc:docMk/>
          <pc:sldMk cId="2414602660" sldId="2076138201"/>
        </pc:sldMkLst>
        <pc:spChg chg="add del">
          <ac:chgData name="Kawtar SADIQ" userId="65df04e4-2d23-4bab-afb0-40df8a2c1b9f" providerId="ADAL" clId="{13E48CF6-3C07-4AA7-848A-1E964CBB0D3A}" dt="2022-11-28T14:59:50.979" v="3705" actId="22"/>
          <ac:spMkLst>
            <pc:docMk/>
            <pc:sldMk cId="2414602660" sldId="2076138201"/>
            <ac:spMk id="5" creationId="{277A73ED-517C-418A-A66C-0C80AA6377A8}"/>
          </ac:spMkLst>
        </pc:spChg>
      </pc:sldChg>
      <pc:sldChg chg="addSp delSp modSp add del mod">
        <pc:chgData name="Kawtar SADIQ" userId="65df04e4-2d23-4bab-afb0-40df8a2c1b9f" providerId="ADAL" clId="{13E48CF6-3C07-4AA7-848A-1E964CBB0D3A}" dt="2022-11-28T18:59:32.697" v="5007" actId="2890"/>
        <pc:sldMkLst>
          <pc:docMk/>
          <pc:sldMk cId="3933091213" sldId="2076138201"/>
        </pc:sldMkLst>
        <pc:spChg chg="mod">
          <ac:chgData name="Kawtar SADIQ" userId="65df04e4-2d23-4bab-afb0-40df8a2c1b9f" providerId="ADAL" clId="{13E48CF6-3C07-4AA7-848A-1E964CBB0D3A}" dt="2022-11-28T18:59:26.546" v="5002" actId="20577"/>
          <ac:spMkLst>
            <pc:docMk/>
            <pc:sldMk cId="3933091213" sldId="2076138201"/>
            <ac:spMk id="2" creationId="{E11BF5BD-75C4-4E77-9598-7225EFF82CC5}"/>
          </ac:spMkLst>
        </pc:spChg>
        <pc:spChg chg="add del">
          <ac:chgData name="Kawtar SADIQ" userId="65df04e4-2d23-4bab-afb0-40df8a2c1b9f" providerId="ADAL" clId="{13E48CF6-3C07-4AA7-848A-1E964CBB0D3A}" dt="2022-11-28T18:59:26.971" v="5004" actId="478"/>
          <ac:spMkLst>
            <pc:docMk/>
            <pc:sldMk cId="3933091213" sldId="2076138201"/>
            <ac:spMk id="4" creationId="{DFE4ECB6-193A-41CD-8C1D-5A9AA8C9E006}"/>
          </ac:spMkLst>
        </pc:spChg>
        <pc:spChg chg="add del">
          <ac:chgData name="Kawtar SADIQ" userId="65df04e4-2d23-4bab-afb0-40df8a2c1b9f" providerId="ADAL" clId="{13E48CF6-3C07-4AA7-848A-1E964CBB0D3A}" dt="2022-11-28T18:59:26.971" v="5004" actId="478"/>
          <ac:spMkLst>
            <pc:docMk/>
            <pc:sldMk cId="3933091213" sldId="2076138201"/>
            <ac:spMk id="9" creationId="{B9D16533-3C4E-49F8-8625-77A29914D708}"/>
          </ac:spMkLst>
        </pc:spChg>
        <pc:spChg chg="add del">
          <ac:chgData name="Kawtar SADIQ" userId="65df04e4-2d23-4bab-afb0-40df8a2c1b9f" providerId="ADAL" clId="{13E48CF6-3C07-4AA7-848A-1E964CBB0D3A}" dt="2022-11-28T18:59:26.971" v="5004" actId="478"/>
          <ac:spMkLst>
            <pc:docMk/>
            <pc:sldMk cId="3933091213" sldId="2076138201"/>
            <ac:spMk id="10" creationId="{2C1BE3D3-AF86-4F00-99E9-C106820D1EEC}"/>
          </ac:spMkLst>
        </pc:spChg>
        <pc:spChg chg="add del">
          <ac:chgData name="Kawtar SADIQ" userId="65df04e4-2d23-4bab-afb0-40df8a2c1b9f" providerId="ADAL" clId="{13E48CF6-3C07-4AA7-848A-1E964CBB0D3A}" dt="2022-11-28T18:59:26.971" v="5004" actId="478"/>
          <ac:spMkLst>
            <pc:docMk/>
            <pc:sldMk cId="3933091213" sldId="2076138201"/>
            <ac:spMk id="11" creationId="{C292AB15-E768-45D5-AD2A-5C819B23BD9F}"/>
          </ac:spMkLst>
        </pc:spChg>
        <pc:spChg chg="add del">
          <ac:chgData name="Kawtar SADIQ" userId="65df04e4-2d23-4bab-afb0-40df8a2c1b9f" providerId="ADAL" clId="{13E48CF6-3C07-4AA7-848A-1E964CBB0D3A}" dt="2022-11-28T18:59:26.971" v="5004" actId="478"/>
          <ac:spMkLst>
            <pc:docMk/>
            <pc:sldMk cId="3933091213" sldId="2076138201"/>
            <ac:spMk id="13" creationId="{E22D3A68-8C63-4250-BAEB-59D55544985D}"/>
          </ac:spMkLst>
        </pc:spChg>
        <pc:spChg chg="add del">
          <ac:chgData name="Kawtar SADIQ" userId="65df04e4-2d23-4bab-afb0-40df8a2c1b9f" providerId="ADAL" clId="{13E48CF6-3C07-4AA7-848A-1E964CBB0D3A}" dt="2022-11-28T18:59:26.971" v="5004" actId="478"/>
          <ac:spMkLst>
            <pc:docMk/>
            <pc:sldMk cId="3933091213" sldId="2076138201"/>
            <ac:spMk id="15" creationId="{864E3EB6-63A0-4187-87C2-15847F11EF55}"/>
          </ac:spMkLst>
        </pc:spChg>
        <pc:spChg chg="add del">
          <ac:chgData name="Kawtar SADIQ" userId="65df04e4-2d23-4bab-afb0-40df8a2c1b9f" providerId="ADAL" clId="{13E48CF6-3C07-4AA7-848A-1E964CBB0D3A}" dt="2022-11-28T18:59:26.742" v="5003" actId="478"/>
          <ac:spMkLst>
            <pc:docMk/>
            <pc:sldMk cId="3933091213" sldId="2076138201"/>
            <ac:spMk id="17" creationId="{081C14F2-F0CF-453C-B5E6-3AB28B427042}"/>
          </ac:spMkLst>
        </pc:spChg>
        <pc:spChg chg="add del">
          <ac:chgData name="Kawtar SADIQ" userId="65df04e4-2d23-4bab-afb0-40df8a2c1b9f" providerId="ADAL" clId="{13E48CF6-3C07-4AA7-848A-1E964CBB0D3A}" dt="2022-11-28T18:59:26.971" v="5004" actId="478"/>
          <ac:spMkLst>
            <pc:docMk/>
            <pc:sldMk cId="3933091213" sldId="2076138201"/>
            <ac:spMk id="58" creationId="{B748715E-1225-4C8F-9C5C-81FBCB2456EC}"/>
          </ac:spMkLst>
        </pc:spChg>
        <pc:spChg chg="add del">
          <ac:chgData name="Kawtar SADIQ" userId="65df04e4-2d23-4bab-afb0-40df8a2c1b9f" providerId="ADAL" clId="{13E48CF6-3C07-4AA7-848A-1E964CBB0D3A}" dt="2022-11-28T18:59:26.971" v="5004" actId="478"/>
          <ac:spMkLst>
            <pc:docMk/>
            <pc:sldMk cId="3933091213" sldId="2076138201"/>
            <ac:spMk id="69" creationId="{3CBF212F-0C7D-4BA2-814A-07D4343A3112}"/>
          </ac:spMkLst>
        </pc:spChg>
        <pc:spChg chg="add del">
          <ac:chgData name="Kawtar SADIQ" userId="65df04e4-2d23-4bab-afb0-40df8a2c1b9f" providerId="ADAL" clId="{13E48CF6-3C07-4AA7-848A-1E964CBB0D3A}" dt="2022-11-28T18:59:26.971" v="5004" actId="478"/>
          <ac:spMkLst>
            <pc:docMk/>
            <pc:sldMk cId="3933091213" sldId="2076138201"/>
            <ac:spMk id="78" creationId="{1E4D3E67-35FD-4952-A2CD-F98CDF0B36E5}"/>
          </ac:spMkLst>
        </pc:spChg>
        <pc:spChg chg="add del">
          <ac:chgData name="Kawtar SADIQ" userId="65df04e4-2d23-4bab-afb0-40df8a2c1b9f" providerId="ADAL" clId="{13E48CF6-3C07-4AA7-848A-1E964CBB0D3A}" dt="2022-11-28T18:59:26.971" v="5004" actId="478"/>
          <ac:spMkLst>
            <pc:docMk/>
            <pc:sldMk cId="3933091213" sldId="2076138201"/>
            <ac:spMk id="83" creationId="{BB111333-40E0-4BCB-A25D-FFD943EF17B7}"/>
          </ac:spMkLst>
        </pc:spChg>
        <pc:spChg chg="add del">
          <ac:chgData name="Kawtar SADIQ" userId="65df04e4-2d23-4bab-afb0-40df8a2c1b9f" providerId="ADAL" clId="{13E48CF6-3C07-4AA7-848A-1E964CBB0D3A}" dt="2022-11-28T18:59:26.971" v="5004" actId="478"/>
          <ac:spMkLst>
            <pc:docMk/>
            <pc:sldMk cId="3933091213" sldId="2076138201"/>
            <ac:spMk id="93" creationId="{7D7991E1-5821-4FA7-8000-F9170B37A40E}"/>
          </ac:spMkLst>
        </pc:spChg>
        <pc:spChg chg="add del">
          <ac:chgData name="Kawtar SADIQ" userId="65df04e4-2d23-4bab-afb0-40df8a2c1b9f" providerId="ADAL" clId="{13E48CF6-3C07-4AA7-848A-1E964CBB0D3A}" dt="2022-11-28T18:59:26.971" v="5004" actId="478"/>
          <ac:spMkLst>
            <pc:docMk/>
            <pc:sldMk cId="3933091213" sldId="2076138201"/>
            <ac:spMk id="100" creationId="{CBA95CF9-9388-4E09-9CE4-D8B88B4CD491}"/>
          </ac:spMkLst>
        </pc:spChg>
        <pc:spChg chg="add del">
          <ac:chgData name="Kawtar SADIQ" userId="65df04e4-2d23-4bab-afb0-40df8a2c1b9f" providerId="ADAL" clId="{13E48CF6-3C07-4AA7-848A-1E964CBB0D3A}" dt="2022-11-28T18:59:26.971" v="5004" actId="478"/>
          <ac:spMkLst>
            <pc:docMk/>
            <pc:sldMk cId="3933091213" sldId="2076138201"/>
            <ac:spMk id="101" creationId="{82116F28-F3CA-4E18-B6E9-5688B5F8F2CF}"/>
          </ac:spMkLst>
        </pc:spChg>
        <pc:spChg chg="add del">
          <ac:chgData name="Kawtar SADIQ" userId="65df04e4-2d23-4bab-afb0-40df8a2c1b9f" providerId="ADAL" clId="{13E48CF6-3C07-4AA7-848A-1E964CBB0D3A}" dt="2022-11-28T18:59:26.971" v="5004" actId="478"/>
          <ac:spMkLst>
            <pc:docMk/>
            <pc:sldMk cId="3933091213" sldId="2076138201"/>
            <ac:spMk id="102" creationId="{370D9CBA-E0CF-42FD-ACA9-AEEE033A58C0}"/>
          </ac:spMkLst>
        </pc:spChg>
        <pc:spChg chg="add del">
          <ac:chgData name="Kawtar SADIQ" userId="65df04e4-2d23-4bab-afb0-40df8a2c1b9f" providerId="ADAL" clId="{13E48CF6-3C07-4AA7-848A-1E964CBB0D3A}" dt="2022-11-28T18:59:26.971" v="5004" actId="478"/>
          <ac:spMkLst>
            <pc:docMk/>
            <pc:sldMk cId="3933091213" sldId="2076138201"/>
            <ac:spMk id="103" creationId="{3ED5C3CA-D789-42F7-A81A-F1022462E5F4}"/>
          </ac:spMkLst>
        </pc:spChg>
        <pc:spChg chg="add del">
          <ac:chgData name="Kawtar SADIQ" userId="65df04e4-2d23-4bab-afb0-40df8a2c1b9f" providerId="ADAL" clId="{13E48CF6-3C07-4AA7-848A-1E964CBB0D3A}" dt="2022-11-28T18:59:26.971" v="5004" actId="478"/>
          <ac:spMkLst>
            <pc:docMk/>
            <pc:sldMk cId="3933091213" sldId="2076138201"/>
            <ac:spMk id="120" creationId="{C60DBE9D-DD47-4C49-893B-005402689A2C}"/>
          </ac:spMkLst>
        </pc:spChg>
        <pc:spChg chg="add del">
          <ac:chgData name="Kawtar SADIQ" userId="65df04e4-2d23-4bab-afb0-40df8a2c1b9f" providerId="ADAL" clId="{13E48CF6-3C07-4AA7-848A-1E964CBB0D3A}" dt="2022-11-28T18:59:26.971" v="5004" actId="478"/>
          <ac:spMkLst>
            <pc:docMk/>
            <pc:sldMk cId="3933091213" sldId="2076138201"/>
            <ac:spMk id="127" creationId="{0F123CAD-DEF9-4087-A89E-2EE8A89E646A}"/>
          </ac:spMkLst>
        </pc:spChg>
        <pc:grpChg chg="add del">
          <ac:chgData name="Kawtar SADIQ" userId="65df04e4-2d23-4bab-afb0-40df8a2c1b9f" providerId="ADAL" clId="{13E48CF6-3C07-4AA7-848A-1E964CBB0D3A}" dt="2022-11-28T18:59:26.971" v="5004" actId="478"/>
          <ac:grpSpMkLst>
            <pc:docMk/>
            <pc:sldMk cId="3933091213" sldId="2076138201"/>
            <ac:grpSpMk id="21" creationId="{162E3D65-707C-445A-B735-92565C2AF007}"/>
          </ac:grpSpMkLst>
        </pc:grpChg>
        <pc:grpChg chg="add del">
          <ac:chgData name="Kawtar SADIQ" userId="65df04e4-2d23-4bab-afb0-40df8a2c1b9f" providerId="ADAL" clId="{13E48CF6-3C07-4AA7-848A-1E964CBB0D3A}" dt="2022-11-28T18:59:26.971" v="5004" actId="478"/>
          <ac:grpSpMkLst>
            <pc:docMk/>
            <pc:sldMk cId="3933091213" sldId="2076138201"/>
            <ac:grpSpMk id="35" creationId="{DA3A5ACE-FA22-47E5-B71D-BDEB1E9770A5}"/>
          </ac:grpSpMkLst>
        </pc:grpChg>
        <pc:grpChg chg="add del">
          <ac:chgData name="Kawtar SADIQ" userId="65df04e4-2d23-4bab-afb0-40df8a2c1b9f" providerId="ADAL" clId="{13E48CF6-3C07-4AA7-848A-1E964CBB0D3A}" dt="2022-11-28T18:59:26.971" v="5004" actId="478"/>
          <ac:grpSpMkLst>
            <pc:docMk/>
            <pc:sldMk cId="3933091213" sldId="2076138201"/>
            <ac:grpSpMk id="66" creationId="{812470A6-F582-432B-8C7C-54181C83AB1D}"/>
          </ac:grpSpMkLst>
        </pc:grpChg>
        <pc:grpChg chg="add del">
          <ac:chgData name="Kawtar SADIQ" userId="65df04e4-2d23-4bab-afb0-40df8a2c1b9f" providerId="ADAL" clId="{13E48CF6-3C07-4AA7-848A-1E964CBB0D3A}" dt="2022-11-28T18:59:26.971" v="5004" actId="478"/>
          <ac:grpSpMkLst>
            <pc:docMk/>
            <pc:sldMk cId="3933091213" sldId="2076138201"/>
            <ac:grpSpMk id="82" creationId="{769E41E0-3675-4307-A16D-4456E21C749C}"/>
          </ac:grpSpMkLst>
        </pc:grpChg>
        <pc:grpChg chg="add del">
          <ac:chgData name="Kawtar SADIQ" userId="65df04e4-2d23-4bab-afb0-40df8a2c1b9f" providerId="ADAL" clId="{13E48CF6-3C07-4AA7-848A-1E964CBB0D3A}" dt="2022-11-28T18:59:26.971" v="5004" actId="478"/>
          <ac:grpSpMkLst>
            <pc:docMk/>
            <pc:sldMk cId="3933091213" sldId="2076138201"/>
            <ac:grpSpMk id="97" creationId="{118A10A6-7FD9-4069-BD3C-64654F977BA9}"/>
          </ac:grpSpMkLst>
        </pc:grpChg>
        <pc:grpChg chg="add del">
          <ac:chgData name="Kawtar SADIQ" userId="65df04e4-2d23-4bab-afb0-40df8a2c1b9f" providerId="ADAL" clId="{13E48CF6-3C07-4AA7-848A-1E964CBB0D3A}" dt="2022-11-28T18:59:26.971" v="5004" actId="478"/>
          <ac:grpSpMkLst>
            <pc:docMk/>
            <pc:sldMk cId="3933091213" sldId="2076138201"/>
            <ac:grpSpMk id="104" creationId="{40FB79D1-971D-44A5-B7EE-2E00ED5940BD}"/>
          </ac:grpSpMkLst>
        </pc:grpChg>
        <pc:grpChg chg="add del">
          <ac:chgData name="Kawtar SADIQ" userId="65df04e4-2d23-4bab-afb0-40df8a2c1b9f" providerId="ADAL" clId="{13E48CF6-3C07-4AA7-848A-1E964CBB0D3A}" dt="2022-11-28T18:59:26.971" v="5004" actId="478"/>
          <ac:grpSpMkLst>
            <pc:docMk/>
            <pc:sldMk cId="3933091213" sldId="2076138201"/>
            <ac:grpSpMk id="111" creationId="{5DA05E27-43BF-49C2-8F2B-023A5CCB0C22}"/>
          </ac:grpSpMkLst>
        </pc:grpChg>
        <pc:grpChg chg="add del">
          <ac:chgData name="Kawtar SADIQ" userId="65df04e4-2d23-4bab-afb0-40df8a2c1b9f" providerId="ADAL" clId="{13E48CF6-3C07-4AA7-848A-1E964CBB0D3A}" dt="2022-11-28T18:59:26.971" v="5004" actId="478"/>
          <ac:grpSpMkLst>
            <pc:docMk/>
            <pc:sldMk cId="3933091213" sldId="2076138201"/>
            <ac:grpSpMk id="114" creationId="{C992CFCF-6F2A-465E-8869-5F30C419BA46}"/>
          </ac:grpSpMkLst>
        </pc:grpChg>
        <pc:grpChg chg="add del">
          <ac:chgData name="Kawtar SADIQ" userId="65df04e4-2d23-4bab-afb0-40df8a2c1b9f" providerId="ADAL" clId="{13E48CF6-3C07-4AA7-848A-1E964CBB0D3A}" dt="2022-11-28T18:59:26.971" v="5004" actId="478"/>
          <ac:grpSpMkLst>
            <pc:docMk/>
            <pc:sldMk cId="3933091213" sldId="2076138201"/>
            <ac:grpSpMk id="124" creationId="{91B01113-B796-4D93-847B-087E0800E35F}"/>
          </ac:grpSpMkLst>
        </pc:grpChg>
        <pc:picChg chg="add del">
          <ac:chgData name="Kawtar SADIQ" userId="65df04e4-2d23-4bab-afb0-40df8a2c1b9f" providerId="ADAL" clId="{13E48CF6-3C07-4AA7-848A-1E964CBB0D3A}" dt="2022-11-28T18:59:26.971" v="5004" actId="478"/>
          <ac:picMkLst>
            <pc:docMk/>
            <pc:sldMk cId="3933091213" sldId="2076138201"/>
            <ac:picMk id="5" creationId="{8D4A21DA-4CA0-49B7-AD78-0F9B8A7532E6}"/>
          </ac:picMkLst>
        </pc:picChg>
        <pc:picChg chg="add del">
          <ac:chgData name="Kawtar SADIQ" userId="65df04e4-2d23-4bab-afb0-40df8a2c1b9f" providerId="ADAL" clId="{13E48CF6-3C07-4AA7-848A-1E964CBB0D3A}" dt="2022-11-28T18:59:26.971" v="5004" actId="478"/>
          <ac:picMkLst>
            <pc:docMk/>
            <pc:sldMk cId="3933091213" sldId="2076138201"/>
            <ac:picMk id="6" creationId="{CCA51F63-3D45-49D1-A294-FEE7069F69F3}"/>
          </ac:picMkLst>
        </pc:picChg>
        <pc:picChg chg="add del">
          <ac:chgData name="Kawtar SADIQ" userId="65df04e4-2d23-4bab-afb0-40df8a2c1b9f" providerId="ADAL" clId="{13E48CF6-3C07-4AA7-848A-1E964CBB0D3A}" dt="2022-11-28T18:59:26.971" v="5004" actId="478"/>
          <ac:picMkLst>
            <pc:docMk/>
            <pc:sldMk cId="3933091213" sldId="2076138201"/>
            <ac:picMk id="7" creationId="{917A7A55-7496-4AA5-B913-66B9922A7AB0}"/>
          </ac:picMkLst>
        </pc:picChg>
        <pc:picChg chg="add del">
          <ac:chgData name="Kawtar SADIQ" userId="65df04e4-2d23-4bab-afb0-40df8a2c1b9f" providerId="ADAL" clId="{13E48CF6-3C07-4AA7-848A-1E964CBB0D3A}" dt="2022-11-28T18:59:26.971" v="5004" actId="478"/>
          <ac:picMkLst>
            <pc:docMk/>
            <pc:sldMk cId="3933091213" sldId="2076138201"/>
            <ac:picMk id="24" creationId="{07A552B2-1363-45E7-BB1D-2B6DAE61A8ED}"/>
          </ac:picMkLst>
        </pc:picChg>
        <pc:picChg chg="add del">
          <ac:chgData name="Kawtar SADIQ" userId="65df04e4-2d23-4bab-afb0-40df8a2c1b9f" providerId="ADAL" clId="{13E48CF6-3C07-4AA7-848A-1E964CBB0D3A}" dt="2022-11-28T18:59:26.971" v="5004" actId="478"/>
          <ac:picMkLst>
            <pc:docMk/>
            <pc:sldMk cId="3933091213" sldId="2076138201"/>
            <ac:picMk id="61" creationId="{3D0B1C00-C491-4005-9AB8-4D087E59434C}"/>
          </ac:picMkLst>
        </pc:picChg>
        <pc:picChg chg="add del">
          <ac:chgData name="Kawtar SADIQ" userId="65df04e4-2d23-4bab-afb0-40df8a2c1b9f" providerId="ADAL" clId="{13E48CF6-3C07-4AA7-848A-1E964CBB0D3A}" dt="2022-11-28T18:59:26.971" v="5004" actId="478"/>
          <ac:picMkLst>
            <pc:docMk/>
            <pc:sldMk cId="3933091213" sldId="2076138201"/>
            <ac:picMk id="73" creationId="{BCF48EFD-B4F7-43BC-BCB2-79F213C69AEA}"/>
          </ac:picMkLst>
        </pc:picChg>
        <pc:picChg chg="add del">
          <ac:chgData name="Kawtar SADIQ" userId="65df04e4-2d23-4bab-afb0-40df8a2c1b9f" providerId="ADAL" clId="{13E48CF6-3C07-4AA7-848A-1E964CBB0D3A}" dt="2022-11-28T18:59:26.971" v="5004" actId="478"/>
          <ac:picMkLst>
            <pc:docMk/>
            <pc:sldMk cId="3933091213" sldId="2076138201"/>
            <ac:picMk id="75" creationId="{D7961B80-B429-46B2-9F78-3774EBDBEFF3}"/>
          </ac:picMkLst>
        </pc:picChg>
        <pc:picChg chg="add del">
          <ac:chgData name="Kawtar SADIQ" userId="65df04e4-2d23-4bab-afb0-40df8a2c1b9f" providerId="ADAL" clId="{13E48CF6-3C07-4AA7-848A-1E964CBB0D3A}" dt="2022-11-28T18:59:26.971" v="5004" actId="478"/>
          <ac:picMkLst>
            <pc:docMk/>
            <pc:sldMk cId="3933091213" sldId="2076138201"/>
            <ac:picMk id="76" creationId="{BA271C1A-FDF5-4003-8902-E01536572CA8}"/>
          </ac:picMkLst>
        </pc:picChg>
        <pc:cxnChg chg="add del">
          <ac:chgData name="Kawtar SADIQ" userId="65df04e4-2d23-4bab-afb0-40df8a2c1b9f" providerId="ADAL" clId="{13E48CF6-3C07-4AA7-848A-1E964CBB0D3A}" dt="2022-11-28T18:59:26.971" v="5004" actId="478"/>
          <ac:cxnSpMkLst>
            <pc:docMk/>
            <pc:sldMk cId="3933091213" sldId="2076138201"/>
            <ac:cxnSpMk id="8" creationId="{9B35EB87-18EF-4C68-8104-C08FBB737A15}"/>
          </ac:cxnSpMkLst>
        </pc:cxnChg>
        <pc:cxnChg chg="add del">
          <ac:chgData name="Kawtar SADIQ" userId="65df04e4-2d23-4bab-afb0-40df8a2c1b9f" providerId="ADAL" clId="{13E48CF6-3C07-4AA7-848A-1E964CBB0D3A}" dt="2022-11-28T18:59:26.971" v="5004" actId="478"/>
          <ac:cxnSpMkLst>
            <pc:docMk/>
            <pc:sldMk cId="3933091213" sldId="2076138201"/>
            <ac:cxnSpMk id="12" creationId="{5FBBD91D-8660-43E8-AAAC-8ECF816A7DB7}"/>
          </ac:cxnSpMkLst>
        </pc:cxnChg>
        <pc:cxnChg chg="add del">
          <ac:chgData name="Kawtar SADIQ" userId="65df04e4-2d23-4bab-afb0-40df8a2c1b9f" providerId="ADAL" clId="{13E48CF6-3C07-4AA7-848A-1E964CBB0D3A}" dt="2022-11-28T18:59:26.971" v="5004" actId="478"/>
          <ac:cxnSpMkLst>
            <pc:docMk/>
            <pc:sldMk cId="3933091213" sldId="2076138201"/>
            <ac:cxnSpMk id="14" creationId="{CA362DFC-94B7-4CD5-8459-C95A5EA44217}"/>
          </ac:cxnSpMkLst>
        </pc:cxnChg>
        <pc:cxnChg chg="add del">
          <ac:chgData name="Kawtar SADIQ" userId="65df04e4-2d23-4bab-afb0-40df8a2c1b9f" providerId="ADAL" clId="{13E48CF6-3C07-4AA7-848A-1E964CBB0D3A}" dt="2022-11-28T18:59:26.971" v="5004" actId="478"/>
          <ac:cxnSpMkLst>
            <pc:docMk/>
            <pc:sldMk cId="3933091213" sldId="2076138201"/>
            <ac:cxnSpMk id="16" creationId="{B8AE57C4-69CE-4608-8DDB-7E6E3218F160}"/>
          </ac:cxnSpMkLst>
        </pc:cxnChg>
        <pc:cxnChg chg="add del">
          <ac:chgData name="Kawtar SADIQ" userId="65df04e4-2d23-4bab-afb0-40df8a2c1b9f" providerId="ADAL" clId="{13E48CF6-3C07-4AA7-848A-1E964CBB0D3A}" dt="2022-11-28T18:59:26.971" v="5004" actId="478"/>
          <ac:cxnSpMkLst>
            <pc:docMk/>
            <pc:sldMk cId="3933091213" sldId="2076138201"/>
            <ac:cxnSpMk id="40" creationId="{B4C986F7-D647-4E55-BFC0-E6D46C3B33F0}"/>
          </ac:cxnSpMkLst>
        </pc:cxnChg>
        <pc:cxnChg chg="add del">
          <ac:chgData name="Kawtar SADIQ" userId="65df04e4-2d23-4bab-afb0-40df8a2c1b9f" providerId="ADAL" clId="{13E48CF6-3C07-4AA7-848A-1E964CBB0D3A}" dt="2022-11-28T18:59:26.971" v="5004" actId="478"/>
          <ac:cxnSpMkLst>
            <pc:docMk/>
            <pc:sldMk cId="3933091213" sldId="2076138201"/>
            <ac:cxnSpMk id="52" creationId="{918BD07C-846F-4BA5-995B-26476C9225B8}"/>
          </ac:cxnSpMkLst>
        </pc:cxnChg>
        <pc:cxnChg chg="add del">
          <ac:chgData name="Kawtar SADIQ" userId="65df04e4-2d23-4bab-afb0-40df8a2c1b9f" providerId="ADAL" clId="{13E48CF6-3C07-4AA7-848A-1E964CBB0D3A}" dt="2022-11-28T18:59:26.971" v="5004" actId="478"/>
          <ac:cxnSpMkLst>
            <pc:docMk/>
            <pc:sldMk cId="3933091213" sldId="2076138201"/>
            <ac:cxnSpMk id="62" creationId="{8E73E7EA-28C9-4A7C-9193-BD8E6AEBA81E}"/>
          </ac:cxnSpMkLst>
        </pc:cxnChg>
        <pc:cxnChg chg="add del">
          <ac:chgData name="Kawtar SADIQ" userId="65df04e4-2d23-4bab-afb0-40df8a2c1b9f" providerId="ADAL" clId="{13E48CF6-3C07-4AA7-848A-1E964CBB0D3A}" dt="2022-11-28T18:59:26.971" v="5004" actId="478"/>
          <ac:cxnSpMkLst>
            <pc:docMk/>
            <pc:sldMk cId="3933091213" sldId="2076138201"/>
            <ac:cxnSpMk id="77" creationId="{48640575-DA80-4657-9FE7-3C4F877F77E3}"/>
          </ac:cxnSpMkLst>
        </pc:cxnChg>
        <pc:cxnChg chg="add del">
          <ac:chgData name="Kawtar SADIQ" userId="65df04e4-2d23-4bab-afb0-40df8a2c1b9f" providerId="ADAL" clId="{13E48CF6-3C07-4AA7-848A-1E964CBB0D3A}" dt="2022-11-28T18:59:26.971" v="5004" actId="478"/>
          <ac:cxnSpMkLst>
            <pc:docMk/>
            <pc:sldMk cId="3933091213" sldId="2076138201"/>
            <ac:cxnSpMk id="118" creationId="{DB454AA7-0277-4DBA-9F15-91D20B973F96}"/>
          </ac:cxnSpMkLst>
        </pc:cxnChg>
      </pc:sldChg>
      <pc:sldChg chg="modSp new del mod">
        <pc:chgData name="Kawtar SADIQ" userId="65df04e4-2d23-4bab-afb0-40df8a2c1b9f" providerId="ADAL" clId="{13E48CF6-3C07-4AA7-848A-1E964CBB0D3A}" dt="2022-11-28T18:59:02.591" v="4977" actId="47"/>
        <pc:sldMkLst>
          <pc:docMk/>
          <pc:sldMk cId="4276033722" sldId="2076138201"/>
        </pc:sldMkLst>
        <pc:spChg chg="mod">
          <ac:chgData name="Kawtar SADIQ" userId="65df04e4-2d23-4bab-afb0-40df8a2c1b9f" providerId="ADAL" clId="{13E48CF6-3C07-4AA7-848A-1E964CBB0D3A}" dt="2022-11-28T18:59:00.700" v="4976" actId="20577"/>
          <ac:spMkLst>
            <pc:docMk/>
            <pc:sldMk cId="4276033722" sldId="2076138201"/>
            <ac:spMk id="2" creationId="{22BAA6E4-341F-4071-A97C-F429ABC2262A}"/>
          </ac:spMkLst>
        </pc:spChg>
      </pc:sldChg>
      <pc:sldChg chg="addSp delSp modSp new del mod">
        <pc:chgData name="Kawtar SADIQ" userId="65df04e4-2d23-4bab-afb0-40df8a2c1b9f" providerId="ADAL" clId="{13E48CF6-3C07-4AA7-848A-1E964CBB0D3A}" dt="2022-12-01T16:43:53.253" v="27966" actId="47"/>
        <pc:sldMkLst>
          <pc:docMk/>
          <pc:sldMk cId="338644527" sldId="2076138202"/>
        </pc:sldMkLst>
        <pc:spChg chg="mod">
          <ac:chgData name="Kawtar SADIQ" userId="65df04e4-2d23-4bab-afb0-40df8a2c1b9f" providerId="ADAL" clId="{13E48CF6-3C07-4AA7-848A-1E964CBB0D3A}" dt="2022-11-28T19:01:36.072" v="5052"/>
          <ac:spMkLst>
            <pc:docMk/>
            <pc:sldMk cId="338644527" sldId="2076138202"/>
            <ac:spMk id="2" creationId="{F912BE48-4877-4BEE-8A46-90505A0CB4E7}"/>
          </ac:spMkLst>
        </pc:spChg>
        <pc:spChg chg="mod">
          <ac:chgData name="Kawtar SADIQ" userId="65df04e4-2d23-4bab-afb0-40df8a2c1b9f" providerId="ADAL" clId="{13E48CF6-3C07-4AA7-848A-1E964CBB0D3A}" dt="2022-12-01T13:15:43.608" v="27753" actId="1076"/>
          <ac:spMkLst>
            <pc:docMk/>
            <pc:sldMk cId="338644527" sldId="2076138202"/>
            <ac:spMk id="3" creationId="{2219F586-94C3-4295-AAC6-DAAF79723CA7}"/>
          </ac:spMkLst>
        </pc:spChg>
        <pc:spChg chg="add del mod">
          <ac:chgData name="Kawtar SADIQ" userId="65df04e4-2d23-4bab-afb0-40df8a2c1b9f" providerId="ADAL" clId="{13E48CF6-3C07-4AA7-848A-1E964CBB0D3A}" dt="2022-11-28T19:45:35.474" v="5691" actId="478"/>
          <ac:spMkLst>
            <pc:docMk/>
            <pc:sldMk cId="338644527" sldId="2076138202"/>
            <ac:spMk id="4" creationId="{87AC9D1D-87F4-444C-953E-A4763CBDCA61}"/>
          </ac:spMkLst>
        </pc:spChg>
        <pc:spChg chg="add del mod">
          <ac:chgData name="Kawtar SADIQ" userId="65df04e4-2d23-4bab-afb0-40df8a2c1b9f" providerId="ADAL" clId="{13E48CF6-3C07-4AA7-848A-1E964CBB0D3A}" dt="2022-11-28T19:45:35.474" v="5691" actId="478"/>
          <ac:spMkLst>
            <pc:docMk/>
            <pc:sldMk cId="338644527" sldId="2076138202"/>
            <ac:spMk id="5" creationId="{74648B2F-770B-492C-A38F-5BFE4F59B347}"/>
          </ac:spMkLst>
        </pc:spChg>
        <pc:spChg chg="add del mod">
          <ac:chgData name="Kawtar SADIQ" userId="65df04e4-2d23-4bab-afb0-40df8a2c1b9f" providerId="ADAL" clId="{13E48CF6-3C07-4AA7-848A-1E964CBB0D3A}" dt="2022-11-28T19:45:35.474" v="5691" actId="478"/>
          <ac:spMkLst>
            <pc:docMk/>
            <pc:sldMk cId="338644527" sldId="2076138202"/>
            <ac:spMk id="6" creationId="{EE6CD71D-6D6D-43A9-AB8B-AD68D3D42D1C}"/>
          </ac:spMkLst>
        </pc:spChg>
        <pc:spChg chg="add del mod">
          <ac:chgData name="Kawtar SADIQ" userId="65df04e4-2d23-4bab-afb0-40df8a2c1b9f" providerId="ADAL" clId="{13E48CF6-3C07-4AA7-848A-1E964CBB0D3A}" dt="2022-11-28T22:05:27.630" v="7035" actId="478"/>
          <ac:spMkLst>
            <pc:docMk/>
            <pc:sldMk cId="338644527" sldId="2076138202"/>
            <ac:spMk id="7" creationId="{83BFC327-8812-4274-8C3F-69CBA616E54F}"/>
          </ac:spMkLst>
        </pc:spChg>
        <pc:spChg chg="add del mod">
          <ac:chgData name="Kawtar SADIQ" userId="65df04e4-2d23-4bab-afb0-40df8a2c1b9f" providerId="ADAL" clId="{13E48CF6-3C07-4AA7-848A-1E964CBB0D3A}" dt="2022-11-28T22:05:29.303" v="7036" actId="478"/>
          <ac:spMkLst>
            <pc:docMk/>
            <pc:sldMk cId="338644527" sldId="2076138202"/>
            <ac:spMk id="8" creationId="{35737CF6-25E5-4263-99C9-5B1E7E9145CC}"/>
          </ac:spMkLst>
        </pc:spChg>
        <pc:spChg chg="add del mod">
          <ac:chgData name="Kawtar SADIQ" userId="65df04e4-2d23-4bab-afb0-40df8a2c1b9f" providerId="ADAL" clId="{13E48CF6-3C07-4AA7-848A-1E964CBB0D3A}" dt="2022-11-28T22:05:24.789" v="7033" actId="478"/>
          <ac:spMkLst>
            <pc:docMk/>
            <pc:sldMk cId="338644527" sldId="2076138202"/>
            <ac:spMk id="9" creationId="{A33AE14F-C92A-4F66-97BE-C2395A13F4B7}"/>
          </ac:spMkLst>
        </pc:spChg>
        <pc:spChg chg="add del mod ord">
          <ac:chgData name="Kawtar SADIQ" userId="65df04e4-2d23-4bab-afb0-40df8a2c1b9f" providerId="ADAL" clId="{13E48CF6-3C07-4AA7-848A-1E964CBB0D3A}" dt="2022-11-29T11:13:15.481" v="8052" actId="478"/>
          <ac:spMkLst>
            <pc:docMk/>
            <pc:sldMk cId="338644527" sldId="2076138202"/>
            <ac:spMk id="10" creationId="{CA1068D8-2692-4F70-90B0-CFDF73E03D8C}"/>
          </ac:spMkLst>
        </pc:spChg>
        <pc:spChg chg="add del mod">
          <ac:chgData name="Kawtar SADIQ" userId="65df04e4-2d23-4bab-afb0-40df8a2c1b9f" providerId="ADAL" clId="{13E48CF6-3C07-4AA7-848A-1E964CBB0D3A}" dt="2022-11-28T19:45:42.029" v="5695" actId="478"/>
          <ac:spMkLst>
            <pc:docMk/>
            <pc:sldMk cId="338644527" sldId="2076138202"/>
            <ac:spMk id="15" creationId="{FD7257C8-6BAE-40E4-8BF0-7A0B3E8767CF}"/>
          </ac:spMkLst>
        </pc:spChg>
        <pc:spChg chg="add del mod">
          <ac:chgData name="Kawtar SADIQ" userId="65df04e4-2d23-4bab-afb0-40df8a2c1b9f" providerId="ADAL" clId="{13E48CF6-3C07-4AA7-848A-1E964CBB0D3A}" dt="2022-11-28T22:05:26.363" v="7034" actId="478"/>
          <ac:spMkLst>
            <pc:docMk/>
            <pc:sldMk cId="338644527" sldId="2076138202"/>
            <ac:spMk id="16" creationId="{F5EC46FC-87E7-458A-88E1-A8E42F82AA91}"/>
          </ac:spMkLst>
        </pc:spChg>
        <pc:spChg chg="add mod">
          <ac:chgData name="Kawtar SADIQ" userId="65df04e4-2d23-4bab-afb0-40df8a2c1b9f" providerId="ADAL" clId="{13E48CF6-3C07-4AA7-848A-1E964CBB0D3A}" dt="2022-12-01T13:16:17.298" v="27761" actId="1076"/>
          <ac:spMkLst>
            <pc:docMk/>
            <pc:sldMk cId="338644527" sldId="2076138202"/>
            <ac:spMk id="18" creationId="{8CD76C6F-2765-460E-AAB2-F6E7B6E0F446}"/>
          </ac:spMkLst>
        </pc:spChg>
        <pc:spChg chg="add mod">
          <ac:chgData name="Kawtar SADIQ" userId="65df04e4-2d23-4bab-afb0-40df8a2c1b9f" providerId="ADAL" clId="{13E48CF6-3C07-4AA7-848A-1E964CBB0D3A}" dt="2022-12-01T13:16:17.298" v="27761" actId="1076"/>
          <ac:spMkLst>
            <pc:docMk/>
            <pc:sldMk cId="338644527" sldId="2076138202"/>
            <ac:spMk id="19" creationId="{F6FE0EE1-DBC1-4AF3-AC40-2BD009CFAFB9}"/>
          </ac:spMkLst>
        </pc:spChg>
        <pc:spChg chg="add mod">
          <ac:chgData name="Kawtar SADIQ" userId="65df04e4-2d23-4bab-afb0-40df8a2c1b9f" providerId="ADAL" clId="{13E48CF6-3C07-4AA7-848A-1E964CBB0D3A}" dt="2022-12-01T13:16:17.298" v="27761" actId="1076"/>
          <ac:spMkLst>
            <pc:docMk/>
            <pc:sldMk cId="338644527" sldId="2076138202"/>
            <ac:spMk id="20" creationId="{2268421C-4CAC-4B96-AE61-6EDBC22F637C}"/>
          </ac:spMkLst>
        </pc:spChg>
        <pc:spChg chg="add mod">
          <ac:chgData name="Kawtar SADIQ" userId="65df04e4-2d23-4bab-afb0-40df8a2c1b9f" providerId="ADAL" clId="{13E48CF6-3C07-4AA7-848A-1E964CBB0D3A}" dt="2022-11-30T18:13:13.874" v="22136" actId="120"/>
          <ac:spMkLst>
            <pc:docMk/>
            <pc:sldMk cId="338644527" sldId="2076138202"/>
            <ac:spMk id="25" creationId="{16B801A0-AFB8-4F7D-8038-DA68D4EBB582}"/>
          </ac:spMkLst>
        </pc:spChg>
        <pc:spChg chg="add del mod ord">
          <ac:chgData name="Kawtar SADIQ" userId="65df04e4-2d23-4bab-afb0-40df8a2c1b9f" providerId="ADAL" clId="{13E48CF6-3C07-4AA7-848A-1E964CBB0D3A}" dt="2022-11-29T11:12:53.630" v="8049" actId="478"/>
          <ac:spMkLst>
            <pc:docMk/>
            <pc:sldMk cId="338644527" sldId="2076138202"/>
            <ac:spMk id="25" creationId="{75102C17-E46B-481F-8367-270B71ED68DF}"/>
          </ac:spMkLst>
        </pc:spChg>
        <pc:spChg chg="add mod">
          <ac:chgData name="Kawtar SADIQ" userId="65df04e4-2d23-4bab-afb0-40df8a2c1b9f" providerId="ADAL" clId="{13E48CF6-3C07-4AA7-848A-1E964CBB0D3A}" dt="2022-11-30T18:11:22.813" v="22073" actId="1076"/>
          <ac:spMkLst>
            <pc:docMk/>
            <pc:sldMk cId="338644527" sldId="2076138202"/>
            <ac:spMk id="26" creationId="{0B299363-838C-48E4-B666-781E32A57D1D}"/>
          </ac:spMkLst>
        </pc:spChg>
        <pc:spChg chg="add mod ord">
          <ac:chgData name="Kawtar SADIQ" userId="65df04e4-2d23-4bab-afb0-40df8a2c1b9f" providerId="ADAL" clId="{13E48CF6-3C07-4AA7-848A-1E964CBB0D3A}" dt="2022-12-01T13:16:19.788" v="27763" actId="1076"/>
          <ac:spMkLst>
            <pc:docMk/>
            <pc:sldMk cId="338644527" sldId="2076138202"/>
            <ac:spMk id="28" creationId="{614C3E74-8935-40BE-A432-D7BE51B6E1D2}"/>
          </ac:spMkLst>
        </pc:spChg>
        <pc:spChg chg="add del mod">
          <ac:chgData name="Kawtar SADIQ" userId="65df04e4-2d23-4bab-afb0-40df8a2c1b9f" providerId="ADAL" clId="{13E48CF6-3C07-4AA7-848A-1E964CBB0D3A}" dt="2022-11-28T22:05:50.146" v="7041" actId="478"/>
          <ac:spMkLst>
            <pc:docMk/>
            <pc:sldMk cId="338644527" sldId="2076138202"/>
            <ac:spMk id="31" creationId="{580570F9-DB57-4B5E-8631-E2DB1BE9EAF0}"/>
          </ac:spMkLst>
        </pc:spChg>
        <pc:spChg chg="add mod">
          <ac:chgData name="Kawtar SADIQ" userId="65df04e4-2d23-4bab-afb0-40df8a2c1b9f" providerId="ADAL" clId="{13E48CF6-3C07-4AA7-848A-1E964CBB0D3A}" dt="2022-11-30T18:13:18.045" v="22145" actId="1038"/>
          <ac:spMkLst>
            <pc:docMk/>
            <pc:sldMk cId="338644527" sldId="2076138202"/>
            <ac:spMk id="33" creationId="{884D32E1-9417-4DD1-AA82-6EED28CBA769}"/>
          </ac:spMkLst>
        </pc:spChg>
        <pc:spChg chg="add mod">
          <ac:chgData name="Kawtar SADIQ" userId="65df04e4-2d23-4bab-afb0-40df8a2c1b9f" providerId="ADAL" clId="{13E48CF6-3C07-4AA7-848A-1E964CBB0D3A}" dt="2022-11-29T11:13:03.877" v="8050"/>
          <ac:spMkLst>
            <pc:docMk/>
            <pc:sldMk cId="338644527" sldId="2076138202"/>
            <ac:spMk id="34" creationId="{1944EFC2-6EDB-4E98-89F8-00934690CAEF}"/>
          </ac:spMkLst>
        </pc:spChg>
        <pc:spChg chg="add del mod">
          <ac:chgData name="Kawtar SADIQ" userId="65df04e4-2d23-4bab-afb0-40df8a2c1b9f" providerId="ADAL" clId="{13E48CF6-3C07-4AA7-848A-1E964CBB0D3A}" dt="2022-11-28T22:05:41.851" v="7039" actId="478"/>
          <ac:spMkLst>
            <pc:docMk/>
            <pc:sldMk cId="338644527" sldId="2076138202"/>
            <ac:spMk id="34" creationId="{2A4A54B9-68A9-4F4A-8377-2B3F22A79A58}"/>
          </ac:spMkLst>
        </pc:spChg>
        <pc:spChg chg="add del mod">
          <ac:chgData name="Kawtar SADIQ" userId="65df04e4-2d23-4bab-afb0-40df8a2c1b9f" providerId="ADAL" clId="{13E48CF6-3C07-4AA7-848A-1E964CBB0D3A}" dt="2022-11-28T22:05:47.522" v="7040" actId="478"/>
          <ac:spMkLst>
            <pc:docMk/>
            <pc:sldMk cId="338644527" sldId="2076138202"/>
            <ac:spMk id="36" creationId="{48F1FA19-2E22-484E-A03F-EECD17F122DB}"/>
          </ac:spMkLst>
        </pc:spChg>
        <pc:spChg chg="add mod ord">
          <ac:chgData name="Kawtar SADIQ" userId="65df04e4-2d23-4bab-afb0-40df8a2c1b9f" providerId="ADAL" clId="{13E48CF6-3C07-4AA7-848A-1E964CBB0D3A}" dt="2022-12-01T13:15:34.638" v="27748"/>
          <ac:spMkLst>
            <pc:docMk/>
            <pc:sldMk cId="338644527" sldId="2076138202"/>
            <ac:spMk id="36" creationId="{75C0246B-B8C0-4DDB-BEF4-DD2EF6583CEB}"/>
          </ac:spMkLst>
        </pc:spChg>
        <pc:spChg chg="add del mod">
          <ac:chgData name="Kawtar SADIQ" userId="65df04e4-2d23-4bab-afb0-40df8a2c1b9f" providerId="ADAL" clId="{13E48CF6-3C07-4AA7-848A-1E964CBB0D3A}" dt="2022-11-29T11:05:37.565" v="7974" actId="478"/>
          <ac:spMkLst>
            <pc:docMk/>
            <pc:sldMk cId="338644527" sldId="2076138202"/>
            <ac:spMk id="37" creationId="{00CB4AE6-05DC-4A81-94EE-11DD0B316811}"/>
          </ac:spMkLst>
        </pc:spChg>
        <pc:spChg chg="add del mod">
          <ac:chgData name="Kawtar SADIQ" userId="65df04e4-2d23-4bab-afb0-40df8a2c1b9f" providerId="ADAL" clId="{13E48CF6-3C07-4AA7-848A-1E964CBB0D3A}" dt="2022-11-29T11:12:53.630" v="8049" actId="478"/>
          <ac:spMkLst>
            <pc:docMk/>
            <pc:sldMk cId="338644527" sldId="2076138202"/>
            <ac:spMk id="38" creationId="{525F0E3A-0E71-41FB-B4D4-BD457A78BA27}"/>
          </ac:spMkLst>
        </pc:spChg>
        <pc:spChg chg="add mod ord">
          <ac:chgData name="Kawtar SADIQ" userId="65df04e4-2d23-4bab-afb0-40df8a2c1b9f" providerId="ADAL" clId="{13E48CF6-3C07-4AA7-848A-1E964CBB0D3A}" dt="2022-11-30T17:20:40.425" v="21469"/>
          <ac:spMkLst>
            <pc:docMk/>
            <pc:sldMk cId="338644527" sldId="2076138202"/>
            <ac:spMk id="39" creationId="{ED211754-BC67-4E77-89EF-54D6DAFD1E02}"/>
          </ac:spMkLst>
        </pc:spChg>
        <pc:spChg chg="add del mod ord">
          <ac:chgData name="Kawtar SADIQ" userId="65df04e4-2d23-4bab-afb0-40df8a2c1b9f" providerId="ADAL" clId="{13E48CF6-3C07-4AA7-848A-1E964CBB0D3A}" dt="2022-12-01T13:15:36.061" v="27749" actId="478"/>
          <ac:spMkLst>
            <pc:docMk/>
            <pc:sldMk cId="338644527" sldId="2076138202"/>
            <ac:spMk id="40" creationId="{D39506DE-EB53-4F93-B89E-BA45D25E901A}"/>
          </ac:spMkLst>
        </pc:spChg>
        <pc:spChg chg="add del mod">
          <ac:chgData name="Kawtar SADIQ" userId="65df04e4-2d23-4bab-afb0-40df8a2c1b9f" providerId="ADAL" clId="{13E48CF6-3C07-4AA7-848A-1E964CBB0D3A}" dt="2022-12-01T11:57:58.620" v="26604" actId="478"/>
          <ac:spMkLst>
            <pc:docMk/>
            <pc:sldMk cId="338644527" sldId="2076138202"/>
            <ac:spMk id="41" creationId="{BBB74878-9359-4865-ADF5-37530FAFEB5E}"/>
          </ac:spMkLst>
        </pc:spChg>
        <pc:grpChg chg="add del mod">
          <ac:chgData name="Kawtar SADIQ" userId="65df04e4-2d23-4bab-afb0-40df8a2c1b9f" providerId="ADAL" clId="{13E48CF6-3C07-4AA7-848A-1E964CBB0D3A}" dt="2022-11-28T19:45:40.069" v="5694" actId="478"/>
          <ac:grpSpMkLst>
            <pc:docMk/>
            <pc:sldMk cId="338644527" sldId="2076138202"/>
            <ac:grpSpMk id="11" creationId="{56D254AA-F111-4AA9-8302-5589FE90D9F1}"/>
          </ac:grpSpMkLst>
        </pc:grpChg>
        <pc:grpChg chg="add del mod">
          <ac:chgData name="Kawtar SADIQ" userId="65df04e4-2d23-4bab-afb0-40df8a2c1b9f" providerId="ADAL" clId="{13E48CF6-3C07-4AA7-848A-1E964CBB0D3A}" dt="2022-11-28T22:05:38.941" v="7038" actId="478"/>
          <ac:grpSpMkLst>
            <pc:docMk/>
            <pc:sldMk cId="338644527" sldId="2076138202"/>
            <ac:grpSpMk id="28" creationId="{052266AD-BCCE-49DB-9261-00D3E3AE9F83}"/>
          </ac:grpSpMkLst>
        </pc:grpChg>
        <pc:grpChg chg="add del mod">
          <ac:chgData name="Kawtar SADIQ" userId="65df04e4-2d23-4bab-afb0-40df8a2c1b9f" providerId="ADAL" clId="{13E48CF6-3C07-4AA7-848A-1E964CBB0D3A}" dt="2022-11-29T11:13:22.091" v="8055" actId="478"/>
          <ac:grpSpMkLst>
            <pc:docMk/>
            <pc:sldMk cId="338644527" sldId="2076138202"/>
            <ac:grpSpMk id="29" creationId="{E389A516-E8A8-4503-B510-88217FE77835}"/>
          </ac:grpSpMkLst>
        </pc:grpChg>
        <pc:picChg chg="add mod">
          <ac:chgData name="Kawtar SADIQ" userId="65df04e4-2d23-4bab-afb0-40df8a2c1b9f" providerId="ADAL" clId="{13E48CF6-3C07-4AA7-848A-1E964CBB0D3A}" dt="2022-12-01T13:15:59.028" v="27757" actId="14100"/>
          <ac:picMkLst>
            <pc:docMk/>
            <pc:sldMk cId="338644527" sldId="2076138202"/>
            <ac:picMk id="5" creationId="{8B03E881-FE79-4AA4-9226-99D04D568419}"/>
          </ac:picMkLst>
        </pc:picChg>
        <pc:picChg chg="add mod modCrop">
          <ac:chgData name="Kawtar SADIQ" userId="65df04e4-2d23-4bab-afb0-40df8a2c1b9f" providerId="ADAL" clId="{13E48CF6-3C07-4AA7-848A-1E964CBB0D3A}" dt="2022-11-30T18:12:47.242" v="22131" actId="1076"/>
          <ac:picMkLst>
            <pc:docMk/>
            <pc:sldMk cId="338644527" sldId="2076138202"/>
            <ac:picMk id="7" creationId="{2B5D1CF3-A750-45A6-8686-893B916D8928}"/>
          </ac:picMkLst>
        </pc:picChg>
        <pc:picChg chg="mod">
          <ac:chgData name="Kawtar SADIQ" userId="65df04e4-2d23-4bab-afb0-40df8a2c1b9f" providerId="ADAL" clId="{13E48CF6-3C07-4AA7-848A-1E964CBB0D3A}" dt="2022-11-28T19:45:36.228" v="5692"/>
          <ac:picMkLst>
            <pc:docMk/>
            <pc:sldMk cId="338644527" sldId="2076138202"/>
            <ac:picMk id="12" creationId="{8618D128-510D-4A6E-A083-265116299F23}"/>
          </ac:picMkLst>
        </pc:picChg>
        <pc:picChg chg="mod">
          <ac:chgData name="Kawtar SADIQ" userId="65df04e4-2d23-4bab-afb0-40df8a2c1b9f" providerId="ADAL" clId="{13E48CF6-3C07-4AA7-848A-1E964CBB0D3A}" dt="2022-11-28T19:45:36.228" v="5692"/>
          <ac:picMkLst>
            <pc:docMk/>
            <pc:sldMk cId="338644527" sldId="2076138202"/>
            <ac:picMk id="13" creationId="{CB29BDFF-601D-44E7-AFC2-06BF6E742405}"/>
          </ac:picMkLst>
        </pc:picChg>
        <pc:picChg chg="add del mod">
          <ac:chgData name="Kawtar SADIQ" userId="65df04e4-2d23-4bab-afb0-40df8a2c1b9f" providerId="ADAL" clId="{13E48CF6-3C07-4AA7-848A-1E964CBB0D3A}" dt="2022-11-28T19:45:38.659" v="5693" actId="478"/>
          <ac:picMkLst>
            <pc:docMk/>
            <pc:sldMk cId="338644527" sldId="2076138202"/>
            <ac:picMk id="14" creationId="{DCBBA15E-BF97-4111-B2AF-705FB332923D}"/>
          </ac:picMkLst>
        </pc:picChg>
        <pc:picChg chg="add mod">
          <ac:chgData name="Kawtar SADIQ" userId="65df04e4-2d23-4bab-afb0-40df8a2c1b9f" providerId="ADAL" clId="{13E48CF6-3C07-4AA7-848A-1E964CBB0D3A}" dt="2022-12-01T13:16:30.788" v="27765" actId="1076"/>
          <ac:picMkLst>
            <pc:docMk/>
            <pc:sldMk cId="338644527" sldId="2076138202"/>
            <ac:picMk id="17" creationId="{E971D0C5-B305-40E1-9FEA-37EDDB555DA4}"/>
          </ac:picMkLst>
        </pc:picChg>
        <pc:picChg chg="add mod">
          <ac:chgData name="Kawtar SADIQ" userId="65df04e4-2d23-4bab-afb0-40df8a2c1b9f" providerId="ADAL" clId="{13E48CF6-3C07-4AA7-848A-1E964CBB0D3A}" dt="2022-12-01T13:16:17.298" v="27761" actId="1076"/>
          <ac:picMkLst>
            <pc:docMk/>
            <pc:sldMk cId="338644527" sldId="2076138202"/>
            <ac:picMk id="21" creationId="{D6220162-EF82-4774-82A0-6B130A4079FE}"/>
          </ac:picMkLst>
        </pc:picChg>
        <pc:picChg chg="add del mod">
          <ac:chgData name="Kawtar SADIQ" userId="65df04e4-2d23-4bab-afb0-40df8a2c1b9f" providerId="ADAL" clId="{13E48CF6-3C07-4AA7-848A-1E964CBB0D3A}" dt="2022-11-29T11:12:53.630" v="8049" actId="478"/>
          <ac:picMkLst>
            <pc:docMk/>
            <pc:sldMk cId="338644527" sldId="2076138202"/>
            <ac:picMk id="27" creationId="{D5E2A119-4586-4C82-86D3-78936807932E}"/>
          </ac:picMkLst>
        </pc:picChg>
        <pc:picChg chg="mod">
          <ac:chgData name="Kawtar SADIQ" userId="65df04e4-2d23-4bab-afb0-40df8a2c1b9f" providerId="ADAL" clId="{13E48CF6-3C07-4AA7-848A-1E964CBB0D3A}" dt="2022-11-28T22:05:36.423" v="7037"/>
          <ac:picMkLst>
            <pc:docMk/>
            <pc:sldMk cId="338644527" sldId="2076138202"/>
            <ac:picMk id="29" creationId="{B809BABA-17F8-48B8-B2B0-504BABCC0A34}"/>
          </ac:picMkLst>
        </pc:picChg>
        <pc:picChg chg="mod">
          <ac:chgData name="Kawtar SADIQ" userId="65df04e4-2d23-4bab-afb0-40df8a2c1b9f" providerId="ADAL" clId="{13E48CF6-3C07-4AA7-848A-1E964CBB0D3A}" dt="2022-11-29T11:13:03.877" v="8050"/>
          <ac:picMkLst>
            <pc:docMk/>
            <pc:sldMk cId="338644527" sldId="2076138202"/>
            <ac:picMk id="30" creationId="{CD64C5FF-B623-403D-B990-BBE27BAE3898}"/>
          </ac:picMkLst>
        </pc:picChg>
        <pc:picChg chg="mod">
          <ac:chgData name="Kawtar SADIQ" userId="65df04e4-2d23-4bab-afb0-40df8a2c1b9f" providerId="ADAL" clId="{13E48CF6-3C07-4AA7-848A-1E964CBB0D3A}" dt="2022-11-28T22:05:36.423" v="7037"/>
          <ac:picMkLst>
            <pc:docMk/>
            <pc:sldMk cId="338644527" sldId="2076138202"/>
            <ac:picMk id="30" creationId="{E241AFD8-6F48-4C55-85EC-379CE4845DBB}"/>
          </ac:picMkLst>
        </pc:picChg>
        <pc:picChg chg="add mod">
          <ac:chgData name="Kawtar SADIQ" userId="65df04e4-2d23-4bab-afb0-40df8a2c1b9f" providerId="ADAL" clId="{13E48CF6-3C07-4AA7-848A-1E964CBB0D3A}" dt="2022-12-01T13:16:41.978" v="27766" actId="14100"/>
          <ac:picMkLst>
            <pc:docMk/>
            <pc:sldMk cId="338644527" sldId="2076138202"/>
            <ac:picMk id="30" creationId="{F2C4C7B1-D0D6-4C29-94FD-C6F16778AA4B}"/>
          </ac:picMkLst>
        </pc:picChg>
        <pc:picChg chg="mod">
          <ac:chgData name="Kawtar SADIQ" userId="65df04e4-2d23-4bab-afb0-40df8a2c1b9f" providerId="ADAL" clId="{13E48CF6-3C07-4AA7-848A-1E964CBB0D3A}" dt="2022-11-29T11:13:03.877" v="8050"/>
          <ac:picMkLst>
            <pc:docMk/>
            <pc:sldMk cId="338644527" sldId="2076138202"/>
            <ac:picMk id="31" creationId="{7B31CE51-B07B-4061-8515-689B3E705C20}"/>
          </ac:picMkLst>
        </pc:picChg>
        <pc:picChg chg="add del mod">
          <ac:chgData name="Kawtar SADIQ" userId="65df04e4-2d23-4bab-afb0-40df8a2c1b9f" providerId="ADAL" clId="{13E48CF6-3C07-4AA7-848A-1E964CBB0D3A}" dt="2022-11-29T11:12:48.543" v="8048" actId="478"/>
          <ac:picMkLst>
            <pc:docMk/>
            <pc:sldMk cId="338644527" sldId="2076138202"/>
            <ac:picMk id="33" creationId="{BD3C3063-B51D-449C-B45C-549AA68BDD5A}"/>
          </ac:picMkLst>
        </pc:picChg>
        <pc:picChg chg="add del mod">
          <ac:chgData name="Kawtar SADIQ" userId="65df04e4-2d23-4bab-afb0-40df8a2c1b9f" providerId="ADAL" clId="{13E48CF6-3C07-4AA7-848A-1E964CBB0D3A}" dt="2022-11-29T11:12:53.630" v="8049" actId="478"/>
          <ac:picMkLst>
            <pc:docMk/>
            <pc:sldMk cId="338644527" sldId="2076138202"/>
            <ac:picMk id="35" creationId="{52A43762-07F4-413A-A7BA-9DCBB7A5A6C7}"/>
          </ac:picMkLst>
        </pc:picChg>
        <pc:cxnChg chg="add mod">
          <ac:chgData name="Kawtar SADIQ" userId="65df04e4-2d23-4bab-afb0-40df8a2c1b9f" providerId="ADAL" clId="{13E48CF6-3C07-4AA7-848A-1E964CBB0D3A}" dt="2022-12-01T13:16:17.298" v="27761" actId="1076"/>
          <ac:cxnSpMkLst>
            <pc:docMk/>
            <pc:sldMk cId="338644527" sldId="2076138202"/>
            <ac:cxnSpMk id="22" creationId="{43D1A098-3E07-411A-AE18-AEBD03681535}"/>
          </ac:cxnSpMkLst>
        </pc:cxnChg>
        <pc:cxnChg chg="add mod">
          <ac:chgData name="Kawtar SADIQ" userId="65df04e4-2d23-4bab-afb0-40df8a2c1b9f" providerId="ADAL" clId="{13E48CF6-3C07-4AA7-848A-1E964CBB0D3A}" dt="2022-12-01T13:16:17.298" v="27761" actId="1076"/>
          <ac:cxnSpMkLst>
            <pc:docMk/>
            <pc:sldMk cId="338644527" sldId="2076138202"/>
            <ac:cxnSpMk id="23" creationId="{CC643042-B4C1-45F0-B0B9-8B0CC0AD9CED}"/>
          </ac:cxnSpMkLst>
        </pc:cxnChg>
        <pc:cxnChg chg="add mod">
          <ac:chgData name="Kawtar SADIQ" userId="65df04e4-2d23-4bab-afb0-40df8a2c1b9f" providerId="ADAL" clId="{13E48CF6-3C07-4AA7-848A-1E964CBB0D3A}" dt="2022-12-01T13:16:17.298" v="27761" actId="1076"/>
          <ac:cxnSpMkLst>
            <pc:docMk/>
            <pc:sldMk cId="338644527" sldId="2076138202"/>
            <ac:cxnSpMk id="24" creationId="{6C146CED-90F6-41F5-9314-4247A304D780}"/>
          </ac:cxnSpMkLst>
        </pc:cxnChg>
        <pc:cxnChg chg="add del mod">
          <ac:chgData name="Kawtar SADIQ" userId="65df04e4-2d23-4bab-afb0-40df8a2c1b9f" providerId="ADAL" clId="{13E48CF6-3C07-4AA7-848A-1E964CBB0D3A}" dt="2022-11-28T22:06:13.990" v="7051" actId="478"/>
          <ac:cxnSpMkLst>
            <pc:docMk/>
            <pc:sldMk cId="338644527" sldId="2076138202"/>
            <ac:cxnSpMk id="26" creationId="{1251A1A3-954D-4486-8F18-273B8813C9BF}"/>
          </ac:cxnSpMkLst>
        </pc:cxnChg>
        <pc:cxnChg chg="add mod">
          <ac:chgData name="Kawtar SADIQ" userId="65df04e4-2d23-4bab-afb0-40df8a2c1b9f" providerId="ADAL" clId="{13E48CF6-3C07-4AA7-848A-1E964CBB0D3A}" dt="2022-11-30T18:12:39.047" v="22127" actId="1076"/>
          <ac:cxnSpMkLst>
            <pc:docMk/>
            <pc:sldMk cId="338644527" sldId="2076138202"/>
            <ac:cxnSpMk id="27" creationId="{450E82BF-58AB-4C5E-B9CF-B484AFAA4D04}"/>
          </ac:cxnSpMkLst>
        </pc:cxnChg>
        <pc:cxnChg chg="add mod">
          <ac:chgData name="Kawtar SADIQ" userId="65df04e4-2d23-4bab-afb0-40df8a2c1b9f" providerId="ADAL" clId="{13E48CF6-3C07-4AA7-848A-1E964CBB0D3A}" dt="2022-11-30T18:13:05.470" v="22135" actId="14100"/>
          <ac:cxnSpMkLst>
            <pc:docMk/>
            <pc:sldMk cId="338644527" sldId="2076138202"/>
            <ac:cxnSpMk id="29" creationId="{4B4A3062-10D4-4F3D-AB04-98AB8577B648}"/>
          </ac:cxnSpMkLst>
        </pc:cxnChg>
        <pc:cxnChg chg="add del mod">
          <ac:chgData name="Kawtar SADIQ" userId="65df04e4-2d23-4bab-afb0-40df8a2c1b9f" providerId="ADAL" clId="{13E48CF6-3C07-4AA7-848A-1E964CBB0D3A}" dt="2022-11-29T11:12:53.630" v="8049" actId="478"/>
          <ac:cxnSpMkLst>
            <pc:docMk/>
            <pc:sldMk cId="338644527" sldId="2076138202"/>
            <ac:cxnSpMk id="32" creationId="{B3EAB701-6F1C-46DF-89AF-9043A4B0A719}"/>
          </ac:cxnSpMkLst>
        </pc:cxnChg>
      </pc:sldChg>
      <pc:sldChg chg="addSp delSp modSp new del mod">
        <pc:chgData name="Kawtar SADIQ" userId="65df04e4-2d23-4bab-afb0-40df8a2c1b9f" providerId="ADAL" clId="{13E48CF6-3C07-4AA7-848A-1E964CBB0D3A}" dt="2022-12-01T16:44:27.383" v="27974" actId="47"/>
        <pc:sldMkLst>
          <pc:docMk/>
          <pc:sldMk cId="1731460775" sldId="2076138203"/>
        </pc:sldMkLst>
        <pc:spChg chg="mod">
          <ac:chgData name="Kawtar SADIQ" userId="65df04e4-2d23-4bab-afb0-40df8a2c1b9f" providerId="ADAL" clId="{13E48CF6-3C07-4AA7-848A-1E964CBB0D3A}" dt="2022-11-29T14:01:00.110" v="9272" actId="14100"/>
          <ac:spMkLst>
            <pc:docMk/>
            <pc:sldMk cId="1731460775" sldId="2076138203"/>
            <ac:spMk id="2" creationId="{2F682888-30C1-4AB3-8C94-F2D495BF73AF}"/>
          </ac:spMkLst>
        </pc:spChg>
        <pc:spChg chg="mod">
          <ac:chgData name="Kawtar SADIQ" userId="65df04e4-2d23-4bab-afb0-40df8a2c1b9f" providerId="ADAL" clId="{13E48CF6-3C07-4AA7-848A-1E964CBB0D3A}" dt="2022-11-28T20:03:25.272" v="5829" actId="404"/>
          <ac:spMkLst>
            <pc:docMk/>
            <pc:sldMk cId="1731460775" sldId="2076138203"/>
            <ac:spMk id="3" creationId="{1277ED17-8B33-40F9-A45E-98EBEFAB3CF9}"/>
          </ac:spMkLst>
        </pc:spChg>
        <pc:spChg chg="add del mod">
          <ac:chgData name="Kawtar SADIQ" userId="65df04e4-2d23-4bab-afb0-40df8a2c1b9f" providerId="ADAL" clId="{13E48CF6-3C07-4AA7-848A-1E964CBB0D3A}" dt="2022-11-28T19:46:10.957" v="5702" actId="478"/>
          <ac:spMkLst>
            <pc:docMk/>
            <pc:sldMk cId="1731460775" sldId="2076138203"/>
            <ac:spMk id="4" creationId="{DF0DE75F-15CA-45CA-8903-5A597F4AED7C}"/>
          </ac:spMkLst>
        </pc:spChg>
        <pc:spChg chg="add del mod">
          <ac:chgData name="Kawtar SADIQ" userId="65df04e4-2d23-4bab-afb0-40df8a2c1b9f" providerId="ADAL" clId="{13E48CF6-3C07-4AA7-848A-1E964CBB0D3A}" dt="2022-11-28T19:46:12.149" v="5703" actId="478"/>
          <ac:spMkLst>
            <pc:docMk/>
            <pc:sldMk cId="1731460775" sldId="2076138203"/>
            <ac:spMk id="5" creationId="{0A784252-87A8-4B6C-A492-304F85DB1014}"/>
          </ac:spMkLst>
        </pc:spChg>
        <pc:spChg chg="add del mod">
          <ac:chgData name="Kawtar SADIQ" userId="65df04e4-2d23-4bab-afb0-40df8a2c1b9f" providerId="ADAL" clId="{13E48CF6-3C07-4AA7-848A-1E964CBB0D3A}" dt="2022-11-28T19:46:13.858" v="5704" actId="478"/>
          <ac:spMkLst>
            <pc:docMk/>
            <pc:sldMk cId="1731460775" sldId="2076138203"/>
            <ac:spMk id="6" creationId="{2018D46C-4645-4BF0-89AB-627697460955}"/>
          </ac:spMkLst>
        </pc:spChg>
        <pc:spChg chg="add del">
          <ac:chgData name="Kawtar SADIQ" userId="65df04e4-2d23-4bab-afb0-40df8a2c1b9f" providerId="ADAL" clId="{13E48CF6-3C07-4AA7-848A-1E964CBB0D3A}" dt="2022-11-28T19:46:16.369" v="5706" actId="22"/>
          <ac:spMkLst>
            <pc:docMk/>
            <pc:sldMk cId="1731460775" sldId="2076138203"/>
            <ac:spMk id="8" creationId="{5BED028E-5D20-4EBE-8552-DEF1823A2F9C}"/>
          </ac:spMkLst>
        </pc:spChg>
        <pc:spChg chg="add del mod">
          <ac:chgData name="Kawtar SADIQ" userId="65df04e4-2d23-4bab-afb0-40df8a2c1b9f" providerId="ADAL" clId="{13E48CF6-3C07-4AA7-848A-1E964CBB0D3A}" dt="2022-11-28T22:06:39.268" v="7056" actId="478"/>
          <ac:spMkLst>
            <pc:docMk/>
            <pc:sldMk cId="1731460775" sldId="2076138203"/>
            <ac:spMk id="9" creationId="{C0674593-9C53-430A-9726-720596C96035}"/>
          </ac:spMkLst>
        </pc:spChg>
        <pc:spChg chg="add del mod">
          <ac:chgData name="Kawtar SADIQ" userId="65df04e4-2d23-4bab-afb0-40df8a2c1b9f" providerId="ADAL" clId="{13E48CF6-3C07-4AA7-848A-1E964CBB0D3A}" dt="2022-11-28T22:06:39.268" v="7056" actId="478"/>
          <ac:spMkLst>
            <pc:docMk/>
            <pc:sldMk cId="1731460775" sldId="2076138203"/>
            <ac:spMk id="10" creationId="{600748FC-CAB7-4848-851A-CEBFEC6A9F4D}"/>
          </ac:spMkLst>
        </pc:spChg>
        <pc:spChg chg="add del mod">
          <ac:chgData name="Kawtar SADIQ" userId="65df04e4-2d23-4bab-afb0-40df8a2c1b9f" providerId="ADAL" clId="{13E48CF6-3C07-4AA7-848A-1E964CBB0D3A}" dt="2022-11-28T22:06:39.268" v="7056" actId="478"/>
          <ac:spMkLst>
            <pc:docMk/>
            <pc:sldMk cId="1731460775" sldId="2076138203"/>
            <ac:spMk id="11" creationId="{EE59541D-6070-4E1F-95BF-20EBA54A2C86}"/>
          </ac:spMkLst>
        </pc:spChg>
        <pc:spChg chg="add del mod">
          <ac:chgData name="Kawtar SADIQ" userId="65df04e4-2d23-4bab-afb0-40df8a2c1b9f" providerId="ADAL" clId="{13E48CF6-3C07-4AA7-848A-1E964CBB0D3A}" dt="2022-11-28T22:06:39.268" v="7056" actId="478"/>
          <ac:spMkLst>
            <pc:docMk/>
            <pc:sldMk cId="1731460775" sldId="2076138203"/>
            <ac:spMk id="12" creationId="{03D99C12-1DEB-452B-A591-7BADE70A2AAE}"/>
          </ac:spMkLst>
        </pc:spChg>
        <pc:spChg chg="add del mod">
          <ac:chgData name="Kawtar SADIQ" userId="65df04e4-2d23-4bab-afb0-40df8a2c1b9f" providerId="ADAL" clId="{13E48CF6-3C07-4AA7-848A-1E964CBB0D3A}" dt="2022-11-29T11:13:53.167" v="8059" actId="478"/>
          <ac:spMkLst>
            <pc:docMk/>
            <pc:sldMk cId="1731460775" sldId="2076138203"/>
            <ac:spMk id="12" creationId="{3B76F2AE-F922-495F-B659-7CB66A287DA0}"/>
          </ac:spMkLst>
        </pc:spChg>
        <pc:spChg chg="add del mod">
          <ac:chgData name="Kawtar SADIQ" userId="65df04e4-2d23-4bab-afb0-40df8a2c1b9f" providerId="ADAL" clId="{13E48CF6-3C07-4AA7-848A-1E964CBB0D3A}" dt="2022-11-29T11:13:53.167" v="8059" actId="478"/>
          <ac:spMkLst>
            <pc:docMk/>
            <pc:sldMk cId="1731460775" sldId="2076138203"/>
            <ac:spMk id="13" creationId="{4CD378EC-D083-4593-B9A6-AE155EC25684}"/>
          </ac:spMkLst>
        </pc:spChg>
        <pc:spChg chg="add del mod">
          <ac:chgData name="Kawtar SADIQ" userId="65df04e4-2d23-4bab-afb0-40df8a2c1b9f" providerId="ADAL" clId="{13E48CF6-3C07-4AA7-848A-1E964CBB0D3A}" dt="2022-11-28T22:06:39.268" v="7056" actId="478"/>
          <ac:spMkLst>
            <pc:docMk/>
            <pc:sldMk cId="1731460775" sldId="2076138203"/>
            <ac:spMk id="13" creationId="{F74EFC5B-7A86-42AB-93BD-292025709370}"/>
          </ac:spMkLst>
        </pc:spChg>
        <pc:spChg chg="add del mod">
          <ac:chgData name="Kawtar SADIQ" userId="65df04e4-2d23-4bab-afb0-40df8a2c1b9f" providerId="ADAL" clId="{13E48CF6-3C07-4AA7-848A-1E964CBB0D3A}" dt="2022-11-29T11:13:43.794" v="8057" actId="478"/>
          <ac:spMkLst>
            <pc:docMk/>
            <pc:sldMk cId="1731460775" sldId="2076138203"/>
            <ac:spMk id="14" creationId="{AEE324B1-D444-4726-B349-4C3E21CF2DA2}"/>
          </ac:spMkLst>
        </pc:spChg>
        <pc:spChg chg="add del mod">
          <ac:chgData name="Kawtar SADIQ" userId="65df04e4-2d23-4bab-afb0-40df8a2c1b9f" providerId="ADAL" clId="{13E48CF6-3C07-4AA7-848A-1E964CBB0D3A}" dt="2022-11-29T11:13:53.167" v="8059" actId="478"/>
          <ac:spMkLst>
            <pc:docMk/>
            <pc:sldMk cId="1731460775" sldId="2076138203"/>
            <ac:spMk id="15" creationId="{70A6B5F2-E9B1-4691-A781-D2F870963896}"/>
          </ac:spMkLst>
        </pc:spChg>
        <pc:spChg chg="add del mod">
          <ac:chgData name="Kawtar SADIQ" userId="65df04e4-2d23-4bab-afb0-40df8a2c1b9f" providerId="ADAL" clId="{13E48CF6-3C07-4AA7-848A-1E964CBB0D3A}" dt="2022-11-28T22:06:50.837" v="7058" actId="478"/>
          <ac:spMkLst>
            <pc:docMk/>
            <pc:sldMk cId="1731460775" sldId="2076138203"/>
            <ac:spMk id="16" creationId="{8AD553D2-12C0-43EA-9F66-48BFB191BA1C}"/>
          </ac:spMkLst>
        </pc:spChg>
        <pc:spChg chg="add del mod">
          <ac:chgData name="Kawtar SADIQ" userId="65df04e4-2d23-4bab-afb0-40df8a2c1b9f" providerId="ADAL" clId="{13E48CF6-3C07-4AA7-848A-1E964CBB0D3A}" dt="2022-11-28T22:06:50.837" v="7058" actId="478"/>
          <ac:spMkLst>
            <pc:docMk/>
            <pc:sldMk cId="1731460775" sldId="2076138203"/>
            <ac:spMk id="17" creationId="{4D2DDC03-948F-4FB3-A515-CB49C5DA83AC}"/>
          </ac:spMkLst>
        </pc:spChg>
        <pc:spChg chg="add del mod">
          <ac:chgData name="Kawtar SADIQ" userId="65df04e4-2d23-4bab-afb0-40df8a2c1b9f" providerId="ADAL" clId="{13E48CF6-3C07-4AA7-848A-1E964CBB0D3A}" dt="2022-11-28T22:06:50.837" v="7058" actId="478"/>
          <ac:spMkLst>
            <pc:docMk/>
            <pc:sldMk cId="1731460775" sldId="2076138203"/>
            <ac:spMk id="18" creationId="{389B9C28-4865-4BE2-9555-7E30D64124C2}"/>
          </ac:spMkLst>
        </pc:spChg>
        <pc:spChg chg="add mod">
          <ac:chgData name="Kawtar SADIQ" userId="65df04e4-2d23-4bab-afb0-40df8a2c1b9f" providerId="ADAL" clId="{13E48CF6-3C07-4AA7-848A-1E964CBB0D3A}" dt="2022-12-01T13:12:41.743" v="27721" actId="1076"/>
          <ac:spMkLst>
            <pc:docMk/>
            <pc:sldMk cId="1731460775" sldId="2076138203"/>
            <ac:spMk id="20" creationId="{0ED714DA-C741-4E99-B8C2-93A8593E61B7}"/>
          </ac:spMkLst>
        </pc:spChg>
        <pc:spChg chg="add mod ord">
          <ac:chgData name="Kawtar SADIQ" userId="65df04e4-2d23-4bab-afb0-40df8a2c1b9f" providerId="ADAL" clId="{13E48CF6-3C07-4AA7-848A-1E964CBB0D3A}" dt="2022-11-29T11:14:38.021" v="8084" actId="167"/>
          <ac:spMkLst>
            <pc:docMk/>
            <pc:sldMk cId="1731460775" sldId="2076138203"/>
            <ac:spMk id="21" creationId="{E2742EAA-578A-4BEE-A80A-45F354076542}"/>
          </ac:spMkLst>
        </pc:spChg>
        <pc:spChg chg="add mod">
          <ac:chgData name="Kawtar SADIQ" userId="65df04e4-2d23-4bab-afb0-40df8a2c1b9f" providerId="ADAL" clId="{13E48CF6-3C07-4AA7-848A-1E964CBB0D3A}" dt="2022-12-01T11:42:23.469" v="26200" actId="207"/>
          <ac:spMkLst>
            <pc:docMk/>
            <pc:sldMk cId="1731460775" sldId="2076138203"/>
            <ac:spMk id="22" creationId="{4DC3E59D-D2F4-4620-975B-4465BF160367}"/>
          </ac:spMkLst>
        </pc:spChg>
        <pc:spChg chg="add del mod">
          <ac:chgData name="Kawtar SADIQ" userId="65df04e4-2d23-4bab-afb0-40df8a2c1b9f" providerId="ADAL" clId="{13E48CF6-3C07-4AA7-848A-1E964CBB0D3A}" dt="2022-11-29T11:07:23.124" v="7987" actId="478"/>
          <ac:spMkLst>
            <pc:docMk/>
            <pc:sldMk cId="1731460775" sldId="2076138203"/>
            <ac:spMk id="27" creationId="{465F6493-0F33-4C5F-AA1C-8091E146AAEE}"/>
          </ac:spMkLst>
        </pc:spChg>
        <pc:spChg chg="add del mod">
          <ac:chgData name="Kawtar SADIQ" userId="65df04e4-2d23-4bab-afb0-40df8a2c1b9f" providerId="ADAL" clId="{13E48CF6-3C07-4AA7-848A-1E964CBB0D3A}" dt="2022-11-29T11:13:43.794" v="8057" actId="478"/>
          <ac:spMkLst>
            <pc:docMk/>
            <pc:sldMk cId="1731460775" sldId="2076138203"/>
            <ac:spMk id="28" creationId="{EAEA21EA-CDCA-453B-855E-677A118FFC70}"/>
          </ac:spMkLst>
        </pc:spChg>
        <pc:spChg chg="add mod">
          <ac:chgData name="Kawtar SADIQ" userId="65df04e4-2d23-4bab-afb0-40df8a2c1b9f" providerId="ADAL" clId="{13E48CF6-3C07-4AA7-848A-1E964CBB0D3A}" dt="2022-12-01T13:14:54.495" v="27731"/>
          <ac:spMkLst>
            <pc:docMk/>
            <pc:sldMk cId="1731460775" sldId="2076138203"/>
            <ac:spMk id="29" creationId="{20524770-1BB5-4C84-8A3E-AC5331AAE840}"/>
          </ac:spMkLst>
        </pc:spChg>
        <pc:spChg chg="add del mod">
          <ac:chgData name="Kawtar SADIQ" userId="65df04e4-2d23-4bab-afb0-40df8a2c1b9f" providerId="ADAL" clId="{13E48CF6-3C07-4AA7-848A-1E964CBB0D3A}" dt="2022-11-28T22:06:55.316" v="7061" actId="478"/>
          <ac:spMkLst>
            <pc:docMk/>
            <pc:sldMk cId="1731460775" sldId="2076138203"/>
            <ac:spMk id="29" creationId="{7CB13034-B407-4EC4-9A87-B1F5C8E3EAF6}"/>
          </ac:spMkLst>
        </pc:spChg>
        <pc:spChg chg="add mod">
          <ac:chgData name="Kawtar SADIQ" userId="65df04e4-2d23-4bab-afb0-40df8a2c1b9f" providerId="ADAL" clId="{13E48CF6-3C07-4AA7-848A-1E964CBB0D3A}" dt="2022-12-01T11:41:55.746" v="26196" actId="207"/>
          <ac:spMkLst>
            <pc:docMk/>
            <pc:sldMk cId="1731460775" sldId="2076138203"/>
            <ac:spMk id="30" creationId="{8C5E23D5-4162-470C-8E36-D4BB3163D86C}"/>
          </ac:spMkLst>
        </pc:spChg>
        <pc:spChg chg="add del mod">
          <ac:chgData name="Kawtar SADIQ" userId="65df04e4-2d23-4bab-afb0-40df8a2c1b9f" providerId="ADAL" clId="{13E48CF6-3C07-4AA7-848A-1E964CBB0D3A}" dt="2022-12-01T13:14:56.710" v="27732" actId="478"/>
          <ac:spMkLst>
            <pc:docMk/>
            <pc:sldMk cId="1731460775" sldId="2076138203"/>
            <ac:spMk id="31" creationId="{53CA63A7-DDD5-47D3-8468-3390605E3FC7}"/>
          </ac:spMkLst>
        </pc:spChg>
        <pc:spChg chg="add del mod">
          <ac:chgData name="Kawtar SADIQ" userId="65df04e4-2d23-4bab-afb0-40df8a2c1b9f" providerId="ADAL" clId="{13E48CF6-3C07-4AA7-848A-1E964CBB0D3A}" dt="2022-12-01T13:15:06.263" v="27735" actId="478"/>
          <ac:spMkLst>
            <pc:docMk/>
            <pc:sldMk cId="1731460775" sldId="2076138203"/>
            <ac:spMk id="32" creationId="{9656D2D8-33B7-44F1-9102-C8CBA109D72B}"/>
          </ac:spMkLst>
        </pc:spChg>
        <pc:picChg chg="add mod">
          <ac:chgData name="Kawtar SADIQ" userId="65df04e4-2d23-4bab-afb0-40df8a2c1b9f" providerId="ADAL" clId="{13E48CF6-3C07-4AA7-848A-1E964CBB0D3A}" dt="2022-12-01T13:14:58.768" v="27733" actId="1076"/>
          <ac:picMkLst>
            <pc:docMk/>
            <pc:sldMk cId="1731460775" sldId="2076138203"/>
            <ac:picMk id="5" creationId="{C1BA5786-9F9D-45A3-B319-4A4AEB7656E9}"/>
          </ac:picMkLst>
        </pc:picChg>
        <pc:picChg chg="add del mod">
          <ac:chgData name="Kawtar SADIQ" userId="65df04e4-2d23-4bab-afb0-40df8a2c1b9f" providerId="ADAL" clId="{13E48CF6-3C07-4AA7-848A-1E964CBB0D3A}" dt="2022-12-01T13:07:54.651" v="27693" actId="478"/>
          <ac:picMkLst>
            <pc:docMk/>
            <pc:sldMk cId="1731460775" sldId="2076138203"/>
            <ac:picMk id="6" creationId="{AB9D27D3-07C3-46B6-BD58-79A970E33038}"/>
          </ac:picMkLst>
        </pc:picChg>
        <pc:picChg chg="add mod modCrop">
          <ac:chgData name="Kawtar SADIQ" userId="65df04e4-2d23-4bab-afb0-40df8a2c1b9f" providerId="ADAL" clId="{13E48CF6-3C07-4AA7-848A-1E964CBB0D3A}" dt="2022-12-01T13:12:36.978" v="27714" actId="1076"/>
          <ac:picMkLst>
            <pc:docMk/>
            <pc:sldMk cId="1731460775" sldId="2076138203"/>
            <ac:picMk id="8" creationId="{87BEBFF7-BE47-403F-BAFB-2194BA097E54}"/>
          </ac:picMkLst>
        </pc:picChg>
        <pc:picChg chg="add del mod">
          <ac:chgData name="Kawtar SADIQ" userId="65df04e4-2d23-4bab-afb0-40df8a2c1b9f" providerId="ADAL" clId="{13E48CF6-3C07-4AA7-848A-1E964CBB0D3A}" dt="2022-11-29T11:13:53.167" v="8059" actId="478"/>
          <ac:picMkLst>
            <pc:docMk/>
            <pc:sldMk cId="1731460775" sldId="2076138203"/>
            <ac:picMk id="11" creationId="{F4D8C148-E189-4BE5-9C75-7EA1C2EE8B8F}"/>
          </ac:picMkLst>
        </pc:picChg>
        <pc:picChg chg="add del mod">
          <ac:chgData name="Kawtar SADIQ" userId="65df04e4-2d23-4bab-afb0-40df8a2c1b9f" providerId="ADAL" clId="{13E48CF6-3C07-4AA7-848A-1E964CBB0D3A}" dt="2022-11-28T22:06:52.158" v="7059" actId="478"/>
          <ac:picMkLst>
            <pc:docMk/>
            <pc:sldMk cId="1731460775" sldId="2076138203"/>
            <ac:picMk id="15" creationId="{E6F2EF02-9D79-4B0C-B226-5963D8102113}"/>
          </ac:picMkLst>
        </pc:picChg>
        <pc:picChg chg="add del mod">
          <ac:chgData name="Kawtar SADIQ" userId="65df04e4-2d23-4bab-afb0-40df8a2c1b9f" providerId="ADAL" clId="{13E48CF6-3C07-4AA7-848A-1E964CBB0D3A}" dt="2022-11-29T11:13:53.167" v="8059" actId="478"/>
          <ac:picMkLst>
            <pc:docMk/>
            <pc:sldMk cId="1731460775" sldId="2076138203"/>
            <ac:picMk id="16" creationId="{31CF3171-58E6-40BB-A0D2-764BC91E1866}"/>
          </ac:picMkLst>
        </pc:picChg>
        <pc:picChg chg="add mod">
          <ac:chgData name="Kawtar SADIQ" userId="65df04e4-2d23-4bab-afb0-40df8a2c1b9f" providerId="ADAL" clId="{13E48CF6-3C07-4AA7-848A-1E964CBB0D3A}" dt="2022-12-01T13:12:40.669" v="27720" actId="1035"/>
          <ac:picMkLst>
            <pc:docMk/>
            <pc:sldMk cId="1731460775" sldId="2076138203"/>
            <ac:picMk id="16" creationId="{9183E9F8-9AB9-4130-B67D-20631DED064E}"/>
          </ac:picMkLst>
        </pc:picChg>
        <pc:picChg chg="add mod">
          <ac:chgData name="Kawtar SADIQ" userId="65df04e4-2d23-4bab-afb0-40df8a2c1b9f" providerId="ADAL" clId="{13E48CF6-3C07-4AA7-848A-1E964CBB0D3A}" dt="2022-12-01T13:15:00.308" v="27734" actId="1076"/>
          <ac:picMkLst>
            <pc:docMk/>
            <pc:sldMk cId="1731460775" sldId="2076138203"/>
            <ac:picMk id="17" creationId="{13BCD1B2-52AD-4A6F-ADC1-874E044118F6}"/>
          </ac:picMkLst>
        </pc:picChg>
        <pc:picChg chg="add del mod">
          <ac:chgData name="Kawtar SADIQ" userId="65df04e4-2d23-4bab-afb0-40df8a2c1b9f" providerId="ADAL" clId="{13E48CF6-3C07-4AA7-848A-1E964CBB0D3A}" dt="2022-11-28T22:06:53.516" v="7060" actId="478"/>
          <ac:picMkLst>
            <pc:docMk/>
            <pc:sldMk cId="1731460775" sldId="2076138203"/>
            <ac:picMk id="19" creationId="{95B42E1F-1E20-4880-AD88-52496D151208}"/>
          </ac:picMkLst>
        </pc:picChg>
        <pc:picChg chg="add del mod">
          <ac:chgData name="Kawtar SADIQ" userId="65df04e4-2d23-4bab-afb0-40df8a2c1b9f" providerId="ADAL" clId="{13E48CF6-3C07-4AA7-848A-1E964CBB0D3A}" dt="2022-11-29T11:13:43.794" v="8057" actId="478"/>
          <ac:picMkLst>
            <pc:docMk/>
            <pc:sldMk cId="1731460775" sldId="2076138203"/>
            <ac:picMk id="23" creationId="{E7EE8CEF-EAC3-49CD-A49F-3BF2F7EA5F6A}"/>
          </ac:picMkLst>
        </pc:picChg>
        <pc:picChg chg="add del mod">
          <ac:chgData name="Kawtar SADIQ" userId="65df04e4-2d23-4bab-afb0-40df8a2c1b9f" providerId="ADAL" clId="{13E48CF6-3C07-4AA7-848A-1E964CBB0D3A}" dt="2022-11-29T11:13:43.794" v="8057" actId="478"/>
          <ac:picMkLst>
            <pc:docMk/>
            <pc:sldMk cId="1731460775" sldId="2076138203"/>
            <ac:picMk id="25" creationId="{399C3FA8-27E7-44C2-B952-BE8B3088F57A}"/>
          </ac:picMkLst>
        </pc:picChg>
        <pc:picChg chg="add del mod">
          <ac:chgData name="Kawtar SADIQ" userId="65df04e4-2d23-4bab-afb0-40df8a2c1b9f" providerId="ADAL" clId="{13E48CF6-3C07-4AA7-848A-1E964CBB0D3A}" dt="2022-11-29T11:13:43.794" v="8057" actId="478"/>
          <ac:picMkLst>
            <pc:docMk/>
            <pc:sldMk cId="1731460775" sldId="2076138203"/>
            <ac:picMk id="26" creationId="{3B4F366A-3206-46AC-A223-0FE17D77D201}"/>
          </ac:picMkLst>
        </pc:picChg>
        <pc:cxnChg chg="add del mod">
          <ac:chgData name="Kawtar SADIQ" userId="65df04e4-2d23-4bab-afb0-40df8a2c1b9f" providerId="ADAL" clId="{13E48CF6-3C07-4AA7-848A-1E964CBB0D3A}" dt="2022-11-29T11:13:53.167" v="8059" actId="478"/>
          <ac:cxnSpMkLst>
            <pc:docMk/>
            <pc:sldMk cId="1731460775" sldId="2076138203"/>
            <ac:cxnSpMk id="17" creationId="{A55C5229-BEAE-42F7-9C4A-E02B7E4B469A}"/>
          </ac:cxnSpMkLst>
        </pc:cxnChg>
        <pc:cxnChg chg="add del mod">
          <ac:chgData name="Kawtar SADIQ" userId="65df04e4-2d23-4bab-afb0-40df8a2c1b9f" providerId="ADAL" clId="{13E48CF6-3C07-4AA7-848A-1E964CBB0D3A}" dt="2022-11-29T11:13:53.167" v="8059" actId="478"/>
          <ac:cxnSpMkLst>
            <pc:docMk/>
            <pc:sldMk cId="1731460775" sldId="2076138203"/>
            <ac:cxnSpMk id="18" creationId="{55B5EC72-C3BB-4A5F-8F74-448451117684}"/>
          </ac:cxnSpMkLst>
        </pc:cxnChg>
        <pc:cxnChg chg="add del mod">
          <ac:chgData name="Kawtar SADIQ" userId="65df04e4-2d23-4bab-afb0-40df8a2c1b9f" providerId="ADAL" clId="{13E48CF6-3C07-4AA7-848A-1E964CBB0D3A}" dt="2022-11-29T11:13:53.167" v="8059" actId="478"/>
          <ac:cxnSpMkLst>
            <pc:docMk/>
            <pc:sldMk cId="1731460775" sldId="2076138203"/>
            <ac:cxnSpMk id="19" creationId="{6DE110D5-C71A-4DD5-BCAC-F0761585FB12}"/>
          </ac:cxnSpMkLst>
        </pc:cxnChg>
        <pc:cxnChg chg="add del mod">
          <ac:chgData name="Kawtar SADIQ" userId="65df04e4-2d23-4bab-afb0-40df8a2c1b9f" providerId="ADAL" clId="{13E48CF6-3C07-4AA7-848A-1E964CBB0D3A}" dt="2022-11-28T22:06:50.837" v="7058" actId="478"/>
          <ac:cxnSpMkLst>
            <pc:docMk/>
            <pc:sldMk cId="1731460775" sldId="2076138203"/>
            <ac:cxnSpMk id="20" creationId="{3FE17417-CE3C-4670-A5B2-B89BE0B6478C}"/>
          </ac:cxnSpMkLst>
        </pc:cxnChg>
        <pc:cxnChg chg="add del mod">
          <ac:chgData name="Kawtar SADIQ" userId="65df04e4-2d23-4bab-afb0-40df8a2c1b9f" providerId="ADAL" clId="{13E48CF6-3C07-4AA7-848A-1E964CBB0D3A}" dt="2022-11-28T22:06:50.837" v="7058" actId="478"/>
          <ac:cxnSpMkLst>
            <pc:docMk/>
            <pc:sldMk cId="1731460775" sldId="2076138203"/>
            <ac:cxnSpMk id="21" creationId="{DA999190-891B-4AED-8988-6AA96A3CD7A6}"/>
          </ac:cxnSpMkLst>
        </pc:cxnChg>
        <pc:cxnChg chg="add del mod">
          <ac:chgData name="Kawtar SADIQ" userId="65df04e4-2d23-4bab-afb0-40df8a2c1b9f" providerId="ADAL" clId="{13E48CF6-3C07-4AA7-848A-1E964CBB0D3A}" dt="2022-11-28T22:06:50.837" v="7058" actId="478"/>
          <ac:cxnSpMkLst>
            <pc:docMk/>
            <pc:sldMk cId="1731460775" sldId="2076138203"/>
            <ac:cxnSpMk id="22" creationId="{DB8326F3-DE89-4458-BEED-3A1E3E22104F}"/>
          </ac:cxnSpMkLst>
        </pc:cxnChg>
        <pc:cxnChg chg="add del mod">
          <ac:chgData name="Kawtar SADIQ" userId="65df04e4-2d23-4bab-afb0-40df8a2c1b9f" providerId="ADAL" clId="{13E48CF6-3C07-4AA7-848A-1E964CBB0D3A}" dt="2022-11-29T11:13:43.794" v="8057" actId="478"/>
          <ac:cxnSpMkLst>
            <pc:docMk/>
            <pc:sldMk cId="1731460775" sldId="2076138203"/>
            <ac:cxnSpMk id="24" creationId="{D46A609E-FEF2-4813-9721-CB5D6E6FBCC3}"/>
          </ac:cxnSpMkLst>
        </pc:cxnChg>
      </pc:sldChg>
      <pc:sldChg chg="addSp delSp modSp new del mod">
        <pc:chgData name="Kawtar SADIQ" userId="65df04e4-2d23-4bab-afb0-40df8a2c1b9f" providerId="ADAL" clId="{13E48CF6-3C07-4AA7-848A-1E964CBB0D3A}" dt="2022-12-01T16:45:09.312" v="27983" actId="47"/>
        <pc:sldMkLst>
          <pc:docMk/>
          <pc:sldMk cId="1513389094" sldId="2076138204"/>
        </pc:sldMkLst>
        <pc:spChg chg="mod">
          <ac:chgData name="Kawtar SADIQ" userId="65df04e4-2d23-4bab-afb0-40df8a2c1b9f" providerId="ADAL" clId="{13E48CF6-3C07-4AA7-848A-1E964CBB0D3A}" dt="2022-11-28T19:02:05.213" v="5058"/>
          <ac:spMkLst>
            <pc:docMk/>
            <pc:sldMk cId="1513389094" sldId="2076138204"/>
            <ac:spMk id="2" creationId="{64AE8A2A-A85B-4CE5-BCA4-EB50E750463A}"/>
          </ac:spMkLst>
        </pc:spChg>
        <pc:spChg chg="mod">
          <ac:chgData name="Kawtar SADIQ" userId="65df04e4-2d23-4bab-afb0-40df8a2c1b9f" providerId="ADAL" clId="{13E48CF6-3C07-4AA7-848A-1E964CBB0D3A}" dt="2022-12-01T11:55:59.820" v="26514" actId="1035"/>
          <ac:spMkLst>
            <pc:docMk/>
            <pc:sldMk cId="1513389094" sldId="2076138204"/>
            <ac:spMk id="3" creationId="{432369EC-048B-4A27-9461-4480A21BE02E}"/>
          </ac:spMkLst>
        </pc:spChg>
        <pc:spChg chg="add del mod">
          <ac:chgData name="Kawtar SADIQ" userId="65df04e4-2d23-4bab-afb0-40df8a2c1b9f" providerId="ADAL" clId="{13E48CF6-3C07-4AA7-848A-1E964CBB0D3A}" dt="2022-11-28T19:46:40.908" v="5713" actId="478"/>
          <ac:spMkLst>
            <pc:docMk/>
            <pc:sldMk cId="1513389094" sldId="2076138204"/>
            <ac:spMk id="4" creationId="{1CEDB399-7FD0-4A37-AFCB-A407629D7CC5}"/>
          </ac:spMkLst>
        </pc:spChg>
        <pc:spChg chg="add del mod">
          <ac:chgData name="Kawtar SADIQ" userId="65df04e4-2d23-4bab-afb0-40df8a2c1b9f" providerId="ADAL" clId="{13E48CF6-3C07-4AA7-848A-1E964CBB0D3A}" dt="2022-11-28T19:46:40.908" v="5713" actId="478"/>
          <ac:spMkLst>
            <pc:docMk/>
            <pc:sldMk cId="1513389094" sldId="2076138204"/>
            <ac:spMk id="5" creationId="{0206EF2F-C4F8-4D51-AF09-BD9605C2E5A1}"/>
          </ac:spMkLst>
        </pc:spChg>
        <pc:spChg chg="add del mod">
          <ac:chgData name="Kawtar SADIQ" userId="65df04e4-2d23-4bab-afb0-40df8a2c1b9f" providerId="ADAL" clId="{13E48CF6-3C07-4AA7-848A-1E964CBB0D3A}" dt="2022-11-28T19:46:40.908" v="5713" actId="478"/>
          <ac:spMkLst>
            <pc:docMk/>
            <pc:sldMk cId="1513389094" sldId="2076138204"/>
            <ac:spMk id="8" creationId="{0DDC40F3-0E1B-4994-8833-BCE4A95A10C3}"/>
          </ac:spMkLst>
        </pc:spChg>
        <pc:spChg chg="add del mod">
          <ac:chgData name="Kawtar SADIQ" userId="65df04e4-2d23-4bab-afb0-40df8a2c1b9f" providerId="ADAL" clId="{13E48CF6-3C07-4AA7-848A-1E964CBB0D3A}" dt="2022-11-28T22:07:06.824" v="7064" actId="478"/>
          <ac:spMkLst>
            <pc:docMk/>
            <pc:sldMk cId="1513389094" sldId="2076138204"/>
            <ac:spMk id="9" creationId="{24A62F60-6C28-47C9-99DA-B1BD614881F1}"/>
          </ac:spMkLst>
        </pc:spChg>
        <pc:spChg chg="add del mod">
          <ac:chgData name="Kawtar SADIQ" userId="65df04e4-2d23-4bab-afb0-40df8a2c1b9f" providerId="ADAL" clId="{13E48CF6-3C07-4AA7-848A-1E964CBB0D3A}" dt="2022-11-28T22:07:06.824" v="7064" actId="478"/>
          <ac:spMkLst>
            <pc:docMk/>
            <pc:sldMk cId="1513389094" sldId="2076138204"/>
            <ac:spMk id="10" creationId="{914A84FC-D22D-424D-830E-A4076B994EF7}"/>
          </ac:spMkLst>
        </pc:spChg>
        <pc:spChg chg="add del mod ord">
          <ac:chgData name="Kawtar SADIQ" userId="65df04e4-2d23-4bab-afb0-40df8a2c1b9f" providerId="ADAL" clId="{13E48CF6-3C07-4AA7-848A-1E964CBB0D3A}" dt="2022-11-28T22:07:00.752" v="7062" actId="478"/>
          <ac:spMkLst>
            <pc:docMk/>
            <pc:sldMk cId="1513389094" sldId="2076138204"/>
            <ac:spMk id="11" creationId="{7CB62885-9237-46EA-8DCC-86EE24E60683}"/>
          </ac:spMkLst>
        </pc:spChg>
        <pc:spChg chg="add del mod">
          <ac:chgData name="Kawtar SADIQ" userId="65df04e4-2d23-4bab-afb0-40df8a2c1b9f" providerId="ADAL" clId="{13E48CF6-3C07-4AA7-848A-1E964CBB0D3A}" dt="2022-12-01T11:56:15.158" v="26528" actId="478"/>
          <ac:spMkLst>
            <pc:docMk/>
            <pc:sldMk cId="1513389094" sldId="2076138204"/>
            <ac:spMk id="12" creationId="{AF5756B1-E0E7-45B2-B2FB-36B0A468B5D5}"/>
          </ac:spMkLst>
        </pc:spChg>
        <pc:spChg chg="add del mod ord">
          <ac:chgData name="Kawtar SADIQ" userId="65df04e4-2d23-4bab-afb0-40df8a2c1b9f" providerId="ADAL" clId="{13E48CF6-3C07-4AA7-848A-1E964CBB0D3A}" dt="2022-11-29T11:14:10.422" v="8062" actId="478"/>
          <ac:spMkLst>
            <pc:docMk/>
            <pc:sldMk cId="1513389094" sldId="2076138204"/>
            <ac:spMk id="12" creationId="{FF5AC0A7-BC1F-4D1A-9D76-3C4B1FBEA9B4}"/>
          </ac:spMkLst>
        </pc:spChg>
        <pc:spChg chg="add del mod">
          <ac:chgData name="Kawtar SADIQ" userId="65df04e4-2d23-4bab-afb0-40df8a2c1b9f" providerId="ADAL" clId="{13E48CF6-3C07-4AA7-848A-1E964CBB0D3A}" dt="2022-11-28T22:07:03.865" v="7063" actId="478"/>
          <ac:spMkLst>
            <pc:docMk/>
            <pc:sldMk cId="1513389094" sldId="2076138204"/>
            <ac:spMk id="13" creationId="{5E387864-664D-4149-96D1-23568F3C9B13}"/>
          </ac:spMkLst>
        </pc:spChg>
        <pc:spChg chg="add del mod">
          <ac:chgData name="Kawtar SADIQ" userId="65df04e4-2d23-4bab-afb0-40df8a2c1b9f" providerId="ADAL" clId="{13E48CF6-3C07-4AA7-848A-1E964CBB0D3A}" dt="2022-12-01T11:55:09.894" v="26495" actId="478"/>
          <ac:spMkLst>
            <pc:docMk/>
            <pc:sldMk cId="1513389094" sldId="2076138204"/>
            <ac:spMk id="14" creationId="{9AA8958B-2BB4-45BD-8E97-5876F04F0843}"/>
          </ac:spMkLst>
        </pc:spChg>
        <pc:spChg chg="add del mod ord">
          <ac:chgData name="Kawtar SADIQ" userId="65df04e4-2d23-4bab-afb0-40df8a2c1b9f" providerId="ADAL" clId="{13E48CF6-3C07-4AA7-848A-1E964CBB0D3A}" dt="2022-11-29T11:14:10.422" v="8062" actId="478"/>
          <ac:spMkLst>
            <pc:docMk/>
            <pc:sldMk cId="1513389094" sldId="2076138204"/>
            <ac:spMk id="15" creationId="{A8937EAB-FA07-4201-9A39-BD4010FB94B9}"/>
          </ac:spMkLst>
        </pc:spChg>
        <pc:spChg chg="add del mod">
          <ac:chgData name="Kawtar SADIQ" userId="65df04e4-2d23-4bab-afb0-40df8a2c1b9f" providerId="ADAL" clId="{13E48CF6-3C07-4AA7-848A-1E964CBB0D3A}" dt="2022-11-29T11:07:23.841" v="7988" actId="478"/>
          <ac:spMkLst>
            <pc:docMk/>
            <pc:sldMk cId="1513389094" sldId="2076138204"/>
            <ac:spMk id="20" creationId="{D87E2F77-D7B4-4193-A0E3-0C100B1EB09A}"/>
          </ac:spMkLst>
        </pc:spChg>
        <pc:spChg chg="add del mod">
          <ac:chgData name="Kawtar SADIQ" userId="65df04e4-2d23-4bab-afb0-40df8a2c1b9f" providerId="ADAL" clId="{13E48CF6-3C07-4AA7-848A-1E964CBB0D3A}" dt="2022-11-29T11:14:10.422" v="8062" actId="478"/>
          <ac:spMkLst>
            <pc:docMk/>
            <pc:sldMk cId="1513389094" sldId="2076138204"/>
            <ac:spMk id="21" creationId="{63E6ACBB-07EF-4310-9C69-B06ACF1436F8}"/>
          </ac:spMkLst>
        </pc:spChg>
        <pc:spChg chg="add mod ord">
          <ac:chgData name="Kawtar SADIQ" userId="65df04e4-2d23-4bab-afb0-40df8a2c1b9f" providerId="ADAL" clId="{13E48CF6-3C07-4AA7-848A-1E964CBB0D3A}" dt="2022-12-01T11:56:48.306" v="26551" actId="14100"/>
          <ac:spMkLst>
            <pc:docMk/>
            <pc:sldMk cId="1513389094" sldId="2076138204"/>
            <ac:spMk id="22" creationId="{4D88371E-1ED8-4392-AF42-2FFFA5A98E74}"/>
          </ac:spMkLst>
        </pc:spChg>
        <pc:spChg chg="add mod">
          <ac:chgData name="Kawtar SADIQ" userId="65df04e4-2d23-4bab-afb0-40df8a2c1b9f" providerId="ADAL" clId="{13E48CF6-3C07-4AA7-848A-1E964CBB0D3A}" dt="2022-12-01T11:42:16.502" v="26199" actId="207"/>
          <ac:spMkLst>
            <pc:docMk/>
            <pc:sldMk cId="1513389094" sldId="2076138204"/>
            <ac:spMk id="23" creationId="{6B3B3713-74FF-4CBE-B5F7-2FBD011E3CB1}"/>
          </ac:spMkLst>
        </pc:spChg>
        <pc:spChg chg="add mod">
          <ac:chgData name="Kawtar SADIQ" userId="65df04e4-2d23-4bab-afb0-40df8a2c1b9f" providerId="ADAL" clId="{13E48CF6-3C07-4AA7-848A-1E964CBB0D3A}" dt="2022-12-01T13:06:34.016" v="27666" actId="20577"/>
          <ac:spMkLst>
            <pc:docMk/>
            <pc:sldMk cId="1513389094" sldId="2076138204"/>
            <ac:spMk id="24" creationId="{6E1966D1-01B0-4334-BAC6-7B2ADA08CEB2}"/>
          </ac:spMkLst>
        </pc:spChg>
        <pc:spChg chg="add del mod">
          <ac:chgData name="Kawtar SADIQ" userId="65df04e4-2d23-4bab-afb0-40df8a2c1b9f" providerId="ADAL" clId="{13E48CF6-3C07-4AA7-848A-1E964CBB0D3A}" dt="2022-12-01T11:55:11.330" v="26496" actId="478"/>
          <ac:spMkLst>
            <pc:docMk/>
            <pc:sldMk cId="1513389094" sldId="2076138204"/>
            <ac:spMk id="25" creationId="{47E0AC51-BD08-438C-86BA-0F204930A332}"/>
          </ac:spMkLst>
        </pc:spChg>
        <pc:spChg chg="add del mod">
          <ac:chgData name="Kawtar SADIQ" userId="65df04e4-2d23-4bab-afb0-40df8a2c1b9f" providerId="ADAL" clId="{13E48CF6-3C07-4AA7-848A-1E964CBB0D3A}" dt="2022-11-30T18:09:24.918" v="22033" actId="478"/>
          <ac:spMkLst>
            <pc:docMk/>
            <pc:sldMk cId="1513389094" sldId="2076138204"/>
            <ac:spMk id="26" creationId="{568070C8-34EC-4371-9374-8CDC4B1FFB4A}"/>
          </ac:spMkLst>
        </pc:spChg>
        <pc:spChg chg="add del mod">
          <ac:chgData name="Kawtar SADIQ" userId="65df04e4-2d23-4bab-afb0-40df8a2c1b9f" providerId="ADAL" clId="{13E48CF6-3C07-4AA7-848A-1E964CBB0D3A}" dt="2022-12-01T11:58:02.665" v="26605" actId="478"/>
          <ac:spMkLst>
            <pc:docMk/>
            <pc:sldMk cId="1513389094" sldId="2076138204"/>
            <ac:spMk id="27" creationId="{31DC9DEC-1525-46B4-9637-FA092A909ABB}"/>
          </ac:spMkLst>
        </pc:spChg>
        <pc:picChg chg="add mod">
          <ac:chgData name="Kawtar SADIQ" userId="65df04e4-2d23-4bab-afb0-40df8a2c1b9f" providerId="ADAL" clId="{13E48CF6-3C07-4AA7-848A-1E964CBB0D3A}" dt="2022-12-01T13:07:37.523" v="27692" actId="1076"/>
          <ac:picMkLst>
            <pc:docMk/>
            <pc:sldMk cId="1513389094" sldId="2076138204"/>
            <ac:picMk id="6" creationId="{FC7D0FEE-18BE-4B83-9649-4B9D183BF798}"/>
          </ac:picMkLst>
        </pc:picChg>
        <pc:picChg chg="add mod">
          <ac:chgData name="Kawtar SADIQ" userId="65df04e4-2d23-4bab-afb0-40df8a2c1b9f" providerId="ADAL" clId="{13E48CF6-3C07-4AA7-848A-1E964CBB0D3A}" dt="2022-12-01T13:06:59.254" v="27677" actId="1076"/>
          <ac:picMkLst>
            <pc:docMk/>
            <pc:sldMk cId="1513389094" sldId="2076138204"/>
            <ac:picMk id="7" creationId="{AA679BAC-6BBE-474F-819C-65D1D7D1F06C}"/>
          </ac:picMkLst>
        </pc:picChg>
        <pc:picChg chg="add mod">
          <ac:chgData name="Kawtar SADIQ" userId="65df04e4-2d23-4bab-afb0-40df8a2c1b9f" providerId="ADAL" clId="{13E48CF6-3C07-4AA7-848A-1E964CBB0D3A}" dt="2022-12-01T13:07:31.942" v="27691" actId="1035"/>
          <ac:picMkLst>
            <pc:docMk/>
            <pc:sldMk cId="1513389094" sldId="2076138204"/>
            <ac:picMk id="9" creationId="{998978E3-8930-46E4-88A0-67EC4D4834C1}"/>
          </ac:picMkLst>
        </pc:picChg>
        <pc:picChg chg="add del mod">
          <ac:chgData name="Kawtar SADIQ" userId="65df04e4-2d23-4bab-afb0-40df8a2c1b9f" providerId="ADAL" clId="{13E48CF6-3C07-4AA7-848A-1E964CBB0D3A}" dt="2022-11-28T19:58:54.354" v="5802" actId="478"/>
          <ac:picMkLst>
            <pc:docMk/>
            <pc:sldMk cId="1513389094" sldId="2076138204"/>
            <ac:picMk id="14" creationId="{AA03B358-9267-4292-88AF-B449102562F9}"/>
          </ac:picMkLst>
        </pc:picChg>
        <pc:picChg chg="add del mod">
          <ac:chgData name="Kawtar SADIQ" userId="65df04e4-2d23-4bab-afb0-40df8a2c1b9f" providerId="ADAL" clId="{13E48CF6-3C07-4AA7-848A-1E964CBB0D3A}" dt="2022-11-29T11:14:10.422" v="8062" actId="478"/>
          <ac:picMkLst>
            <pc:docMk/>
            <pc:sldMk cId="1513389094" sldId="2076138204"/>
            <ac:picMk id="16" creationId="{70C444BB-9A9F-4F3D-8D88-7E12B813DEB5}"/>
          </ac:picMkLst>
        </pc:picChg>
        <pc:picChg chg="add del mod">
          <ac:chgData name="Kawtar SADIQ" userId="65df04e4-2d23-4bab-afb0-40df8a2c1b9f" providerId="ADAL" clId="{13E48CF6-3C07-4AA7-848A-1E964CBB0D3A}" dt="2022-11-29T11:14:10.422" v="8062" actId="478"/>
          <ac:picMkLst>
            <pc:docMk/>
            <pc:sldMk cId="1513389094" sldId="2076138204"/>
            <ac:picMk id="18" creationId="{1CB808BE-528E-45D2-8643-B900FFA39D19}"/>
          </ac:picMkLst>
        </pc:picChg>
        <pc:picChg chg="add del mod">
          <ac:chgData name="Kawtar SADIQ" userId="65df04e4-2d23-4bab-afb0-40df8a2c1b9f" providerId="ADAL" clId="{13E48CF6-3C07-4AA7-848A-1E964CBB0D3A}" dt="2022-11-29T11:14:10.422" v="8062" actId="478"/>
          <ac:picMkLst>
            <pc:docMk/>
            <pc:sldMk cId="1513389094" sldId="2076138204"/>
            <ac:picMk id="19" creationId="{41FEB137-D566-4B69-979E-197FC0FBE226}"/>
          </ac:picMkLst>
        </pc:picChg>
        <pc:cxnChg chg="add del mod">
          <ac:chgData name="Kawtar SADIQ" userId="65df04e4-2d23-4bab-afb0-40df8a2c1b9f" providerId="ADAL" clId="{13E48CF6-3C07-4AA7-848A-1E964CBB0D3A}" dt="2022-11-29T11:14:10.422" v="8062" actId="478"/>
          <ac:cxnSpMkLst>
            <pc:docMk/>
            <pc:sldMk cId="1513389094" sldId="2076138204"/>
            <ac:cxnSpMk id="17" creationId="{717E6287-03DC-4C41-B058-8248A54994B0}"/>
          </ac:cxnSpMkLst>
        </pc:cxnChg>
      </pc:sldChg>
      <pc:sldChg chg="addSp delSp modSp new del mod">
        <pc:chgData name="Kawtar SADIQ" userId="65df04e4-2d23-4bab-afb0-40df8a2c1b9f" providerId="ADAL" clId="{13E48CF6-3C07-4AA7-848A-1E964CBB0D3A}" dt="2022-11-28T19:45:17.113" v="5690" actId="47"/>
        <pc:sldMkLst>
          <pc:docMk/>
          <pc:sldMk cId="1223174916" sldId="2076138205"/>
        </pc:sldMkLst>
        <pc:spChg chg="mod">
          <ac:chgData name="Kawtar SADIQ" userId="65df04e4-2d23-4bab-afb0-40df8a2c1b9f" providerId="ADAL" clId="{13E48CF6-3C07-4AA7-848A-1E964CBB0D3A}" dt="2022-11-28T19:34:35.782" v="5391" actId="14100"/>
          <ac:spMkLst>
            <pc:docMk/>
            <pc:sldMk cId="1223174916" sldId="2076138205"/>
            <ac:spMk id="5" creationId="{AC1BDFA9-C6BF-4088-B696-35FCABA320D5}"/>
          </ac:spMkLst>
        </pc:spChg>
        <pc:spChg chg="mod">
          <ac:chgData name="Kawtar SADIQ" userId="65df04e4-2d23-4bab-afb0-40df8a2c1b9f" providerId="ADAL" clId="{13E48CF6-3C07-4AA7-848A-1E964CBB0D3A}" dt="2022-11-28T19:33:14.899" v="5378"/>
          <ac:spMkLst>
            <pc:docMk/>
            <pc:sldMk cId="1223174916" sldId="2076138205"/>
            <ac:spMk id="6" creationId="{F01E7B52-1BA1-43F4-A743-D0993E967D3C}"/>
          </ac:spMkLst>
        </pc:spChg>
        <pc:spChg chg="mod">
          <ac:chgData name="Kawtar SADIQ" userId="65df04e4-2d23-4bab-afb0-40df8a2c1b9f" providerId="ADAL" clId="{13E48CF6-3C07-4AA7-848A-1E964CBB0D3A}" dt="2022-11-28T19:34:34.893" v="5389" actId="14100"/>
          <ac:spMkLst>
            <pc:docMk/>
            <pc:sldMk cId="1223174916" sldId="2076138205"/>
            <ac:spMk id="7" creationId="{BB7C2CF3-1B3E-4AB8-A338-F0BDD6CC2853}"/>
          </ac:spMkLst>
        </pc:spChg>
        <pc:spChg chg="mod">
          <ac:chgData name="Kawtar SADIQ" userId="65df04e4-2d23-4bab-afb0-40df8a2c1b9f" providerId="ADAL" clId="{13E48CF6-3C07-4AA7-848A-1E964CBB0D3A}" dt="2022-11-28T19:33:14.899" v="5378"/>
          <ac:spMkLst>
            <pc:docMk/>
            <pc:sldMk cId="1223174916" sldId="2076138205"/>
            <ac:spMk id="8" creationId="{B39461A0-4C1C-4950-BF13-641FBC7F6EC7}"/>
          </ac:spMkLst>
        </pc:spChg>
        <pc:spChg chg="mod">
          <ac:chgData name="Kawtar SADIQ" userId="65df04e4-2d23-4bab-afb0-40df8a2c1b9f" providerId="ADAL" clId="{13E48CF6-3C07-4AA7-848A-1E964CBB0D3A}" dt="2022-11-28T19:33:14.899" v="5378"/>
          <ac:spMkLst>
            <pc:docMk/>
            <pc:sldMk cId="1223174916" sldId="2076138205"/>
            <ac:spMk id="11" creationId="{F229EEF9-189C-4F4D-8CAF-E0A078FBAF99}"/>
          </ac:spMkLst>
        </pc:spChg>
        <pc:spChg chg="mod">
          <ac:chgData name="Kawtar SADIQ" userId="65df04e4-2d23-4bab-afb0-40df8a2c1b9f" providerId="ADAL" clId="{13E48CF6-3C07-4AA7-848A-1E964CBB0D3A}" dt="2022-11-28T19:33:14.899" v="5378"/>
          <ac:spMkLst>
            <pc:docMk/>
            <pc:sldMk cId="1223174916" sldId="2076138205"/>
            <ac:spMk id="12" creationId="{2D4ADDE2-F845-41DC-8240-1DACBF10398F}"/>
          </ac:spMkLst>
        </pc:spChg>
        <pc:spChg chg="del mod">
          <ac:chgData name="Kawtar SADIQ" userId="65df04e4-2d23-4bab-afb0-40df8a2c1b9f" providerId="ADAL" clId="{13E48CF6-3C07-4AA7-848A-1E964CBB0D3A}" dt="2022-11-28T19:33:47.119" v="5384" actId="478"/>
          <ac:spMkLst>
            <pc:docMk/>
            <pc:sldMk cId="1223174916" sldId="2076138205"/>
            <ac:spMk id="13" creationId="{DE9A0769-3E5D-4CB3-A344-CD3221B45098}"/>
          </ac:spMkLst>
        </pc:spChg>
        <pc:spChg chg="mod">
          <ac:chgData name="Kawtar SADIQ" userId="65df04e4-2d23-4bab-afb0-40df8a2c1b9f" providerId="ADAL" clId="{13E48CF6-3C07-4AA7-848A-1E964CBB0D3A}" dt="2022-11-28T19:33:50.135" v="5385" actId="1076"/>
          <ac:spMkLst>
            <pc:docMk/>
            <pc:sldMk cId="1223174916" sldId="2076138205"/>
            <ac:spMk id="14" creationId="{A345BE6E-CD0C-42B7-ACC1-B3C8E9EA7A5C}"/>
          </ac:spMkLst>
        </pc:spChg>
        <pc:grpChg chg="add mod">
          <ac:chgData name="Kawtar SADIQ" userId="65df04e4-2d23-4bab-afb0-40df8a2c1b9f" providerId="ADAL" clId="{13E48CF6-3C07-4AA7-848A-1E964CBB0D3A}" dt="2022-11-28T19:33:14.899" v="5378"/>
          <ac:grpSpMkLst>
            <pc:docMk/>
            <pc:sldMk cId="1223174916" sldId="2076138205"/>
            <ac:grpSpMk id="4" creationId="{B5BA4D30-D3F1-40A4-9BE1-1247BE286BB6}"/>
          </ac:grpSpMkLst>
        </pc:grpChg>
        <pc:grpChg chg="del mod">
          <ac:chgData name="Kawtar SADIQ" userId="65df04e4-2d23-4bab-afb0-40df8a2c1b9f" providerId="ADAL" clId="{13E48CF6-3C07-4AA7-848A-1E964CBB0D3A}" dt="2022-11-28T19:33:47.119" v="5384" actId="478"/>
          <ac:grpSpMkLst>
            <pc:docMk/>
            <pc:sldMk cId="1223174916" sldId="2076138205"/>
            <ac:grpSpMk id="9" creationId="{D1FBFB00-D192-4E1E-9F61-4ED3EACECF77}"/>
          </ac:grpSpMkLst>
        </pc:grpChg>
        <pc:grpChg chg="mod">
          <ac:chgData name="Kawtar SADIQ" userId="65df04e4-2d23-4bab-afb0-40df8a2c1b9f" providerId="ADAL" clId="{13E48CF6-3C07-4AA7-848A-1E964CBB0D3A}" dt="2022-11-28T19:33:14.899" v="5378"/>
          <ac:grpSpMkLst>
            <pc:docMk/>
            <pc:sldMk cId="1223174916" sldId="2076138205"/>
            <ac:grpSpMk id="10" creationId="{E6DA219A-033A-4079-BD78-2066A1E8281D}"/>
          </ac:grpSpMkLst>
        </pc:grpChg>
      </pc:sldChg>
      <pc:sldChg chg="addSp delSp modSp add del mod">
        <pc:chgData name="Kawtar SADIQ" userId="65df04e4-2d23-4bab-afb0-40df8a2c1b9f" providerId="ADAL" clId="{13E48CF6-3C07-4AA7-848A-1E964CBB0D3A}" dt="2022-12-01T16:42:27.337" v="27948" actId="47"/>
        <pc:sldMkLst>
          <pc:docMk/>
          <pc:sldMk cId="2578762901" sldId="2076138205"/>
        </pc:sldMkLst>
        <pc:spChg chg="mod">
          <ac:chgData name="Kawtar SADIQ" userId="65df04e4-2d23-4bab-afb0-40df8a2c1b9f" providerId="ADAL" clId="{13E48CF6-3C07-4AA7-848A-1E964CBB0D3A}" dt="2022-12-01T11:40:18.499" v="26187"/>
          <ac:spMkLst>
            <pc:docMk/>
            <pc:sldMk cId="2578762901" sldId="2076138205"/>
            <ac:spMk id="3" creationId="{80D52342-C2B0-428C-8805-971DE696581C}"/>
          </ac:spMkLst>
        </pc:spChg>
        <pc:spChg chg="add del mod">
          <ac:chgData name="Kawtar SADIQ" userId="65df04e4-2d23-4bab-afb0-40df8a2c1b9f" providerId="ADAL" clId="{13E48CF6-3C07-4AA7-848A-1E964CBB0D3A}" dt="2022-11-29T11:31:07.623" v="8579" actId="478"/>
          <ac:spMkLst>
            <pc:docMk/>
            <pc:sldMk cId="2578762901" sldId="2076138205"/>
            <ac:spMk id="6" creationId="{FDC30214-4A37-45C5-AB96-3302B0F2AD05}"/>
          </ac:spMkLst>
        </pc:spChg>
        <pc:spChg chg="mod">
          <ac:chgData name="Kawtar SADIQ" userId="65df04e4-2d23-4bab-afb0-40df8a2c1b9f" providerId="ADAL" clId="{13E48CF6-3C07-4AA7-848A-1E964CBB0D3A}" dt="2022-11-30T18:08:22.078" v="22012" actId="12789"/>
          <ac:spMkLst>
            <pc:docMk/>
            <pc:sldMk cId="2578762901" sldId="2076138205"/>
            <ac:spMk id="26" creationId="{90475712-3E1D-F319-9CF4-BA3D029F318B}"/>
          </ac:spMkLst>
        </pc:spChg>
        <pc:spChg chg="add mod">
          <ac:chgData name="Kawtar SADIQ" userId="65df04e4-2d23-4bab-afb0-40df8a2c1b9f" providerId="ADAL" clId="{13E48CF6-3C07-4AA7-848A-1E964CBB0D3A}" dt="2022-11-30T18:08:34.964" v="22014" actId="12789"/>
          <ac:spMkLst>
            <pc:docMk/>
            <pc:sldMk cId="2578762901" sldId="2076138205"/>
            <ac:spMk id="27" creationId="{7FBE3B1B-9487-4C75-9231-32E2F819AB15}"/>
          </ac:spMkLst>
        </pc:spChg>
        <pc:spChg chg="add del mod">
          <ac:chgData name="Kawtar SADIQ" userId="65df04e4-2d23-4bab-afb0-40df8a2c1b9f" providerId="ADAL" clId="{13E48CF6-3C07-4AA7-848A-1E964CBB0D3A}" dt="2022-11-28T21:36:58.014" v="6463" actId="478"/>
          <ac:spMkLst>
            <pc:docMk/>
            <pc:sldMk cId="2578762901" sldId="2076138205"/>
            <ac:spMk id="27" creationId="{D2BA98FE-4CEB-4364-8468-F9292025964C}"/>
          </ac:spMkLst>
        </pc:spChg>
        <pc:spChg chg="mod">
          <ac:chgData name="Kawtar SADIQ" userId="65df04e4-2d23-4bab-afb0-40df8a2c1b9f" providerId="ADAL" clId="{13E48CF6-3C07-4AA7-848A-1E964CBB0D3A}" dt="2022-11-30T08:10:25.222" v="14380" actId="1036"/>
          <ac:spMkLst>
            <pc:docMk/>
            <pc:sldMk cId="2578762901" sldId="2076138205"/>
            <ac:spMk id="28" creationId="{842D7236-100B-1969-F297-731DF62386F5}"/>
          </ac:spMkLst>
        </pc:spChg>
        <pc:spChg chg="add mod">
          <ac:chgData name="Kawtar SADIQ" userId="65df04e4-2d23-4bab-afb0-40df8a2c1b9f" providerId="ADAL" clId="{13E48CF6-3C07-4AA7-848A-1E964CBB0D3A}" dt="2022-11-30T18:08:34.964" v="22014" actId="12789"/>
          <ac:spMkLst>
            <pc:docMk/>
            <pc:sldMk cId="2578762901" sldId="2076138205"/>
            <ac:spMk id="29" creationId="{E77BA804-EE1F-47F4-B314-EAACA66AA1DA}"/>
          </ac:spMkLst>
        </pc:spChg>
        <pc:spChg chg="mod">
          <ac:chgData name="Kawtar SADIQ" userId="65df04e4-2d23-4bab-afb0-40df8a2c1b9f" providerId="ADAL" clId="{13E48CF6-3C07-4AA7-848A-1E964CBB0D3A}" dt="2022-11-29T10:28:42.575" v="7692"/>
          <ac:spMkLst>
            <pc:docMk/>
            <pc:sldMk cId="2578762901" sldId="2076138205"/>
            <ac:spMk id="31" creationId="{38E8126E-7688-468B-9F33-811CB8A4FBE6}"/>
          </ac:spMkLst>
        </pc:spChg>
        <pc:spChg chg="mod">
          <ac:chgData name="Kawtar SADIQ" userId="65df04e4-2d23-4bab-afb0-40df8a2c1b9f" providerId="ADAL" clId="{13E48CF6-3C07-4AA7-848A-1E964CBB0D3A}" dt="2022-11-29T10:28:42.575" v="7692"/>
          <ac:spMkLst>
            <pc:docMk/>
            <pc:sldMk cId="2578762901" sldId="2076138205"/>
            <ac:spMk id="32" creationId="{F1E57BA7-3922-46E5-B974-C60153BF0933}"/>
          </ac:spMkLst>
        </pc:spChg>
        <pc:spChg chg="add del mod">
          <ac:chgData name="Kawtar SADIQ" userId="65df04e4-2d23-4bab-afb0-40df8a2c1b9f" providerId="ADAL" clId="{13E48CF6-3C07-4AA7-848A-1E964CBB0D3A}" dt="2022-11-29T10:51:14.905" v="7961" actId="478"/>
          <ac:spMkLst>
            <pc:docMk/>
            <pc:sldMk cId="2578762901" sldId="2076138205"/>
            <ac:spMk id="33" creationId="{D5F39941-C414-4441-9AEA-04173EB9563D}"/>
          </ac:spMkLst>
        </pc:spChg>
        <pc:spChg chg="add del">
          <ac:chgData name="Kawtar SADIQ" userId="65df04e4-2d23-4bab-afb0-40df8a2c1b9f" providerId="ADAL" clId="{13E48CF6-3C07-4AA7-848A-1E964CBB0D3A}" dt="2022-11-29T11:27:58.713" v="8439" actId="22"/>
          <ac:spMkLst>
            <pc:docMk/>
            <pc:sldMk cId="2578762901" sldId="2076138205"/>
            <ac:spMk id="34" creationId="{893EFAFC-C340-40AD-BD41-2277FB2FC00D}"/>
          </ac:spMkLst>
        </pc:spChg>
        <pc:spChg chg="add del mod">
          <ac:chgData name="Kawtar SADIQ" userId="65df04e4-2d23-4bab-afb0-40df8a2c1b9f" providerId="ADAL" clId="{13E48CF6-3C07-4AA7-848A-1E964CBB0D3A}" dt="2022-11-30T17:37:51.859" v="21599" actId="478"/>
          <ac:spMkLst>
            <pc:docMk/>
            <pc:sldMk cId="2578762901" sldId="2076138205"/>
            <ac:spMk id="35" creationId="{B745FC6C-C31E-4622-9ACA-2A02B2CEDA17}"/>
          </ac:spMkLst>
        </pc:spChg>
        <pc:spChg chg="mod">
          <ac:chgData name="Kawtar SADIQ" userId="65df04e4-2d23-4bab-afb0-40df8a2c1b9f" providerId="ADAL" clId="{13E48CF6-3C07-4AA7-848A-1E964CBB0D3A}" dt="2022-11-30T18:08:06.236" v="22010" actId="12789"/>
          <ac:spMkLst>
            <pc:docMk/>
            <pc:sldMk cId="2578762901" sldId="2076138205"/>
            <ac:spMk id="37" creationId="{E5883ACA-C6D0-4B79-BE11-A1CE96AB9BB2}"/>
          </ac:spMkLst>
        </pc:spChg>
        <pc:spChg chg="mod">
          <ac:chgData name="Kawtar SADIQ" userId="65df04e4-2d23-4bab-afb0-40df8a2c1b9f" providerId="ADAL" clId="{13E48CF6-3C07-4AA7-848A-1E964CBB0D3A}" dt="2022-11-30T18:08:06.236" v="22010" actId="12789"/>
          <ac:spMkLst>
            <pc:docMk/>
            <pc:sldMk cId="2578762901" sldId="2076138205"/>
            <ac:spMk id="38" creationId="{D5CD0879-99CF-DB2C-4EF6-B1FF9F738AC2}"/>
          </ac:spMkLst>
        </pc:spChg>
        <pc:spChg chg="mod">
          <ac:chgData name="Kawtar SADIQ" userId="65df04e4-2d23-4bab-afb0-40df8a2c1b9f" providerId="ADAL" clId="{13E48CF6-3C07-4AA7-848A-1E964CBB0D3A}" dt="2022-11-30T18:08:15.879" v="22011" actId="12789"/>
          <ac:spMkLst>
            <pc:docMk/>
            <pc:sldMk cId="2578762901" sldId="2076138205"/>
            <ac:spMk id="42" creationId="{A333D1DC-5045-5063-8FF6-97776B3C2792}"/>
          </ac:spMkLst>
        </pc:spChg>
        <pc:spChg chg="mod">
          <ac:chgData name="Kawtar SADIQ" userId="65df04e4-2d23-4bab-afb0-40df8a2c1b9f" providerId="ADAL" clId="{13E48CF6-3C07-4AA7-848A-1E964CBB0D3A}" dt="2022-12-01T08:46:17.747" v="25176" actId="20577"/>
          <ac:spMkLst>
            <pc:docMk/>
            <pc:sldMk cId="2578762901" sldId="2076138205"/>
            <ac:spMk id="43" creationId="{61606285-4B87-12CC-98F0-B8792DADEF07}"/>
          </ac:spMkLst>
        </pc:spChg>
        <pc:spChg chg="mod">
          <ac:chgData name="Kawtar SADIQ" userId="65df04e4-2d23-4bab-afb0-40df8a2c1b9f" providerId="ADAL" clId="{13E48CF6-3C07-4AA7-848A-1E964CBB0D3A}" dt="2022-11-30T18:08:29.260" v="22013" actId="12789"/>
          <ac:spMkLst>
            <pc:docMk/>
            <pc:sldMk cId="2578762901" sldId="2076138205"/>
            <ac:spMk id="47" creationId="{30F3F0AF-C9AB-857C-779A-8593F91B3475}"/>
          </ac:spMkLst>
        </pc:spChg>
        <pc:spChg chg="mod">
          <ac:chgData name="Kawtar SADIQ" userId="65df04e4-2d23-4bab-afb0-40df8a2c1b9f" providerId="ADAL" clId="{13E48CF6-3C07-4AA7-848A-1E964CBB0D3A}" dt="2022-11-30T18:08:22.078" v="22012" actId="12789"/>
          <ac:spMkLst>
            <pc:docMk/>
            <pc:sldMk cId="2578762901" sldId="2076138205"/>
            <ac:spMk id="48" creationId="{FC62F2F6-4C9D-01DA-3454-67AEF5519CFB}"/>
          </ac:spMkLst>
        </pc:spChg>
        <pc:spChg chg="mod">
          <ac:chgData name="Kawtar SADIQ" userId="65df04e4-2d23-4bab-afb0-40df8a2c1b9f" providerId="ADAL" clId="{13E48CF6-3C07-4AA7-848A-1E964CBB0D3A}" dt="2022-11-30T18:08:29.260" v="22013" actId="12789"/>
          <ac:spMkLst>
            <pc:docMk/>
            <pc:sldMk cId="2578762901" sldId="2076138205"/>
            <ac:spMk id="49" creationId="{8F7608D2-9D7A-36A3-7CD2-D8666B89F1EE}"/>
          </ac:spMkLst>
        </pc:spChg>
        <pc:grpChg chg="mod">
          <ac:chgData name="Kawtar SADIQ" userId="65df04e4-2d23-4bab-afb0-40df8a2c1b9f" providerId="ADAL" clId="{13E48CF6-3C07-4AA7-848A-1E964CBB0D3A}" dt="2022-11-30T18:08:06.236" v="22010" actId="12789"/>
          <ac:grpSpMkLst>
            <pc:docMk/>
            <pc:sldMk cId="2578762901" sldId="2076138205"/>
            <ac:grpSpMk id="5" creationId="{D7BFCFE9-9355-0534-A85E-4E1D89FB9120}"/>
          </ac:grpSpMkLst>
        </pc:grpChg>
        <pc:grpChg chg="mod">
          <ac:chgData name="Kawtar SADIQ" userId="65df04e4-2d23-4bab-afb0-40df8a2c1b9f" providerId="ADAL" clId="{13E48CF6-3C07-4AA7-848A-1E964CBB0D3A}" dt="2022-11-30T18:08:15.879" v="22011" actId="12789"/>
          <ac:grpSpMkLst>
            <pc:docMk/>
            <pc:sldMk cId="2578762901" sldId="2076138205"/>
            <ac:grpSpMk id="17" creationId="{66D3E555-36A2-FE4C-9BFC-4B0E8B61ADFE}"/>
          </ac:grpSpMkLst>
        </pc:grpChg>
        <pc:grpChg chg="mod">
          <ac:chgData name="Kawtar SADIQ" userId="65df04e4-2d23-4bab-afb0-40df8a2c1b9f" providerId="ADAL" clId="{13E48CF6-3C07-4AA7-848A-1E964CBB0D3A}" dt="2022-11-30T18:08:22.078" v="22012" actId="12789"/>
          <ac:grpSpMkLst>
            <pc:docMk/>
            <pc:sldMk cId="2578762901" sldId="2076138205"/>
            <ac:grpSpMk id="20" creationId="{B3951BB2-90C6-8EB8-44CA-1E38B04A190E}"/>
          </ac:grpSpMkLst>
        </pc:grpChg>
        <pc:grpChg chg="mod">
          <ac:chgData name="Kawtar SADIQ" userId="65df04e4-2d23-4bab-afb0-40df8a2c1b9f" providerId="ADAL" clId="{13E48CF6-3C07-4AA7-848A-1E964CBB0D3A}" dt="2022-11-30T18:08:29.260" v="22013" actId="12789"/>
          <ac:grpSpMkLst>
            <pc:docMk/>
            <pc:sldMk cId="2578762901" sldId="2076138205"/>
            <ac:grpSpMk id="23" creationId="{23F8999E-5E6B-655F-2D2D-4DF1D17C6E84}"/>
          </ac:grpSpMkLst>
        </pc:grpChg>
        <pc:grpChg chg="add mod">
          <ac:chgData name="Kawtar SADIQ" userId="65df04e4-2d23-4bab-afb0-40df8a2c1b9f" providerId="ADAL" clId="{13E48CF6-3C07-4AA7-848A-1E964CBB0D3A}" dt="2022-11-30T18:08:34.964" v="22014" actId="12789"/>
          <ac:grpSpMkLst>
            <pc:docMk/>
            <pc:sldMk cId="2578762901" sldId="2076138205"/>
            <ac:grpSpMk id="30" creationId="{76CDF573-2108-489D-A31C-9017BBCFCC1B}"/>
          </ac:grpSpMkLst>
        </pc:grpChg>
      </pc:sldChg>
      <pc:sldChg chg="addSp delSp modSp add del mod">
        <pc:chgData name="Kawtar SADIQ" userId="65df04e4-2d23-4bab-afb0-40df8a2c1b9f" providerId="ADAL" clId="{13E48CF6-3C07-4AA7-848A-1E964CBB0D3A}" dt="2022-11-28T19:38:02.735" v="5437" actId="47"/>
        <pc:sldMkLst>
          <pc:docMk/>
          <pc:sldMk cId="3251565532" sldId="2076138206"/>
        </pc:sldMkLst>
        <pc:spChg chg="add del">
          <ac:chgData name="Kawtar SADIQ" userId="65df04e4-2d23-4bab-afb0-40df8a2c1b9f" providerId="ADAL" clId="{13E48CF6-3C07-4AA7-848A-1E964CBB0D3A}" dt="2022-11-28T19:34:52.918" v="5395" actId="478"/>
          <ac:spMkLst>
            <pc:docMk/>
            <pc:sldMk cId="3251565532" sldId="2076138206"/>
            <ac:spMk id="18" creationId="{59C85CC0-8072-4FC5-A63C-53061F14896F}"/>
          </ac:spMkLst>
        </pc:spChg>
        <pc:spChg chg="add del">
          <ac:chgData name="Kawtar SADIQ" userId="65df04e4-2d23-4bab-afb0-40df8a2c1b9f" providerId="ADAL" clId="{13E48CF6-3C07-4AA7-848A-1E964CBB0D3A}" dt="2022-11-28T19:34:56.406" v="5396" actId="478"/>
          <ac:spMkLst>
            <pc:docMk/>
            <pc:sldMk cId="3251565532" sldId="2076138206"/>
            <ac:spMk id="19" creationId="{E5D12B18-7E25-4B86-97C3-8FE911A0B4BB}"/>
          </ac:spMkLst>
        </pc:spChg>
        <pc:spChg chg="add del">
          <ac:chgData name="Kawtar SADIQ" userId="65df04e4-2d23-4bab-afb0-40df8a2c1b9f" providerId="ADAL" clId="{13E48CF6-3C07-4AA7-848A-1E964CBB0D3A}" dt="2022-11-28T19:34:56.406" v="5396" actId="478"/>
          <ac:spMkLst>
            <pc:docMk/>
            <pc:sldMk cId="3251565532" sldId="2076138206"/>
            <ac:spMk id="20" creationId="{565DB432-08FF-4A9A-AB8C-670F8EEE2F58}"/>
          </ac:spMkLst>
        </pc:spChg>
        <pc:spChg chg="add del">
          <ac:chgData name="Kawtar SADIQ" userId="65df04e4-2d23-4bab-afb0-40df8a2c1b9f" providerId="ADAL" clId="{13E48CF6-3C07-4AA7-848A-1E964CBB0D3A}" dt="2022-11-28T19:34:56.406" v="5396" actId="478"/>
          <ac:spMkLst>
            <pc:docMk/>
            <pc:sldMk cId="3251565532" sldId="2076138206"/>
            <ac:spMk id="21" creationId="{D9A988A6-DAA7-4D7C-B159-F26391976183}"/>
          </ac:spMkLst>
        </pc:spChg>
        <pc:spChg chg="add del">
          <ac:chgData name="Kawtar SADIQ" userId="65df04e4-2d23-4bab-afb0-40df8a2c1b9f" providerId="ADAL" clId="{13E48CF6-3C07-4AA7-848A-1E964CBB0D3A}" dt="2022-11-28T19:34:52.918" v="5395" actId="478"/>
          <ac:spMkLst>
            <pc:docMk/>
            <pc:sldMk cId="3251565532" sldId="2076138206"/>
            <ac:spMk id="22" creationId="{855FD319-091B-4066-A0A7-835D74D088EB}"/>
          </ac:spMkLst>
        </pc:spChg>
        <pc:spChg chg="add del">
          <ac:chgData name="Kawtar SADIQ" userId="65df04e4-2d23-4bab-afb0-40df8a2c1b9f" providerId="ADAL" clId="{13E48CF6-3C07-4AA7-848A-1E964CBB0D3A}" dt="2022-11-28T19:34:52.918" v="5395" actId="478"/>
          <ac:spMkLst>
            <pc:docMk/>
            <pc:sldMk cId="3251565532" sldId="2076138206"/>
            <ac:spMk id="23" creationId="{CF817CD1-67EC-4FDD-827D-3DC9561FCB49}"/>
          </ac:spMkLst>
        </pc:spChg>
        <pc:spChg chg="add del">
          <ac:chgData name="Kawtar SADIQ" userId="65df04e4-2d23-4bab-afb0-40df8a2c1b9f" providerId="ADAL" clId="{13E48CF6-3C07-4AA7-848A-1E964CBB0D3A}" dt="2022-11-28T19:34:52.918" v="5395" actId="478"/>
          <ac:spMkLst>
            <pc:docMk/>
            <pc:sldMk cId="3251565532" sldId="2076138206"/>
            <ac:spMk id="25" creationId="{4AEFC871-E98C-485E-9163-A731FB3B27F0}"/>
          </ac:spMkLst>
        </pc:spChg>
        <pc:spChg chg="add del">
          <ac:chgData name="Kawtar SADIQ" userId="65df04e4-2d23-4bab-afb0-40df8a2c1b9f" providerId="ADAL" clId="{13E48CF6-3C07-4AA7-848A-1E964CBB0D3A}" dt="2022-11-28T19:34:59.046" v="5398" actId="478"/>
          <ac:spMkLst>
            <pc:docMk/>
            <pc:sldMk cId="3251565532" sldId="2076138206"/>
            <ac:spMk id="28" creationId="{8CF027F3-DAEB-48B6-89E0-A4386F0727AF}"/>
          </ac:spMkLst>
        </pc:spChg>
        <pc:spChg chg="mod">
          <ac:chgData name="Kawtar SADIQ" userId="65df04e4-2d23-4bab-afb0-40df8a2c1b9f" providerId="ADAL" clId="{13E48CF6-3C07-4AA7-848A-1E964CBB0D3A}" dt="2022-11-28T19:37:18.632" v="5417" actId="14100"/>
          <ac:spMkLst>
            <pc:docMk/>
            <pc:sldMk cId="3251565532" sldId="2076138206"/>
            <ac:spMk id="30" creationId="{551A9266-E3DE-4FE5-8EA1-166CE15C1754}"/>
          </ac:spMkLst>
        </pc:spChg>
        <pc:spChg chg="mod">
          <ac:chgData name="Kawtar SADIQ" userId="65df04e4-2d23-4bab-afb0-40df8a2c1b9f" providerId="ADAL" clId="{13E48CF6-3C07-4AA7-848A-1E964CBB0D3A}" dt="2022-11-28T19:35:11.659" v="5399"/>
          <ac:spMkLst>
            <pc:docMk/>
            <pc:sldMk cId="3251565532" sldId="2076138206"/>
            <ac:spMk id="31" creationId="{C854575A-0DC0-437E-86B4-621429A14798}"/>
          </ac:spMkLst>
        </pc:spChg>
        <pc:spChg chg="mod">
          <ac:chgData name="Kawtar SADIQ" userId="65df04e4-2d23-4bab-afb0-40df8a2c1b9f" providerId="ADAL" clId="{13E48CF6-3C07-4AA7-848A-1E964CBB0D3A}" dt="2022-11-28T19:35:11.659" v="5399"/>
          <ac:spMkLst>
            <pc:docMk/>
            <pc:sldMk cId="3251565532" sldId="2076138206"/>
            <ac:spMk id="32" creationId="{63B03046-2322-42C6-9A7B-E7140EEFE861}"/>
          </ac:spMkLst>
        </pc:spChg>
        <pc:spChg chg="mod">
          <ac:chgData name="Kawtar SADIQ" userId="65df04e4-2d23-4bab-afb0-40df8a2c1b9f" providerId="ADAL" clId="{13E48CF6-3C07-4AA7-848A-1E964CBB0D3A}" dt="2022-11-28T19:35:11.659" v="5399"/>
          <ac:spMkLst>
            <pc:docMk/>
            <pc:sldMk cId="3251565532" sldId="2076138206"/>
            <ac:spMk id="33" creationId="{37871F49-E5DD-4A68-8ACF-BEBCFCB7EB63}"/>
          </ac:spMkLst>
        </pc:spChg>
        <pc:spChg chg="mod">
          <ac:chgData name="Kawtar SADIQ" userId="65df04e4-2d23-4bab-afb0-40df8a2c1b9f" providerId="ADAL" clId="{13E48CF6-3C07-4AA7-848A-1E964CBB0D3A}" dt="2022-11-28T19:35:39.016" v="5405" actId="1076"/>
          <ac:spMkLst>
            <pc:docMk/>
            <pc:sldMk cId="3251565532" sldId="2076138206"/>
            <ac:spMk id="34" creationId="{935A1730-3F19-4BBC-AF56-345023520A97}"/>
          </ac:spMkLst>
        </pc:spChg>
        <pc:spChg chg="mod">
          <ac:chgData name="Kawtar SADIQ" userId="65df04e4-2d23-4bab-afb0-40df8a2c1b9f" providerId="ADAL" clId="{13E48CF6-3C07-4AA7-848A-1E964CBB0D3A}" dt="2022-11-28T19:35:11.659" v="5399"/>
          <ac:spMkLst>
            <pc:docMk/>
            <pc:sldMk cId="3251565532" sldId="2076138206"/>
            <ac:spMk id="36" creationId="{AA18E591-5DF2-45D7-A903-CF961927BBF5}"/>
          </ac:spMkLst>
        </pc:spChg>
        <pc:spChg chg="mod">
          <ac:chgData name="Kawtar SADIQ" userId="65df04e4-2d23-4bab-afb0-40df8a2c1b9f" providerId="ADAL" clId="{13E48CF6-3C07-4AA7-848A-1E964CBB0D3A}" dt="2022-11-28T19:35:11.659" v="5399"/>
          <ac:spMkLst>
            <pc:docMk/>
            <pc:sldMk cId="3251565532" sldId="2076138206"/>
            <ac:spMk id="37" creationId="{610DE5DD-C9BA-4A0D-94ED-B09CFD9FBB01}"/>
          </ac:spMkLst>
        </pc:spChg>
        <pc:spChg chg="add mod">
          <ac:chgData name="Kawtar SADIQ" userId="65df04e4-2d23-4bab-afb0-40df8a2c1b9f" providerId="ADAL" clId="{13E48CF6-3C07-4AA7-848A-1E964CBB0D3A}" dt="2022-11-28T19:37:43.734" v="5436" actId="14100"/>
          <ac:spMkLst>
            <pc:docMk/>
            <pc:sldMk cId="3251565532" sldId="2076138206"/>
            <ac:spMk id="38" creationId="{A5DC40C8-9836-4180-AB3D-7C906BBE0F6F}"/>
          </ac:spMkLst>
        </pc:spChg>
        <pc:spChg chg="add mod">
          <ac:chgData name="Kawtar SADIQ" userId="65df04e4-2d23-4bab-afb0-40df8a2c1b9f" providerId="ADAL" clId="{13E48CF6-3C07-4AA7-848A-1E964CBB0D3A}" dt="2022-11-28T19:37:33.577" v="5433" actId="14100"/>
          <ac:spMkLst>
            <pc:docMk/>
            <pc:sldMk cId="3251565532" sldId="2076138206"/>
            <ac:spMk id="39" creationId="{0A23D916-EEB9-4EF4-B8B7-2B6EF2FCD73D}"/>
          </ac:spMkLst>
        </pc:spChg>
        <pc:grpChg chg="add mod">
          <ac:chgData name="Kawtar SADIQ" userId="65df04e4-2d23-4bab-afb0-40df8a2c1b9f" providerId="ADAL" clId="{13E48CF6-3C07-4AA7-848A-1E964CBB0D3A}" dt="2022-11-28T19:35:16.798" v="5400" actId="14100"/>
          <ac:grpSpMkLst>
            <pc:docMk/>
            <pc:sldMk cId="3251565532" sldId="2076138206"/>
            <ac:grpSpMk id="29" creationId="{8602A87E-F5C4-434B-8FCC-F4EBEB80B1C2}"/>
          </ac:grpSpMkLst>
        </pc:grpChg>
        <pc:grpChg chg="mod">
          <ac:chgData name="Kawtar SADIQ" userId="65df04e4-2d23-4bab-afb0-40df8a2c1b9f" providerId="ADAL" clId="{13E48CF6-3C07-4AA7-848A-1E964CBB0D3A}" dt="2022-11-28T19:35:11.659" v="5399"/>
          <ac:grpSpMkLst>
            <pc:docMk/>
            <pc:sldMk cId="3251565532" sldId="2076138206"/>
            <ac:grpSpMk id="35" creationId="{7FEA964A-DA81-419F-AEC2-45B3463333D9}"/>
          </ac:grpSpMkLst>
        </pc:grpChg>
        <pc:cxnChg chg="add del">
          <ac:chgData name="Kawtar SADIQ" userId="65df04e4-2d23-4bab-afb0-40df8a2c1b9f" providerId="ADAL" clId="{13E48CF6-3C07-4AA7-848A-1E964CBB0D3A}" dt="2022-11-28T19:34:49.194" v="5394" actId="478"/>
          <ac:cxnSpMkLst>
            <pc:docMk/>
            <pc:sldMk cId="3251565532" sldId="2076138206"/>
            <ac:cxnSpMk id="12" creationId="{5FBBD91D-8660-43E8-AAAC-8ECF816A7DB7}"/>
          </ac:cxnSpMkLst>
        </pc:cxnChg>
      </pc:sldChg>
      <pc:sldChg chg="addSp delSp modSp del mod">
        <pc:chgData name="Kawtar SADIQ" userId="65df04e4-2d23-4bab-afb0-40df8a2c1b9f" providerId="ADAL" clId="{13E48CF6-3C07-4AA7-848A-1E964CBB0D3A}" dt="2022-11-30T15:41:19.318" v="20962" actId="47"/>
        <pc:sldMkLst>
          <pc:docMk/>
          <pc:sldMk cId="4022477905" sldId="2076138206"/>
        </pc:sldMkLst>
        <pc:spChg chg="del mod">
          <ac:chgData name="Kawtar SADIQ" userId="65df04e4-2d23-4bab-afb0-40df8a2c1b9f" providerId="ADAL" clId="{13E48CF6-3C07-4AA7-848A-1E964CBB0D3A}" dt="2022-11-29T11:27:27.229" v="8433" actId="478"/>
          <ac:spMkLst>
            <pc:docMk/>
            <pc:sldMk cId="4022477905" sldId="2076138206"/>
            <ac:spMk id="10" creationId="{0C28ED4A-BA17-0BE5-06B9-970BC609DB0C}"/>
          </ac:spMkLst>
        </pc:spChg>
        <pc:spChg chg="add mod">
          <ac:chgData name="Kawtar SADIQ" userId="65df04e4-2d23-4bab-afb0-40df8a2c1b9f" providerId="ADAL" clId="{13E48CF6-3C07-4AA7-848A-1E964CBB0D3A}" dt="2022-11-30T09:33:33.144" v="16017" actId="20577"/>
          <ac:spMkLst>
            <pc:docMk/>
            <pc:sldMk cId="4022477905" sldId="2076138206"/>
            <ac:spMk id="47" creationId="{6D92E34A-349E-4A03-9A5A-DEE6724A31E7}"/>
          </ac:spMkLst>
        </pc:spChg>
        <pc:graphicFrameChg chg="mod modGraphic">
          <ac:chgData name="Kawtar SADIQ" userId="65df04e4-2d23-4bab-afb0-40df8a2c1b9f" providerId="ADAL" clId="{13E48CF6-3C07-4AA7-848A-1E964CBB0D3A}" dt="2022-11-29T11:26:59.481" v="8432" actId="1076"/>
          <ac:graphicFrameMkLst>
            <pc:docMk/>
            <pc:sldMk cId="4022477905" sldId="2076138206"/>
            <ac:graphicFrameMk id="89" creationId="{A19A5F1F-D334-4677-BCCB-AA68FF81AC6E}"/>
          </ac:graphicFrameMkLst>
        </pc:graphicFrameChg>
        <pc:picChg chg="del mod">
          <ac:chgData name="Kawtar SADIQ" userId="65df04e4-2d23-4bab-afb0-40df8a2c1b9f" providerId="ADAL" clId="{13E48CF6-3C07-4AA7-848A-1E964CBB0D3A}" dt="2022-11-29T09:51:14.844" v="7542" actId="478"/>
          <ac:picMkLst>
            <pc:docMk/>
            <pc:sldMk cId="4022477905" sldId="2076138206"/>
            <ac:picMk id="14" creationId="{AEB85525-D886-2A7B-B486-29795F9E9F15}"/>
          </ac:picMkLst>
        </pc:picChg>
      </pc:sldChg>
      <pc:sldChg chg="addSp delSp modSp add del mod modNotesTx">
        <pc:chgData name="Kawtar SADIQ" userId="65df04e4-2d23-4bab-afb0-40df8a2c1b9f" providerId="ADAL" clId="{13E48CF6-3C07-4AA7-848A-1E964CBB0D3A}" dt="2022-12-01T16:45:55.733" v="27989" actId="47"/>
        <pc:sldMkLst>
          <pc:docMk/>
          <pc:sldMk cId="378349315" sldId="2076138207"/>
        </pc:sldMkLst>
        <pc:spChg chg="add del mod">
          <ac:chgData name="Kawtar SADIQ" userId="65df04e4-2d23-4bab-afb0-40df8a2c1b9f" providerId="ADAL" clId="{13E48CF6-3C07-4AA7-848A-1E964CBB0D3A}" dt="2022-12-01T12:01:44.875" v="26756" actId="478"/>
          <ac:spMkLst>
            <pc:docMk/>
            <pc:sldMk cId="378349315" sldId="2076138207"/>
            <ac:spMk id="2" creationId="{49BCE6F9-8168-49A2-B784-28EA5792F325}"/>
          </ac:spMkLst>
        </pc:spChg>
        <pc:spChg chg="add del mod">
          <ac:chgData name="Kawtar SADIQ" userId="65df04e4-2d23-4bab-afb0-40df8a2c1b9f" providerId="ADAL" clId="{13E48CF6-3C07-4AA7-848A-1E964CBB0D3A}" dt="2022-11-29T19:33:48.042" v="11836" actId="478"/>
          <ac:spMkLst>
            <pc:docMk/>
            <pc:sldMk cId="378349315" sldId="2076138207"/>
            <ac:spMk id="2" creationId="{84E12A12-6BD8-4364-B052-A2487BBC004C}"/>
          </ac:spMkLst>
        </pc:spChg>
        <pc:spChg chg="mod">
          <ac:chgData name="Kawtar SADIQ" userId="65df04e4-2d23-4bab-afb0-40df8a2c1b9f" providerId="ADAL" clId="{13E48CF6-3C07-4AA7-848A-1E964CBB0D3A}" dt="2022-11-29T20:48:25.101" v="13336" actId="20577"/>
          <ac:spMkLst>
            <pc:docMk/>
            <pc:sldMk cId="378349315" sldId="2076138207"/>
            <ac:spMk id="3" creationId="{1FB83B6C-507C-4A1E-95E1-F9E58ED5A359}"/>
          </ac:spMkLst>
        </pc:spChg>
        <pc:spChg chg="mod">
          <ac:chgData name="Kawtar SADIQ" userId="65df04e4-2d23-4bab-afb0-40df8a2c1b9f" providerId="ADAL" clId="{13E48CF6-3C07-4AA7-848A-1E964CBB0D3A}" dt="2022-12-01T11:48:22.286" v="26436" actId="1036"/>
          <ac:spMkLst>
            <pc:docMk/>
            <pc:sldMk cId="378349315" sldId="2076138207"/>
            <ac:spMk id="4" creationId="{5555C75D-3DA2-4CE2-BFCE-E4F4640F3BDC}"/>
          </ac:spMkLst>
        </pc:spChg>
        <pc:spChg chg="add del mod">
          <ac:chgData name="Kawtar SADIQ" userId="65df04e4-2d23-4bab-afb0-40df8a2c1b9f" providerId="ADAL" clId="{13E48CF6-3C07-4AA7-848A-1E964CBB0D3A}" dt="2022-12-01T12:22:09.206" v="27221" actId="478"/>
          <ac:spMkLst>
            <pc:docMk/>
            <pc:sldMk cId="378349315" sldId="2076138207"/>
            <ac:spMk id="5" creationId="{9089816D-3CE1-4EDA-9314-5B5074B421CB}"/>
          </ac:spMkLst>
        </pc:spChg>
        <pc:spChg chg="add del mod topLvl">
          <ac:chgData name="Kawtar SADIQ" userId="65df04e4-2d23-4bab-afb0-40df8a2c1b9f" providerId="ADAL" clId="{13E48CF6-3C07-4AA7-848A-1E964CBB0D3A}" dt="2022-11-29T19:51:16.064" v="12118" actId="478"/>
          <ac:spMkLst>
            <pc:docMk/>
            <pc:sldMk cId="378349315" sldId="2076138207"/>
            <ac:spMk id="5" creationId="{DF7440D5-1070-4238-8AEA-B9114FC6612C}"/>
          </ac:spMkLst>
        </pc:spChg>
        <pc:spChg chg="add del">
          <ac:chgData name="Kawtar SADIQ" userId="65df04e4-2d23-4bab-afb0-40df8a2c1b9f" providerId="ADAL" clId="{13E48CF6-3C07-4AA7-848A-1E964CBB0D3A}" dt="2022-12-01T12:02:22.662" v="26762" actId="478"/>
          <ac:spMkLst>
            <pc:docMk/>
            <pc:sldMk cId="378349315" sldId="2076138207"/>
            <ac:spMk id="7" creationId="{7A0A95CD-3BC6-4A6E-9603-730314A66E71}"/>
          </ac:spMkLst>
        </pc:spChg>
        <pc:spChg chg="add del mod">
          <ac:chgData name="Kawtar SADIQ" userId="65df04e4-2d23-4bab-afb0-40df8a2c1b9f" providerId="ADAL" clId="{13E48CF6-3C07-4AA7-848A-1E964CBB0D3A}" dt="2022-11-29T20:46:15.931" v="13259" actId="1035"/>
          <ac:spMkLst>
            <pc:docMk/>
            <pc:sldMk cId="378349315" sldId="2076138207"/>
            <ac:spMk id="8" creationId="{AB25A1BB-6348-4243-A4D3-94048DACAAC0}"/>
          </ac:spMkLst>
        </pc:spChg>
        <pc:spChg chg="mod">
          <ac:chgData name="Kawtar SADIQ" userId="65df04e4-2d23-4bab-afb0-40df8a2c1b9f" providerId="ADAL" clId="{13E48CF6-3C07-4AA7-848A-1E964CBB0D3A}" dt="2022-11-29T20:46:42.081" v="13293" actId="113"/>
          <ac:spMkLst>
            <pc:docMk/>
            <pc:sldMk cId="378349315" sldId="2076138207"/>
            <ac:spMk id="9" creationId="{FB446A79-F866-4450-B534-79CEFF3B17E3}"/>
          </ac:spMkLst>
        </pc:spChg>
        <pc:spChg chg="del">
          <ac:chgData name="Kawtar SADIQ" userId="65df04e4-2d23-4bab-afb0-40df8a2c1b9f" providerId="ADAL" clId="{13E48CF6-3C07-4AA7-848A-1E964CBB0D3A}" dt="2022-11-29T18:08:45.290" v="9926" actId="478"/>
          <ac:spMkLst>
            <pc:docMk/>
            <pc:sldMk cId="378349315" sldId="2076138207"/>
            <ac:spMk id="10" creationId="{9E850C30-47EF-4C5B-A186-B3849AEAD669}"/>
          </ac:spMkLst>
        </pc:spChg>
        <pc:spChg chg="del mod">
          <ac:chgData name="Kawtar SADIQ" userId="65df04e4-2d23-4bab-afb0-40df8a2c1b9f" providerId="ADAL" clId="{13E48CF6-3C07-4AA7-848A-1E964CBB0D3A}" dt="2022-11-29T19:24:05.660" v="11643" actId="478"/>
          <ac:spMkLst>
            <pc:docMk/>
            <pc:sldMk cId="378349315" sldId="2076138207"/>
            <ac:spMk id="11" creationId="{793711D2-E2AC-4584-B3DE-C8327BF005D0}"/>
          </ac:spMkLst>
        </pc:spChg>
        <pc:spChg chg="add del mod">
          <ac:chgData name="Kawtar SADIQ" userId="65df04e4-2d23-4bab-afb0-40df8a2c1b9f" providerId="ADAL" clId="{13E48CF6-3C07-4AA7-848A-1E964CBB0D3A}" dt="2022-12-01T12:04:16.409" v="26821" actId="478"/>
          <ac:spMkLst>
            <pc:docMk/>
            <pc:sldMk cId="378349315" sldId="2076138207"/>
            <ac:spMk id="12" creationId="{61697279-D7A1-4FFB-B318-F2D17AC1969C}"/>
          </ac:spMkLst>
        </pc:spChg>
        <pc:spChg chg="add del">
          <ac:chgData name="Kawtar SADIQ" userId="65df04e4-2d23-4bab-afb0-40df8a2c1b9f" providerId="ADAL" clId="{13E48CF6-3C07-4AA7-848A-1E964CBB0D3A}" dt="2022-12-01T12:05:30.445" v="26823" actId="478"/>
          <ac:spMkLst>
            <pc:docMk/>
            <pc:sldMk cId="378349315" sldId="2076138207"/>
            <ac:spMk id="13" creationId="{0ED9C1E4-1774-46F4-A33B-CF518D303C8B}"/>
          </ac:spMkLst>
        </pc:spChg>
        <pc:spChg chg="del">
          <ac:chgData name="Kawtar SADIQ" userId="65df04e4-2d23-4bab-afb0-40df8a2c1b9f" providerId="ADAL" clId="{13E48CF6-3C07-4AA7-848A-1E964CBB0D3A}" dt="2022-11-29T18:10:47.208" v="10153" actId="478"/>
          <ac:spMkLst>
            <pc:docMk/>
            <pc:sldMk cId="378349315" sldId="2076138207"/>
            <ac:spMk id="13" creationId="{20298101-E2CC-4C71-ADAC-80DE24F521C2}"/>
          </ac:spMkLst>
        </pc:spChg>
        <pc:spChg chg="del mod">
          <ac:chgData name="Kawtar SADIQ" userId="65df04e4-2d23-4bab-afb0-40df8a2c1b9f" providerId="ADAL" clId="{13E48CF6-3C07-4AA7-848A-1E964CBB0D3A}" dt="2022-11-29T20:39:01.068" v="13070" actId="478"/>
          <ac:spMkLst>
            <pc:docMk/>
            <pc:sldMk cId="378349315" sldId="2076138207"/>
            <ac:spMk id="14" creationId="{5A9B7649-8F9C-46A3-89CD-445D8272C420}"/>
          </ac:spMkLst>
        </pc:spChg>
        <pc:spChg chg="mod">
          <ac:chgData name="Kawtar SADIQ" userId="65df04e4-2d23-4bab-afb0-40df8a2c1b9f" providerId="ADAL" clId="{13E48CF6-3C07-4AA7-848A-1E964CBB0D3A}" dt="2022-11-29T20:46:22.201" v="13275" actId="113"/>
          <ac:spMkLst>
            <pc:docMk/>
            <pc:sldMk cId="378349315" sldId="2076138207"/>
            <ac:spMk id="15" creationId="{3CCD787C-8BA1-43E9-9793-F25EAC05A68B}"/>
          </ac:spMkLst>
        </pc:spChg>
        <pc:spChg chg="del">
          <ac:chgData name="Kawtar SADIQ" userId="65df04e4-2d23-4bab-afb0-40df8a2c1b9f" providerId="ADAL" clId="{13E48CF6-3C07-4AA7-848A-1E964CBB0D3A}" dt="2022-11-29T18:10:47.208" v="10153" actId="478"/>
          <ac:spMkLst>
            <pc:docMk/>
            <pc:sldMk cId="378349315" sldId="2076138207"/>
            <ac:spMk id="16" creationId="{3B475548-B6E5-4B8E-A088-726BCE80ED93}"/>
          </ac:spMkLst>
        </pc:spChg>
        <pc:spChg chg="del">
          <ac:chgData name="Kawtar SADIQ" userId="65df04e4-2d23-4bab-afb0-40df8a2c1b9f" providerId="ADAL" clId="{13E48CF6-3C07-4AA7-848A-1E964CBB0D3A}" dt="2022-11-29T18:08:16.910" v="9858" actId="478"/>
          <ac:spMkLst>
            <pc:docMk/>
            <pc:sldMk cId="378349315" sldId="2076138207"/>
            <ac:spMk id="19" creationId="{B630D209-191A-45CE-9A30-8EC8778AE7B6}"/>
          </ac:spMkLst>
        </pc:spChg>
        <pc:spChg chg="del">
          <ac:chgData name="Kawtar SADIQ" userId="65df04e4-2d23-4bab-afb0-40df8a2c1b9f" providerId="ADAL" clId="{13E48CF6-3C07-4AA7-848A-1E964CBB0D3A}" dt="2022-11-29T18:08:16.910" v="9858" actId="478"/>
          <ac:spMkLst>
            <pc:docMk/>
            <pc:sldMk cId="378349315" sldId="2076138207"/>
            <ac:spMk id="20" creationId="{1DF1EEEA-3DFD-47F9-80BB-4EF9A6DA42EA}"/>
          </ac:spMkLst>
        </pc:spChg>
        <pc:spChg chg="del">
          <ac:chgData name="Kawtar SADIQ" userId="65df04e4-2d23-4bab-afb0-40df8a2c1b9f" providerId="ADAL" clId="{13E48CF6-3C07-4AA7-848A-1E964CBB0D3A}" dt="2022-11-29T18:08:16.910" v="9858" actId="478"/>
          <ac:spMkLst>
            <pc:docMk/>
            <pc:sldMk cId="378349315" sldId="2076138207"/>
            <ac:spMk id="21" creationId="{5E4A6FA4-CEE9-4109-A2EE-4CBE3EB3B139}"/>
          </ac:spMkLst>
        </pc:spChg>
        <pc:spChg chg="del">
          <ac:chgData name="Kawtar SADIQ" userId="65df04e4-2d23-4bab-afb0-40df8a2c1b9f" providerId="ADAL" clId="{13E48CF6-3C07-4AA7-848A-1E964CBB0D3A}" dt="2022-11-29T18:08:16.910" v="9858" actId="478"/>
          <ac:spMkLst>
            <pc:docMk/>
            <pc:sldMk cId="378349315" sldId="2076138207"/>
            <ac:spMk id="22" creationId="{1D6C872E-5C4E-4EF2-9CC0-AEF623BD1F82}"/>
          </ac:spMkLst>
        </pc:spChg>
        <pc:spChg chg="del">
          <ac:chgData name="Kawtar SADIQ" userId="65df04e4-2d23-4bab-afb0-40df8a2c1b9f" providerId="ADAL" clId="{13E48CF6-3C07-4AA7-848A-1E964CBB0D3A}" dt="2022-11-29T18:08:16.910" v="9858" actId="478"/>
          <ac:spMkLst>
            <pc:docMk/>
            <pc:sldMk cId="378349315" sldId="2076138207"/>
            <ac:spMk id="23" creationId="{49E987E8-447F-4BFD-A398-1E9D36D7BBEB}"/>
          </ac:spMkLst>
        </pc:spChg>
        <pc:spChg chg="del">
          <ac:chgData name="Kawtar SADIQ" userId="65df04e4-2d23-4bab-afb0-40df8a2c1b9f" providerId="ADAL" clId="{13E48CF6-3C07-4AA7-848A-1E964CBB0D3A}" dt="2022-11-29T18:08:16.910" v="9858" actId="478"/>
          <ac:spMkLst>
            <pc:docMk/>
            <pc:sldMk cId="378349315" sldId="2076138207"/>
            <ac:spMk id="24" creationId="{B7F81A43-DB51-408D-AABE-6434BB424E5B}"/>
          </ac:spMkLst>
        </pc:spChg>
        <pc:spChg chg="del">
          <ac:chgData name="Kawtar SADIQ" userId="65df04e4-2d23-4bab-afb0-40df8a2c1b9f" providerId="ADAL" clId="{13E48CF6-3C07-4AA7-848A-1E964CBB0D3A}" dt="2022-11-29T18:08:16.910" v="9858" actId="478"/>
          <ac:spMkLst>
            <pc:docMk/>
            <pc:sldMk cId="378349315" sldId="2076138207"/>
            <ac:spMk id="25" creationId="{E4245265-1E07-43CA-B34C-62ED499ADFBD}"/>
          </ac:spMkLst>
        </pc:spChg>
        <pc:spChg chg="del">
          <ac:chgData name="Kawtar SADIQ" userId="65df04e4-2d23-4bab-afb0-40df8a2c1b9f" providerId="ADAL" clId="{13E48CF6-3C07-4AA7-848A-1E964CBB0D3A}" dt="2022-11-29T18:08:16.910" v="9858" actId="478"/>
          <ac:spMkLst>
            <pc:docMk/>
            <pc:sldMk cId="378349315" sldId="2076138207"/>
            <ac:spMk id="26" creationId="{567E56CD-2507-43F7-8567-247179D1741E}"/>
          </ac:spMkLst>
        </pc:spChg>
        <pc:spChg chg="del">
          <ac:chgData name="Kawtar SADIQ" userId="65df04e4-2d23-4bab-afb0-40df8a2c1b9f" providerId="ADAL" clId="{13E48CF6-3C07-4AA7-848A-1E964CBB0D3A}" dt="2022-11-29T18:08:16.910" v="9858" actId="478"/>
          <ac:spMkLst>
            <pc:docMk/>
            <pc:sldMk cId="378349315" sldId="2076138207"/>
            <ac:spMk id="27" creationId="{6BCDE89F-3552-4AF1-A808-C8FFAC1039F4}"/>
          </ac:spMkLst>
        </pc:spChg>
        <pc:spChg chg="add del mod">
          <ac:chgData name="Kawtar SADIQ" userId="65df04e4-2d23-4bab-afb0-40df8a2c1b9f" providerId="ADAL" clId="{13E48CF6-3C07-4AA7-848A-1E964CBB0D3A}" dt="2022-11-29T20:27:03.195" v="12877" actId="478"/>
          <ac:spMkLst>
            <pc:docMk/>
            <pc:sldMk cId="378349315" sldId="2076138207"/>
            <ac:spMk id="30" creationId="{C1D8A24D-B958-42A8-8DF2-BD39E7D52925}"/>
          </ac:spMkLst>
        </pc:spChg>
        <pc:spChg chg="del mod">
          <ac:chgData name="Kawtar SADIQ" userId="65df04e4-2d23-4bab-afb0-40df8a2c1b9f" providerId="ADAL" clId="{13E48CF6-3C07-4AA7-848A-1E964CBB0D3A}" dt="2022-11-30T09:05:28.448" v="15496" actId="478"/>
          <ac:spMkLst>
            <pc:docMk/>
            <pc:sldMk cId="378349315" sldId="2076138207"/>
            <ac:spMk id="31" creationId="{27FCE564-B589-425D-A69F-65110CEB2F05}"/>
          </ac:spMkLst>
        </pc:spChg>
        <pc:spChg chg="add mod">
          <ac:chgData name="Kawtar SADIQ" userId="65df04e4-2d23-4bab-afb0-40df8a2c1b9f" providerId="ADAL" clId="{13E48CF6-3C07-4AA7-848A-1E964CBB0D3A}" dt="2022-12-01T09:36:32.755" v="25253" actId="1035"/>
          <ac:spMkLst>
            <pc:docMk/>
            <pc:sldMk cId="378349315" sldId="2076138207"/>
            <ac:spMk id="32" creationId="{21D23979-5B54-4095-AF42-C33F537FDDBC}"/>
          </ac:spMkLst>
        </pc:spChg>
        <pc:spChg chg="mod">
          <ac:chgData name="Kawtar SADIQ" userId="65df04e4-2d23-4bab-afb0-40df8a2c1b9f" providerId="ADAL" clId="{13E48CF6-3C07-4AA7-848A-1E964CBB0D3A}" dt="2022-12-01T09:36:32.755" v="25253" actId="1035"/>
          <ac:spMkLst>
            <pc:docMk/>
            <pc:sldMk cId="378349315" sldId="2076138207"/>
            <ac:spMk id="33" creationId="{4103B084-6B3A-454C-97B7-613B2648F2AC}"/>
          </ac:spMkLst>
        </pc:spChg>
        <pc:spChg chg="mod">
          <ac:chgData name="Kawtar SADIQ" userId="65df04e4-2d23-4bab-afb0-40df8a2c1b9f" providerId="ADAL" clId="{13E48CF6-3C07-4AA7-848A-1E964CBB0D3A}" dt="2022-12-01T09:36:32.755" v="25253" actId="1035"/>
          <ac:spMkLst>
            <pc:docMk/>
            <pc:sldMk cId="378349315" sldId="2076138207"/>
            <ac:spMk id="34" creationId="{D073A106-F27C-4F51-8B2C-E1DAF0A2C9A3}"/>
          </ac:spMkLst>
        </pc:spChg>
        <pc:spChg chg="del mod">
          <ac:chgData name="Kawtar SADIQ" userId="65df04e4-2d23-4bab-afb0-40df8a2c1b9f" providerId="ADAL" clId="{13E48CF6-3C07-4AA7-848A-1E964CBB0D3A}" dt="2022-11-29T19:12:44.931" v="11340" actId="478"/>
          <ac:spMkLst>
            <pc:docMk/>
            <pc:sldMk cId="378349315" sldId="2076138207"/>
            <ac:spMk id="35" creationId="{BF363B79-4181-4A33-8AA6-C6FEB9CBA8B6}"/>
          </ac:spMkLst>
        </pc:spChg>
        <pc:spChg chg="mod">
          <ac:chgData name="Kawtar SADIQ" userId="65df04e4-2d23-4bab-afb0-40df8a2c1b9f" providerId="ADAL" clId="{13E48CF6-3C07-4AA7-848A-1E964CBB0D3A}" dt="2022-12-01T09:36:32.755" v="25253" actId="1035"/>
          <ac:spMkLst>
            <pc:docMk/>
            <pc:sldMk cId="378349315" sldId="2076138207"/>
            <ac:spMk id="36" creationId="{29662C7B-9A05-4A38-9B3F-311DC73967CD}"/>
          </ac:spMkLst>
        </pc:spChg>
        <pc:spChg chg="add mod">
          <ac:chgData name="Kawtar SADIQ" userId="65df04e4-2d23-4bab-afb0-40df8a2c1b9f" providerId="ADAL" clId="{13E48CF6-3C07-4AA7-848A-1E964CBB0D3A}" dt="2022-12-01T09:36:32.755" v="25253" actId="1035"/>
          <ac:spMkLst>
            <pc:docMk/>
            <pc:sldMk cId="378349315" sldId="2076138207"/>
            <ac:spMk id="37" creationId="{B946973D-650F-4D27-A8D5-EFE971307BFF}"/>
          </ac:spMkLst>
        </pc:spChg>
        <pc:spChg chg="add mod">
          <ac:chgData name="Kawtar SADIQ" userId="65df04e4-2d23-4bab-afb0-40df8a2c1b9f" providerId="ADAL" clId="{13E48CF6-3C07-4AA7-848A-1E964CBB0D3A}" dt="2022-12-01T09:36:32.755" v="25253" actId="1035"/>
          <ac:spMkLst>
            <pc:docMk/>
            <pc:sldMk cId="378349315" sldId="2076138207"/>
            <ac:spMk id="38" creationId="{85D04B7A-CF34-4927-B457-8CE1FFAB3CC5}"/>
          </ac:spMkLst>
        </pc:spChg>
        <pc:spChg chg="add mod">
          <ac:chgData name="Kawtar SADIQ" userId="65df04e4-2d23-4bab-afb0-40df8a2c1b9f" providerId="ADAL" clId="{13E48CF6-3C07-4AA7-848A-1E964CBB0D3A}" dt="2022-12-01T09:36:32.755" v="25253" actId="1035"/>
          <ac:spMkLst>
            <pc:docMk/>
            <pc:sldMk cId="378349315" sldId="2076138207"/>
            <ac:spMk id="39" creationId="{F974DB85-EB2F-4F22-A74A-F0B0BBD9A81A}"/>
          </ac:spMkLst>
        </pc:spChg>
        <pc:spChg chg="add del mod">
          <ac:chgData name="Kawtar SADIQ" userId="65df04e4-2d23-4bab-afb0-40df8a2c1b9f" providerId="ADAL" clId="{13E48CF6-3C07-4AA7-848A-1E964CBB0D3A}" dt="2022-11-29T19:01:17.824" v="11099" actId="478"/>
          <ac:spMkLst>
            <pc:docMk/>
            <pc:sldMk cId="378349315" sldId="2076138207"/>
            <ac:spMk id="40" creationId="{BCF46E96-DB69-4DA6-AAEE-2B2A17783295}"/>
          </ac:spMkLst>
        </pc:spChg>
        <pc:spChg chg="add mod">
          <ac:chgData name="Kawtar SADIQ" userId="65df04e4-2d23-4bab-afb0-40df8a2c1b9f" providerId="ADAL" clId="{13E48CF6-3C07-4AA7-848A-1E964CBB0D3A}" dt="2022-12-01T09:36:32.755" v="25253" actId="1035"/>
          <ac:spMkLst>
            <pc:docMk/>
            <pc:sldMk cId="378349315" sldId="2076138207"/>
            <ac:spMk id="41" creationId="{CCADED81-E2DA-4F9A-A6ED-8244299519CA}"/>
          </ac:spMkLst>
        </pc:spChg>
        <pc:spChg chg="add mod">
          <ac:chgData name="Kawtar SADIQ" userId="65df04e4-2d23-4bab-afb0-40df8a2c1b9f" providerId="ADAL" clId="{13E48CF6-3C07-4AA7-848A-1E964CBB0D3A}" dt="2022-12-01T09:36:32.755" v="25253" actId="1035"/>
          <ac:spMkLst>
            <pc:docMk/>
            <pc:sldMk cId="378349315" sldId="2076138207"/>
            <ac:spMk id="42" creationId="{C4321217-6060-477F-8B8A-3CAA52B100C6}"/>
          </ac:spMkLst>
        </pc:spChg>
        <pc:spChg chg="add mod">
          <ac:chgData name="Kawtar SADIQ" userId="65df04e4-2d23-4bab-afb0-40df8a2c1b9f" providerId="ADAL" clId="{13E48CF6-3C07-4AA7-848A-1E964CBB0D3A}" dt="2022-12-01T09:36:32.755" v="25253" actId="1035"/>
          <ac:spMkLst>
            <pc:docMk/>
            <pc:sldMk cId="378349315" sldId="2076138207"/>
            <ac:spMk id="43" creationId="{FFD3B7C1-9EEA-4193-8ECA-9A262988F5EC}"/>
          </ac:spMkLst>
        </pc:spChg>
        <pc:spChg chg="add del mod">
          <ac:chgData name="Kawtar SADIQ" userId="65df04e4-2d23-4bab-afb0-40df8a2c1b9f" providerId="ADAL" clId="{13E48CF6-3C07-4AA7-848A-1E964CBB0D3A}" dt="2022-11-29T19:33:45.512" v="11835" actId="478"/>
          <ac:spMkLst>
            <pc:docMk/>
            <pc:sldMk cId="378349315" sldId="2076138207"/>
            <ac:spMk id="44" creationId="{F697ED41-3BBC-412B-843E-BF76512B446C}"/>
          </ac:spMkLst>
        </pc:spChg>
        <pc:spChg chg="add del mod">
          <ac:chgData name="Kawtar SADIQ" userId="65df04e4-2d23-4bab-afb0-40df8a2c1b9f" providerId="ADAL" clId="{13E48CF6-3C07-4AA7-848A-1E964CBB0D3A}" dt="2022-12-01T12:22:10.688" v="27222" actId="478"/>
          <ac:spMkLst>
            <pc:docMk/>
            <pc:sldMk cId="378349315" sldId="2076138207"/>
            <ac:spMk id="44" creationId="{F6E7A126-AB6B-46EC-8423-EEE5A81255E6}"/>
          </ac:spMkLst>
        </pc:spChg>
        <pc:spChg chg="add del mod">
          <ac:chgData name="Kawtar SADIQ" userId="65df04e4-2d23-4bab-afb0-40df8a2c1b9f" providerId="ADAL" clId="{13E48CF6-3C07-4AA7-848A-1E964CBB0D3A}" dt="2022-11-29T19:53:32.713" v="12142" actId="478"/>
          <ac:spMkLst>
            <pc:docMk/>
            <pc:sldMk cId="378349315" sldId="2076138207"/>
            <ac:spMk id="45" creationId="{0DFFF064-3E24-434E-85F8-42F4C8D82252}"/>
          </ac:spMkLst>
        </pc:spChg>
        <pc:spChg chg="add mod">
          <ac:chgData name="Kawtar SADIQ" userId="65df04e4-2d23-4bab-afb0-40df8a2c1b9f" providerId="ADAL" clId="{13E48CF6-3C07-4AA7-848A-1E964CBB0D3A}" dt="2022-12-01T11:48:57.768" v="26438" actId="207"/>
          <ac:spMkLst>
            <pc:docMk/>
            <pc:sldMk cId="378349315" sldId="2076138207"/>
            <ac:spMk id="45" creationId="{2092F06C-F51D-4800-B97D-8DAFE6C4154B}"/>
          </ac:spMkLst>
        </pc:spChg>
        <pc:spChg chg="add del mod">
          <ac:chgData name="Kawtar SADIQ" userId="65df04e4-2d23-4bab-afb0-40df8a2c1b9f" providerId="ADAL" clId="{13E48CF6-3C07-4AA7-848A-1E964CBB0D3A}" dt="2022-12-01T12:22:12.359" v="27223" actId="478"/>
          <ac:spMkLst>
            <pc:docMk/>
            <pc:sldMk cId="378349315" sldId="2076138207"/>
            <ac:spMk id="46" creationId="{A8319EF4-9924-496A-99E9-23ABC6303158}"/>
          </ac:spMkLst>
        </pc:spChg>
        <pc:spChg chg="add del mod">
          <ac:chgData name="Kawtar SADIQ" userId="65df04e4-2d23-4bab-afb0-40df8a2c1b9f" providerId="ADAL" clId="{13E48CF6-3C07-4AA7-848A-1E964CBB0D3A}" dt="2022-12-01T11:46:33.643" v="26322" actId="478"/>
          <ac:spMkLst>
            <pc:docMk/>
            <pc:sldMk cId="378349315" sldId="2076138207"/>
            <ac:spMk id="47" creationId="{7AFB03EC-4533-4238-B617-9758F604570C}"/>
          </ac:spMkLst>
        </pc:spChg>
        <pc:spChg chg="add del mod">
          <ac:chgData name="Kawtar SADIQ" userId="65df04e4-2d23-4bab-afb0-40df8a2c1b9f" providerId="ADAL" clId="{13E48CF6-3C07-4AA7-848A-1E964CBB0D3A}" dt="2022-11-29T19:53:30.873" v="12141" actId="478"/>
          <ac:spMkLst>
            <pc:docMk/>
            <pc:sldMk cId="378349315" sldId="2076138207"/>
            <ac:spMk id="47" creationId="{95D4718E-EACA-4B7C-92D7-8474EC5E9724}"/>
          </ac:spMkLst>
        </pc:spChg>
        <pc:spChg chg="add mod">
          <ac:chgData name="Kawtar SADIQ" userId="65df04e4-2d23-4bab-afb0-40df8a2c1b9f" providerId="ADAL" clId="{13E48CF6-3C07-4AA7-848A-1E964CBB0D3A}" dt="2022-12-01T11:49:10.927" v="26440" actId="207"/>
          <ac:spMkLst>
            <pc:docMk/>
            <pc:sldMk cId="378349315" sldId="2076138207"/>
            <ac:spMk id="48" creationId="{CBF9591C-B9E0-4840-A5D7-01F53A4BEE60}"/>
          </ac:spMkLst>
        </pc:spChg>
        <pc:spChg chg="add del mod">
          <ac:chgData name="Kawtar SADIQ" userId="65df04e4-2d23-4bab-afb0-40df8a2c1b9f" providerId="ADAL" clId="{13E48CF6-3C07-4AA7-848A-1E964CBB0D3A}" dt="2022-11-29T19:53:34.813" v="12143" actId="478"/>
          <ac:spMkLst>
            <pc:docMk/>
            <pc:sldMk cId="378349315" sldId="2076138207"/>
            <ac:spMk id="48" creationId="{EB094D18-881C-4A93-976A-FF508A8667C1}"/>
          </ac:spMkLst>
        </pc:spChg>
        <pc:spChg chg="add mod topLvl">
          <ac:chgData name="Kawtar SADIQ" userId="65df04e4-2d23-4bab-afb0-40df8a2c1b9f" providerId="ADAL" clId="{13E48CF6-3C07-4AA7-848A-1E964CBB0D3A}" dt="2022-12-01T12:34:45.777" v="27530" actId="554"/>
          <ac:spMkLst>
            <pc:docMk/>
            <pc:sldMk cId="378349315" sldId="2076138207"/>
            <ac:spMk id="49" creationId="{4B008A9A-BF15-45EF-9126-306A3EF32AF8}"/>
          </ac:spMkLst>
        </pc:spChg>
        <pc:spChg chg="add del mod">
          <ac:chgData name="Kawtar SADIQ" userId="65df04e4-2d23-4bab-afb0-40df8a2c1b9f" providerId="ADAL" clId="{13E48CF6-3C07-4AA7-848A-1E964CBB0D3A}" dt="2022-11-29T19:47:42.286" v="12074" actId="478"/>
          <ac:spMkLst>
            <pc:docMk/>
            <pc:sldMk cId="378349315" sldId="2076138207"/>
            <ac:spMk id="50" creationId="{69B71B20-F143-40F0-8375-F7A47E383488}"/>
          </ac:spMkLst>
        </pc:spChg>
        <pc:spChg chg="add del">
          <ac:chgData name="Kawtar SADIQ" userId="65df04e4-2d23-4bab-afb0-40df8a2c1b9f" providerId="ADAL" clId="{13E48CF6-3C07-4AA7-848A-1E964CBB0D3A}" dt="2022-12-01T12:02:46.915" v="26772" actId="22"/>
          <ac:spMkLst>
            <pc:docMk/>
            <pc:sldMk cId="378349315" sldId="2076138207"/>
            <ac:spMk id="50" creationId="{C90B0A05-40FA-4798-A8F6-A33021F3CE08}"/>
          </ac:spMkLst>
        </pc:spChg>
        <pc:spChg chg="add del mod ord">
          <ac:chgData name="Kawtar SADIQ" userId="65df04e4-2d23-4bab-afb0-40df8a2c1b9f" providerId="ADAL" clId="{13E48CF6-3C07-4AA7-848A-1E964CBB0D3A}" dt="2022-12-01T12:04:14.800" v="26820" actId="478"/>
          <ac:spMkLst>
            <pc:docMk/>
            <pc:sldMk cId="378349315" sldId="2076138207"/>
            <ac:spMk id="51" creationId="{34C18AA0-B267-4135-AB99-09632017E8EF}"/>
          </ac:spMkLst>
        </pc:spChg>
        <pc:spChg chg="del mod topLvl">
          <ac:chgData name="Kawtar SADIQ" userId="65df04e4-2d23-4bab-afb0-40df8a2c1b9f" providerId="ADAL" clId="{13E48CF6-3C07-4AA7-848A-1E964CBB0D3A}" dt="2022-11-29T19:51:12.904" v="12116" actId="478"/>
          <ac:spMkLst>
            <pc:docMk/>
            <pc:sldMk cId="378349315" sldId="2076138207"/>
            <ac:spMk id="52" creationId="{6BBB5A6A-6738-4134-9945-1A4EAC0C1AFA}"/>
          </ac:spMkLst>
        </pc:spChg>
        <pc:spChg chg="mod topLvl">
          <ac:chgData name="Kawtar SADIQ" userId="65df04e4-2d23-4bab-afb0-40df8a2c1b9f" providerId="ADAL" clId="{13E48CF6-3C07-4AA7-848A-1E964CBB0D3A}" dt="2022-12-01T12:35:45.252" v="27533" actId="1076"/>
          <ac:spMkLst>
            <pc:docMk/>
            <pc:sldMk cId="378349315" sldId="2076138207"/>
            <ac:spMk id="53" creationId="{23900BC1-0855-4FED-BFBE-10AA2102844C}"/>
          </ac:spMkLst>
        </pc:spChg>
        <pc:spChg chg="add del mod">
          <ac:chgData name="Kawtar SADIQ" userId="65df04e4-2d23-4bab-afb0-40df8a2c1b9f" providerId="ADAL" clId="{13E48CF6-3C07-4AA7-848A-1E964CBB0D3A}" dt="2022-11-29T19:50:17.054" v="12083" actId="478"/>
          <ac:spMkLst>
            <pc:docMk/>
            <pc:sldMk cId="378349315" sldId="2076138207"/>
            <ac:spMk id="54" creationId="{98D4AC2D-E199-45F0-8755-12C3CAEEFE6F}"/>
          </ac:spMkLst>
        </pc:spChg>
        <pc:spChg chg="del mod topLvl">
          <ac:chgData name="Kawtar SADIQ" userId="65df04e4-2d23-4bab-afb0-40df8a2c1b9f" providerId="ADAL" clId="{13E48CF6-3C07-4AA7-848A-1E964CBB0D3A}" dt="2022-11-29T19:50:23.874" v="12086" actId="478"/>
          <ac:spMkLst>
            <pc:docMk/>
            <pc:sldMk cId="378349315" sldId="2076138207"/>
            <ac:spMk id="56" creationId="{5B8BE2AC-A3CC-42FF-B48D-51C1BF11FC77}"/>
          </ac:spMkLst>
        </pc:spChg>
        <pc:spChg chg="del mod topLvl">
          <ac:chgData name="Kawtar SADIQ" userId="65df04e4-2d23-4bab-afb0-40df8a2c1b9f" providerId="ADAL" clId="{13E48CF6-3C07-4AA7-848A-1E964CBB0D3A}" dt="2022-11-29T19:50:22.656" v="12085" actId="478"/>
          <ac:spMkLst>
            <pc:docMk/>
            <pc:sldMk cId="378349315" sldId="2076138207"/>
            <ac:spMk id="57" creationId="{17613C1F-49D3-49D5-8EFA-FB6481D25F62}"/>
          </ac:spMkLst>
        </pc:spChg>
        <pc:spChg chg="add mod">
          <ac:chgData name="Kawtar SADIQ" userId="65df04e4-2d23-4bab-afb0-40df8a2c1b9f" providerId="ADAL" clId="{13E48CF6-3C07-4AA7-848A-1E964CBB0D3A}" dt="2022-12-01T12:14:18.409" v="26958" actId="164"/>
          <ac:spMkLst>
            <pc:docMk/>
            <pc:sldMk cId="378349315" sldId="2076138207"/>
            <ac:spMk id="57" creationId="{4DE09875-9005-4B51-AEFD-A14AB75672A7}"/>
          </ac:spMkLst>
        </pc:spChg>
        <pc:spChg chg="del mod topLvl">
          <ac:chgData name="Kawtar SADIQ" userId="65df04e4-2d23-4bab-afb0-40df8a2c1b9f" providerId="ADAL" clId="{13E48CF6-3C07-4AA7-848A-1E964CBB0D3A}" dt="2022-11-29T19:51:09.304" v="12114" actId="478"/>
          <ac:spMkLst>
            <pc:docMk/>
            <pc:sldMk cId="378349315" sldId="2076138207"/>
            <ac:spMk id="59" creationId="{AE07A41F-F084-458F-B307-D36EE052BC4F}"/>
          </ac:spMkLst>
        </pc:spChg>
        <pc:spChg chg="mod topLvl">
          <ac:chgData name="Kawtar SADIQ" userId="65df04e4-2d23-4bab-afb0-40df8a2c1b9f" providerId="ADAL" clId="{13E48CF6-3C07-4AA7-848A-1E964CBB0D3A}" dt="2022-12-01T12:35:56.878" v="27534" actId="1076"/>
          <ac:spMkLst>
            <pc:docMk/>
            <pc:sldMk cId="378349315" sldId="2076138207"/>
            <ac:spMk id="60" creationId="{49D5EB17-0214-4B68-9919-1090E1BD06F2}"/>
          </ac:spMkLst>
        </pc:spChg>
        <pc:spChg chg="mod">
          <ac:chgData name="Kawtar SADIQ" userId="65df04e4-2d23-4bab-afb0-40df8a2c1b9f" providerId="ADAL" clId="{13E48CF6-3C07-4AA7-848A-1E964CBB0D3A}" dt="2022-11-29T19:53:49.043" v="12155"/>
          <ac:spMkLst>
            <pc:docMk/>
            <pc:sldMk cId="378349315" sldId="2076138207"/>
            <ac:spMk id="62" creationId="{BFA1C077-5CC0-494E-ADAF-0756DA693E80}"/>
          </ac:spMkLst>
        </pc:spChg>
        <pc:spChg chg="add del mod">
          <ac:chgData name="Kawtar SADIQ" userId="65df04e4-2d23-4bab-afb0-40df8a2c1b9f" providerId="ADAL" clId="{13E48CF6-3C07-4AA7-848A-1E964CBB0D3A}" dt="2022-12-01T12:13:12.984" v="26934"/>
          <ac:spMkLst>
            <pc:docMk/>
            <pc:sldMk cId="378349315" sldId="2076138207"/>
            <ac:spMk id="62" creationId="{CB773501-D5B4-48F1-A234-DF8BB60BD942}"/>
          </ac:spMkLst>
        </pc:spChg>
        <pc:spChg chg="add mod">
          <ac:chgData name="Kawtar SADIQ" userId="65df04e4-2d23-4bab-afb0-40df8a2c1b9f" providerId="ADAL" clId="{13E48CF6-3C07-4AA7-848A-1E964CBB0D3A}" dt="2022-12-01T12:14:23.988" v="26959" actId="164"/>
          <ac:spMkLst>
            <pc:docMk/>
            <pc:sldMk cId="378349315" sldId="2076138207"/>
            <ac:spMk id="63" creationId="{35106D1A-FE9C-44E9-A451-DC2AD64B6A35}"/>
          </ac:spMkLst>
        </pc:spChg>
        <pc:spChg chg="mod">
          <ac:chgData name="Kawtar SADIQ" userId="65df04e4-2d23-4bab-afb0-40df8a2c1b9f" providerId="ADAL" clId="{13E48CF6-3C07-4AA7-848A-1E964CBB0D3A}" dt="2022-11-29T19:53:49.043" v="12155"/>
          <ac:spMkLst>
            <pc:docMk/>
            <pc:sldMk cId="378349315" sldId="2076138207"/>
            <ac:spMk id="63" creationId="{9DDC241C-7904-496A-B5AF-0315699AB9B3}"/>
          </ac:spMkLst>
        </pc:spChg>
        <pc:spChg chg="add mod">
          <ac:chgData name="Kawtar SADIQ" userId="65df04e4-2d23-4bab-afb0-40df8a2c1b9f" providerId="ADAL" clId="{13E48CF6-3C07-4AA7-848A-1E964CBB0D3A}" dt="2022-12-01T12:33:35.439" v="27525" actId="554"/>
          <ac:spMkLst>
            <pc:docMk/>
            <pc:sldMk cId="378349315" sldId="2076138207"/>
            <ac:spMk id="64" creationId="{61C0EDDF-A9A4-492F-AF55-A94D6725263F}"/>
          </ac:spMkLst>
        </pc:spChg>
        <pc:spChg chg="add del mod">
          <ac:chgData name="Kawtar SADIQ" userId="65df04e4-2d23-4bab-afb0-40df8a2c1b9f" providerId="ADAL" clId="{13E48CF6-3C07-4AA7-848A-1E964CBB0D3A}" dt="2022-11-29T20:11:23.268" v="12513" actId="478"/>
          <ac:spMkLst>
            <pc:docMk/>
            <pc:sldMk cId="378349315" sldId="2076138207"/>
            <ac:spMk id="65" creationId="{61EEEE0D-471E-4F03-AAAC-6548800EDD16}"/>
          </ac:spMkLst>
        </pc:spChg>
        <pc:spChg chg="add mod">
          <ac:chgData name="Kawtar SADIQ" userId="65df04e4-2d23-4bab-afb0-40df8a2c1b9f" providerId="ADAL" clId="{13E48CF6-3C07-4AA7-848A-1E964CBB0D3A}" dt="2022-12-01T12:28:07.321" v="27361" actId="20577"/>
          <ac:spMkLst>
            <pc:docMk/>
            <pc:sldMk cId="378349315" sldId="2076138207"/>
            <ac:spMk id="66" creationId="{C4940C2A-B304-479A-B2DA-E8F1831DD200}"/>
          </ac:spMkLst>
        </pc:spChg>
        <pc:spChg chg="add mod">
          <ac:chgData name="Kawtar SADIQ" userId="65df04e4-2d23-4bab-afb0-40df8a2c1b9f" providerId="ADAL" clId="{13E48CF6-3C07-4AA7-848A-1E964CBB0D3A}" dt="2022-12-01T12:14:28.764" v="26960" actId="164"/>
          <ac:spMkLst>
            <pc:docMk/>
            <pc:sldMk cId="378349315" sldId="2076138207"/>
            <ac:spMk id="67" creationId="{139280D9-B8BB-4A00-8146-D497A285951D}"/>
          </ac:spMkLst>
        </pc:spChg>
        <pc:spChg chg="add del">
          <ac:chgData name="Kawtar SADIQ" userId="65df04e4-2d23-4bab-afb0-40df8a2c1b9f" providerId="ADAL" clId="{13E48CF6-3C07-4AA7-848A-1E964CBB0D3A}" dt="2022-11-29T20:08:00.078" v="12317" actId="22"/>
          <ac:spMkLst>
            <pc:docMk/>
            <pc:sldMk cId="378349315" sldId="2076138207"/>
            <ac:spMk id="67" creationId="{C848BEAB-9866-40C0-B91B-5E58DB305966}"/>
          </ac:spMkLst>
        </pc:spChg>
        <pc:spChg chg="add mod">
          <ac:chgData name="Kawtar SADIQ" userId="65df04e4-2d23-4bab-afb0-40df8a2c1b9f" providerId="ADAL" clId="{13E48CF6-3C07-4AA7-848A-1E964CBB0D3A}" dt="2022-12-01T12:30:57.425" v="27511" actId="554"/>
          <ac:spMkLst>
            <pc:docMk/>
            <pc:sldMk cId="378349315" sldId="2076138207"/>
            <ac:spMk id="68" creationId="{7B83DFDD-E76A-45C2-B91A-9F9296CD798A}"/>
          </ac:spMkLst>
        </pc:spChg>
        <pc:spChg chg="add del mod">
          <ac:chgData name="Kawtar SADIQ" userId="65df04e4-2d23-4bab-afb0-40df8a2c1b9f" providerId="ADAL" clId="{13E48CF6-3C07-4AA7-848A-1E964CBB0D3A}" dt="2022-11-29T20:08:59.018" v="12359" actId="478"/>
          <ac:spMkLst>
            <pc:docMk/>
            <pc:sldMk cId="378349315" sldId="2076138207"/>
            <ac:spMk id="69" creationId="{0D439B47-A35B-4BC8-A804-7F1745BA8D74}"/>
          </ac:spMkLst>
        </pc:spChg>
        <pc:spChg chg="add mod">
          <ac:chgData name="Kawtar SADIQ" userId="65df04e4-2d23-4bab-afb0-40df8a2c1b9f" providerId="ADAL" clId="{13E48CF6-3C07-4AA7-848A-1E964CBB0D3A}" dt="2022-12-01T12:33:14.667" v="27523" actId="1076"/>
          <ac:spMkLst>
            <pc:docMk/>
            <pc:sldMk cId="378349315" sldId="2076138207"/>
            <ac:spMk id="70" creationId="{C91103FC-20B4-4702-AF38-2687E76950CF}"/>
          </ac:spMkLst>
        </pc:spChg>
        <pc:spChg chg="add del mod">
          <ac:chgData name="Kawtar SADIQ" userId="65df04e4-2d23-4bab-afb0-40df8a2c1b9f" providerId="ADAL" clId="{13E48CF6-3C07-4AA7-848A-1E964CBB0D3A}" dt="2022-11-29T20:09:28.929" v="12401"/>
          <ac:spMkLst>
            <pc:docMk/>
            <pc:sldMk cId="378349315" sldId="2076138207"/>
            <ac:spMk id="71" creationId="{24207088-25CE-4B97-9EE1-458D03385D98}"/>
          </ac:spMkLst>
        </pc:spChg>
        <pc:spChg chg="add mod">
          <ac:chgData name="Kawtar SADIQ" userId="65df04e4-2d23-4bab-afb0-40df8a2c1b9f" providerId="ADAL" clId="{13E48CF6-3C07-4AA7-848A-1E964CBB0D3A}" dt="2022-12-01T12:33:14.667" v="27523" actId="1076"/>
          <ac:spMkLst>
            <pc:docMk/>
            <pc:sldMk cId="378349315" sldId="2076138207"/>
            <ac:spMk id="72" creationId="{EBFFF32B-C2D1-41A9-AAD4-04C385BF1822}"/>
          </ac:spMkLst>
        </pc:spChg>
        <pc:spChg chg="add del mod">
          <ac:chgData name="Kawtar SADIQ" userId="65df04e4-2d23-4bab-afb0-40df8a2c1b9f" providerId="ADAL" clId="{13E48CF6-3C07-4AA7-848A-1E964CBB0D3A}" dt="2022-11-29T20:14:29.757" v="12603" actId="478"/>
          <ac:spMkLst>
            <pc:docMk/>
            <pc:sldMk cId="378349315" sldId="2076138207"/>
            <ac:spMk id="73" creationId="{19B2313F-3E67-4D06-A627-EFDDF251C8F5}"/>
          </ac:spMkLst>
        </pc:spChg>
        <pc:spChg chg="mod">
          <ac:chgData name="Kawtar SADIQ" userId="65df04e4-2d23-4bab-afb0-40df8a2c1b9f" providerId="ADAL" clId="{13E48CF6-3C07-4AA7-848A-1E964CBB0D3A}" dt="2022-12-01T12:15:05.150" v="26963"/>
          <ac:spMkLst>
            <pc:docMk/>
            <pc:sldMk cId="378349315" sldId="2076138207"/>
            <ac:spMk id="73" creationId="{72B3D244-0B4A-4B4E-9B02-82064B887E95}"/>
          </ac:spMkLst>
        </pc:spChg>
        <pc:spChg chg="add mod">
          <ac:chgData name="Kawtar SADIQ" userId="65df04e4-2d23-4bab-afb0-40df8a2c1b9f" providerId="ADAL" clId="{13E48CF6-3C07-4AA7-848A-1E964CBB0D3A}" dt="2022-12-01T12:19:03.336" v="27168" actId="14100"/>
          <ac:spMkLst>
            <pc:docMk/>
            <pc:sldMk cId="378349315" sldId="2076138207"/>
            <ac:spMk id="74" creationId="{71F5B6D2-6CAA-4AAD-806F-A90EB8235A2E}"/>
          </ac:spMkLst>
        </pc:spChg>
        <pc:spChg chg="add mod">
          <ac:chgData name="Kawtar SADIQ" userId="65df04e4-2d23-4bab-afb0-40df8a2c1b9f" providerId="ADAL" clId="{13E48CF6-3C07-4AA7-848A-1E964CBB0D3A}" dt="2022-12-01T12:37:33.954" v="27550" actId="1076"/>
          <ac:spMkLst>
            <pc:docMk/>
            <pc:sldMk cId="378349315" sldId="2076138207"/>
            <ac:spMk id="75" creationId="{5F9909EA-E3A3-4295-AE37-AF89CEB22FBB}"/>
          </ac:spMkLst>
        </pc:spChg>
        <pc:spChg chg="add mod">
          <ac:chgData name="Kawtar SADIQ" userId="65df04e4-2d23-4bab-afb0-40df8a2c1b9f" providerId="ADAL" clId="{13E48CF6-3C07-4AA7-848A-1E964CBB0D3A}" dt="2022-12-01T12:37:42.538" v="27551" actId="14100"/>
          <ac:spMkLst>
            <pc:docMk/>
            <pc:sldMk cId="378349315" sldId="2076138207"/>
            <ac:spMk id="76" creationId="{96F6032D-238C-47C3-96D4-C21A3EDEACF8}"/>
          </ac:spMkLst>
        </pc:spChg>
        <pc:spChg chg="add mod">
          <ac:chgData name="Kawtar SADIQ" userId="65df04e4-2d23-4bab-afb0-40df8a2c1b9f" providerId="ADAL" clId="{13E48CF6-3C07-4AA7-848A-1E964CBB0D3A}" dt="2022-12-01T12:38:00.984" v="27553" actId="14100"/>
          <ac:spMkLst>
            <pc:docMk/>
            <pc:sldMk cId="378349315" sldId="2076138207"/>
            <ac:spMk id="77" creationId="{F9B5D685-EBBD-482D-9701-FB0649398E26}"/>
          </ac:spMkLst>
        </pc:spChg>
        <pc:spChg chg="add del mod">
          <ac:chgData name="Kawtar SADIQ" userId="65df04e4-2d23-4bab-afb0-40df8a2c1b9f" providerId="ADAL" clId="{13E48CF6-3C07-4AA7-848A-1E964CBB0D3A}" dt="2022-11-29T20:15:45.072" v="12640" actId="478"/>
          <ac:spMkLst>
            <pc:docMk/>
            <pc:sldMk cId="378349315" sldId="2076138207"/>
            <ac:spMk id="79" creationId="{48A0762E-5C3F-49B3-B4FD-CB274AB91140}"/>
          </ac:spMkLst>
        </pc:spChg>
        <pc:spChg chg="add mod">
          <ac:chgData name="Kawtar SADIQ" userId="65df04e4-2d23-4bab-afb0-40df8a2c1b9f" providerId="ADAL" clId="{13E48CF6-3C07-4AA7-848A-1E964CBB0D3A}" dt="2022-12-01T12:37:33.954" v="27550" actId="1076"/>
          <ac:spMkLst>
            <pc:docMk/>
            <pc:sldMk cId="378349315" sldId="2076138207"/>
            <ac:spMk id="80" creationId="{A7E1DD35-BAA0-453E-B83C-DCF7197DA99F}"/>
          </ac:spMkLst>
        </pc:spChg>
        <pc:spChg chg="add mod">
          <ac:chgData name="Kawtar SADIQ" userId="65df04e4-2d23-4bab-afb0-40df8a2c1b9f" providerId="ADAL" clId="{13E48CF6-3C07-4AA7-848A-1E964CBB0D3A}" dt="2022-12-01T12:37:52.042" v="27552" actId="14100"/>
          <ac:spMkLst>
            <pc:docMk/>
            <pc:sldMk cId="378349315" sldId="2076138207"/>
            <ac:spMk id="81" creationId="{90821EEE-7047-407B-8EC5-C6F7FC67DAF0}"/>
          </ac:spMkLst>
        </pc:spChg>
        <pc:spChg chg="add mod ord">
          <ac:chgData name="Kawtar SADIQ" userId="65df04e4-2d23-4bab-afb0-40df8a2c1b9f" providerId="ADAL" clId="{13E48CF6-3C07-4AA7-848A-1E964CBB0D3A}" dt="2022-12-01T12:27:03.061" v="27324" actId="20577"/>
          <ac:spMkLst>
            <pc:docMk/>
            <pc:sldMk cId="378349315" sldId="2076138207"/>
            <ac:spMk id="82" creationId="{0AAAFFED-693D-470B-A0C9-704DE18963AA}"/>
          </ac:spMkLst>
        </pc:spChg>
        <pc:spChg chg="add mod ord">
          <ac:chgData name="Kawtar SADIQ" userId="65df04e4-2d23-4bab-afb0-40df8a2c1b9f" providerId="ADAL" clId="{13E48CF6-3C07-4AA7-848A-1E964CBB0D3A}" dt="2022-12-01T12:27:11.545" v="27344" actId="20577"/>
          <ac:spMkLst>
            <pc:docMk/>
            <pc:sldMk cId="378349315" sldId="2076138207"/>
            <ac:spMk id="83" creationId="{C2089552-0B1B-4B21-9861-B3A21DB80F13}"/>
          </ac:spMkLst>
        </pc:spChg>
        <pc:spChg chg="add mod">
          <ac:chgData name="Kawtar SADIQ" userId="65df04e4-2d23-4bab-afb0-40df8a2c1b9f" providerId="ADAL" clId="{13E48CF6-3C07-4AA7-848A-1E964CBB0D3A}" dt="2022-12-01T09:36:32.755" v="25253" actId="1035"/>
          <ac:spMkLst>
            <pc:docMk/>
            <pc:sldMk cId="378349315" sldId="2076138207"/>
            <ac:spMk id="84" creationId="{2C7FA34B-2319-40D2-822D-C0E3A5068155}"/>
          </ac:spMkLst>
        </pc:spChg>
        <pc:spChg chg="mod">
          <ac:chgData name="Kawtar SADIQ" userId="65df04e4-2d23-4bab-afb0-40df8a2c1b9f" providerId="ADAL" clId="{13E48CF6-3C07-4AA7-848A-1E964CBB0D3A}" dt="2022-12-01T12:15:10.308" v="26965"/>
          <ac:spMkLst>
            <pc:docMk/>
            <pc:sldMk cId="378349315" sldId="2076138207"/>
            <ac:spMk id="85" creationId="{34FF1B63-39A9-4ADD-83AB-F1AA7747E3FA}"/>
          </ac:spMkLst>
        </pc:spChg>
        <pc:spChg chg="add del mod">
          <ac:chgData name="Kawtar SADIQ" userId="65df04e4-2d23-4bab-afb0-40df8a2c1b9f" providerId="ADAL" clId="{13E48CF6-3C07-4AA7-848A-1E964CBB0D3A}" dt="2022-11-29T20:28:59.814" v="12891" actId="478"/>
          <ac:spMkLst>
            <pc:docMk/>
            <pc:sldMk cId="378349315" sldId="2076138207"/>
            <ac:spMk id="86" creationId="{CF3054B6-DA6D-4354-A2D8-954668FA2678}"/>
          </ac:spMkLst>
        </pc:spChg>
        <pc:spChg chg="add mod ord">
          <ac:chgData name="Kawtar SADIQ" userId="65df04e4-2d23-4bab-afb0-40df8a2c1b9f" providerId="ADAL" clId="{13E48CF6-3C07-4AA7-848A-1E964CBB0D3A}" dt="2022-12-01T12:33:35.439" v="27525" actId="554"/>
          <ac:spMkLst>
            <pc:docMk/>
            <pc:sldMk cId="378349315" sldId="2076138207"/>
            <ac:spMk id="87" creationId="{FE890B8D-E408-410A-B5A2-2E7689263EF1}"/>
          </ac:spMkLst>
        </pc:spChg>
        <pc:spChg chg="add mod">
          <ac:chgData name="Kawtar SADIQ" userId="65df04e4-2d23-4bab-afb0-40df8a2c1b9f" providerId="ADAL" clId="{13E48CF6-3C07-4AA7-848A-1E964CBB0D3A}" dt="2022-12-01T12:27:58.883" v="27359" actId="20577"/>
          <ac:spMkLst>
            <pc:docMk/>
            <pc:sldMk cId="378349315" sldId="2076138207"/>
            <ac:spMk id="88" creationId="{6AF634E7-5BC6-4CF6-9E22-D56CD3186F8E}"/>
          </ac:spMkLst>
        </pc:spChg>
        <pc:spChg chg="add mod">
          <ac:chgData name="Kawtar SADIQ" userId="65df04e4-2d23-4bab-afb0-40df8a2c1b9f" providerId="ADAL" clId="{13E48CF6-3C07-4AA7-848A-1E964CBB0D3A}" dt="2022-12-01T09:36:32.755" v="25253" actId="1035"/>
          <ac:spMkLst>
            <pc:docMk/>
            <pc:sldMk cId="378349315" sldId="2076138207"/>
            <ac:spMk id="89" creationId="{E51098D5-35F4-4B0F-A5AD-B5CFE14C0E6C}"/>
          </ac:spMkLst>
        </pc:spChg>
        <pc:spChg chg="mod">
          <ac:chgData name="Kawtar SADIQ" userId="65df04e4-2d23-4bab-afb0-40df8a2c1b9f" providerId="ADAL" clId="{13E48CF6-3C07-4AA7-848A-1E964CBB0D3A}" dt="2022-12-01T12:18:30.974" v="27145" actId="1076"/>
          <ac:spMkLst>
            <pc:docMk/>
            <pc:sldMk cId="378349315" sldId="2076138207"/>
            <ac:spMk id="92" creationId="{C456092A-56E7-4280-9A90-91FCDCC1FEED}"/>
          </ac:spMkLst>
        </pc:spChg>
        <pc:spChg chg="mod">
          <ac:chgData name="Kawtar SADIQ" userId="65df04e4-2d23-4bab-afb0-40df8a2c1b9f" providerId="ADAL" clId="{13E48CF6-3C07-4AA7-848A-1E964CBB0D3A}" dt="2022-12-01T12:15:19.260" v="26967"/>
          <ac:spMkLst>
            <pc:docMk/>
            <pc:sldMk cId="378349315" sldId="2076138207"/>
            <ac:spMk id="95" creationId="{E8FEF219-B531-4F12-9CD5-D7140B45A7E4}"/>
          </ac:spMkLst>
        </pc:spChg>
        <pc:spChg chg="mod">
          <ac:chgData name="Kawtar SADIQ" userId="65df04e4-2d23-4bab-afb0-40df8a2c1b9f" providerId="ADAL" clId="{13E48CF6-3C07-4AA7-848A-1E964CBB0D3A}" dt="2022-12-01T12:15:25.032" v="26969"/>
          <ac:spMkLst>
            <pc:docMk/>
            <pc:sldMk cId="378349315" sldId="2076138207"/>
            <ac:spMk id="98" creationId="{3344B061-2300-4BC3-8A7C-421F33A03ED0}"/>
          </ac:spMkLst>
        </pc:spChg>
        <pc:spChg chg="add mod">
          <ac:chgData name="Kawtar SADIQ" userId="65df04e4-2d23-4bab-afb0-40df8a2c1b9f" providerId="ADAL" clId="{13E48CF6-3C07-4AA7-848A-1E964CBB0D3A}" dt="2022-11-29T20:44:13.311" v="13178" actId="1037"/>
          <ac:spMkLst>
            <pc:docMk/>
            <pc:sldMk cId="378349315" sldId="2076138207"/>
            <ac:spMk id="101" creationId="{226C794E-9CB8-4CFB-B38E-8F4C6C81A9A7}"/>
          </ac:spMkLst>
        </pc:spChg>
        <pc:spChg chg="mod">
          <ac:chgData name="Kawtar SADIQ" userId="65df04e4-2d23-4bab-afb0-40df8a2c1b9f" providerId="ADAL" clId="{13E48CF6-3C07-4AA7-848A-1E964CBB0D3A}" dt="2022-12-01T12:16:35.257" v="27077" actId="1035"/>
          <ac:spMkLst>
            <pc:docMk/>
            <pc:sldMk cId="378349315" sldId="2076138207"/>
            <ac:spMk id="102" creationId="{ECDF86BA-C5AD-4D51-AF39-CF254D990A09}"/>
          </ac:spMkLst>
        </pc:spChg>
        <pc:spChg chg="mod">
          <ac:chgData name="Kawtar SADIQ" userId="65df04e4-2d23-4bab-afb0-40df8a2c1b9f" providerId="ADAL" clId="{13E48CF6-3C07-4AA7-848A-1E964CBB0D3A}" dt="2022-12-01T12:19:14.694" v="27170"/>
          <ac:spMkLst>
            <pc:docMk/>
            <pc:sldMk cId="378349315" sldId="2076138207"/>
            <ac:spMk id="105" creationId="{10CE11BD-805F-495C-8ED3-444D007829DE}"/>
          </ac:spMkLst>
        </pc:spChg>
        <pc:spChg chg="mod">
          <ac:chgData name="Kawtar SADIQ" userId="65df04e4-2d23-4bab-afb0-40df8a2c1b9f" providerId="ADAL" clId="{13E48CF6-3C07-4AA7-848A-1E964CBB0D3A}" dt="2022-12-01T12:19:20.095" v="27172"/>
          <ac:spMkLst>
            <pc:docMk/>
            <pc:sldMk cId="378349315" sldId="2076138207"/>
            <ac:spMk id="108" creationId="{D2F434F0-CD0D-45C5-9691-DE30E26153F9}"/>
          </ac:spMkLst>
        </pc:spChg>
        <pc:spChg chg="mod">
          <ac:chgData name="Kawtar SADIQ" userId="65df04e4-2d23-4bab-afb0-40df8a2c1b9f" providerId="ADAL" clId="{13E48CF6-3C07-4AA7-848A-1E964CBB0D3A}" dt="2022-12-01T12:21:29.539" v="27185"/>
          <ac:spMkLst>
            <pc:docMk/>
            <pc:sldMk cId="378349315" sldId="2076138207"/>
            <ac:spMk id="111" creationId="{5BF646FF-6E71-40CF-BD93-D25C3AF397CE}"/>
          </ac:spMkLst>
        </pc:spChg>
        <pc:spChg chg="mod">
          <ac:chgData name="Kawtar SADIQ" userId="65df04e4-2d23-4bab-afb0-40df8a2c1b9f" providerId="ADAL" clId="{13E48CF6-3C07-4AA7-848A-1E964CBB0D3A}" dt="2022-12-01T12:22:00.373" v="27219"/>
          <ac:spMkLst>
            <pc:docMk/>
            <pc:sldMk cId="378349315" sldId="2076138207"/>
            <ac:spMk id="114" creationId="{05D12819-0D03-40F9-A715-011B6CD0ACB5}"/>
          </ac:spMkLst>
        </pc:spChg>
        <pc:spChg chg="add del mod">
          <ac:chgData name="Kawtar SADIQ" userId="65df04e4-2d23-4bab-afb0-40df8a2c1b9f" providerId="ADAL" clId="{13E48CF6-3C07-4AA7-848A-1E964CBB0D3A}" dt="2022-12-01T12:22:53.085" v="27252"/>
          <ac:spMkLst>
            <pc:docMk/>
            <pc:sldMk cId="378349315" sldId="2076138207"/>
            <ac:spMk id="116" creationId="{1416B701-4CAC-4007-8CFC-4200F512B293}"/>
          </ac:spMkLst>
        </pc:spChg>
        <pc:spChg chg="mod">
          <ac:chgData name="Kawtar SADIQ" userId="65df04e4-2d23-4bab-afb0-40df8a2c1b9f" providerId="ADAL" clId="{13E48CF6-3C07-4AA7-848A-1E964CBB0D3A}" dt="2022-12-01T12:22:55.276" v="27253"/>
          <ac:spMkLst>
            <pc:docMk/>
            <pc:sldMk cId="378349315" sldId="2076138207"/>
            <ac:spMk id="118" creationId="{ED20520F-171C-486C-A022-462F9EB4DD97}"/>
          </ac:spMkLst>
        </pc:spChg>
        <pc:spChg chg="mod">
          <ac:chgData name="Kawtar SADIQ" userId="65df04e4-2d23-4bab-afb0-40df8a2c1b9f" providerId="ADAL" clId="{13E48CF6-3C07-4AA7-848A-1E964CBB0D3A}" dt="2022-12-01T12:23:12.558" v="27257"/>
          <ac:spMkLst>
            <pc:docMk/>
            <pc:sldMk cId="378349315" sldId="2076138207"/>
            <ac:spMk id="121" creationId="{A2258C23-2797-403B-A7E7-FD2DB96B9E9E}"/>
          </ac:spMkLst>
        </pc:spChg>
        <pc:spChg chg="mod">
          <ac:chgData name="Kawtar SADIQ" userId="65df04e4-2d23-4bab-afb0-40df8a2c1b9f" providerId="ADAL" clId="{13E48CF6-3C07-4AA7-848A-1E964CBB0D3A}" dt="2022-12-01T12:32:45.403" v="27520" actId="1076"/>
          <ac:spMkLst>
            <pc:docMk/>
            <pc:sldMk cId="378349315" sldId="2076138207"/>
            <ac:spMk id="125" creationId="{2695B4D7-A4B6-400E-9358-29804867C466}"/>
          </ac:spMkLst>
        </pc:spChg>
        <pc:spChg chg="mod">
          <ac:chgData name="Kawtar SADIQ" userId="65df04e4-2d23-4bab-afb0-40df8a2c1b9f" providerId="ADAL" clId="{13E48CF6-3C07-4AA7-848A-1E964CBB0D3A}" dt="2022-12-01T12:24:23.581" v="27275"/>
          <ac:spMkLst>
            <pc:docMk/>
            <pc:sldMk cId="378349315" sldId="2076138207"/>
            <ac:spMk id="128" creationId="{A8117806-39F5-4C0F-9B26-60D14B9D6F3A}"/>
          </ac:spMkLst>
        </pc:spChg>
        <pc:spChg chg="mod">
          <ac:chgData name="Kawtar SADIQ" userId="65df04e4-2d23-4bab-afb0-40df8a2c1b9f" providerId="ADAL" clId="{13E48CF6-3C07-4AA7-848A-1E964CBB0D3A}" dt="2022-12-01T12:24:45.496" v="27277"/>
          <ac:spMkLst>
            <pc:docMk/>
            <pc:sldMk cId="378349315" sldId="2076138207"/>
            <ac:spMk id="131" creationId="{A24C19D5-152C-4C28-8BF5-D9948B577992}"/>
          </ac:spMkLst>
        </pc:spChg>
        <pc:spChg chg="del mod topLvl">
          <ac:chgData name="Kawtar SADIQ" userId="65df04e4-2d23-4bab-afb0-40df8a2c1b9f" providerId="ADAL" clId="{13E48CF6-3C07-4AA7-848A-1E964CBB0D3A}" dt="2022-12-01T12:25:41.951" v="27299" actId="478"/>
          <ac:spMkLst>
            <pc:docMk/>
            <pc:sldMk cId="378349315" sldId="2076138207"/>
            <ac:spMk id="134" creationId="{B1296499-CCE2-4034-8D2F-FE00ACBA62FD}"/>
          </ac:spMkLst>
        </pc:spChg>
        <pc:spChg chg="mod">
          <ac:chgData name="Kawtar SADIQ" userId="65df04e4-2d23-4bab-afb0-40df8a2c1b9f" providerId="ADAL" clId="{13E48CF6-3C07-4AA7-848A-1E964CBB0D3A}" dt="2022-12-01T12:26:27.251" v="27320"/>
          <ac:spMkLst>
            <pc:docMk/>
            <pc:sldMk cId="378349315" sldId="2076138207"/>
            <ac:spMk id="137" creationId="{6918108D-5B23-4BD0-A9ED-77F437D0E471}"/>
          </ac:spMkLst>
        </pc:spChg>
        <pc:spChg chg="mod">
          <ac:chgData name="Kawtar SADIQ" userId="65df04e4-2d23-4bab-afb0-40df8a2c1b9f" providerId="ADAL" clId="{13E48CF6-3C07-4AA7-848A-1E964CBB0D3A}" dt="2022-12-01T12:26:27.251" v="27320"/>
          <ac:spMkLst>
            <pc:docMk/>
            <pc:sldMk cId="378349315" sldId="2076138207"/>
            <ac:spMk id="140" creationId="{E1E097F1-2C99-48EC-99BD-E305F977491F}"/>
          </ac:spMkLst>
        </pc:spChg>
        <pc:spChg chg="mod">
          <ac:chgData name="Kawtar SADIQ" userId="65df04e4-2d23-4bab-afb0-40df8a2c1b9f" providerId="ADAL" clId="{13E48CF6-3C07-4AA7-848A-1E964CBB0D3A}" dt="2022-12-01T12:27:48.409" v="27357"/>
          <ac:spMkLst>
            <pc:docMk/>
            <pc:sldMk cId="378349315" sldId="2076138207"/>
            <ac:spMk id="143" creationId="{7DED9C93-A3A4-44F7-95F6-7D883E81627D}"/>
          </ac:spMkLst>
        </pc:spChg>
        <pc:spChg chg="mod">
          <ac:chgData name="Kawtar SADIQ" userId="65df04e4-2d23-4bab-afb0-40df8a2c1b9f" providerId="ADAL" clId="{13E48CF6-3C07-4AA7-848A-1E964CBB0D3A}" dt="2022-12-01T12:27:48.409" v="27357"/>
          <ac:spMkLst>
            <pc:docMk/>
            <pc:sldMk cId="378349315" sldId="2076138207"/>
            <ac:spMk id="146" creationId="{F12EE3ED-03E9-4F1B-A365-2B7680F9DD4A}"/>
          </ac:spMkLst>
        </pc:spChg>
        <pc:spChg chg="mod">
          <ac:chgData name="Kawtar SADIQ" userId="65df04e4-2d23-4bab-afb0-40df8a2c1b9f" providerId="ADAL" clId="{13E48CF6-3C07-4AA7-848A-1E964CBB0D3A}" dt="2022-12-01T12:28:17.241" v="27362"/>
          <ac:spMkLst>
            <pc:docMk/>
            <pc:sldMk cId="378349315" sldId="2076138207"/>
            <ac:spMk id="149" creationId="{46DA855D-F0D0-4D54-A500-B9FFA95E7382}"/>
          </ac:spMkLst>
        </pc:spChg>
        <pc:spChg chg="mod">
          <ac:chgData name="Kawtar SADIQ" userId="65df04e4-2d23-4bab-afb0-40df8a2c1b9f" providerId="ADAL" clId="{13E48CF6-3C07-4AA7-848A-1E964CBB0D3A}" dt="2022-12-01T12:28:17.241" v="27362"/>
          <ac:spMkLst>
            <pc:docMk/>
            <pc:sldMk cId="378349315" sldId="2076138207"/>
            <ac:spMk id="152" creationId="{BA5223BC-D370-4FD0-BA37-D31164A4D561}"/>
          </ac:spMkLst>
        </pc:spChg>
        <pc:spChg chg="mod">
          <ac:chgData name="Kawtar SADIQ" userId="65df04e4-2d23-4bab-afb0-40df8a2c1b9f" providerId="ADAL" clId="{13E48CF6-3C07-4AA7-848A-1E964CBB0D3A}" dt="2022-12-01T12:28:49.307" v="27373"/>
          <ac:spMkLst>
            <pc:docMk/>
            <pc:sldMk cId="378349315" sldId="2076138207"/>
            <ac:spMk id="155" creationId="{730F6327-B2FC-4B0A-8D96-07C2858339F9}"/>
          </ac:spMkLst>
        </pc:spChg>
        <pc:spChg chg="mod">
          <ac:chgData name="Kawtar SADIQ" userId="65df04e4-2d23-4bab-afb0-40df8a2c1b9f" providerId="ADAL" clId="{13E48CF6-3C07-4AA7-848A-1E964CBB0D3A}" dt="2022-12-01T12:28:49.307" v="27373"/>
          <ac:spMkLst>
            <pc:docMk/>
            <pc:sldMk cId="378349315" sldId="2076138207"/>
            <ac:spMk id="158" creationId="{C2CA95C0-FE8C-40D5-8BCC-654B0E663F6F}"/>
          </ac:spMkLst>
        </pc:spChg>
        <pc:spChg chg="mod">
          <ac:chgData name="Kawtar SADIQ" userId="65df04e4-2d23-4bab-afb0-40df8a2c1b9f" providerId="ADAL" clId="{13E48CF6-3C07-4AA7-848A-1E964CBB0D3A}" dt="2022-12-01T12:28:49.307" v="27373"/>
          <ac:spMkLst>
            <pc:docMk/>
            <pc:sldMk cId="378349315" sldId="2076138207"/>
            <ac:spMk id="161" creationId="{CA5C8A13-4E47-463E-BB8B-C43304FFD609}"/>
          </ac:spMkLst>
        </pc:spChg>
        <pc:spChg chg="mod">
          <ac:chgData name="Kawtar SADIQ" userId="65df04e4-2d23-4bab-afb0-40df8a2c1b9f" providerId="ADAL" clId="{13E48CF6-3C07-4AA7-848A-1E964CBB0D3A}" dt="2022-12-01T12:29:40.357" v="27418"/>
          <ac:spMkLst>
            <pc:docMk/>
            <pc:sldMk cId="378349315" sldId="2076138207"/>
            <ac:spMk id="164" creationId="{7CD433ED-A5FF-4CD5-A00E-DDDA60E27C7F}"/>
          </ac:spMkLst>
        </pc:spChg>
        <pc:spChg chg="mod">
          <ac:chgData name="Kawtar SADIQ" userId="65df04e4-2d23-4bab-afb0-40df8a2c1b9f" providerId="ADAL" clId="{13E48CF6-3C07-4AA7-848A-1E964CBB0D3A}" dt="2022-12-01T12:29:40.357" v="27418"/>
          <ac:spMkLst>
            <pc:docMk/>
            <pc:sldMk cId="378349315" sldId="2076138207"/>
            <ac:spMk id="167" creationId="{21C323B7-A9DC-44E1-AFFA-894490926C19}"/>
          </ac:spMkLst>
        </pc:spChg>
        <pc:spChg chg="mod">
          <ac:chgData name="Kawtar SADIQ" userId="65df04e4-2d23-4bab-afb0-40df8a2c1b9f" providerId="ADAL" clId="{13E48CF6-3C07-4AA7-848A-1E964CBB0D3A}" dt="2022-12-01T12:29:40.357" v="27418"/>
          <ac:spMkLst>
            <pc:docMk/>
            <pc:sldMk cId="378349315" sldId="2076138207"/>
            <ac:spMk id="170" creationId="{F97EB40F-80E1-4305-BB26-369E9F712C43}"/>
          </ac:spMkLst>
        </pc:spChg>
        <pc:spChg chg="mod">
          <ac:chgData name="Kawtar SADIQ" userId="65df04e4-2d23-4bab-afb0-40df8a2c1b9f" providerId="ADAL" clId="{13E48CF6-3C07-4AA7-848A-1E964CBB0D3A}" dt="2022-12-01T12:29:43.845" v="27420"/>
          <ac:spMkLst>
            <pc:docMk/>
            <pc:sldMk cId="378349315" sldId="2076138207"/>
            <ac:spMk id="173" creationId="{5C654936-7F79-4058-8351-9A309737A5DA}"/>
          </ac:spMkLst>
        </pc:spChg>
        <pc:spChg chg="mod">
          <ac:chgData name="Kawtar SADIQ" userId="65df04e4-2d23-4bab-afb0-40df8a2c1b9f" providerId="ADAL" clId="{13E48CF6-3C07-4AA7-848A-1E964CBB0D3A}" dt="2022-12-01T12:29:43.845" v="27420"/>
          <ac:spMkLst>
            <pc:docMk/>
            <pc:sldMk cId="378349315" sldId="2076138207"/>
            <ac:spMk id="176" creationId="{318F6359-D97D-4E85-9D26-BEA845DD1742}"/>
          </ac:spMkLst>
        </pc:spChg>
        <pc:spChg chg="mod">
          <ac:chgData name="Kawtar SADIQ" userId="65df04e4-2d23-4bab-afb0-40df8a2c1b9f" providerId="ADAL" clId="{13E48CF6-3C07-4AA7-848A-1E964CBB0D3A}" dt="2022-12-01T12:29:43.845" v="27420"/>
          <ac:spMkLst>
            <pc:docMk/>
            <pc:sldMk cId="378349315" sldId="2076138207"/>
            <ac:spMk id="179" creationId="{14FE98D9-213C-4A53-9CD5-360CF2D5B8E9}"/>
          </ac:spMkLst>
        </pc:spChg>
        <pc:spChg chg="mod">
          <ac:chgData name="Kawtar SADIQ" userId="65df04e4-2d23-4bab-afb0-40df8a2c1b9f" providerId="ADAL" clId="{13E48CF6-3C07-4AA7-848A-1E964CBB0D3A}" dt="2022-12-01T12:31:00.151" v="27512"/>
          <ac:spMkLst>
            <pc:docMk/>
            <pc:sldMk cId="378349315" sldId="2076138207"/>
            <ac:spMk id="182" creationId="{E384041D-06F2-44C5-90B5-7577909CD677}"/>
          </ac:spMkLst>
        </pc:spChg>
        <pc:spChg chg="mod">
          <ac:chgData name="Kawtar SADIQ" userId="65df04e4-2d23-4bab-afb0-40df8a2c1b9f" providerId="ADAL" clId="{13E48CF6-3C07-4AA7-848A-1E964CBB0D3A}" dt="2022-12-01T12:31:00.151" v="27512"/>
          <ac:spMkLst>
            <pc:docMk/>
            <pc:sldMk cId="378349315" sldId="2076138207"/>
            <ac:spMk id="185" creationId="{C8490763-7738-4F90-AFF4-6521C6DD9A75}"/>
          </ac:spMkLst>
        </pc:spChg>
        <pc:spChg chg="mod">
          <ac:chgData name="Kawtar SADIQ" userId="65df04e4-2d23-4bab-afb0-40df8a2c1b9f" providerId="ADAL" clId="{13E48CF6-3C07-4AA7-848A-1E964CBB0D3A}" dt="2022-12-01T12:31:00.151" v="27512"/>
          <ac:spMkLst>
            <pc:docMk/>
            <pc:sldMk cId="378349315" sldId="2076138207"/>
            <ac:spMk id="188" creationId="{1DBF9EBD-2631-4A46-AE4A-3A8503130A3C}"/>
          </ac:spMkLst>
        </pc:spChg>
        <pc:spChg chg="add del mod">
          <ac:chgData name="Kawtar SADIQ" userId="65df04e4-2d23-4bab-afb0-40df8a2c1b9f" providerId="ADAL" clId="{13E48CF6-3C07-4AA7-848A-1E964CBB0D3A}" dt="2022-12-01T12:36:20.528" v="27535" actId="478"/>
          <ac:spMkLst>
            <pc:docMk/>
            <pc:sldMk cId="378349315" sldId="2076138207"/>
            <ac:spMk id="190" creationId="{2C754ABB-BC98-4993-8224-BE5E9B2B8F0F}"/>
          </ac:spMkLst>
        </pc:spChg>
        <pc:spChg chg="add del mod">
          <ac:chgData name="Kawtar SADIQ" userId="65df04e4-2d23-4bab-afb0-40df8a2c1b9f" providerId="ADAL" clId="{13E48CF6-3C07-4AA7-848A-1E964CBB0D3A}" dt="2022-12-01T12:36:20.528" v="27535" actId="478"/>
          <ac:spMkLst>
            <pc:docMk/>
            <pc:sldMk cId="378349315" sldId="2076138207"/>
            <ac:spMk id="191" creationId="{2312C0B2-800B-40BF-A75D-F4E13166A4B0}"/>
          </ac:spMkLst>
        </pc:spChg>
        <pc:spChg chg="add del mod">
          <ac:chgData name="Kawtar SADIQ" userId="65df04e4-2d23-4bab-afb0-40df8a2c1b9f" providerId="ADAL" clId="{13E48CF6-3C07-4AA7-848A-1E964CBB0D3A}" dt="2022-12-01T12:36:20.528" v="27535" actId="478"/>
          <ac:spMkLst>
            <pc:docMk/>
            <pc:sldMk cId="378349315" sldId="2076138207"/>
            <ac:spMk id="192" creationId="{16F2F993-3E23-4ECF-8605-7A5F860D0D57}"/>
          </ac:spMkLst>
        </pc:spChg>
        <pc:spChg chg="mod">
          <ac:chgData name="Kawtar SADIQ" userId="65df04e4-2d23-4bab-afb0-40df8a2c1b9f" providerId="ADAL" clId="{13E48CF6-3C07-4AA7-848A-1E964CBB0D3A}" dt="2022-12-01T12:35:01.004" v="27531"/>
          <ac:spMkLst>
            <pc:docMk/>
            <pc:sldMk cId="378349315" sldId="2076138207"/>
            <ac:spMk id="194" creationId="{EC021392-E7CC-4505-83A2-B76F39C28EE1}"/>
          </ac:spMkLst>
        </pc:spChg>
        <pc:spChg chg="mod">
          <ac:chgData name="Kawtar SADIQ" userId="65df04e4-2d23-4bab-afb0-40df8a2c1b9f" providerId="ADAL" clId="{13E48CF6-3C07-4AA7-848A-1E964CBB0D3A}" dt="2022-12-01T12:35:01.004" v="27531"/>
          <ac:spMkLst>
            <pc:docMk/>
            <pc:sldMk cId="378349315" sldId="2076138207"/>
            <ac:spMk id="197" creationId="{D9326995-0635-45D5-811A-11BAEE432342}"/>
          </ac:spMkLst>
        </pc:spChg>
        <pc:spChg chg="mod">
          <ac:chgData name="Kawtar SADIQ" userId="65df04e4-2d23-4bab-afb0-40df8a2c1b9f" providerId="ADAL" clId="{13E48CF6-3C07-4AA7-848A-1E964CBB0D3A}" dt="2022-12-01T12:35:01.004" v="27531"/>
          <ac:spMkLst>
            <pc:docMk/>
            <pc:sldMk cId="378349315" sldId="2076138207"/>
            <ac:spMk id="200" creationId="{4C7CF231-F464-440C-BE5E-955C9298ED9E}"/>
          </ac:spMkLst>
        </pc:spChg>
        <pc:spChg chg="mod">
          <ac:chgData name="Kawtar SADIQ" userId="65df04e4-2d23-4bab-afb0-40df8a2c1b9f" providerId="ADAL" clId="{13E48CF6-3C07-4AA7-848A-1E964CBB0D3A}" dt="2022-12-01T12:35:01.004" v="27531"/>
          <ac:spMkLst>
            <pc:docMk/>
            <pc:sldMk cId="378349315" sldId="2076138207"/>
            <ac:spMk id="203" creationId="{44166AB0-8C3F-424C-BE8E-6A488E5A9E48}"/>
          </ac:spMkLst>
        </pc:spChg>
        <pc:spChg chg="mod">
          <ac:chgData name="Kawtar SADIQ" userId="65df04e4-2d23-4bab-afb0-40df8a2c1b9f" providerId="ADAL" clId="{13E48CF6-3C07-4AA7-848A-1E964CBB0D3A}" dt="2022-12-01T12:35:01.004" v="27531"/>
          <ac:spMkLst>
            <pc:docMk/>
            <pc:sldMk cId="378349315" sldId="2076138207"/>
            <ac:spMk id="206" creationId="{51B12A4F-B59A-4C9D-A56E-39C1822A50E7}"/>
          </ac:spMkLst>
        </pc:spChg>
        <pc:spChg chg="mod">
          <ac:chgData name="Kawtar SADIQ" userId="65df04e4-2d23-4bab-afb0-40df8a2c1b9f" providerId="ADAL" clId="{13E48CF6-3C07-4AA7-848A-1E964CBB0D3A}" dt="2022-12-01T12:35:01.004" v="27531"/>
          <ac:spMkLst>
            <pc:docMk/>
            <pc:sldMk cId="378349315" sldId="2076138207"/>
            <ac:spMk id="209" creationId="{A2DC48B6-39E7-42D7-BF53-F832574D4684}"/>
          </ac:spMkLst>
        </pc:spChg>
        <pc:spChg chg="mod">
          <ac:chgData name="Kawtar SADIQ" userId="65df04e4-2d23-4bab-afb0-40df8a2c1b9f" providerId="ADAL" clId="{13E48CF6-3C07-4AA7-848A-1E964CBB0D3A}" dt="2022-12-01T12:35:01.004" v="27531"/>
          <ac:spMkLst>
            <pc:docMk/>
            <pc:sldMk cId="378349315" sldId="2076138207"/>
            <ac:spMk id="212" creationId="{3142F9D8-E68C-4214-8463-45EF9E45C4C8}"/>
          </ac:spMkLst>
        </pc:spChg>
        <pc:spChg chg="mod">
          <ac:chgData name="Kawtar SADIQ" userId="65df04e4-2d23-4bab-afb0-40df8a2c1b9f" providerId="ADAL" clId="{13E48CF6-3C07-4AA7-848A-1E964CBB0D3A}" dt="2022-12-01T12:35:01.004" v="27531"/>
          <ac:spMkLst>
            <pc:docMk/>
            <pc:sldMk cId="378349315" sldId="2076138207"/>
            <ac:spMk id="215" creationId="{A5313009-F004-4676-B0C1-131674693998}"/>
          </ac:spMkLst>
        </pc:spChg>
        <pc:spChg chg="mod">
          <ac:chgData name="Kawtar SADIQ" userId="65df04e4-2d23-4bab-afb0-40df8a2c1b9f" providerId="ADAL" clId="{13E48CF6-3C07-4AA7-848A-1E964CBB0D3A}" dt="2022-12-01T12:35:01.004" v="27531"/>
          <ac:spMkLst>
            <pc:docMk/>
            <pc:sldMk cId="378349315" sldId="2076138207"/>
            <ac:spMk id="218" creationId="{92DE9B6E-1FEA-4D62-84DE-61D20AD72074}"/>
          </ac:spMkLst>
        </pc:spChg>
        <pc:grpChg chg="add del mod">
          <ac:chgData name="Kawtar SADIQ" userId="65df04e4-2d23-4bab-afb0-40df8a2c1b9f" providerId="ADAL" clId="{13E48CF6-3C07-4AA7-848A-1E964CBB0D3A}" dt="2022-11-29T19:51:16.064" v="12118" actId="478"/>
          <ac:grpSpMkLst>
            <pc:docMk/>
            <pc:sldMk cId="378349315" sldId="2076138207"/>
            <ac:grpSpMk id="17" creationId="{CA1B921F-7BAF-4687-B66D-CBF790C77BCE}"/>
          </ac:grpSpMkLst>
        </pc:grpChg>
        <pc:grpChg chg="add del mod">
          <ac:chgData name="Kawtar SADIQ" userId="65df04e4-2d23-4bab-afb0-40df8a2c1b9f" providerId="ADAL" clId="{13E48CF6-3C07-4AA7-848A-1E964CBB0D3A}" dt="2022-12-01T12:31:30.082" v="27515" actId="478"/>
          <ac:grpSpMkLst>
            <pc:docMk/>
            <pc:sldMk cId="378349315" sldId="2076138207"/>
            <ac:grpSpMk id="22" creationId="{3A51C8BB-6BB7-40C3-B53C-1C4F6304A17A}"/>
          </ac:grpSpMkLst>
        </pc:grpChg>
        <pc:grpChg chg="add del mod">
          <ac:chgData name="Kawtar SADIQ" userId="65df04e4-2d23-4bab-afb0-40df8a2c1b9f" providerId="ADAL" clId="{13E48CF6-3C07-4AA7-848A-1E964CBB0D3A}" dt="2022-12-01T12:31:30.082" v="27515" actId="478"/>
          <ac:grpSpMkLst>
            <pc:docMk/>
            <pc:sldMk cId="378349315" sldId="2076138207"/>
            <ac:grpSpMk id="23" creationId="{F9AAA402-4A6B-4E09-9745-8959C417CBF1}"/>
          </ac:grpSpMkLst>
        </pc:grpChg>
        <pc:grpChg chg="add del mod">
          <ac:chgData name="Kawtar SADIQ" userId="65df04e4-2d23-4bab-afb0-40df8a2c1b9f" providerId="ADAL" clId="{13E48CF6-3C07-4AA7-848A-1E964CBB0D3A}" dt="2022-12-01T12:31:30.082" v="27515" actId="478"/>
          <ac:grpSpMkLst>
            <pc:docMk/>
            <pc:sldMk cId="378349315" sldId="2076138207"/>
            <ac:grpSpMk id="24" creationId="{CA825E34-FA20-43D8-A0E4-B0156E1E19ED}"/>
          </ac:grpSpMkLst>
        </pc:grpChg>
        <pc:grpChg chg="add del mod">
          <ac:chgData name="Kawtar SADIQ" userId="65df04e4-2d23-4bab-afb0-40df8a2c1b9f" providerId="ADAL" clId="{13E48CF6-3C07-4AA7-848A-1E964CBB0D3A}" dt="2022-11-29T19:51:12.904" v="12116" actId="478"/>
          <ac:grpSpMkLst>
            <pc:docMk/>
            <pc:sldMk cId="378349315" sldId="2076138207"/>
            <ac:grpSpMk id="51" creationId="{CD670B66-CF7A-495D-864D-379649E5954C}"/>
          </ac:grpSpMkLst>
        </pc:grpChg>
        <pc:grpChg chg="add del mod">
          <ac:chgData name="Kawtar SADIQ" userId="65df04e4-2d23-4bab-afb0-40df8a2c1b9f" providerId="ADAL" clId="{13E48CF6-3C07-4AA7-848A-1E964CBB0D3A}" dt="2022-11-29T19:50:22.656" v="12085" actId="478"/>
          <ac:grpSpMkLst>
            <pc:docMk/>
            <pc:sldMk cId="378349315" sldId="2076138207"/>
            <ac:grpSpMk id="55" creationId="{16687C2E-B602-4B7D-8A05-4A242F288E4F}"/>
          </ac:grpSpMkLst>
        </pc:grpChg>
        <pc:grpChg chg="add del mod">
          <ac:chgData name="Kawtar SADIQ" userId="65df04e4-2d23-4bab-afb0-40df8a2c1b9f" providerId="ADAL" clId="{13E48CF6-3C07-4AA7-848A-1E964CBB0D3A}" dt="2022-11-29T19:51:09.304" v="12114" actId="478"/>
          <ac:grpSpMkLst>
            <pc:docMk/>
            <pc:sldMk cId="378349315" sldId="2076138207"/>
            <ac:grpSpMk id="58" creationId="{4F917242-EEEA-4ACA-9033-E3A579B0E1AC}"/>
          </ac:grpSpMkLst>
        </pc:grpChg>
        <pc:grpChg chg="add del mod">
          <ac:chgData name="Kawtar SADIQ" userId="65df04e4-2d23-4bab-afb0-40df8a2c1b9f" providerId="ADAL" clId="{13E48CF6-3C07-4AA7-848A-1E964CBB0D3A}" dt="2022-11-29T20:04:19.910" v="12291" actId="478"/>
          <ac:grpSpMkLst>
            <pc:docMk/>
            <pc:sldMk cId="378349315" sldId="2076138207"/>
            <ac:grpSpMk id="61" creationId="{451EA4B1-EC77-4124-8B39-3F2BF9EF3CE8}"/>
          </ac:grpSpMkLst>
        </pc:grpChg>
        <pc:grpChg chg="add mod">
          <ac:chgData name="Kawtar SADIQ" userId="65df04e4-2d23-4bab-afb0-40df8a2c1b9f" providerId="ADAL" clId="{13E48CF6-3C07-4AA7-848A-1E964CBB0D3A}" dt="2022-12-01T12:35:56.878" v="27534" actId="1076"/>
          <ac:grpSpMkLst>
            <pc:docMk/>
            <pc:sldMk cId="378349315" sldId="2076138207"/>
            <ac:grpSpMk id="71" creationId="{FB0741DF-5191-451F-B99F-E9FFD5061E90}"/>
          </ac:grpSpMkLst>
        </pc:grpChg>
        <pc:grpChg chg="add del mod">
          <ac:chgData name="Kawtar SADIQ" userId="65df04e4-2d23-4bab-afb0-40df8a2c1b9f" providerId="ADAL" clId="{13E48CF6-3C07-4AA7-848A-1E964CBB0D3A}" dt="2022-12-01T12:15:15.624" v="26966"/>
          <ac:grpSpMkLst>
            <pc:docMk/>
            <pc:sldMk cId="378349315" sldId="2076138207"/>
            <ac:grpSpMk id="79" creationId="{1170D6E9-D6BB-409C-976F-5B90683DCB0F}"/>
          </ac:grpSpMkLst>
        </pc:grpChg>
        <pc:grpChg chg="add mod">
          <ac:chgData name="Kawtar SADIQ" userId="65df04e4-2d23-4bab-afb0-40df8a2c1b9f" providerId="ADAL" clId="{13E48CF6-3C07-4AA7-848A-1E964CBB0D3A}" dt="2022-12-01T12:35:45.252" v="27533" actId="1076"/>
          <ac:grpSpMkLst>
            <pc:docMk/>
            <pc:sldMk cId="378349315" sldId="2076138207"/>
            <ac:grpSpMk id="90" creationId="{A3F37090-E0AF-4F89-95A4-40F73A639B7C}"/>
          </ac:grpSpMkLst>
        </pc:grpChg>
        <pc:grpChg chg="add mod">
          <ac:chgData name="Kawtar SADIQ" userId="65df04e4-2d23-4bab-afb0-40df8a2c1b9f" providerId="ADAL" clId="{13E48CF6-3C07-4AA7-848A-1E964CBB0D3A}" dt="2022-12-01T12:35:45.252" v="27533" actId="1076"/>
          <ac:grpSpMkLst>
            <pc:docMk/>
            <pc:sldMk cId="378349315" sldId="2076138207"/>
            <ac:grpSpMk id="94" creationId="{2B986123-3858-49E0-9311-9A92A56D5A5C}"/>
          </ac:grpSpMkLst>
        </pc:grpChg>
        <pc:grpChg chg="add del mod">
          <ac:chgData name="Kawtar SADIQ" userId="65df04e4-2d23-4bab-afb0-40df8a2c1b9f" providerId="ADAL" clId="{13E48CF6-3C07-4AA7-848A-1E964CBB0D3A}" dt="2022-11-29T20:41:09.052" v="13100" actId="478"/>
          <ac:grpSpMkLst>
            <pc:docMk/>
            <pc:sldMk cId="378349315" sldId="2076138207"/>
            <ac:grpSpMk id="97" creationId="{3B593D19-F522-4401-BB55-03759D15B794}"/>
          </ac:grpSpMkLst>
        </pc:grpChg>
        <pc:grpChg chg="add mod">
          <ac:chgData name="Kawtar SADIQ" userId="65df04e4-2d23-4bab-afb0-40df8a2c1b9f" providerId="ADAL" clId="{13E48CF6-3C07-4AA7-848A-1E964CBB0D3A}" dt="2022-12-01T12:18:05.410" v="27125" actId="1076"/>
          <ac:grpSpMkLst>
            <pc:docMk/>
            <pc:sldMk cId="378349315" sldId="2076138207"/>
            <ac:grpSpMk id="97" creationId="{6090DA38-72B1-40C7-911E-641D2FB6A165}"/>
          </ac:grpSpMkLst>
        </pc:grpChg>
        <pc:grpChg chg="add del mod">
          <ac:chgData name="Kawtar SADIQ" userId="65df04e4-2d23-4bab-afb0-40df8a2c1b9f" providerId="ADAL" clId="{13E48CF6-3C07-4AA7-848A-1E964CBB0D3A}" dt="2022-11-29T20:42:33.432" v="13120" actId="478"/>
          <ac:grpSpMkLst>
            <pc:docMk/>
            <pc:sldMk cId="378349315" sldId="2076138207"/>
            <ac:grpSpMk id="98" creationId="{BFA521AD-9EC0-482D-B0DF-81993D0D5CB4}"/>
          </ac:grpSpMkLst>
        </pc:grpChg>
        <pc:grpChg chg="add mod">
          <ac:chgData name="Kawtar SADIQ" userId="65df04e4-2d23-4bab-afb0-40df8a2c1b9f" providerId="ADAL" clId="{13E48CF6-3C07-4AA7-848A-1E964CBB0D3A}" dt="2022-12-01T12:18:09.047" v="27126" actId="1076"/>
          <ac:grpSpMkLst>
            <pc:docMk/>
            <pc:sldMk cId="378349315" sldId="2076138207"/>
            <ac:grpSpMk id="100" creationId="{DE0642CF-F0C8-4AED-81AB-1E341B600CF0}"/>
          </ac:grpSpMkLst>
        </pc:grpChg>
        <pc:grpChg chg="add mod">
          <ac:chgData name="Kawtar SADIQ" userId="65df04e4-2d23-4bab-afb0-40df8a2c1b9f" providerId="ADAL" clId="{13E48CF6-3C07-4AA7-848A-1E964CBB0D3A}" dt="2022-12-01T12:39:07.620" v="27572" actId="1036"/>
          <ac:grpSpMkLst>
            <pc:docMk/>
            <pc:sldMk cId="378349315" sldId="2076138207"/>
            <ac:grpSpMk id="104" creationId="{05F4525B-35B3-415A-A234-614AE84A0D06}"/>
          </ac:grpSpMkLst>
        </pc:grpChg>
        <pc:grpChg chg="add mod">
          <ac:chgData name="Kawtar SADIQ" userId="65df04e4-2d23-4bab-afb0-40df8a2c1b9f" providerId="ADAL" clId="{13E48CF6-3C07-4AA7-848A-1E964CBB0D3A}" dt="2022-12-01T12:39:13.703" v="27587" actId="1036"/>
          <ac:grpSpMkLst>
            <pc:docMk/>
            <pc:sldMk cId="378349315" sldId="2076138207"/>
            <ac:grpSpMk id="107" creationId="{B10253CD-A6CE-447C-B1E5-24A00864D9A8}"/>
          </ac:grpSpMkLst>
        </pc:grpChg>
        <pc:grpChg chg="add mod">
          <ac:chgData name="Kawtar SADIQ" userId="65df04e4-2d23-4bab-afb0-40df8a2c1b9f" providerId="ADAL" clId="{13E48CF6-3C07-4AA7-848A-1E964CBB0D3A}" dt="2022-12-01T12:39:36.935" v="27597" actId="1037"/>
          <ac:grpSpMkLst>
            <pc:docMk/>
            <pc:sldMk cId="378349315" sldId="2076138207"/>
            <ac:grpSpMk id="110" creationId="{D28CDD58-B2DB-45A1-AF22-0A9CE09B5E8B}"/>
          </ac:grpSpMkLst>
        </pc:grpChg>
        <pc:grpChg chg="add mod">
          <ac:chgData name="Kawtar SADIQ" userId="65df04e4-2d23-4bab-afb0-40df8a2c1b9f" providerId="ADAL" clId="{13E48CF6-3C07-4AA7-848A-1E964CBB0D3A}" dt="2022-12-01T12:37:33.954" v="27550" actId="1076"/>
          <ac:grpSpMkLst>
            <pc:docMk/>
            <pc:sldMk cId="378349315" sldId="2076138207"/>
            <ac:grpSpMk id="113" creationId="{EA598BBF-6D68-4867-9B0F-6C7830CE7C06}"/>
          </ac:grpSpMkLst>
        </pc:grpChg>
        <pc:grpChg chg="add mod">
          <ac:chgData name="Kawtar SADIQ" userId="65df04e4-2d23-4bab-afb0-40df8a2c1b9f" providerId="ADAL" clId="{13E48CF6-3C07-4AA7-848A-1E964CBB0D3A}" dt="2022-12-01T12:39:32.170" v="27589" actId="1036"/>
          <ac:grpSpMkLst>
            <pc:docMk/>
            <pc:sldMk cId="378349315" sldId="2076138207"/>
            <ac:grpSpMk id="117" creationId="{B5B0171F-04BC-4847-9B4C-037CE315251D}"/>
          </ac:grpSpMkLst>
        </pc:grpChg>
        <pc:grpChg chg="add mod">
          <ac:chgData name="Kawtar SADIQ" userId="65df04e4-2d23-4bab-afb0-40df8a2c1b9f" providerId="ADAL" clId="{13E48CF6-3C07-4AA7-848A-1E964CBB0D3A}" dt="2022-12-01T12:37:33.954" v="27550" actId="1076"/>
          <ac:grpSpMkLst>
            <pc:docMk/>
            <pc:sldMk cId="378349315" sldId="2076138207"/>
            <ac:grpSpMk id="120" creationId="{864C4524-22A9-496E-BF4E-71AC7EC92560}"/>
          </ac:grpSpMkLst>
        </pc:grpChg>
        <pc:grpChg chg="add mod">
          <ac:chgData name="Kawtar SADIQ" userId="65df04e4-2d23-4bab-afb0-40df8a2c1b9f" providerId="ADAL" clId="{13E48CF6-3C07-4AA7-848A-1E964CBB0D3A}" dt="2022-12-01T12:32:48.979" v="27521" actId="1076"/>
          <ac:grpSpMkLst>
            <pc:docMk/>
            <pc:sldMk cId="378349315" sldId="2076138207"/>
            <ac:grpSpMk id="124" creationId="{06020389-8B63-4A8F-A2A3-4A41E644A4FD}"/>
          </ac:grpSpMkLst>
        </pc:grpChg>
        <pc:grpChg chg="add mod">
          <ac:chgData name="Kawtar SADIQ" userId="65df04e4-2d23-4bab-afb0-40df8a2c1b9f" providerId="ADAL" clId="{13E48CF6-3C07-4AA7-848A-1E964CBB0D3A}" dt="2022-12-01T12:32:52.386" v="27522" actId="1076"/>
          <ac:grpSpMkLst>
            <pc:docMk/>
            <pc:sldMk cId="378349315" sldId="2076138207"/>
            <ac:grpSpMk id="127" creationId="{0D37EC0B-1E40-4E89-85C2-4C0610944A27}"/>
          </ac:grpSpMkLst>
        </pc:grpChg>
        <pc:grpChg chg="add mod">
          <ac:chgData name="Kawtar SADIQ" userId="65df04e4-2d23-4bab-afb0-40df8a2c1b9f" providerId="ADAL" clId="{13E48CF6-3C07-4AA7-848A-1E964CBB0D3A}" dt="2022-12-01T12:33:28.793" v="27524" actId="1076"/>
          <ac:grpSpMkLst>
            <pc:docMk/>
            <pc:sldMk cId="378349315" sldId="2076138207"/>
            <ac:grpSpMk id="130" creationId="{B50CAA72-18F1-4C95-9D6E-1076BAB5BC0F}"/>
          </ac:grpSpMkLst>
        </pc:grpChg>
        <pc:grpChg chg="add del mod">
          <ac:chgData name="Kawtar SADIQ" userId="65df04e4-2d23-4bab-afb0-40df8a2c1b9f" providerId="ADAL" clId="{13E48CF6-3C07-4AA7-848A-1E964CBB0D3A}" dt="2022-12-01T12:25:41.951" v="27299" actId="478"/>
          <ac:grpSpMkLst>
            <pc:docMk/>
            <pc:sldMk cId="378349315" sldId="2076138207"/>
            <ac:grpSpMk id="133" creationId="{3022C690-F2B1-4AFA-BCB2-C2519CCA8B03}"/>
          </ac:grpSpMkLst>
        </pc:grpChg>
        <pc:grpChg chg="add mod">
          <ac:chgData name="Kawtar SADIQ" userId="65df04e4-2d23-4bab-afb0-40df8a2c1b9f" providerId="ADAL" clId="{13E48CF6-3C07-4AA7-848A-1E964CBB0D3A}" dt="2022-12-01T12:26:36.235" v="27322" actId="1076"/>
          <ac:grpSpMkLst>
            <pc:docMk/>
            <pc:sldMk cId="378349315" sldId="2076138207"/>
            <ac:grpSpMk id="136" creationId="{2731549B-2C21-40D7-89F7-34EAD5F0E7D3}"/>
          </ac:grpSpMkLst>
        </pc:grpChg>
        <pc:grpChg chg="add mod">
          <ac:chgData name="Kawtar SADIQ" userId="65df04e4-2d23-4bab-afb0-40df8a2c1b9f" providerId="ADAL" clId="{13E48CF6-3C07-4AA7-848A-1E964CBB0D3A}" dt="2022-12-01T12:26:41.679" v="27323" actId="1076"/>
          <ac:grpSpMkLst>
            <pc:docMk/>
            <pc:sldMk cId="378349315" sldId="2076138207"/>
            <ac:grpSpMk id="139" creationId="{EB897BE2-F259-4E9D-A9BD-1EB5A2421E84}"/>
          </ac:grpSpMkLst>
        </pc:grpChg>
        <pc:grpChg chg="add mod">
          <ac:chgData name="Kawtar SADIQ" userId="65df04e4-2d23-4bab-afb0-40df8a2c1b9f" providerId="ADAL" clId="{13E48CF6-3C07-4AA7-848A-1E964CBB0D3A}" dt="2022-12-01T12:32:36.855" v="27518" actId="1076"/>
          <ac:grpSpMkLst>
            <pc:docMk/>
            <pc:sldMk cId="378349315" sldId="2076138207"/>
            <ac:grpSpMk id="142" creationId="{324B6D2B-4DA9-4F90-8030-E539C7AF7CFB}"/>
          </ac:grpSpMkLst>
        </pc:grpChg>
        <pc:grpChg chg="add mod">
          <ac:chgData name="Kawtar SADIQ" userId="65df04e4-2d23-4bab-afb0-40df8a2c1b9f" providerId="ADAL" clId="{13E48CF6-3C07-4AA7-848A-1E964CBB0D3A}" dt="2022-12-01T12:32:36.855" v="27518" actId="1076"/>
          <ac:grpSpMkLst>
            <pc:docMk/>
            <pc:sldMk cId="378349315" sldId="2076138207"/>
            <ac:grpSpMk id="145" creationId="{9A9F55B0-9BD3-47D7-BFAB-061EA1D763BC}"/>
          </ac:grpSpMkLst>
        </pc:grpChg>
        <pc:grpChg chg="add mod">
          <ac:chgData name="Kawtar SADIQ" userId="65df04e4-2d23-4bab-afb0-40df8a2c1b9f" providerId="ADAL" clId="{13E48CF6-3C07-4AA7-848A-1E964CBB0D3A}" dt="2022-12-01T12:38:34.781" v="27563" actId="1037"/>
          <ac:grpSpMkLst>
            <pc:docMk/>
            <pc:sldMk cId="378349315" sldId="2076138207"/>
            <ac:grpSpMk id="148" creationId="{F4A42801-1B5C-44B6-A622-02F16DAC5654}"/>
          </ac:grpSpMkLst>
        </pc:grpChg>
        <pc:grpChg chg="add mod">
          <ac:chgData name="Kawtar SADIQ" userId="65df04e4-2d23-4bab-afb0-40df8a2c1b9f" providerId="ADAL" clId="{13E48CF6-3C07-4AA7-848A-1E964CBB0D3A}" dt="2022-12-01T12:38:34.781" v="27563" actId="1037"/>
          <ac:grpSpMkLst>
            <pc:docMk/>
            <pc:sldMk cId="378349315" sldId="2076138207"/>
            <ac:grpSpMk id="151" creationId="{2BDF6613-8D86-477B-B178-7B4132ED9730}"/>
          </ac:grpSpMkLst>
        </pc:grpChg>
        <pc:grpChg chg="add mod">
          <ac:chgData name="Kawtar SADIQ" userId="65df04e4-2d23-4bab-afb0-40df8a2c1b9f" providerId="ADAL" clId="{13E48CF6-3C07-4AA7-848A-1E964CBB0D3A}" dt="2022-12-01T12:30:42.432" v="27507" actId="1036"/>
          <ac:grpSpMkLst>
            <pc:docMk/>
            <pc:sldMk cId="378349315" sldId="2076138207"/>
            <ac:grpSpMk id="154" creationId="{28F788C9-1BEC-45EB-8C7D-4828613B0E4A}"/>
          </ac:grpSpMkLst>
        </pc:grpChg>
        <pc:grpChg chg="add mod">
          <ac:chgData name="Kawtar SADIQ" userId="65df04e4-2d23-4bab-afb0-40df8a2c1b9f" providerId="ADAL" clId="{13E48CF6-3C07-4AA7-848A-1E964CBB0D3A}" dt="2022-12-01T12:30:42.432" v="27507" actId="1036"/>
          <ac:grpSpMkLst>
            <pc:docMk/>
            <pc:sldMk cId="378349315" sldId="2076138207"/>
            <ac:grpSpMk id="157" creationId="{838DE9E1-C886-4938-853C-7105103EB53B}"/>
          </ac:grpSpMkLst>
        </pc:grpChg>
        <pc:grpChg chg="add mod">
          <ac:chgData name="Kawtar SADIQ" userId="65df04e4-2d23-4bab-afb0-40df8a2c1b9f" providerId="ADAL" clId="{13E48CF6-3C07-4AA7-848A-1E964CBB0D3A}" dt="2022-12-01T12:30:42.432" v="27507" actId="1036"/>
          <ac:grpSpMkLst>
            <pc:docMk/>
            <pc:sldMk cId="378349315" sldId="2076138207"/>
            <ac:grpSpMk id="160" creationId="{A76A2A47-0ED3-43D2-B8BF-AB6CC85C6853}"/>
          </ac:grpSpMkLst>
        </pc:grpChg>
        <pc:grpChg chg="add mod">
          <ac:chgData name="Kawtar SADIQ" userId="65df04e4-2d23-4bab-afb0-40df8a2c1b9f" providerId="ADAL" clId="{13E48CF6-3C07-4AA7-848A-1E964CBB0D3A}" dt="2022-12-01T12:33:14.667" v="27523" actId="1076"/>
          <ac:grpSpMkLst>
            <pc:docMk/>
            <pc:sldMk cId="378349315" sldId="2076138207"/>
            <ac:grpSpMk id="163" creationId="{8DAE153B-5997-4AFF-9FA4-70A577953D83}"/>
          </ac:grpSpMkLst>
        </pc:grpChg>
        <pc:grpChg chg="add mod">
          <ac:chgData name="Kawtar SADIQ" userId="65df04e4-2d23-4bab-afb0-40df8a2c1b9f" providerId="ADAL" clId="{13E48CF6-3C07-4AA7-848A-1E964CBB0D3A}" dt="2022-12-01T12:33:14.667" v="27523" actId="1076"/>
          <ac:grpSpMkLst>
            <pc:docMk/>
            <pc:sldMk cId="378349315" sldId="2076138207"/>
            <ac:grpSpMk id="166" creationId="{FA02AF26-5BEF-48C2-8C65-BE89A8F13583}"/>
          </ac:grpSpMkLst>
        </pc:grpChg>
        <pc:grpChg chg="add mod">
          <ac:chgData name="Kawtar SADIQ" userId="65df04e4-2d23-4bab-afb0-40df8a2c1b9f" providerId="ADAL" clId="{13E48CF6-3C07-4AA7-848A-1E964CBB0D3A}" dt="2022-12-01T12:33:14.667" v="27523" actId="1076"/>
          <ac:grpSpMkLst>
            <pc:docMk/>
            <pc:sldMk cId="378349315" sldId="2076138207"/>
            <ac:grpSpMk id="169" creationId="{EA10224B-D03F-4CEA-8D82-94D886F49162}"/>
          </ac:grpSpMkLst>
        </pc:grpChg>
        <pc:grpChg chg="add del mod">
          <ac:chgData name="Kawtar SADIQ" userId="65df04e4-2d23-4bab-afb0-40df8a2c1b9f" providerId="ADAL" clId="{13E48CF6-3C07-4AA7-848A-1E964CBB0D3A}" dt="2022-12-01T12:29:46.990" v="27423"/>
          <ac:grpSpMkLst>
            <pc:docMk/>
            <pc:sldMk cId="378349315" sldId="2076138207"/>
            <ac:grpSpMk id="172" creationId="{0A9457FB-CBF4-46F8-BFB6-7AD20C12EC90}"/>
          </ac:grpSpMkLst>
        </pc:grpChg>
        <pc:grpChg chg="add del mod">
          <ac:chgData name="Kawtar SADIQ" userId="65df04e4-2d23-4bab-afb0-40df8a2c1b9f" providerId="ADAL" clId="{13E48CF6-3C07-4AA7-848A-1E964CBB0D3A}" dt="2022-12-01T12:29:46.990" v="27423"/>
          <ac:grpSpMkLst>
            <pc:docMk/>
            <pc:sldMk cId="378349315" sldId="2076138207"/>
            <ac:grpSpMk id="175" creationId="{A5EEDFD2-D0CA-4182-A169-58D67C1555CD}"/>
          </ac:grpSpMkLst>
        </pc:grpChg>
        <pc:grpChg chg="add del mod">
          <ac:chgData name="Kawtar SADIQ" userId="65df04e4-2d23-4bab-afb0-40df8a2c1b9f" providerId="ADAL" clId="{13E48CF6-3C07-4AA7-848A-1E964CBB0D3A}" dt="2022-12-01T12:29:46.990" v="27423"/>
          <ac:grpSpMkLst>
            <pc:docMk/>
            <pc:sldMk cId="378349315" sldId="2076138207"/>
            <ac:grpSpMk id="178" creationId="{655A2AC1-4457-4F57-AE45-55C668945E18}"/>
          </ac:grpSpMkLst>
        </pc:grpChg>
        <pc:grpChg chg="add mod">
          <ac:chgData name="Kawtar SADIQ" userId="65df04e4-2d23-4bab-afb0-40df8a2c1b9f" providerId="ADAL" clId="{13E48CF6-3C07-4AA7-848A-1E964CBB0D3A}" dt="2022-12-01T12:33:14.667" v="27523" actId="1076"/>
          <ac:grpSpMkLst>
            <pc:docMk/>
            <pc:sldMk cId="378349315" sldId="2076138207"/>
            <ac:grpSpMk id="181" creationId="{19EF827B-3C4B-4301-A453-5748D1016AA4}"/>
          </ac:grpSpMkLst>
        </pc:grpChg>
        <pc:grpChg chg="add mod">
          <ac:chgData name="Kawtar SADIQ" userId="65df04e4-2d23-4bab-afb0-40df8a2c1b9f" providerId="ADAL" clId="{13E48CF6-3C07-4AA7-848A-1E964CBB0D3A}" dt="2022-12-01T12:33:14.667" v="27523" actId="1076"/>
          <ac:grpSpMkLst>
            <pc:docMk/>
            <pc:sldMk cId="378349315" sldId="2076138207"/>
            <ac:grpSpMk id="184" creationId="{E14A3921-BA99-40A9-9E4C-6E7FB77F0FA4}"/>
          </ac:grpSpMkLst>
        </pc:grpChg>
        <pc:grpChg chg="add mod">
          <ac:chgData name="Kawtar SADIQ" userId="65df04e4-2d23-4bab-afb0-40df8a2c1b9f" providerId="ADAL" clId="{13E48CF6-3C07-4AA7-848A-1E964CBB0D3A}" dt="2022-12-01T12:33:14.667" v="27523" actId="1076"/>
          <ac:grpSpMkLst>
            <pc:docMk/>
            <pc:sldMk cId="378349315" sldId="2076138207"/>
            <ac:grpSpMk id="187" creationId="{18FC5D95-3B12-4662-B72B-3709E65C93ED}"/>
          </ac:grpSpMkLst>
        </pc:grpChg>
        <pc:grpChg chg="add del mod">
          <ac:chgData name="Kawtar SADIQ" userId="65df04e4-2d23-4bab-afb0-40df8a2c1b9f" providerId="ADAL" clId="{13E48CF6-3C07-4AA7-848A-1E964CBB0D3A}" dt="2022-12-01T12:36:20.528" v="27535" actId="478"/>
          <ac:grpSpMkLst>
            <pc:docMk/>
            <pc:sldMk cId="378349315" sldId="2076138207"/>
            <ac:grpSpMk id="193" creationId="{90BFCCD5-DFAE-49A8-8DD6-A5BE5C1DFBD9}"/>
          </ac:grpSpMkLst>
        </pc:grpChg>
        <pc:grpChg chg="add del mod">
          <ac:chgData name="Kawtar SADIQ" userId="65df04e4-2d23-4bab-afb0-40df8a2c1b9f" providerId="ADAL" clId="{13E48CF6-3C07-4AA7-848A-1E964CBB0D3A}" dt="2022-12-01T12:36:20.528" v="27535" actId="478"/>
          <ac:grpSpMkLst>
            <pc:docMk/>
            <pc:sldMk cId="378349315" sldId="2076138207"/>
            <ac:grpSpMk id="196" creationId="{0BEB7846-673C-4DF1-8C08-0F2B75EB3786}"/>
          </ac:grpSpMkLst>
        </pc:grpChg>
        <pc:grpChg chg="add del mod">
          <ac:chgData name="Kawtar SADIQ" userId="65df04e4-2d23-4bab-afb0-40df8a2c1b9f" providerId="ADAL" clId="{13E48CF6-3C07-4AA7-848A-1E964CBB0D3A}" dt="2022-12-01T12:36:20.528" v="27535" actId="478"/>
          <ac:grpSpMkLst>
            <pc:docMk/>
            <pc:sldMk cId="378349315" sldId="2076138207"/>
            <ac:grpSpMk id="199" creationId="{0D8937F1-4708-4194-A97E-E0A904BDC73C}"/>
          </ac:grpSpMkLst>
        </pc:grpChg>
        <pc:grpChg chg="add del mod">
          <ac:chgData name="Kawtar SADIQ" userId="65df04e4-2d23-4bab-afb0-40df8a2c1b9f" providerId="ADAL" clId="{13E48CF6-3C07-4AA7-848A-1E964CBB0D3A}" dt="2022-12-01T12:36:20.528" v="27535" actId="478"/>
          <ac:grpSpMkLst>
            <pc:docMk/>
            <pc:sldMk cId="378349315" sldId="2076138207"/>
            <ac:grpSpMk id="202" creationId="{3DD2524F-2938-4EE1-945A-018290A893EE}"/>
          </ac:grpSpMkLst>
        </pc:grpChg>
        <pc:grpChg chg="add del mod">
          <ac:chgData name="Kawtar SADIQ" userId="65df04e4-2d23-4bab-afb0-40df8a2c1b9f" providerId="ADAL" clId="{13E48CF6-3C07-4AA7-848A-1E964CBB0D3A}" dt="2022-12-01T12:36:20.528" v="27535" actId="478"/>
          <ac:grpSpMkLst>
            <pc:docMk/>
            <pc:sldMk cId="378349315" sldId="2076138207"/>
            <ac:grpSpMk id="205" creationId="{A29B0D32-03E7-4221-9851-DEBF065242F5}"/>
          </ac:grpSpMkLst>
        </pc:grpChg>
        <pc:grpChg chg="add del mod">
          <ac:chgData name="Kawtar SADIQ" userId="65df04e4-2d23-4bab-afb0-40df8a2c1b9f" providerId="ADAL" clId="{13E48CF6-3C07-4AA7-848A-1E964CBB0D3A}" dt="2022-12-01T12:36:20.528" v="27535" actId="478"/>
          <ac:grpSpMkLst>
            <pc:docMk/>
            <pc:sldMk cId="378349315" sldId="2076138207"/>
            <ac:grpSpMk id="208" creationId="{066271A4-D5C2-45A4-B937-EBE53154C1B9}"/>
          </ac:grpSpMkLst>
        </pc:grpChg>
        <pc:grpChg chg="add del mod">
          <ac:chgData name="Kawtar SADIQ" userId="65df04e4-2d23-4bab-afb0-40df8a2c1b9f" providerId="ADAL" clId="{13E48CF6-3C07-4AA7-848A-1E964CBB0D3A}" dt="2022-12-01T12:36:20.528" v="27535" actId="478"/>
          <ac:grpSpMkLst>
            <pc:docMk/>
            <pc:sldMk cId="378349315" sldId="2076138207"/>
            <ac:grpSpMk id="211" creationId="{1B0A1626-438E-469E-805B-0400DB09ABCF}"/>
          </ac:grpSpMkLst>
        </pc:grpChg>
        <pc:grpChg chg="add del mod">
          <ac:chgData name="Kawtar SADIQ" userId="65df04e4-2d23-4bab-afb0-40df8a2c1b9f" providerId="ADAL" clId="{13E48CF6-3C07-4AA7-848A-1E964CBB0D3A}" dt="2022-12-01T12:36:20.528" v="27535" actId="478"/>
          <ac:grpSpMkLst>
            <pc:docMk/>
            <pc:sldMk cId="378349315" sldId="2076138207"/>
            <ac:grpSpMk id="214" creationId="{8FADBA4F-275C-42AB-BD1A-25237BC26261}"/>
          </ac:grpSpMkLst>
        </pc:grpChg>
        <pc:grpChg chg="add del mod">
          <ac:chgData name="Kawtar SADIQ" userId="65df04e4-2d23-4bab-afb0-40df8a2c1b9f" providerId="ADAL" clId="{13E48CF6-3C07-4AA7-848A-1E964CBB0D3A}" dt="2022-12-01T12:36:20.528" v="27535" actId="478"/>
          <ac:grpSpMkLst>
            <pc:docMk/>
            <pc:sldMk cId="378349315" sldId="2076138207"/>
            <ac:grpSpMk id="217" creationId="{533877D9-A01B-4EB8-8F46-709D82CB0295}"/>
          </ac:grpSpMkLst>
        </pc:grpChg>
        <pc:graphicFrameChg chg="mod modGraphic">
          <ac:chgData name="Kawtar SADIQ" userId="65df04e4-2d23-4bab-afb0-40df8a2c1b9f" providerId="ADAL" clId="{13E48CF6-3C07-4AA7-848A-1E964CBB0D3A}" dt="2022-11-29T20:46:05.411" v="13243" actId="1076"/>
          <ac:graphicFrameMkLst>
            <pc:docMk/>
            <pc:sldMk cId="378349315" sldId="2076138207"/>
            <ac:graphicFrameMk id="6" creationId="{9530E5CB-5B9B-4E70-BB9F-3104F0F9DB04}"/>
          </ac:graphicFrameMkLst>
        </pc:graphicFrameChg>
        <pc:graphicFrameChg chg="add del mod">
          <ac:chgData name="Kawtar SADIQ" userId="65df04e4-2d23-4bab-afb0-40df8a2c1b9f" providerId="ADAL" clId="{13E48CF6-3C07-4AA7-848A-1E964CBB0D3A}" dt="2022-12-01T12:24:08.914" v="27266"/>
          <ac:graphicFrameMkLst>
            <pc:docMk/>
            <pc:sldMk cId="378349315" sldId="2076138207"/>
            <ac:graphicFrameMk id="123" creationId="{73ACCDEE-C2D2-4CE6-8E31-B5E1F23F49A6}"/>
          </ac:graphicFrameMkLst>
        </pc:graphicFrameChg>
        <pc:picChg chg="add del mod">
          <ac:chgData name="Kawtar SADIQ" userId="65df04e4-2d23-4bab-afb0-40df8a2c1b9f" providerId="ADAL" clId="{13E48CF6-3C07-4AA7-848A-1E964CBB0D3A}" dt="2022-12-01T12:11:55.621" v="26923" actId="478"/>
          <ac:picMkLst>
            <pc:docMk/>
            <pc:sldMk cId="378349315" sldId="2076138207"/>
            <ac:picMk id="16" creationId="{66AE7822-B76B-4D8D-B33F-9A0F16595CEF}"/>
          </ac:picMkLst>
        </pc:picChg>
        <pc:picChg chg="add del">
          <ac:chgData name="Kawtar SADIQ" userId="65df04e4-2d23-4bab-afb0-40df8a2c1b9f" providerId="ADAL" clId="{13E48CF6-3C07-4AA7-848A-1E964CBB0D3A}" dt="2022-12-01T12:11:18.228" v="26909" actId="22"/>
          <ac:picMkLst>
            <pc:docMk/>
            <pc:sldMk cId="378349315" sldId="2076138207"/>
            <ac:picMk id="19" creationId="{212D51C3-ED10-4EC5-A6D8-FFADB33D3A79}"/>
          </ac:picMkLst>
        </pc:picChg>
        <pc:picChg chg="add mod">
          <ac:chgData name="Kawtar SADIQ" userId="65df04e4-2d23-4bab-afb0-40df8a2c1b9f" providerId="ADAL" clId="{13E48CF6-3C07-4AA7-848A-1E964CBB0D3A}" dt="2022-12-01T12:21:03.625" v="27182"/>
          <ac:picMkLst>
            <pc:docMk/>
            <pc:sldMk cId="378349315" sldId="2076138207"/>
            <ac:picMk id="21" creationId="{6AE592C0-FA64-4976-89C1-B4858D73C026}"/>
          </ac:picMkLst>
        </pc:picChg>
        <pc:picChg chg="add mod">
          <ac:chgData name="Kawtar SADIQ" userId="65df04e4-2d23-4bab-afb0-40df8a2c1b9f" providerId="ADAL" clId="{13E48CF6-3C07-4AA7-848A-1E964CBB0D3A}" dt="2022-12-01T12:21:07.783" v="27183"/>
          <ac:picMkLst>
            <pc:docMk/>
            <pc:sldMk cId="378349315" sldId="2076138207"/>
            <ac:picMk id="65" creationId="{8DE4137A-82F0-4F42-A688-E7EF7212CA5B}"/>
          </ac:picMkLst>
        </pc:picChg>
        <pc:picChg chg="add mod">
          <ac:chgData name="Kawtar SADIQ" userId="65df04e4-2d23-4bab-afb0-40df8a2c1b9f" providerId="ADAL" clId="{13E48CF6-3C07-4AA7-848A-1E964CBB0D3A}" dt="2022-12-01T12:21:11.772" v="27184"/>
          <ac:picMkLst>
            <pc:docMk/>
            <pc:sldMk cId="378349315" sldId="2076138207"/>
            <ac:picMk id="69" creationId="{CA99D653-F07B-4A11-9865-B61F2CDD2C04}"/>
          </ac:picMkLst>
        </pc:picChg>
        <pc:picChg chg="mod">
          <ac:chgData name="Kawtar SADIQ" userId="65df04e4-2d23-4bab-afb0-40df8a2c1b9f" providerId="ADAL" clId="{13E48CF6-3C07-4AA7-848A-1E964CBB0D3A}" dt="2022-12-01T12:20:50.747" v="27181"/>
          <ac:picMkLst>
            <pc:docMk/>
            <pc:sldMk cId="378349315" sldId="2076138207"/>
            <ac:picMk id="78" creationId="{FF248613-3B30-402C-8B51-F0696860D0DD}"/>
          </ac:picMkLst>
        </pc:picChg>
        <pc:picChg chg="mod">
          <ac:chgData name="Kawtar SADIQ" userId="65df04e4-2d23-4bab-afb0-40df8a2c1b9f" providerId="ADAL" clId="{13E48CF6-3C07-4AA7-848A-1E964CBB0D3A}" dt="2022-12-01T12:15:10.308" v="26965"/>
          <ac:picMkLst>
            <pc:docMk/>
            <pc:sldMk cId="378349315" sldId="2076138207"/>
            <ac:picMk id="86" creationId="{81366E2F-DB2B-4DFC-A165-46A250A77EB2}"/>
          </ac:picMkLst>
        </pc:picChg>
        <pc:picChg chg="add mod topLvl">
          <ac:chgData name="Kawtar SADIQ" userId="65df04e4-2d23-4bab-afb0-40df8a2c1b9f" providerId="ADAL" clId="{13E48CF6-3C07-4AA7-848A-1E964CBB0D3A}" dt="2022-11-29T20:44:03.112" v="13156" actId="1035"/>
          <ac:picMkLst>
            <pc:docMk/>
            <pc:sldMk cId="378349315" sldId="2076138207"/>
            <ac:picMk id="91" creationId="{98914D34-BF38-4C18-8558-EBDA746EF100}"/>
          </ac:picMkLst>
        </pc:picChg>
        <pc:picChg chg="mod">
          <ac:chgData name="Kawtar SADIQ" userId="65df04e4-2d23-4bab-afb0-40df8a2c1b9f" providerId="ADAL" clId="{13E48CF6-3C07-4AA7-848A-1E964CBB0D3A}" dt="2022-12-01T12:20:42.488" v="27179"/>
          <ac:picMkLst>
            <pc:docMk/>
            <pc:sldMk cId="378349315" sldId="2076138207"/>
            <ac:picMk id="93" creationId="{A56A7A2F-AB07-48B5-BB3B-B071B5A6BAAF}"/>
          </ac:picMkLst>
        </pc:picChg>
        <pc:picChg chg="mod">
          <ac:chgData name="Kawtar SADIQ" userId="65df04e4-2d23-4bab-afb0-40df8a2c1b9f" providerId="ADAL" clId="{13E48CF6-3C07-4AA7-848A-1E964CBB0D3A}" dt="2022-12-01T12:20:47.230" v="27180"/>
          <ac:picMkLst>
            <pc:docMk/>
            <pc:sldMk cId="378349315" sldId="2076138207"/>
            <ac:picMk id="96" creationId="{0295EABB-6761-42E8-9AFF-DA18D6547608}"/>
          </ac:picMkLst>
        </pc:picChg>
        <pc:picChg chg="mod">
          <ac:chgData name="Kawtar SADIQ" userId="65df04e4-2d23-4bab-afb0-40df8a2c1b9f" providerId="ADAL" clId="{13E48CF6-3C07-4AA7-848A-1E964CBB0D3A}" dt="2022-12-01T12:20:38.431" v="27178"/>
          <ac:picMkLst>
            <pc:docMk/>
            <pc:sldMk cId="378349315" sldId="2076138207"/>
            <ac:picMk id="99" creationId="{9EAF309B-7EE9-4D76-B804-D3E4999D83C0}"/>
          </ac:picMkLst>
        </pc:picChg>
        <pc:picChg chg="mod">
          <ac:chgData name="Kawtar SADIQ" userId="65df04e4-2d23-4bab-afb0-40df8a2c1b9f" providerId="ADAL" clId="{13E48CF6-3C07-4AA7-848A-1E964CBB0D3A}" dt="2022-11-29T20:38:50.894" v="13068"/>
          <ac:picMkLst>
            <pc:docMk/>
            <pc:sldMk cId="378349315" sldId="2076138207"/>
            <ac:picMk id="99" creationId="{A468E6FF-DD3B-4C27-A493-A3F4B8C3A7DB}"/>
          </ac:picMkLst>
        </pc:picChg>
        <pc:picChg chg="mod">
          <ac:chgData name="Kawtar SADIQ" userId="65df04e4-2d23-4bab-afb0-40df8a2c1b9f" providerId="ADAL" clId="{13E48CF6-3C07-4AA7-848A-1E964CBB0D3A}" dt="2022-12-01T12:20:32.125" v="27177"/>
          <ac:picMkLst>
            <pc:docMk/>
            <pc:sldMk cId="378349315" sldId="2076138207"/>
            <ac:picMk id="103" creationId="{AFD46422-22F0-4752-9B8E-D674C801A84A}"/>
          </ac:picMkLst>
        </pc:picChg>
        <pc:picChg chg="mod">
          <ac:chgData name="Kawtar SADIQ" userId="65df04e4-2d23-4bab-afb0-40df8a2c1b9f" providerId="ADAL" clId="{13E48CF6-3C07-4AA7-848A-1E964CBB0D3A}" dt="2022-12-01T12:20:21.978" v="27175"/>
          <ac:picMkLst>
            <pc:docMk/>
            <pc:sldMk cId="378349315" sldId="2076138207"/>
            <ac:picMk id="106" creationId="{8880E8B4-24D1-4433-811A-02164E8EC090}"/>
          </ac:picMkLst>
        </pc:picChg>
        <pc:picChg chg="mod">
          <ac:chgData name="Kawtar SADIQ" userId="65df04e4-2d23-4bab-afb0-40df8a2c1b9f" providerId="ADAL" clId="{13E48CF6-3C07-4AA7-848A-1E964CBB0D3A}" dt="2022-12-01T12:20:26.160" v="27176"/>
          <ac:picMkLst>
            <pc:docMk/>
            <pc:sldMk cId="378349315" sldId="2076138207"/>
            <ac:picMk id="109" creationId="{0A7BA8AC-3631-4B4C-A4FB-DA36DB7C94EF}"/>
          </ac:picMkLst>
        </pc:picChg>
        <pc:picChg chg="mod">
          <ac:chgData name="Kawtar SADIQ" userId="65df04e4-2d23-4bab-afb0-40df8a2c1b9f" providerId="ADAL" clId="{13E48CF6-3C07-4AA7-848A-1E964CBB0D3A}" dt="2022-12-01T12:21:29.539" v="27185"/>
          <ac:picMkLst>
            <pc:docMk/>
            <pc:sldMk cId="378349315" sldId="2076138207"/>
            <ac:picMk id="112" creationId="{F4C83057-EA85-4210-A751-B46050C54787}"/>
          </ac:picMkLst>
        </pc:picChg>
        <pc:picChg chg="mod">
          <ac:chgData name="Kawtar SADIQ" userId="65df04e4-2d23-4bab-afb0-40df8a2c1b9f" providerId="ADAL" clId="{13E48CF6-3C07-4AA7-848A-1E964CBB0D3A}" dt="2022-12-01T12:22:00.373" v="27219"/>
          <ac:picMkLst>
            <pc:docMk/>
            <pc:sldMk cId="378349315" sldId="2076138207"/>
            <ac:picMk id="115" creationId="{258A89FB-FDFA-4C41-BEE3-F7FFFF8E787F}"/>
          </ac:picMkLst>
        </pc:picChg>
        <pc:picChg chg="mod">
          <ac:chgData name="Kawtar SADIQ" userId="65df04e4-2d23-4bab-afb0-40df8a2c1b9f" providerId="ADAL" clId="{13E48CF6-3C07-4AA7-848A-1E964CBB0D3A}" dt="2022-12-01T12:22:55.276" v="27253"/>
          <ac:picMkLst>
            <pc:docMk/>
            <pc:sldMk cId="378349315" sldId="2076138207"/>
            <ac:picMk id="119" creationId="{02A0C191-F2AE-45E4-A884-704B167C923F}"/>
          </ac:picMkLst>
        </pc:picChg>
        <pc:picChg chg="mod">
          <ac:chgData name="Kawtar SADIQ" userId="65df04e4-2d23-4bab-afb0-40df8a2c1b9f" providerId="ADAL" clId="{13E48CF6-3C07-4AA7-848A-1E964CBB0D3A}" dt="2022-12-01T12:23:12.558" v="27257"/>
          <ac:picMkLst>
            <pc:docMk/>
            <pc:sldMk cId="378349315" sldId="2076138207"/>
            <ac:picMk id="122" creationId="{4423F156-BBB8-4964-8189-88D92BA49B96}"/>
          </ac:picMkLst>
        </pc:picChg>
        <pc:picChg chg="mod">
          <ac:chgData name="Kawtar SADIQ" userId="65df04e4-2d23-4bab-afb0-40df8a2c1b9f" providerId="ADAL" clId="{13E48CF6-3C07-4AA7-848A-1E964CBB0D3A}" dt="2022-12-01T12:24:14.095" v="27267"/>
          <ac:picMkLst>
            <pc:docMk/>
            <pc:sldMk cId="378349315" sldId="2076138207"/>
            <ac:picMk id="126" creationId="{2BD521BF-9870-4E58-8487-C5B5A4C4D1AD}"/>
          </ac:picMkLst>
        </pc:picChg>
        <pc:picChg chg="mod">
          <ac:chgData name="Kawtar SADIQ" userId="65df04e4-2d23-4bab-afb0-40df8a2c1b9f" providerId="ADAL" clId="{13E48CF6-3C07-4AA7-848A-1E964CBB0D3A}" dt="2022-12-01T12:24:23.581" v="27275"/>
          <ac:picMkLst>
            <pc:docMk/>
            <pc:sldMk cId="378349315" sldId="2076138207"/>
            <ac:picMk id="129" creationId="{FB7B97DD-98C4-428D-8B71-9CCA2B4A6966}"/>
          </ac:picMkLst>
        </pc:picChg>
        <pc:picChg chg="mod">
          <ac:chgData name="Kawtar SADIQ" userId="65df04e4-2d23-4bab-afb0-40df8a2c1b9f" providerId="ADAL" clId="{13E48CF6-3C07-4AA7-848A-1E964CBB0D3A}" dt="2022-12-01T12:24:45.496" v="27277"/>
          <ac:picMkLst>
            <pc:docMk/>
            <pc:sldMk cId="378349315" sldId="2076138207"/>
            <ac:picMk id="132" creationId="{8A6AB00D-E600-4F24-993F-D371AE21B8C3}"/>
          </ac:picMkLst>
        </pc:picChg>
        <pc:picChg chg="del mod topLvl">
          <ac:chgData name="Kawtar SADIQ" userId="65df04e4-2d23-4bab-afb0-40df8a2c1b9f" providerId="ADAL" clId="{13E48CF6-3C07-4AA7-848A-1E964CBB0D3A}" dt="2022-12-01T12:25:44.586" v="27300" actId="478"/>
          <ac:picMkLst>
            <pc:docMk/>
            <pc:sldMk cId="378349315" sldId="2076138207"/>
            <ac:picMk id="135" creationId="{E676F4AD-E5A2-4FAB-A698-BA5A12E5A3AD}"/>
          </ac:picMkLst>
        </pc:picChg>
        <pc:picChg chg="mod">
          <ac:chgData name="Kawtar SADIQ" userId="65df04e4-2d23-4bab-afb0-40df8a2c1b9f" providerId="ADAL" clId="{13E48CF6-3C07-4AA7-848A-1E964CBB0D3A}" dt="2022-12-01T12:26:27.251" v="27320"/>
          <ac:picMkLst>
            <pc:docMk/>
            <pc:sldMk cId="378349315" sldId="2076138207"/>
            <ac:picMk id="138" creationId="{27B93AB8-C18D-4391-BEAB-ADF4A438996D}"/>
          </ac:picMkLst>
        </pc:picChg>
        <pc:picChg chg="mod">
          <ac:chgData name="Kawtar SADIQ" userId="65df04e4-2d23-4bab-afb0-40df8a2c1b9f" providerId="ADAL" clId="{13E48CF6-3C07-4AA7-848A-1E964CBB0D3A}" dt="2022-12-01T12:26:27.251" v="27320"/>
          <ac:picMkLst>
            <pc:docMk/>
            <pc:sldMk cId="378349315" sldId="2076138207"/>
            <ac:picMk id="141" creationId="{01846E2B-F321-45A5-99AA-D5BC710A3E10}"/>
          </ac:picMkLst>
        </pc:picChg>
        <pc:picChg chg="mod">
          <ac:chgData name="Kawtar SADIQ" userId="65df04e4-2d23-4bab-afb0-40df8a2c1b9f" providerId="ADAL" clId="{13E48CF6-3C07-4AA7-848A-1E964CBB0D3A}" dt="2022-12-01T12:27:48.409" v="27357"/>
          <ac:picMkLst>
            <pc:docMk/>
            <pc:sldMk cId="378349315" sldId="2076138207"/>
            <ac:picMk id="144" creationId="{649090F3-EC31-41C9-AC8A-E2D2490A87AD}"/>
          </ac:picMkLst>
        </pc:picChg>
        <pc:picChg chg="mod">
          <ac:chgData name="Kawtar SADIQ" userId="65df04e4-2d23-4bab-afb0-40df8a2c1b9f" providerId="ADAL" clId="{13E48CF6-3C07-4AA7-848A-1E964CBB0D3A}" dt="2022-12-01T12:27:48.409" v="27357"/>
          <ac:picMkLst>
            <pc:docMk/>
            <pc:sldMk cId="378349315" sldId="2076138207"/>
            <ac:picMk id="147" creationId="{72D52DDF-4ECE-43A5-8E27-5CE816AB3788}"/>
          </ac:picMkLst>
        </pc:picChg>
        <pc:picChg chg="mod">
          <ac:chgData name="Kawtar SADIQ" userId="65df04e4-2d23-4bab-afb0-40df8a2c1b9f" providerId="ADAL" clId="{13E48CF6-3C07-4AA7-848A-1E964CBB0D3A}" dt="2022-12-01T12:28:17.241" v="27362"/>
          <ac:picMkLst>
            <pc:docMk/>
            <pc:sldMk cId="378349315" sldId="2076138207"/>
            <ac:picMk id="150" creationId="{1CA408C0-BC58-4DFE-B8A8-97E0AD0F8E1C}"/>
          </ac:picMkLst>
        </pc:picChg>
        <pc:picChg chg="mod">
          <ac:chgData name="Kawtar SADIQ" userId="65df04e4-2d23-4bab-afb0-40df8a2c1b9f" providerId="ADAL" clId="{13E48CF6-3C07-4AA7-848A-1E964CBB0D3A}" dt="2022-12-01T12:28:17.241" v="27362"/>
          <ac:picMkLst>
            <pc:docMk/>
            <pc:sldMk cId="378349315" sldId="2076138207"/>
            <ac:picMk id="153" creationId="{EAA7C34D-71A7-43DC-96A7-B34A10198D02}"/>
          </ac:picMkLst>
        </pc:picChg>
        <pc:picChg chg="mod">
          <ac:chgData name="Kawtar SADIQ" userId="65df04e4-2d23-4bab-afb0-40df8a2c1b9f" providerId="ADAL" clId="{13E48CF6-3C07-4AA7-848A-1E964CBB0D3A}" dt="2022-12-01T12:28:49.307" v="27373"/>
          <ac:picMkLst>
            <pc:docMk/>
            <pc:sldMk cId="378349315" sldId="2076138207"/>
            <ac:picMk id="156" creationId="{513C10A6-A4F9-441E-AB08-8096C0CAAE9A}"/>
          </ac:picMkLst>
        </pc:picChg>
        <pc:picChg chg="mod">
          <ac:chgData name="Kawtar SADIQ" userId="65df04e4-2d23-4bab-afb0-40df8a2c1b9f" providerId="ADAL" clId="{13E48CF6-3C07-4AA7-848A-1E964CBB0D3A}" dt="2022-12-01T12:28:49.307" v="27373"/>
          <ac:picMkLst>
            <pc:docMk/>
            <pc:sldMk cId="378349315" sldId="2076138207"/>
            <ac:picMk id="159" creationId="{61E7660A-BDC3-4753-927C-38BED052725A}"/>
          </ac:picMkLst>
        </pc:picChg>
        <pc:picChg chg="mod">
          <ac:chgData name="Kawtar SADIQ" userId="65df04e4-2d23-4bab-afb0-40df8a2c1b9f" providerId="ADAL" clId="{13E48CF6-3C07-4AA7-848A-1E964CBB0D3A}" dt="2022-12-01T12:28:49.307" v="27373"/>
          <ac:picMkLst>
            <pc:docMk/>
            <pc:sldMk cId="378349315" sldId="2076138207"/>
            <ac:picMk id="162" creationId="{3181435E-3C75-418E-8C77-970178EE7AAE}"/>
          </ac:picMkLst>
        </pc:picChg>
        <pc:picChg chg="mod">
          <ac:chgData name="Kawtar SADIQ" userId="65df04e4-2d23-4bab-afb0-40df8a2c1b9f" providerId="ADAL" clId="{13E48CF6-3C07-4AA7-848A-1E964CBB0D3A}" dt="2022-12-01T12:29:40.357" v="27418"/>
          <ac:picMkLst>
            <pc:docMk/>
            <pc:sldMk cId="378349315" sldId="2076138207"/>
            <ac:picMk id="165" creationId="{A5CDF6A8-41A4-4C27-84FD-2642AF6B9C07}"/>
          </ac:picMkLst>
        </pc:picChg>
        <pc:picChg chg="mod">
          <ac:chgData name="Kawtar SADIQ" userId="65df04e4-2d23-4bab-afb0-40df8a2c1b9f" providerId="ADAL" clId="{13E48CF6-3C07-4AA7-848A-1E964CBB0D3A}" dt="2022-12-01T12:29:40.357" v="27418"/>
          <ac:picMkLst>
            <pc:docMk/>
            <pc:sldMk cId="378349315" sldId="2076138207"/>
            <ac:picMk id="168" creationId="{6BCBCF0C-5102-4D1C-93A5-4E44A8E6520A}"/>
          </ac:picMkLst>
        </pc:picChg>
        <pc:picChg chg="mod">
          <ac:chgData name="Kawtar SADIQ" userId="65df04e4-2d23-4bab-afb0-40df8a2c1b9f" providerId="ADAL" clId="{13E48CF6-3C07-4AA7-848A-1E964CBB0D3A}" dt="2022-12-01T12:29:40.357" v="27418"/>
          <ac:picMkLst>
            <pc:docMk/>
            <pc:sldMk cId="378349315" sldId="2076138207"/>
            <ac:picMk id="171" creationId="{525C4E77-4A55-485F-949A-396D9F724047}"/>
          </ac:picMkLst>
        </pc:picChg>
        <pc:picChg chg="mod">
          <ac:chgData name="Kawtar SADIQ" userId="65df04e4-2d23-4bab-afb0-40df8a2c1b9f" providerId="ADAL" clId="{13E48CF6-3C07-4AA7-848A-1E964CBB0D3A}" dt="2022-12-01T12:29:43.845" v="27420"/>
          <ac:picMkLst>
            <pc:docMk/>
            <pc:sldMk cId="378349315" sldId="2076138207"/>
            <ac:picMk id="174" creationId="{11D3FA43-AB0D-46BA-9E7C-4BABE26270D7}"/>
          </ac:picMkLst>
        </pc:picChg>
        <pc:picChg chg="mod">
          <ac:chgData name="Kawtar SADIQ" userId="65df04e4-2d23-4bab-afb0-40df8a2c1b9f" providerId="ADAL" clId="{13E48CF6-3C07-4AA7-848A-1E964CBB0D3A}" dt="2022-12-01T12:29:43.845" v="27420"/>
          <ac:picMkLst>
            <pc:docMk/>
            <pc:sldMk cId="378349315" sldId="2076138207"/>
            <ac:picMk id="177" creationId="{A149277A-AF47-4A26-A30E-543A073B3331}"/>
          </ac:picMkLst>
        </pc:picChg>
        <pc:picChg chg="mod">
          <ac:chgData name="Kawtar SADIQ" userId="65df04e4-2d23-4bab-afb0-40df8a2c1b9f" providerId="ADAL" clId="{13E48CF6-3C07-4AA7-848A-1E964CBB0D3A}" dt="2022-12-01T12:29:43.845" v="27420"/>
          <ac:picMkLst>
            <pc:docMk/>
            <pc:sldMk cId="378349315" sldId="2076138207"/>
            <ac:picMk id="180" creationId="{DB6C3777-682F-4F96-9CBA-D5B62AB86D1D}"/>
          </ac:picMkLst>
        </pc:picChg>
        <pc:picChg chg="mod">
          <ac:chgData name="Kawtar SADIQ" userId="65df04e4-2d23-4bab-afb0-40df8a2c1b9f" providerId="ADAL" clId="{13E48CF6-3C07-4AA7-848A-1E964CBB0D3A}" dt="2022-12-01T12:31:00.151" v="27512"/>
          <ac:picMkLst>
            <pc:docMk/>
            <pc:sldMk cId="378349315" sldId="2076138207"/>
            <ac:picMk id="183" creationId="{3F097483-FA93-4085-880D-8E0B58FD1D3F}"/>
          </ac:picMkLst>
        </pc:picChg>
        <pc:picChg chg="mod">
          <ac:chgData name="Kawtar SADIQ" userId="65df04e4-2d23-4bab-afb0-40df8a2c1b9f" providerId="ADAL" clId="{13E48CF6-3C07-4AA7-848A-1E964CBB0D3A}" dt="2022-12-01T12:31:00.151" v="27512"/>
          <ac:picMkLst>
            <pc:docMk/>
            <pc:sldMk cId="378349315" sldId="2076138207"/>
            <ac:picMk id="186" creationId="{5AB5AFA7-39F4-4A43-827A-C23CCFBC82E8}"/>
          </ac:picMkLst>
        </pc:picChg>
        <pc:picChg chg="mod">
          <ac:chgData name="Kawtar SADIQ" userId="65df04e4-2d23-4bab-afb0-40df8a2c1b9f" providerId="ADAL" clId="{13E48CF6-3C07-4AA7-848A-1E964CBB0D3A}" dt="2022-12-01T12:31:00.151" v="27512"/>
          <ac:picMkLst>
            <pc:docMk/>
            <pc:sldMk cId="378349315" sldId="2076138207"/>
            <ac:picMk id="189" creationId="{FAC16BCA-2F0F-4B71-B3ED-1FC950A0D893}"/>
          </ac:picMkLst>
        </pc:picChg>
        <pc:picChg chg="mod">
          <ac:chgData name="Kawtar SADIQ" userId="65df04e4-2d23-4bab-afb0-40df8a2c1b9f" providerId="ADAL" clId="{13E48CF6-3C07-4AA7-848A-1E964CBB0D3A}" dt="2022-12-01T12:35:01.004" v="27531"/>
          <ac:picMkLst>
            <pc:docMk/>
            <pc:sldMk cId="378349315" sldId="2076138207"/>
            <ac:picMk id="195" creationId="{85EB5132-53CF-4EBF-92FF-CC482A4E8891}"/>
          </ac:picMkLst>
        </pc:picChg>
        <pc:picChg chg="mod">
          <ac:chgData name="Kawtar SADIQ" userId="65df04e4-2d23-4bab-afb0-40df8a2c1b9f" providerId="ADAL" clId="{13E48CF6-3C07-4AA7-848A-1E964CBB0D3A}" dt="2022-12-01T12:35:01.004" v="27531"/>
          <ac:picMkLst>
            <pc:docMk/>
            <pc:sldMk cId="378349315" sldId="2076138207"/>
            <ac:picMk id="198" creationId="{179A6E4D-D937-4E11-8A9F-604F4AB4085C}"/>
          </ac:picMkLst>
        </pc:picChg>
        <pc:picChg chg="mod">
          <ac:chgData name="Kawtar SADIQ" userId="65df04e4-2d23-4bab-afb0-40df8a2c1b9f" providerId="ADAL" clId="{13E48CF6-3C07-4AA7-848A-1E964CBB0D3A}" dt="2022-12-01T12:35:01.004" v="27531"/>
          <ac:picMkLst>
            <pc:docMk/>
            <pc:sldMk cId="378349315" sldId="2076138207"/>
            <ac:picMk id="201" creationId="{A158A259-E2DE-4ABF-B8DF-B0CAFED32057}"/>
          </ac:picMkLst>
        </pc:picChg>
        <pc:picChg chg="mod">
          <ac:chgData name="Kawtar SADIQ" userId="65df04e4-2d23-4bab-afb0-40df8a2c1b9f" providerId="ADAL" clId="{13E48CF6-3C07-4AA7-848A-1E964CBB0D3A}" dt="2022-12-01T12:35:01.004" v="27531"/>
          <ac:picMkLst>
            <pc:docMk/>
            <pc:sldMk cId="378349315" sldId="2076138207"/>
            <ac:picMk id="204" creationId="{6652DC94-B4F2-42EB-926E-28544C450970}"/>
          </ac:picMkLst>
        </pc:picChg>
        <pc:picChg chg="mod">
          <ac:chgData name="Kawtar SADIQ" userId="65df04e4-2d23-4bab-afb0-40df8a2c1b9f" providerId="ADAL" clId="{13E48CF6-3C07-4AA7-848A-1E964CBB0D3A}" dt="2022-12-01T12:35:01.004" v="27531"/>
          <ac:picMkLst>
            <pc:docMk/>
            <pc:sldMk cId="378349315" sldId="2076138207"/>
            <ac:picMk id="207" creationId="{AD27E469-2E46-472A-9685-9AF5334D3E0C}"/>
          </ac:picMkLst>
        </pc:picChg>
        <pc:picChg chg="mod">
          <ac:chgData name="Kawtar SADIQ" userId="65df04e4-2d23-4bab-afb0-40df8a2c1b9f" providerId="ADAL" clId="{13E48CF6-3C07-4AA7-848A-1E964CBB0D3A}" dt="2022-12-01T12:35:01.004" v="27531"/>
          <ac:picMkLst>
            <pc:docMk/>
            <pc:sldMk cId="378349315" sldId="2076138207"/>
            <ac:picMk id="210" creationId="{B242255A-3DCC-4824-86F4-A0BA42D241E9}"/>
          </ac:picMkLst>
        </pc:picChg>
        <pc:picChg chg="mod">
          <ac:chgData name="Kawtar SADIQ" userId="65df04e4-2d23-4bab-afb0-40df8a2c1b9f" providerId="ADAL" clId="{13E48CF6-3C07-4AA7-848A-1E964CBB0D3A}" dt="2022-12-01T12:35:01.004" v="27531"/>
          <ac:picMkLst>
            <pc:docMk/>
            <pc:sldMk cId="378349315" sldId="2076138207"/>
            <ac:picMk id="213" creationId="{D711B864-F25A-42C2-87A5-486D046CEEAC}"/>
          </ac:picMkLst>
        </pc:picChg>
        <pc:picChg chg="mod">
          <ac:chgData name="Kawtar SADIQ" userId="65df04e4-2d23-4bab-afb0-40df8a2c1b9f" providerId="ADAL" clId="{13E48CF6-3C07-4AA7-848A-1E964CBB0D3A}" dt="2022-12-01T12:35:01.004" v="27531"/>
          <ac:picMkLst>
            <pc:docMk/>
            <pc:sldMk cId="378349315" sldId="2076138207"/>
            <ac:picMk id="216" creationId="{A46D03FE-FB80-4F08-B0A2-0A85BA637DE2}"/>
          </ac:picMkLst>
        </pc:picChg>
        <pc:picChg chg="mod">
          <ac:chgData name="Kawtar SADIQ" userId="65df04e4-2d23-4bab-afb0-40df8a2c1b9f" providerId="ADAL" clId="{13E48CF6-3C07-4AA7-848A-1E964CBB0D3A}" dt="2022-12-01T12:35:01.004" v="27531"/>
          <ac:picMkLst>
            <pc:docMk/>
            <pc:sldMk cId="378349315" sldId="2076138207"/>
            <ac:picMk id="219" creationId="{F22AF4B6-7379-4A8F-B8D8-29A986C0AF26}"/>
          </ac:picMkLst>
        </pc:picChg>
        <pc:cxnChg chg="del">
          <ac:chgData name="Kawtar SADIQ" userId="65df04e4-2d23-4bab-afb0-40df8a2c1b9f" providerId="ADAL" clId="{13E48CF6-3C07-4AA7-848A-1E964CBB0D3A}" dt="2022-11-29T18:10:47.208" v="10153" actId="478"/>
          <ac:cxnSpMkLst>
            <pc:docMk/>
            <pc:sldMk cId="378349315" sldId="2076138207"/>
            <ac:cxnSpMk id="12" creationId="{F6FF444D-207C-4511-8CDE-F27B750593AD}"/>
          </ac:cxnSpMkLst>
        </pc:cxnChg>
        <pc:cxnChg chg="del">
          <ac:chgData name="Kawtar SADIQ" userId="65df04e4-2d23-4bab-afb0-40df8a2c1b9f" providerId="ADAL" clId="{13E48CF6-3C07-4AA7-848A-1E964CBB0D3A}" dt="2022-11-29T18:10:47.208" v="10153" actId="478"/>
          <ac:cxnSpMkLst>
            <pc:docMk/>
            <pc:sldMk cId="378349315" sldId="2076138207"/>
            <ac:cxnSpMk id="28" creationId="{0A0CFE68-E586-4973-8295-89C00668DC6D}"/>
          </ac:cxnSpMkLst>
        </pc:cxnChg>
        <pc:cxnChg chg="add del mod topLvl">
          <ac:chgData name="Kawtar SADIQ" userId="65df04e4-2d23-4bab-afb0-40df8a2c1b9f" providerId="ADAL" clId="{13E48CF6-3C07-4AA7-848A-1E964CBB0D3A}" dt="2022-11-29T20:41:09.052" v="13100" actId="478"/>
          <ac:cxnSpMkLst>
            <pc:docMk/>
            <pc:sldMk cId="378349315" sldId="2076138207"/>
            <ac:cxnSpMk id="93" creationId="{AD07B7A8-7EDC-4B16-8DF5-0EDB4D4B46EC}"/>
          </ac:cxnSpMkLst>
        </pc:cxnChg>
        <pc:cxnChg chg="mod">
          <ac:chgData name="Kawtar SADIQ" userId="65df04e4-2d23-4bab-afb0-40df8a2c1b9f" providerId="ADAL" clId="{13E48CF6-3C07-4AA7-848A-1E964CBB0D3A}" dt="2022-11-29T20:38:50.894" v="13068"/>
          <ac:cxnSpMkLst>
            <pc:docMk/>
            <pc:sldMk cId="378349315" sldId="2076138207"/>
            <ac:cxnSpMk id="100" creationId="{F53EB947-9509-4533-8BE6-5E068C8D28B9}"/>
          </ac:cxnSpMkLst>
        </pc:cxnChg>
      </pc:sldChg>
      <pc:sldChg chg="add del">
        <pc:chgData name="Kawtar SADIQ" userId="65df04e4-2d23-4bab-afb0-40df8a2c1b9f" providerId="ADAL" clId="{13E48CF6-3C07-4AA7-848A-1E964CBB0D3A}" dt="2022-11-30T07:55:52.233" v="14241" actId="47"/>
        <pc:sldMkLst>
          <pc:docMk/>
          <pc:sldMk cId="771373440" sldId="2076138208"/>
        </pc:sldMkLst>
      </pc:sldChg>
      <pc:sldChg chg="addSp delSp modSp new del mod">
        <pc:chgData name="Kawtar SADIQ" userId="65df04e4-2d23-4bab-afb0-40df8a2c1b9f" providerId="ADAL" clId="{13E48CF6-3C07-4AA7-848A-1E964CBB0D3A}" dt="2022-11-30T13:53:06.753" v="20082" actId="47"/>
        <pc:sldMkLst>
          <pc:docMk/>
          <pc:sldMk cId="1217745021" sldId="2076138208"/>
        </pc:sldMkLst>
        <pc:spChg chg="mod">
          <ac:chgData name="Kawtar SADIQ" userId="65df04e4-2d23-4bab-afb0-40df8a2c1b9f" providerId="ADAL" clId="{13E48CF6-3C07-4AA7-848A-1E964CBB0D3A}" dt="2022-11-30T09:27:34.692" v="15795"/>
          <ac:spMkLst>
            <pc:docMk/>
            <pc:sldMk cId="1217745021" sldId="2076138208"/>
            <ac:spMk id="2" creationId="{6F902A8C-CCEA-4014-95C4-180DBA6F5D15}"/>
          </ac:spMkLst>
        </pc:spChg>
        <pc:spChg chg="del">
          <ac:chgData name="Kawtar SADIQ" userId="65df04e4-2d23-4bab-afb0-40df8a2c1b9f" providerId="ADAL" clId="{13E48CF6-3C07-4AA7-848A-1E964CBB0D3A}" dt="2022-11-30T09:13:07.563" v="15542" actId="478"/>
          <ac:spMkLst>
            <pc:docMk/>
            <pc:sldMk cId="1217745021" sldId="2076138208"/>
            <ac:spMk id="3" creationId="{B133040F-926F-4DE2-8E5B-7B742BB8630D}"/>
          </ac:spMkLst>
        </pc:spChg>
        <pc:spChg chg="add mod">
          <ac:chgData name="Kawtar SADIQ" userId="65df04e4-2d23-4bab-afb0-40df8a2c1b9f" providerId="ADAL" clId="{13E48CF6-3C07-4AA7-848A-1E964CBB0D3A}" dt="2022-11-30T09:21:43.612" v="15681" actId="1076"/>
          <ac:spMkLst>
            <pc:docMk/>
            <pc:sldMk cId="1217745021" sldId="2076138208"/>
            <ac:spMk id="5" creationId="{78275A74-DC07-405F-9FC9-5DA5830C130A}"/>
          </ac:spMkLst>
        </pc:spChg>
        <pc:spChg chg="add mod">
          <ac:chgData name="Kawtar SADIQ" userId="65df04e4-2d23-4bab-afb0-40df8a2c1b9f" providerId="ADAL" clId="{13E48CF6-3C07-4AA7-848A-1E964CBB0D3A}" dt="2022-11-30T09:21:43.612" v="15681" actId="1076"/>
          <ac:spMkLst>
            <pc:docMk/>
            <pc:sldMk cId="1217745021" sldId="2076138208"/>
            <ac:spMk id="6" creationId="{472A192C-698B-4E16-9E92-1A7D7C5FA256}"/>
          </ac:spMkLst>
        </pc:spChg>
        <pc:spChg chg="add mod">
          <ac:chgData name="Kawtar SADIQ" userId="65df04e4-2d23-4bab-afb0-40df8a2c1b9f" providerId="ADAL" clId="{13E48CF6-3C07-4AA7-848A-1E964CBB0D3A}" dt="2022-11-30T09:21:43.612" v="15681" actId="1076"/>
          <ac:spMkLst>
            <pc:docMk/>
            <pc:sldMk cId="1217745021" sldId="2076138208"/>
            <ac:spMk id="7" creationId="{1AEC9F61-6251-4058-9893-AC1E0BEEA712}"/>
          </ac:spMkLst>
        </pc:spChg>
        <pc:spChg chg="add mod">
          <ac:chgData name="Kawtar SADIQ" userId="65df04e4-2d23-4bab-afb0-40df8a2c1b9f" providerId="ADAL" clId="{13E48CF6-3C07-4AA7-848A-1E964CBB0D3A}" dt="2022-11-30T09:21:43.612" v="15681" actId="1076"/>
          <ac:spMkLst>
            <pc:docMk/>
            <pc:sldMk cId="1217745021" sldId="2076138208"/>
            <ac:spMk id="8" creationId="{96CBAB3C-31EC-4CB6-A2E2-7D1CA6B80C0F}"/>
          </ac:spMkLst>
        </pc:spChg>
        <pc:spChg chg="add mod">
          <ac:chgData name="Kawtar SADIQ" userId="65df04e4-2d23-4bab-afb0-40df8a2c1b9f" providerId="ADAL" clId="{13E48CF6-3C07-4AA7-848A-1E964CBB0D3A}" dt="2022-11-30T09:21:43.612" v="15681" actId="1076"/>
          <ac:spMkLst>
            <pc:docMk/>
            <pc:sldMk cId="1217745021" sldId="2076138208"/>
            <ac:spMk id="9" creationId="{9CB158D3-3626-4EB5-A7BD-19B8BD8D9B81}"/>
          </ac:spMkLst>
        </pc:spChg>
        <pc:spChg chg="add mod">
          <ac:chgData name="Kawtar SADIQ" userId="65df04e4-2d23-4bab-afb0-40df8a2c1b9f" providerId="ADAL" clId="{13E48CF6-3C07-4AA7-848A-1E964CBB0D3A}" dt="2022-11-30T09:21:43.612" v="15681" actId="1076"/>
          <ac:spMkLst>
            <pc:docMk/>
            <pc:sldMk cId="1217745021" sldId="2076138208"/>
            <ac:spMk id="11" creationId="{F1916F82-F0A0-48E0-9EFA-5F234FB3B7A8}"/>
          </ac:spMkLst>
        </pc:spChg>
        <pc:spChg chg="add mod">
          <ac:chgData name="Kawtar SADIQ" userId="65df04e4-2d23-4bab-afb0-40df8a2c1b9f" providerId="ADAL" clId="{13E48CF6-3C07-4AA7-848A-1E964CBB0D3A}" dt="2022-11-30T09:21:43.612" v="15681" actId="1076"/>
          <ac:spMkLst>
            <pc:docMk/>
            <pc:sldMk cId="1217745021" sldId="2076138208"/>
            <ac:spMk id="12" creationId="{0C81F72B-A543-4CF1-B317-6E8FE26D86B0}"/>
          </ac:spMkLst>
        </pc:spChg>
        <pc:spChg chg="add mod">
          <ac:chgData name="Kawtar SADIQ" userId="65df04e4-2d23-4bab-afb0-40df8a2c1b9f" providerId="ADAL" clId="{13E48CF6-3C07-4AA7-848A-1E964CBB0D3A}" dt="2022-11-30T09:24:36.211" v="15757" actId="1035"/>
          <ac:spMkLst>
            <pc:docMk/>
            <pc:sldMk cId="1217745021" sldId="2076138208"/>
            <ac:spMk id="14" creationId="{3C446809-ACA7-4346-9CD4-46FB7D6FD0D1}"/>
          </ac:spMkLst>
        </pc:spChg>
        <pc:spChg chg="add mod">
          <ac:chgData name="Kawtar SADIQ" userId="65df04e4-2d23-4bab-afb0-40df8a2c1b9f" providerId="ADAL" clId="{13E48CF6-3C07-4AA7-848A-1E964CBB0D3A}" dt="2022-11-30T09:24:36.211" v="15757" actId="1035"/>
          <ac:spMkLst>
            <pc:docMk/>
            <pc:sldMk cId="1217745021" sldId="2076138208"/>
            <ac:spMk id="15" creationId="{2EB96740-AB0C-4190-9B97-43FC6313757C}"/>
          </ac:spMkLst>
        </pc:spChg>
        <pc:spChg chg="add mod">
          <ac:chgData name="Kawtar SADIQ" userId="65df04e4-2d23-4bab-afb0-40df8a2c1b9f" providerId="ADAL" clId="{13E48CF6-3C07-4AA7-848A-1E964CBB0D3A}" dt="2022-11-30T11:38:03.678" v="17697" actId="6549"/>
          <ac:spMkLst>
            <pc:docMk/>
            <pc:sldMk cId="1217745021" sldId="2076138208"/>
            <ac:spMk id="16" creationId="{12204CFC-334E-4B8D-8581-EADB7D1EC5F4}"/>
          </ac:spMkLst>
        </pc:spChg>
        <pc:spChg chg="add mod">
          <ac:chgData name="Kawtar SADIQ" userId="65df04e4-2d23-4bab-afb0-40df8a2c1b9f" providerId="ADAL" clId="{13E48CF6-3C07-4AA7-848A-1E964CBB0D3A}" dt="2022-11-30T09:24:36.211" v="15757" actId="1035"/>
          <ac:spMkLst>
            <pc:docMk/>
            <pc:sldMk cId="1217745021" sldId="2076138208"/>
            <ac:spMk id="17" creationId="{AD374B4F-B28E-4AF2-BF2B-F0F8C32CA39A}"/>
          </ac:spMkLst>
        </pc:spChg>
        <pc:spChg chg="add mod">
          <ac:chgData name="Kawtar SADIQ" userId="65df04e4-2d23-4bab-afb0-40df8a2c1b9f" providerId="ADAL" clId="{13E48CF6-3C07-4AA7-848A-1E964CBB0D3A}" dt="2022-11-30T09:24:36.211" v="15757" actId="1035"/>
          <ac:spMkLst>
            <pc:docMk/>
            <pc:sldMk cId="1217745021" sldId="2076138208"/>
            <ac:spMk id="18" creationId="{85C67B30-C931-47AA-9AA6-36569005EE8A}"/>
          </ac:spMkLst>
        </pc:spChg>
        <pc:spChg chg="add mod">
          <ac:chgData name="Kawtar SADIQ" userId="65df04e4-2d23-4bab-afb0-40df8a2c1b9f" providerId="ADAL" clId="{13E48CF6-3C07-4AA7-848A-1E964CBB0D3A}" dt="2022-11-30T09:24:36.211" v="15757" actId="1035"/>
          <ac:spMkLst>
            <pc:docMk/>
            <pc:sldMk cId="1217745021" sldId="2076138208"/>
            <ac:spMk id="19" creationId="{DF1E850E-1709-4DCD-8258-D3F3FD876B05}"/>
          </ac:spMkLst>
        </pc:spChg>
        <pc:spChg chg="add mod">
          <ac:chgData name="Kawtar SADIQ" userId="65df04e4-2d23-4bab-afb0-40df8a2c1b9f" providerId="ADAL" clId="{13E48CF6-3C07-4AA7-848A-1E964CBB0D3A}" dt="2022-11-30T09:24:36.211" v="15757" actId="1035"/>
          <ac:spMkLst>
            <pc:docMk/>
            <pc:sldMk cId="1217745021" sldId="2076138208"/>
            <ac:spMk id="20" creationId="{2ECBE0FB-9364-4660-8169-F1443F182401}"/>
          </ac:spMkLst>
        </pc:spChg>
        <pc:spChg chg="add mod">
          <ac:chgData name="Kawtar SADIQ" userId="65df04e4-2d23-4bab-afb0-40df8a2c1b9f" providerId="ADAL" clId="{13E48CF6-3C07-4AA7-848A-1E964CBB0D3A}" dt="2022-11-30T09:24:36.211" v="15757" actId="1035"/>
          <ac:spMkLst>
            <pc:docMk/>
            <pc:sldMk cId="1217745021" sldId="2076138208"/>
            <ac:spMk id="21" creationId="{19DC96EB-3D1A-4D29-A716-59E7D5837EBE}"/>
          </ac:spMkLst>
        </pc:spChg>
        <pc:spChg chg="add mod">
          <ac:chgData name="Kawtar SADIQ" userId="65df04e4-2d23-4bab-afb0-40df8a2c1b9f" providerId="ADAL" clId="{13E48CF6-3C07-4AA7-848A-1E964CBB0D3A}" dt="2022-11-30T09:24:36.211" v="15757" actId="1035"/>
          <ac:spMkLst>
            <pc:docMk/>
            <pc:sldMk cId="1217745021" sldId="2076138208"/>
            <ac:spMk id="23" creationId="{AB568AA5-A378-4558-8939-CEE59318DD91}"/>
          </ac:spMkLst>
        </pc:spChg>
        <pc:spChg chg="add mod">
          <ac:chgData name="Kawtar SADIQ" userId="65df04e4-2d23-4bab-afb0-40df8a2c1b9f" providerId="ADAL" clId="{13E48CF6-3C07-4AA7-848A-1E964CBB0D3A}" dt="2022-11-30T09:24:36.211" v="15757" actId="1035"/>
          <ac:spMkLst>
            <pc:docMk/>
            <pc:sldMk cId="1217745021" sldId="2076138208"/>
            <ac:spMk id="24" creationId="{B33702DA-DFDD-4731-AB41-F022A4A13673}"/>
          </ac:spMkLst>
        </pc:spChg>
        <pc:spChg chg="add mod">
          <ac:chgData name="Kawtar SADIQ" userId="65df04e4-2d23-4bab-afb0-40df8a2c1b9f" providerId="ADAL" clId="{13E48CF6-3C07-4AA7-848A-1E964CBB0D3A}" dt="2022-11-30T09:24:36.211" v="15757" actId="1035"/>
          <ac:spMkLst>
            <pc:docMk/>
            <pc:sldMk cId="1217745021" sldId="2076138208"/>
            <ac:spMk id="25" creationId="{82FAB686-9E5E-4AF1-BF7C-B1D2467A50B6}"/>
          </ac:spMkLst>
        </pc:spChg>
        <pc:spChg chg="add del mod">
          <ac:chgData name="Kawtar SADIQ" userId="65df04e4-2d23-4bab-afb0-40df8a2c1b9f" providerId="ADAL" clId="{13E48CF6-3C07-4AA7-848A-1E964CBB0D3A}" dt="2022-11-30T09:23:39.996" v="15734" actId="478"/>
          <ac:spMkLst>
            <pc:docMk/>
            <pc:sldMk cId="1217745021" sldId="2076138208"/>
            <ac:spMk id="26" creationId="{D4889F3E-90A2-4F3C-8079-8741EDFD331A}"/>
          </ac:spMkLst>
        </pc:spChg>
        <pc:spChg chg="add mod">
          <ac:chgData name="Kawtar SADIQ" userId="65df04e4-2d23-4bab-afb0-40df8a2c1b9f" providerId="ADAL" clId="{13E48CF6-3C07-4AA7-848A-1E964CBB0D3A}" dt="2022-11-30T09:26:47.802" v="15780" actId="1076"/>
          <ac:spMkLst>
            <pc:docMk/>
            <pc:sldMk cId="1217745021" sldId="2076138208"/>
            <ac:spMk id="27" creationId="{85DD2474-671C-4541-A178-92D21C656B28}"/>
          </ac:spMkLst>
        </pc:spChg>
        <pc:graphicFrameChg chg="add del mod modGraphic">
          <ac:chgData name="Kawtar SADIQ" userId="65df04e4-2d23-4bab-afb0-40df8a2c1b9f" providerId="ADAL" clId="{13E48CF6-3C07-4AA7-848A-1E964CBB0D3A}" dt="2022-11-30T09:26:20.524" v="15775" actId="6549"/>
          <ac:graphicFrameMkLst>
            <pc:docMk/>
            <pc:sldMk cId="1217745021" sldId="2076138208"/>
            <ac:graphicFrameMk id="4" creationId="{45B97E6F-537D-4410-8CD3-D512C291AE87}"/>
          </ac:graphicFrameMkLst>
        </pc:graphicFrameChg>
        <pc:picChg chg="add mod">
          <ac:chgData name="Kawtar SADIQ" userId="65df04e4-2d23-4bab-afb0-40df8a2c1b9f" providerId="ADAL" clId="{13E48CF6-3C07-4AA7-848A-1E964CBB0D3A}" dt="2022-11-30T11:38:39.436" v="17700" actId="207"/>
          <ac:picMkLst>
            <pc:docMk/>
            <pc:sldMk cId="1217745021" sldId="2076138208"/>
            <ac:picMk id="10" creationId="{37A4F10C-85F4-44B4-8070-41C34C25BDBE}"/>
          </ac:picMkLst>
        </pc:picChg>
        <pc:picChg chg="add mod">
          <ac:chgData name="Kawtar SADIQ" userId="65df04e4-2d23-4bab-afb0-40df8a2c1b9f" providerId="ADAL" clId="{13E48CF6-3C07-4AA7-848A-1E964CBB0D3A}" dt="2022-11-30T11:38:41.551" v="17701" actId="207"/>
          <ac:picMkLst>
            <pc:docMk/>
            <pc:sldMk cId="1217745021" sldId="2076138208"/>
            <ac:picMk id="13" creationId="{EB90D9A2-1809-471C-8ACC-A60BD283A576}"/>
          </ac:picMkLst>
        </pc:picChg>
        <pc:picChg chg="add mod">
          <ac:chgData name="Kawtar SADIQ" userId="65df04e4-2d23-4bab-afb0-40df8a2c1b9f" providerId="ADAL" clId="{13E48CF6-3C07-4AA7-848A-1E964CBB0D3A}" dt="2022-11-30T11:38:44.825" v="17702" actId="207"/>
          <ac:picMkLst>
            <pc:docMk/>
            <pc:sldMk cId="1217745021" sldId="2076138208"/>
            <ac:picMk id="22" creationId="{E9082D0D-96BA-4098-AB72-AD7B3C9FDA63}"/>
          </ac:picMkLst>
        </pc:picChg>
      </pc:sldChg>
      <pc:sldChg chg="modSp add del mod">
        <pc:chgData name="Kawtar SADIQ" userId="65df04e4-2d23-4bab-afb0-40df8a2c1b9f" providerId="ADAL" clId="{13E48CF6-3C07-4AA7-848A-1E964CBB0D3A}" dt="2022-11-30T13:53:06.049" v="20081" actId="47"/>
        <pc:sldMkLst>
          <pc:docMk/>
          <pc:sldMk cId="3769483791" sldId="2076138209"/>
        </pc:sldMkLst>
        <pc:spChg chg="mod">
          <ac:chgData name="Kawtar SADIQ" userId="65df04e4-2d23-4bab-afb0-40df8a2c1b9f" providerId="ADAL" clId="{13E48CF6-3C07-4AA7-848A-1E964CBB0D3A}" dt="2022-11-30T09:29:05.528" v="15803" actId="313"/>
          <ac:spMkLst>
            <pc:docMk/>
            <pc:sldMk cId="3769483791" sldId="2076138209"/>
            <ac:spMk id="4" creationId="{27CA8741-8B14-478B-98F4-DF9C36105620}"/>
          </ac:spMkLst>
        </pc:spChg>
      </pc:sldChg>
      <pc:sldChg chg="addSp delSp modSp new del mod">
        <pc:chgData name="Kawtar SADIQ" userId="65df04e4-2d23-4bab-afb0-40df8a2c1b9f" providerId="ADAL" clId="{13E48CF6-3C07-4AA7-848A-1E964CBB0D3A}" dt="2022-12-01T16:25:33.337" v="27895" actId="47"/>
        <pc:sldMkLst>
          <pc:docMk/>
          <pc:sldMk cId="2707890546" sldId="2076138210"/>
        </pc:sldMkLst>
        <pc:spChg chg="mod">
          <ac:chgData name="Kawtar SADIQ" userId="65df04e4-2d23-4bab-afb0-40df8a2c1b9f" providerId="ADAL" clId="{13E48CF6-3C07-4AA7-848A-1E964CBB0D3A}" dt="2022-11-30T10:37:01.386" v="16495"/>
          <ac:spMkLst>
            <pc:docMk/>
            <pc:sldMk cId="2707890546" sldId="2076138210"/>
            <ac:spMk id="2" creationId="{A33B9EB3-E432-4913-A00F-C44F1FC3BF47}"/>
          </ac:spMkLst>
        </pc:spChg>
        <pc:spChg chg="mod">
          <ac:chgData name="Kawtar SADIQ" userId="65df04e4-2d23-4bab-afb0-40df8a2c1b9f" providerId="ADAL" clId="{13E48CF6-3C07-4AA7-848A-1E964CBB0D3A}" dt="2022-11-30T11:35:34.688" v="17632" actId="20577"/>
          <ac:spMkLst>
            <pc:docMk/>
            <pc:sldMk cId="2707890546" sldId="2076138210"/>
            <ac:spMk id="3" creationId="{307EFBEB-9FAD-4B55-90AC-0F993205AE12}"/>
          </ac:spMkLst>
        </pc:spChg>
        <pc:spChg chg="add mod ord topLvl">
          <ac:chgData name="Kawtar SADIQ" userId="65df04e4-2d23-4bab-afb0-40df8a2c1b9f" providerId="ADAL" clId="{13E48CF6-3C07-4AA7-848A-1E964CBB0D3A}" dt="2022-11-30T11:24:09.268" v="17221" actId="1035"/>
          <ac:spMkLst>
            <pc:docMk/>
            <pc:sldMk cId="2707890546" sldId="2076138210"/>
            <ac:spMk id="4" creationId="{DF0564B2-E9E6-4015-8A94-84A722525DC1}"/>
          </ac:spMkLst>
        </pc:spChg>
        <pc:spChg chg="add mod topLvl">
          <ac:chgData name="Kawtar SADIQ" userId="65df04e4-2d23-4bab-afb0-40df8a2c1b9f" providerId="ADAL" clId="{13E48CF6-3C07-4AA7-848A-1E964CBB0D3A}" dt="2022-11-30T11:24:09.268" v="17221" actId="1035"/>
          <ac:spMkLst>
            <pc:docMk/>
            <pc:sldMk cId="2707890546" sldId="2076138210"/>
            <ac:spMk id="5" creationId="{1B935462-61BF-4780-BD01-BBF07A05E44C}"/>
          </ac:spMkLst>
        </pc:spChg>
        <pc:spChg chg="add mod topLvl">
          <ac:chgData name="Kawtar SADIQ" userId="65df04e4-2d23-4bab-afb0-40df8a2c1b9f" providerId="ADAL" clId="{13E48CF6-3C07-4AA7-848A-1E964CBB0D3A}" dt="2022-11-30T11:24:09.268" v="17221" actId="1035"/>
          <ac:spMkLst>
            <pc:docMk/>
            <pc:sldMk cId="2707890546" sldId="2076138210"/>
            <ac:spMk id="6" creationId="{3EFC4B0A-614D-4AF3-9AEF-9BD8B4C0B973}"/>
          </ac:spMkLst>
        </pc:spChg>
        <pc:spChg chg="add mod topLvl">
          <ac:chgData name="Kawtar SADIQ" userId="65df04e4-2d23-4bab-afb0-40df8a2c1b9f" providerId="ADAL" clId="{13E48CF6-3C07-4AA7-848A-1E964CBB0D3A}" dt="2022-11-30T11:24:09.268" v="17221" actId="1035"/>
          <ac:spMkLst>
            <pc:docMk/>
            <pc:sldMk cId="2707890546" sldId="2076138210"/>
            <ac:spMk id="7" creationId="{C25D7278-D671-466E-9D90-4200A43B9C5E}"/>
          </ac:spMkLst>
        </pc:spChg>
        <pc:spChg chg="add mod topLvl">
          <ac:chgData name="Kawtar SADIQ" userId="65df04e4-2d23-4bab-afb0-40df8a2c1b9f" providerId="ADAL" clId="{13E48CF6-3C07-4AA7-848A-1E964CBB0D3A}" dt="2022-11-30T11:24:09.268" v="17221" actId="1035"/>
          <ac:spMkLst>
            <pc:docMk/>
            <pc:sldMk cId="2707890546" sldId="2076138210"/>
            <ac:spMk id="8" creationId="{CF2F0472-DBB7-4917-ABAC-892870B14F55}"/>
          </ac:spMkLst>
        </pc:spChg>
        <pc:spChg chg="add mod topLvl">
          <ac:chgData name="Kawtar SADIQ" userId="65df04e4-2d23-4bab-afb0-40df8a2c1b9f" providerId="ADAL" clId="{13E48CF6-3C07-4AA7-848A-1E964CBB0D3A}" dt="2022-11-30T11:24:09.268" v="17221" actId="1035"/>
          <ac:spMkLst>
            <pc:docMk/>
            <pc:sldMk cId="2707890546" sldId="2076138210"/>
            <ac:spMk id="9" creationId="{B7D978DF-BC70-447C-8F3C-A09C01770304}"/>
          </ac:spMkLst>
        </pc:spChg>
        <pc:spChg chg="add mod topLvl">
          <ac:chgData name="Kawtar SADIQ" userId="65df04e4-2d23-4bab-afb0-40df8a2c1b9f" providerId="ADAL" clId="{13E48CF6-3C07-4AA7-848A-1E964CBB0D3A}" dt="2022-11-30T11:24:09.268" v="17221" actId="1035"/>
          <ac:spMkLst>
            <pc:docMk/>
            <pc:sldMk cId="2707890546" sldId="2076138210"/>
            <ac:spMk id="10" creationId="{256EAF8F-651C-44B0-992B-031828C75D95}"/>
          </ac:spMkLst>
        </pc:spChg>
        <pc:spChg chg="add mod topLvl">
          <ac:chgData name="Kawtar SADIQ" userId="65df04e4-2d23-4bab-afb0-40df8a2c1b9f" providerId="ADAL" clId="{13E48CF6-3C07-4AA7-848A-1E964CBB0D3A}" dt="2022-11-30T11:24:09.268" v="17221" actId="1035"/>
          <ac:spMkLst>
            <pc:docMk/>
            <pc:sldMk cId="2707890546" sldId="2076138210"/>
            <ac:spMk id="11" creationId="{2D0890BB-EDAD-4943-84F7-4EE98BD652CA}"/>
          </ac:spMkLst>
        </pc:spChg>
        <pc:spChg chg="add mod topLvl">
          <ac:chgData name="Kawtar SADIQ" userId="65df04e4-2d23-4bab-afb0-40df8a2c1b9f" providerId="ADAL" clId="{13E48CF6-3C07-4AA7-848A-1E964CBB0D3A}" dt="2022-11-30T11:24:09.268" v="17221" actId="1035"/>
          <ac:spMkLst>
            <pc:docMk/>
            <pc:sldMk cId="2707890546" sldId="2076138210"/>
            <ac:spMk id="12" creationId="{4729E8B8-5998-4211-BBE5-26AD3373645F}"/>
          </ac:spMkLst>
        </pc:spChg>
        <pc:spChg chg="add mod topLvl">
          <ac:chgData name="Kawtar SADIQ" userId="65df04e4-2d23-4bab-afb0-40df8a2c1b9f" providerId="ADAL" clId="{13E48CF6-3C07-4AA7-848A-1E964CBB0D3A}" dt="2022-11-30T11:33:47.227" v="17544" actId="207"/>
          <ac:spMkLst>
            <pc:docMk/>
            <pc:sldMk cId="2707890546" sldId="2076138210"/>
            <ac:spMk id="13" creationId="{2CD23CA1-E76F-497D-8AD6-C466204A7A6E}"/>
          </ac:spMkLst>
        </pc:spChg>
        <pc:spChg chg="add mod topLvl">
          <ac:chgData name="Kawtar SADIQ" userId="65df04e4-2d23-4bab-afb0-40df8a2c1b9f" providerId="ADAL" clId="{13E48CF6-3C07-4AA7-848A-1E964CBB0D3A}" dt="2022-11-30T11:24:09.268" v="17221" actId="1035"/>
          <ac:spMkLst>
            <pc:docMk/>
            <pc:sldMk cId="2707890546" sldId="2076138210"/>
            <ac:spMk id="14" creationId="{B252E609-E13E-4FB0-AD6A-FA01D9650543}"/>
          </ac:spMkLst>
        </pc:spChg>
        <pc:spChg chg="add mod topLvl">
          <ac:chgData name="Kawtar SADIQ" userId="65df04e4-2d23-4bab-afb0-40df8a2c1b9f" providerId="ADAL" clId="{13E48CF6-3C07-4AA7-848A-1E964CBB0D3A}" dt="2022-11-30T11:33:46.867" v="17543" actId="207"/>
          <ac:spMkLst>
            <pc:docMk/>
            <pc:sldMk cId="2707890546" sldId="2076138210"/>
            <ac:spMk id="15" creationId="{89AA66DA-6F8B-45DF-AD42-0F25C6F46FCB}"/>
          </ac:spMkLst>
        </pc:spChg>
        <pc:spChg chg="mod">
          <ac:chgData name="Kawtar SADIQ" userId="65df04e4-2d23-4bab-afb0-40df8a2c1b9f" providerId="ADAL" clId="{13E48CF6-3C07-4AA7-848A-1E964CBB0D3A}" dt="2022-12-01T08:11:07.301" v="24716" actId="1038"/>
          <ac:spMkLst>
            <pc:docMk/>
            <pc:sldMk cId="2707890546" sldId="2076138210"/>
            <ac:spMk id="16" creationId="{195AB670-9BC6-0024-5DD1-79758529B47E}"/>
          </ac:spMkLst>
        </pc:spChg>
        <pc:spChg chg="add mod ord">
          <ac:chgData name="Kawtar SADIQ" userId="65df04e4-2d23-4bab-afb0-40df8a2c1b9f" providerId="ADAL" clId="{13E48CF6-3C07-4AA7-848A-1E964CBB0D3A}" dt="2022-11-30T11:36:33.138" v="17696" actId="207"/>
          <ac:spMkLst>
            <pc:docMk/>
            <pc:sldMk cId="2707890546" sldId="2076138210"/>
            <ac:spMk id="20" creationId="{F05F7AD3-8C3A-4B8E-9A30-51C692A31D24}"/>
          </ac:spMkLst>
        </pc:spChg>
        <pc:spChg chg="add mod ord">
          <ac:chgData name="Kawtar SADIQ" userId="65df04e4-2d23-4bab-afb0-40df8a2c1b9f" providerId="ADAL" clId="{13E48CF6-3C07-4AA7-848A-1E964CBB0D3A}" dt="2022-11-30T11:35:54.098" v="17645" actId="1035"/>
          <ac:spMkLst>
            <pc:docMk/>
            <pc:sldMk cId="2707890546" sldId="2076138210"/>
            <ac:spMk id="21" creationId="{DC289FAD-8053-4D11-B15B-455BBAF46483}"/>
          </ac:spMkLst>
        </pc:spChg>
        <pc:spChg chg="add mod">
          <ac:chgData name="Kawtar SADIQ" userId="65df04e4-2d23-4bab-afb0-40df8a2c1b9f" providerId="ADAL" clId="{13E48CF6-3C07-4AA7-848A-1E964CBB0D3A}" dt="2022-11-30T11:33:51.346" v="17546" actId="207"/>
          <ac:spMkLst>
            <pc:docMk/>
            <pc:sldMk cId="2707890546" sldId="2076138210"/>
            <ac:spMk id="22" creationId="{9D3DA511-ECDB-4A3F-9C15-6013E055ABD6}"/>
          </ac:spMkLst>
        </pc:spChg>
        <pc:spChg chg="add mod">
          <ac:chgData name="Kawtar SADIQ" userId="65df04e4-2d23-4bab-afb0-40df8a2c1b9f" providerId="ADAL" clId="{13E48CF6-3C07-4AA7-848A-1E964CBB0D3A}" dt="2022-11-30T11:24:09.268" v="17221" actId="1035"/>
          <ac:spMkLst>
            <pc:docMk/>
            <pc:sldMk cId="2707890546" sldId="2076138210"/>
            <ac:spMk id="24" creationId="{6727A22B-9575-45AD-B2F2-6A2EE17879B1}"/>
          </ac:spMkLst>
        </pc:spChg>
        <pc:spChg chg="add mod">
          <ac:chgData name="Kawtar SADIQ" userId="65df04e4-2d23-4bab-afb0-40df8a2c1b9f" providerId="ADAL" clId="{13E48CF6-3C07-4AA7-848A-1E964CBB0D3A}" dt="2022-11-30T11:24:09.268" v="17221" actId="1035"/>
          <ac:spMkLst>
            <pc:docMk/>
            <pc:sldMk cId="2707890546" sldId="2076138210"/>
            <ac:spMk id="25" creationId="{E9E7ADAE-0430-4D04-B54D-EE57A8B198E2}"/>
          </ac:spMkLst>
        </pc:spChg>
        <pc:spChg chg="add mod">
          <ac:chgData name="Kawtar SADIQ" userId="65df04e4-2d23-4bab-afb0-40df8a2c1b9f" providerId="ADAL" clId="{13E48CF6-3C07-4AA7-848A-1E964CBB0D3A}" dt="2022-11-30T11:24:09.268" v="17221" actId="1035"/>
          <ac:spMkLst>
            <pc:docMk/>
            <pc:sldMk cId="2707890546" sldId="2076138210"/>
            <ac:spMk id="27" creationId="{495B2F53-5CBD-4954-AE93-C22146D4598C}"/>
          </ac:spMkLst>
        </pc:spChg>
        <pc:spChg chg="add mod">
          <ac:chgData name="Kawtar SADIQ" userId="65df04e4-2d23-4bab-afb0-40df8a2c1b9f" providerId="ADAL" clId="{13E48CF6-3C07-4AA7-848A-1E964CBB0D3A}" dt="2022-11-30T11:24:09.268" v="17221" actId="1035"/>
          <ac:spMkLst>
            <pc:docMk/>
            <pc:sldMk cId="2707890546" sldId="2076138210"/>
            <ac:spMk id="29" creationId="{A0541012-729D-4B46-AFE8-554942136F57}"/>
          </ac:spMkLst>
        </pc:spChg>
        <pc:grpChg chg="add del mod">
          <ac:chgData name="Kawtar SADIQ" userId="65df04e4-2d23-4bab-afb0-40df8a2c1b9f" providerId="ADAL" clId="{13E48CF6-3C07-4AA7-848A-1E964CBB0D3A}" dt="2022-11-30T10:34:08.729" v="16462" actId="165"/>
          <ac:grpSpMkLst>
            <pc:docMk/>
            <pc:sldMk cId="2707890546" sldId="2076138210"/>
            <ac:grpSpMk id="16" creationId="{40F99396-4355-4052-B896-DD21BD07B6C7}"/>
          </ac:grpSpMkLst>
        </pc:grpChg>
        <pc:grpChg chg="add del mod">
          <ac:chgData name="Kawtar SADIQ" userId="65df04e4-2d23-4bab-afb0-40df8a2c1b9f" providerId="ADAL" clId="{13E48CF6-3C07-4AA7-848A-1E964CBB0D3A}" dt="2022-11-30T10:34:08.729" v="16462" actId="165"/>
          <ac:grpSpMkLst>
            <pc:docMk/>
            <pc:sldMk cId="2707890546" sldId="2076138210"/>
            <ac:grpSpMk id="17" creationId="{986A87C3-A10A-4C36-8576-D5C758FF6F2E}"/>
          </ac:grpSpMkLst>
        </pc:grpChg>
        <pc:grpChg chg="add del mod">
          <ac:chgData name="Kawtar SADIQ" userId="65df04e4-2d23-4bab-afb0-40df8a2c1b9f" providerId="ADAL" clId="{13E48CF6-3C07-4AA7-848A-1E964CBB0D3A}" dt="2022-11-30T10:34:08.729" v="16462" actId="165"/>
          <ac:grpSpMkLst>
            <pc:docMk/>
            <pc:sldMk cId="2707890546" sldId="2076138210"/>
            <ac:grpSpMk id="18" creationId="{71693705-4587-41BB-8204-B00A5BD1FBC9}"/>
          </ac:grpSpMkLst>
        </pc:grpChg>
        <pc:grpChg chg="add del mod">
          <ac:chgData name="Kawtar SADIQ" userId="65df04e4-2d23-4bab-afb0-40df8a2c1b9f" providerId="ADAL" clId="{13E48CF6-3C07-4AA7-848A-1E964CBB0D3A}" dt="2022-11-30T10:34:08.729" v="16462" actId="165"/>
          <ac:grpSpMkLst>
            <pc:docMk/>
            <pc:sldMk cId="2707890546" sldId="2076138210"/>
            <ac:grpSpMk id="19" creationId="{19F267AF-E80A-4086-A29F-2DF5E0D93AA6}"/>
          </ac:grpSpMkLst>
        </pc:grpChg>
      </pc:sldChg>
      <pc:sldChg chg="addSp delSp modSp add mod">
        <pc:chgData name="Kawtar SADIQ" userId="65df04e4-2d23-4bab-afb0-40df8a2c1b9f" providerId="ADAL" clId="{13E48CF6-3C07-4AA7-848A-1E964CBB0D3A}" dt="2022-12-01T18:25:13.746" v="28086" actId="20577"/>
        <pc:sldMkLst>
          <pc:docMk/>
          <pc:sldMk cId="113270668" sldId="2147469773"/>
        </pc:sldMkLst>
        <pc:spChg chg="add mod ord">
          <ac:chgData name="Kawtar SADIQ" userId="65df04e4-2d23-4bab-afb0-40df8a2c1b9f" providerId="ADAL" clId="{13E48CF6-3C07-4AA7-848A-1E964CBB0D3A}" dt="2022-11-30T15:40:05.222" v="20959" actId="1036"/>
          <ac:spMkLst>
            <pc:docMk/>
            <pc:sldMk cId="113270668" sldId="2147469773"/>
            <ac:spMk id="2" creationId="{67B2A763-09D0-4911-8693-7EA013AC1987}"/>
          </ac:spMkLst>
        </pc:spChg>
        <pc:spChg chg="mod">
          <ac:chgData name="Kawtar SADIQ" userId="65df04e4-2d23-4bab-afb0-40df8a2c1b9f" providerId="ADAL" clId="{13E48CF6-3C07-4AA7-848A-1E964CBB0D3A}" dt="2022-11-30T15:37:50.061" v="20913" actId="1076"/>
          <ac:spMkLst>
            <pc:docMk/>
            <pc:sldMk cId="113270668" sldId="2147469773"/>
            <ac:spMk id="3" creationId="{4CED5CC6-D44D-46CF-87ED-9F93BCBA6175}"/>
          </ac:spMkLst>
        </pc:spChg>
        <pc:spChg chg="mod">
          <ac:chgData name="Kawtar SADIQ" userId="65df04e4-2d23-4bab-afb0-40df8a2c1b9f" providerId="ADAL" clId="{13E48CF6-3C07-4AA7-848A-1E964CBB0D3A}" dt="2022-12-01T08:07:00.081" v="24553" actId="20577"/>
          <ac:spMkLst>
            <pc:docMk/>
            <pc:sldMk cId="113270668" sldId="2147469773"/>
            <ac:spMk id="5" creationId="{C3230000-994D-40BB-BB82-F88D7F66FBD0}"/>
          </ac:spMkLst>
        </pc:spChg>
        <pc:spChg chg="mod ord">
          <ac:chgData name="Kawtar SADIQ" userId="65df04e4-2d23-4bab-afb0-40df8a2c1b9f" providerId="ADAL" clId="{13E48CF6-3C07-4AA7-848A-1E964CBB0D3A}" dt="2022-11-30T15:38:23.672" v="20948" actId="1036"/>
          <ac:spMkLst>
            <pc:docMk/>
            <pc:sldMk cId="113270668" sldId="2147469773"/>
            <ac:spMk id="6" creationId="{049ABD13-C1CE-4DCE-8DF3-87B1F7A91549}"/>
          </ac:spMkLst>
        </pc:spChg>
        <pc:spChg chg="mod">
          <ac:chgData name="Kawtar SADIQ" userId="65df04e4-2d23-4bab-afb0-40df8a2c1b9f" providerId="ADAL" clId="{13E48CF6-3C07-4AA7-848A-1E964CBB0D3A}" dt="2022-11-30T15:38:23.672" v="20948" actId="1036"/>
          <ac:spMkLst>
            <pc:docMk/>
            <pc:sldMk cId="113270668" sldId="2147469773"/>
            <ac:spMk id="7" creationId="{C6F1084B-B944-4401-9655-8B14281B5555}"/>
          </ac:spMkLst>
        </pc:spChg>
        <pc:spChg chg="mod">
          <ac:chgData name="Kawtar SADIQ" userId="65df04e4-2d23-4bab-afb0-40df8a2c1b9f" providerId="ADAL" clId="{13E48CF6-3C07-4AA7-848A-1E964CBB0D3A}" dt="2022-11-30T15:38:53.016" v="20954" actId="14100"/>
          <ac:spMkLst>
            <pc:docMk/>
            <pc:sldMk cId="113270668" sldId="2147469773"/>
            <ac:spMk id="8" creationId="{BA2996C9-20AA-4631-9BE6-FF828FB71BD3}"/>
          </ac:spMkLst>
        </pc:spChg>
        <pc:spChg chg="mod">
          <ac:chgData name="Kawtar SADIQ" userId="65df04e4-2d23-4bab-afb0-40df8a2c1b9f" providerId="ADAL" clId="{13E48CF6-3C07-4AA7-848A-1E964CBB0D3A}" dt="2022-11-30T15:38:23.672" v="20948" actId="1036"/>
          <ac:spMkLst>
            <pc:docMk/>
            <pc:sldMk cId="113270668" sldId="2147469773"/>
            <ac:spMk id="15" creationId="{10680AF3-550F-4CF6-A6A7-37962D6B0C5B}"/>
          </ac:spMkLst>
        </pc:spChg>
        <pc:spChg chg="mod">
          <ac:chgData name="Kawtar SADIQ" userId="65df04e4-2d23-4bab-afb0-40df8a2c1b9f" providerId="ADAL" clId="{13E48CF6-3C07-4AA7-848A-1E964CBB0D3A}" dt="2022-11-30T15:38:23.672" v="20948" actId="1036"/>
          <ac:spMkLst>
            <pc:docMk/>
            <pc:sldMk cId="113270668" sldId="2147469773"/>
            <ac:spMk id="16" creationId="{B69F765B-7656-4359-BA30-12164CE65E2C}"/>
          </ac:spMkLst>
        </pc:spChg>
        <pc:spChg chg="mod">
          <ac:chgData name="Kawtar SADIQ" userId="65df04e4-2d23-4bab-afb0-40df8a2c1b9f" providerId="ADAL" clId="{13E48CF6-3C07-4AA7-848A-1E964CBB0D3A}" dt="2022-11-30T15:38:23.672" v="20948" actId="1036"/>
          <ac:spMkLst>
            <pc:docMk/>
            <pc:sldMk cId="113270668" sldId="2147469773"/>
            <ac:spMk id="17" creationId="{D39F2937-E414-4B24-9776-41666BA21EC5}"/>
          </ac:spMkLst>
        </pc:spChg>
        <pc:spChg chg="mod">
          <ac:chgData name="Kawtar SADIQ" userId="65df04e4-2d23-4bab-afb0-40df8a2c1b9f" providerId="ADAL" clId="{13E48CF6-3C07-4AA7-848A-1E964CBB0D3A}" dt="2022-11-30T15:38:23.672" v="20948" actId="1036"/>
          <ac:spMkLst>
            <pc:docMk/>
            <pc:sldMk cId="113270668" sldId="2147469773"/>
            <ac:spMk id="19" creationId="{2F1E5F03-F005-468F-8710-5917B72C8C42}"/>
          </ac:spMkLst>
        </pc:spChg>
        <pc:spChg chg="mod">
          <ac:chgData name="Kawtar SADIQ" userId="65df04e4-2d23-4bab-afb0-40df8a2c1b9f" providerId="ADAL" clId="{13E48CF6-3C07-4AA7-848A-1E964CBB0D3A}" dt="2022-11-30T15:38:23.672" v="20948" actId="1036"/>
          <ac:spMkLst>
            <pc:docMk/>
            <pc:sldMk cId="113270668" sldId="2147469773"/>
            <ac:spMk id="20" creationId="{C7D26A75-7C91-4F53-9857-612DB1FDAC10}"/>
          </ac:spMkLst>
        </pc:spChg>
        <pc:spChg chg="mod">
          <ac:chgData name="Kawtar SADIQ" userId="65df04e4-2d23-4bab-afb0-40df8a2c1b9f" providerId="ADAL" clId="{13E48CF6-3C07-4AA7-848A-1E964CBB0D3A}" dt="2022-11-30T15:38:23.672" v="20948" actId="1036"/>
          <ac:spMkLst>
            <pc:docMk/>
            <pc:sldMk cId="113270668" sldId="2147469773"/>
            <ac:spMk id="23" creationId="{745344E4-63BF-4CB0-B32A-22B0D5084383}"/>
          </ac:spMkLst>
        </pc:spChg>
        <pc:spChg chg="mod">
          <ac:chgData name="Kawtar SADIQ" userId="65df04e4-2d23-4bab-afb0-40df8a2c1b9f" providerId="ADAL" clId="{13E48CF6-3C07-4AA7-848A-1E964CBB0D3A}" dt="2022-11-30T15:38:23.672" v="20948" actId="1036"/>
          <ac:spMkLst>
            <pc:docMk/>
            <pc:sldMk cId="113270668" sldId="2147469773"/>
            <ac:spMk id="24" creationId="{C864C1E5-4860-47DA-94CB-EC926730FFBE}"/>
          </ac:spMkLst>
        </pc:spChg>
        <pc:spChg chg="mod">
          <ac:chgData name="Kawtar SADIQ" userId="65df04e4-2d23-4bab-afb0-40df8a2c1b9f" providerId="ADAL" clId="{13E48CF6-3C07-4AA7-848A-1E964CBB0D3A}" dt="2022-11-30T15:38:23.672" v="20948" actId="1036"/>
          <ac:spMkLst>
            <pc:docMk/>
            <pc:sldMk cId="113270668" sldId="2147469773"/>
            <ac:spMk id="25" creationId="{9C3F08DB-0567-4333-8235-015377FBB6B5}"/>
          </ac:spMkLst>
        </pc:spChg>
        <pc:spChg chg="mod">
          <ac:chgData name="Kawtar SADIQ" userId="65df04e4-2d23-4bab-afb0-40df8a2c1b9f" providerId="ADAL" clId="{13E48CF6-3C07-4AA7-848A-1E964CBB0D3A}" dt="2022-11-30T15:38:23.672" v="20948" actId="1036"/>
          <ac:spMkLst>
            <pc:docMk/>
            <pc:sldMk cId="113270668" sldId="2147469773"/>
            <ac:spMk id="26" creationId="{4D5CDA7D-C6E8-45C4-BE12-1DE00A24E89A}"/>
          </ac:spMkLst>
        </pc:spChg>
        <pc:spChg chg="mod">
          <ac:chgData name="Kawtar SADIQ" userId="65df04e4-2d23-4bab-afb0-40df8a2c1b9f" providerId="ADAL" clId="{13E48CF6-3C07-4AA7-848A-1E964CBB0D3A}" dt="2022-11-30T15:38:23.672" v="20948" actId="1036"/>
          <ac:spMkLst>
            <pc:docMk/>
            <pc:sldMk cId="113270668" sldId="2147469773"/>
            <ac:spMk id="27" creationId="{D9822C97-BE07-4BC0-9C5D-D69B24856C7D}"/>
          </ac:spMkLst>
        </pc:spChg>
        <pc:spChg chg="mod">
          <ac:chgData name="Kawtar SADIQ" userId="65df04e4-2d23-4bab-afb0-40df8a2c1b9f" providerId="ADAL" clId="{13E48CF6-3C07-4AA7-848A-1E964CBB0D3A}" dt="2022-11-30T15:38:23.672" v="20948" actId="1036"/>
          <ac:spMkLst>
            <pc:docMk/>
            <pc:sldMk cId="113270668" sldId="2147469773"/>
            <ac:spMk id="28" creationId="{786CBFEF-6A1C-4F7C-AE92-05AF28713490}"/>
          </ac:spMkLst>
        </pc:spChg>
        <pc:spChg chg="mod">
          <ac:chgData name="Kawtar SADIQ" userId="65df04e4-2d23-4bab-afb0-40df8a2c1b9f" providerId="ADAL" clId="{13E48CF6-3C07-4AA7-848A-1E964CBB0D3A}" dt="2022-11-30T15:38:23.672" v="20948" actId="1036"/>
          <ac:spMkLst>
            <pc:docMk/>
            <pc:sldMk cId="113270668" sldId="2147469773"/>
            <ac:spMk id="29" creationId="{95F3A4E9-9455-474F-A7EA-CA7893DA9DEA}"/>
          </ac:spMkLst>
        </pc:spChg>
        <pc:spChg chg="mod">
          <ac:chgData name="Kawtar SADIQ" userId="65df04e4-2d23-4bab-afb0-40df8a2c1b9f" providerId="ADAL" clId="{13E48CF6-3C07-4AA7-848A-1E964CBB0D3A}" dt="2022-11-30T15:38:23.672" v="20948" actId="1036"/>
          <ac:spMkLst>
            <pc:docMk/>
            <pc:sldMk cId="113270668" sldId="2147469773"/>
            <ac:spMk id="30" creationId="{B8ACC227-BA9A-4D9F-A5D4-C141CC7E03BF}"/>
          </ac:spMkLst>
        </pc:spChg>
        <pc:spChg chg="mod">
          <ac:chgData name="Kawtar SADIQ" userId="65df04e4-2d23-4bab-afb0-40df8a2c1b9f" providerId="ADAL" clId="{13E48CF6-3C07-4AA7-848A-1E964CBB0D3A}" dt="2022-11-30T15:38:23.672" v="20948" actId="1036"/>
          <ac:spMkLst>
            <pc:docMk/>
            <pc:sldMk cId="113270668" sldId="2147469773"/>
            <ac:spMk id="31" creationId="{DBFF47BE-BBB6-4C57-AF12-9D6521B594F2}"/>
          </ac:spMkLst>
        </pc:spChg>
        <pc:spChg chg="mod">
          <ac:chgData name="Kawtar SADIQ" userId="65df04e4-2d23-4bab-afb0-40df8a2c1b9f" providerId="ADAL" clId="{13E48CF6-3C07-4AA7-848A-1E964CBB0D3A}" dt="2022-12-01T18:25:13.746" v="28086" actId="20577"/>
          <ac:spMkLst>
            <pc:docMk/>
            <pc:sldMk cId="113270668" sldId="2147469773"/>
            <ac:spMk id="32" creationId="{5456086C-DAC3-481A-9AD4-B0B3867B39E3}"/>
          </ac:spMkLst>
        </pc:spChg>
        <pc:spChg chg="mod">
          <ac:chgData name="Kawtar SADIQ" userId="65df04e4-2d23-4bab-afb0-40df8a2c1b9f" providerId="ADAL" clId="{13E48CF6-3C07-4AA7-848A-1E964CBB0D3A}" dt="2022-11-30T17:41:51.827" v="21710" actId="1036"/>
          <ac:spMkLst>
            <pc:docMk/>
            <pc:sldMk cId="113270668" sldId="2147469773"/>
            <ac:spMk id="34" creationId="{0E631611-E634-4FE7-A347-EF78A91A5311}"/>
          </ac:spMkLst>
        </pc:spChg>
        <pc:spChg chg="del mod">
          <ac:chgData name="Kawtar SADIQ" userId="65df04e4-2d23-4bab-afb0-40df8a2c1b9f" providerId="ADAL" clId="{13E48CF6-3C07-4AA7-848A-1E964CBB0D3A}" dt="2022-11-30T14:43:30.926" v="20345" actId="478"/>
          <ac:spMkLst>
            <pc:docMk/>
            <pc:sldMk cId="113270668" sldId="2147469773"/>
            <ac:spMk id="35" creationId="{CB69ED7C-7856-4EAD-958D-A95F018BD990}"/>
          </ac:spMkLst>
        </pc:spChg>
        <pc:spChg chg="mod ord">
          <ac:chgData name="Kawtar SADIQ" userId="65df04e4-2d23-4bab-afb0-40df8a2c1b9f" providerId="ADAL" clId="{13E48CF6-3C07-4AA7-848A-1E964CBB0D3A}" dt="2022-12-01T08:06:03.406" v="24549" actId="404"/>
          <ac:spMkLst>
            <pc:docMk/>
            <pc:sldMk cId="113270668" sldId="2147469773"/>
            <ac:spMk id="36" creationId="{EEAAFEF9-BD6E-44A5-8591-9E3E590DCD0B}"/>
          </ac:spMkLst>
        </pc:spChg>
        <pc:spChg chg="mod">
          <ac:chgData name="Kawtar SADIQ" userId="65df04e4-2d23-4bab-afb0-40df8a2c1b9f" providerId="ADAL" clId="{13E48CF6-3C07-4AA7-848A-1E964CBB0D3A}" dt="2022-11-30T17:45:50.569" v="21799" actId="313"/>
          <ac:spMkLst>
            <pc:docMk/>
            <pc:sldMk cId="113270668" sldId="2147469773"/>
            <ac:spMk id="37" creationId="{1F6E131B-023F-455D-9F26-256F9BE18BA1}"/>
          </ac:spMkLst>
        </pc:spChg>
        <pc:spChg chg="mod">
          <ac:chgData name="Kawtar SADIQ" userId="65df04e4-2d23-4bab-afb0-40df8a2c1b9f" providerId="ADAL" clId="{13E48CF6-3C07-4AA7-848A-1E964CBB0D3A}" dt="2022-11-30T17:41:51.827" v="21710" actId="1036"/>
          <ac:spMkLst>
            <pc:docMk/>
            <pc:sldMk cId="113270668" sldId="2147469773"/>
            <ac:spMk id="38" creationId="{05CC5C54-B5FD-4ACD-B2DB-B4DDBE099A52}"/>
          </ac:spMkLst>
        </pc:spChg>
        <pc:spChg chg="mod">
          <ac:chgData name="Kawtar SADIQ" userId="65df04e4-2d23-4bab-afb0-40df8a2c1b9f" providerId="ADAL" clId="{13E48CF6-3C07-4AA7-848A-1E964CBB0D3A}" dt="2022-11-30T17:41:51.827" v="21710" actId="1036"/>
          <ac:spMkLst>
            <pc:docMk/>
            <pc:sldMk cId="113270668" sldId="2147469773"/>
            <ac:spMk id="39" creationId="{ECFA4C7F-EA82-4936-BC73-575ECACE165C}"/>
          </ac:spMkLst>
        </pc:spChg>
        <pc:spChg chg="del mod">
          <ac:chgData name="Kawtar SADIQ" userId="65df04e4-2d23-4bab-afb0-40df8a2c1b9f" providerId="ADAL" clId="{13E48CF6-3C07-4AA7-848A-1E964CBB0D3A}" dt="2022-11-30T14:43:11.901" v="20341" actId="478"/>
          <ac:spMkLst>
            <pc:docMk/>
            <pc:sldMk cId="113270668" sldId="2147469773"/>
            <ac:spMk id="45" creationId="{4A3808D9-6F5D-4A9E-BB9C-FC05047A7334}"/>
          </ac:spMkLst>
        </pc:spChg>
        <pc:spChg chg="del mod">
          <ac:chgData name="Kawtar SADIQ" userId="65df04e4-2d23-4bab-afb0-40df8a2c1b9f" providerId="ADAL" clId="{13E48CF6-3C07-4AA7-848A-1E964CBB0D3A}" dt="2022-11-30T14:47:55.153" v="20435" actId="478"/>
          <ac:spMkLst>
            <pc:docMk/>
            <pc:sldMk cId="113270668" sldId="2147469773"/>
            <ac:spMk id="46" creationId="{2043594A-EC44-4EB9-AABC-19D83CAB4D64}"/>
          </ac:spMkLst>
        </pc:spChg>
        <pc:spChg chg="mod">
          <ac:chgData name="Kawtar SADIQ" userId="65df04e4-2d23-4bab-afb0-40df8a2c1b9f" providerId="ADAL" clId="{13E48CF6-3C07-4AA7-848A-1E964CBB0D3A}" dt="2022-11-30T15:38:23.672" v="20948" actId="1036"/>
          <ac:spMkLst>
            <pc:docMk/>
            <pc:sldMk cId="113270668" sldId="2147469773"/>
            <ac:spMk id="49" creationId="{CD305818-5470-48D0-8A49-630BDA1C03FE}"/>
          </ac:spMkLst>
        </pc:spChg>
        <pc:spChg chg="add del mod">
          <ac:chgData name="Kawtar SADIQ" userId="65df04e4-2d23-4bab-afb0-40df8a2c1b9f" providerId="ADAL" clId="{13E48CF6-3C07-4AA7-848A-1E964CBB0D3A}" dt="2022-11-30T15:45:52.555" v="20965" actId="478"/>
          <ac:spMkLst>
            <pc:docMk/>
            <pc:sldMk cId="113270668" sldId="2147469773"/>
            <ac:spMk id="55" creationId="{8510F21A-B3D3-432D-8168-D7C8F55AE5F7}"/>
          </ac:spMkLst>
        </pc:spChg>
        <pc:spChg chg="del mod">
          <ac:chgData name="Kawtar SADIQ" userId="65df04e4-2d23-4bab-afb0-40df8a2c1b9f" providerId="ADAL" clId="{13E48CF6-3C07-4AA7-848A-1E964CBB0D3A}" dt="2022-11-30T14:47:55.153" v="20435" actId="478"/>
          <ac:spMkLst>
            <pc:docMk/>
            <pc:sldMk cId="113270668" sldId="2147469773"/>
            <ac:spMk id="56" creationId="{70143B79-6751-40BE-A9A9-100FE3B6DE03}"/>
          </ac:spMkLst>
        </pc:spChg>
        <pc:spChg chg="add del mod ord">
          <ac:chgData name="Kawtar SADIQ" userId="65df04e4-2d23-4bab-afb0-40df8a2c1b9f" providerId="ADAL" clId="{13E48CF6-3C07-4AA7-848A-1E964CBB0D3A}" dt="2022-11-30T15:17:37.611" v="20601" actId="478"/>
          <ac:spMkLst>
            <pc:docMk/>
            <pc:sldMk cId="113270668" sldId="2147469773"/>
            <ac:spMk id="57" creationId="{602E82E3-EFA1-40AC-9870-1343BF6CCF5F}"/>
          </ac:spMkLst>
        </pc:spChg>
        <pc:spChg chg="add del mod">
          <ac:chgData name="Kawtar SADIQ" userId="65df04e4-2d23-4bab-afb0-40df8a2c1b9f" providerId="ADAL" clId="{13E48CF6-3C07-4AA7-848A-1E964CBB0D3A}" dt="2022-11-30T15:30:45.057" v="20829" actId="478"/>
          <ac:spMkLst>
            <pc:docMk/>
            <pc:sldMk cId="113270668" sldId="2147469773"/>
            <ac:spMk id="58" creationId="{002C87A4-A259-49B7-B2A2-4F70FF3A0724}"/>
          </ac:spMkLst>
        </pc:spChg>
        <pc:spChg chg="add del mod">
          <ac:chgData name="Kawtar SADIQ" userId="65df04e4-2d23-4bab-afb0-40df8a2c1b9f" providerId="ADAL" clId="{13E48CF6-3C07-4AA7-848A-1E964CBB0D3A}" dt="2022-11-30T15:22:54.221" v="20729" actId="478"/>
          <ac:spMkLst>
            <pc:docMk/>
            <pc:sldMk cId="113270668" sldId="2147469773"/>
            <ac:spMk id="59" creationId="{94FDC8D9-5E17-4B01-8556-2239CF413B3B}"/>
          </ac:spMkLst>
        </pc:spChg>
        <pc:spChg chg="add mod">
          <ac:chgData name="Kawtar SADIQ" userId="65df04e4-2d23-4bab-afb0-40df8a2c1b9f" providerId="ADAL" clId="{13E48CF6-3C07-4AA7-848A-1E964CBB0D3A}" dt="2022-12-01T08:06:11.455" v="24552" actId="404"/>
          <ac:spMkLst>
            <pc:docMk/>
            <pc:sldMk cId="113270668" sldId="2147469773"/>
            <ac:spMk id="60" creationId="{FED5C693-11AD-4F9A-8314-149425D532E0}"/>
          </ac:spMkLst>
        </pc:spChg>
        <pc:spChg chg="add del mod">
          <ac:chgData name="Kawtar SADIQ" userId="65df04e4-2d23-4bab-afb0-40df8a2c1b9f" providerId="ADAL" clId="{13E48CF6-3C07-4AA7-848A-1E964CBB0D3A}" dt="2022-11-30T15:30:48.718" v="20830" actId="478"/>
          <ac:spMkLst>
            <pc:docMk/>
            <pc:sldMk cId="113270668" sldId="2147469773"/>
            <ac:spMk id="62" creationId="{B205C190-D111-487D-B915-52900775A796}"/>
          </ac:spMkLst>
        </pc:spChg>
        <pc:spChg chg="add mod">
          <ac:chgData name="Kawtar SADIQ" userId="65df04e4-2d23-4bab-afb0-40df8a2c1b9f" providerId="ADAL" clId="{13E48CF6-3C07-4AA7-848A-1E964CBB0D3A}" dt="2022-12-01T08:06:08.433" v="24551" actId="404"/>
          <ac:spMkLst>
            <pc:docMk/>
            <pc:sldMk cId="113270668" sldId="2147469773"/>
            <ac:spMk id="63" creationId="{1775E542-CB1E-4988-A807-97435068F9F8}"/>
          </ac:spMkLst>
        </pc:spChg>
        <pc:spChg chg="add del mod">
          <ac:chgData name="Kawtar SADIQ" userId="65df04e4-2d23-4bab-afb0-40df8a2c1b9f" providerId="ADAL" clId="{13E48CF6-3C07-4AA7-848A-1E964CBB0D3A}" dt="2022-11-30T15:23:06.812" v="20732" actId="478"/>
          <ac:spMkLst>
            <pc:docMk/>
            <pc:sldMk cId="113270668" sldId="2147469773"/>
            <ac:spMk id="65" creationId="{180F4E9A-09B5-4144-8FC9-427C39F96DC8}"/>
          </ac:spMkLst>
        </pc:spChg>
        <pc:spChg chg="add del mod">
          <ac:chgData name="Kawtar SADIQ" userId="65df04e4-2d23-4bab-afb0-40df8a2c1b9f" providerId="ADAL" clId="{13E48CF6-3C07-4AA7-848A-1E964CBB0D3A}" dt="2022-11-30T15:30:14.808" v="20820" actId="478"/>
          <ac:spMkLst>
            <pc:docMk/>
            <pc:sldMk cId="113270668" sldId="2147469773"/>
            <ac:spMk id="68" creationId="{D1AD0387-73CF-49B8-8D0B-C36AC3EF7344}"/>
          </ac:spMkLst>
        </pc:spChg>
        <pc:spChg chg="add del mod">
          <ac:chgData name="Kawtar SADIQ" userId="65df04e4-2d23-4bab-afb0-40df8a2c1b9f" providerId="ADAL" clId="{13E48CF6-3C07-4AA7-848A-1E964CBB0D3A}" dt="2022-11-30T15:30:50.002" v="20831" actId="478"/>
          <ac:spMkLst>
            <pc:docMk/>
            <pc:sldMk cId="113270668" sldId="2147469773"/>
            <ac:spMk id="69" creationId="{1BA8CDD9-429E-4311-A2B5-21E8D9EB53FA}"/>
          </ac:spMkLst>
        </pc:spChg>
        <pc:spChg chg="add del mod">
          <ac:chgData name="Kawtar SADIQ" userId="65df04e4-2d23-4bab-afb0-40df8a2c1b9f" providerId="ADAL" clId="{13E48CF6-3C07-4AA7-848A-1E964CBB0D3A}" dt="2022-11-30T15:30:22.970" v="20823" actId="478"/>
          <ac:spMkLst>
            <pc:docMk/>
            <pc:sldMk cId="113270668" sldId="2147469773"/>
            <ac:spMk id="70" creationId="{6ED58BB9-961C-416B-A595-BE80F95F8DD6}"/>
          </ac:spMkLst>
        </pc:spChg>
        <pc:spChg chg="mod">
          <ac:chgData name="Kawtar SADIQ" userId="65df04e4-2d23-4bab-afb0-40df8a2c1b9f" providerId="ADAL" clId="{13E48CF6-3C07-4AA7-848A-1E964CBB0D3A}" dt="2022-11-30T17:41:51.827" v="21710" actId="1036"/>
          <ac:spMkLst>
            <pc:docMk/>
            <pc:sldMk cId="113270668" sldId="2147469773"/>
            <ac:spMk id="73" creationId="{A395D7D4-449F-4F84-BDCE-E09ED663DBA0}"/>
          </ac:spMkLst>
        </pc:spChg>
        <pc:spChg chg="mod">
          <ac:chgData name="Kawtar SADIQ" userId="65df04e4-2d23-4bab-afb0-40df8a2c1b9f" providerId="ADAL" clId="{13E48CF6-3C07-4AA7-848A-1E964CBB0D3A}" dt="2022-11-30T17:41:51.827" v="21710" actId="1036"/>
          <ac:spMkLst>
            <pc:docMk/>
            <pc:sldMk cId="113270668" sldId="2147469773"/>
            <ac:spMk id="74" creationId="{4DC04960-3E8C-43DC-920C-C99C47A9A2DB}"/>
          </ac:spMkLst>
        </pc:spChg>
        <pc:spChg chg="mod">
          <ac:chgData name="Kawtar SADIQ" userId="65df04e4-2d23-4bab-afb0-40df8a2c1b9f" providerId="ADAL" clId="{13E48CF6-3C07-4AA7-848A-1E964CBB0D3A}" dt="2022-11-30T17:41:51.827" v="21710" actId="1036"/>
          <ac:spMkLst>
            <pc:docMk/>
            <pc:sldMk cId="113270668" sldId="2147469773"/>
            <ac:spMk id="76" creationId="{82B919AF-ED72-45F0-9DF9-F11EEDA74698}"/>
          </ac:spMkLst>
        </pc:spChg>
        <pc:spChg chg="mod">
          <ac:chgData name="Kawtar SADIQ" userId="65df04e4-2d23-4bab-afb0-40df8a2c1b9f" providerId="ADAL" clId="{13E48CF6-3C07-4AA7-848A-1E964CBB0D3A}" dt="2022-11-30T17:41:51.827" v="21710" actId="1036"/>
          <ac:spMkLst>
            <pc:docMk/>
            <pc:sldMk cId="113270668" sldId="2147469773"/>
            <ac:spMk id="77" creationId="{386CCBDF-8674-45FD-99A1-95F633185149}"/>
          </ac:spMkLst>
        </pc:spChg>
        <pc:grpChg chg="mod">
          <ac:chgData name="Kawtar SADIQ" userId="65df04e4-2d23-4bab-afb0-40df8a2c1b9f" providerId="ADAL" clId="{13E48CF6-3C07-4AA7-848A-1E964CBB0D3A}" dt="2022-11-30T15:38:23.672" v="20948" actId="1036"/>
          <ac:grpSpMkLst>
            <pc:docMk/>
            <pc:sldMk cId="113270668" sldId="2147469773"/>
            <ac:grpSpMk id="22" creationId="{211AC9E3-BC30-409C-B971-29F2D19E9610}"/>
          </ac:grpSpMkLst>
        </pc:grpChg>
        <pc:grpChg chg="mod">
          <ac:chgData name="Kawtar SADIQ" userId="65df04e4-2d23-4bab-afb0-40df8a2c1b9f" providerId="ADAL" clId="{13E48CF6-3C07-4AA7-848A-1E964CBB0D3A}" dt="2022-11-30T15:38:23.672" v="20948" actId="1036"/>
          <ac:grpSpMkLst>
            <pc:docMk/>
            <pc:sldMk cId="113270668" sldId="2147469773"/>
            <ac:grpSpMk id="50" creationId="{B01B37B5-E534-43B5-A42A-C1CAF346C567}"/>
          </ac:grpSpMkLst>
        </pc:grpChg>
        <pc:grpChg chg="add mod">
          <ac:chgData name="Kawtar SADIQ" userId="65df04e4-2d23-4bab-afb0-40df8a2c1b9f" providerId="ADAL" clId="{13E48CF6-3C07-4AA7-848A-1E964CBB0D3A}" dt="2022-11-30T17:41:51.827" v="21710" actId="1036"/>
          <ac:grpSpMkLst>
            <pc:docMk/>
            <pc:sldMk cId="113270668" sldId="2147469773"/>
            <ac:grpSpMk id="71" creationId="{DCDC2A56-EE7C-454B-A5A3-660438841BEB}"/>
          </ac:grpSpMkLst>
        </pc:grpChg>
        <pc:grpChg chg="add mod">
          <ac:chgData name="Kawtar SADIQ" userId="65df04e4-2d23-4bab-afb0-40df8a2c1b9f" providerId="ADAL" clId="{13E48CF6-3C07-4AA7-848A-1E964CBB0D3A}" dt="2022-11-30T17:41:51.827" v="21710" actId="1036"/>
          <ac:grpSpMkLst>
            <pc:docMk/>
            <pc:sldMk cId="113270668" sldId="2147469773"/>
            <ac:grpSpMk id="72" creationId="{3B3541E1-9363-4CF3-9F16-DA141761D640}"/>
          </ac:grpSpMkLst>
        </pc:grpChg>
        <pc:grpChg chg="add mod">
          <ac:chgData name="Kawtar SADIQ" userId="65df04e4-2d23-4bab-afb0-40df8a2c1b9f" providerId="ADAL" clId="{13E48CF6-3C07-4AA7-848A-1E964CBB0D3A}" dt="2022-11-30T17:41:51.827" v="21710" actId="1036"/>
          <ac:grpSpMkLst>
            <pc:docMk/>
            <pc:sldMk cId="113270668" sldId="2147469773"/>
            <ac:grpSpMk id="75" creationId="{E08E3649-6390-4EDB-A99D-626F3CD63D50}"/>
          </ac:grpSpMkLst>
        </pc:grpChg>
        <pc:picChg chg="mod">
          <ac:chgData name="Kawtar SADIQ" userId="65df04e4-2d23-4bab-afb0-40df8a2c1b9f" providerId="ADAL" clId="{13E48CF6-3C07-4AA7-848A-1E964CBB0D3A}" dt="2022-11-30T15:38:23.672" v="20948" actId="1036"/>
          <ac:picMkLst>
            <pc:docMk/>
            <pc:sldMk cId="113270668" sldId="2147469773"/>
            <ac:picMk id="9" creationId="{4FA01671-079B-4521-9315-A0442A3E7FB9}"/>
          </ac:picMkLst>
        </pc:picChg>
        <pc:picChg chg="mod">
          <ac:chgData name="Kawtar SADIQ" userId="65df04e4-2d23-4bab-afb0-40df8a2c1b9f" providerId="ADAL" clId="{13E48CF6-3C07-4AA7-848A-1E964CBB0D3A}" dt="2022-11-30T15:38:23.672" v="20948" actId="1036"/>
          <ac:picMkLst>
            <pc:docMk/>
            <pc:sldMk cId="113270668" sldId="2147469773"/>
            <ac:picMk id="10" creationId="{9DCA7D60-5E6E-42E6-B1C5-04D8C9F2FB52}"/>
          </ac:picMkLst>
        </pc:picChg>
        <pc:picChg chg="mod">
          <ac:chgData name="Kawtar SADIQ" userId="65df04e4-2d23-4bab-afb0-40df8a2c1b9f" providerId="ADAL" clId="{13E48CF6-3C07-4AA7-848A-1E964CBB0D3A}" dt="2022-11-30T17:41:51.827" v="21710" actId="1036"/>
          <ac:picMkLst>
            <pc:docMk/>
            <pc:sldMk cId="113270668" sldId="2147469773"/>
            <ac:picMk id="11" creationId="{D17912CF-6B1D-4CDF-9609-89CC4381BBF3}"/>
          </ac:picMkLst>
        </pc:picChg>
        <pc:picChg chg="del mod">
          <ac:chgData name="Kawtar SADIQ" userId="65df04e4-2d23-4bab-afb0-40df8a2c1b9f" providerId="ADAL" clId="{13E48CF6-3C07-4AA7-848A-1E964CBB0D3A}" dt="2022-11-30T15:17:37.611" v="20601" actId="478"/>
          <ac:picMkLst>
            <pc:docMk/>
            <pc:sldMk cId="113270668" sldId="2147469773"/>
            <ac:picMk id="12" creationId="{35E834BD-31AD-4C6C-9D88-8E65877B26C7}"/>
          </ac:picMkLst>
        </pc:picChg>
        <pc:picChg chg="mod">
          <ac:chgData name="Kawtar SADIQ" userId="65df04e4-2d23-4bab-afb0-40df8a2c1b9f" providerId="ADAL" clId="{13E48CF6-3C07-4AA7-848A-1E964CBB0D3A}" dt="2022-11-30T15:38:23.672" v="20948" actId="1036"/>
          <ac:picMkLst>
            <pc:docMk/>
            <pc:sldMk cId="113270668" sldId="2147469773"/>
            <ac:picMk id="13" creationId="{C57B84FB-9419-4818-9FD7-A65AFF21D480}"/>
          </ac:picMkLst>
        </pc:picChg>
        <pc:picChg chg="mod">
          <ac:chgData name="Kawtar SADIQ" userId="65df04e4-2d23-4bab-afb0-40df8a2c1b9f" providerId="ADAL" clId="{13E48CF6-3C07-4AA7-848A-1E964CBB0D3A}" dt="2022-11-30T15:38:23.672" v="20948" actId="1036"/>
          <ac:picMkLst>
            <pc:docMk/>
            <pc:sldMk cId="113270668" sldId="2147469773"/>
            <ac:picMk id="14" creationId="{39C52BF5-AD92-4ACC-96BE-48ACCC578005}"/>
          </ac:picMkLst>
        </pc:picChg>
        <pc:picChg chg="mod">
          <ac:chgData name="Kawtar SADIQ" userId="65df04e4-2d23-4bab-afb0-40df8a2c1b9f" providerId="ADAL" clId="{13E48CF6-3C07-4AA7-848A-1E964CBB0D3A}" dt="2022-11-30T15:38:23.672" v="20948" actId="1036"/>
          <ac:picMkLst>
            <pc:docMk/>
            <pc:sldMk cId="113270668" sldId="2147469773"/>
            <ac:picMk id="21" creationId="{BC0EFC8D-7278-4FC1-94E2-6CEA7BF558FE}"/>
          </ac:picMkLst>
        </pc:picChg>
        <pc:picChg chg="mod">
          <ac:chgData name="Kawtar SADIQ" userId="65df04e4-2d23-4bab-afb0-40df8a2c1b9f" providerId="ADAL" clId="{13E48CF6-3C07-4AA7-848A-1E964CBB0D3A}" dt="2022-11-30T17:41:51.827" v="21710" actId="1036"/>
          <ac:picMkLst>
            <pc:docMk/>
            <pc:sldMk cId="113270668" sldId="2147469773"/>
            <ac:picMk id="33" creationId="{7F3F5F93-3B91-4406-A1B0-450C9DA10F79}"/>
          </ac:picMkLst>
        </pc:picChg>
        <pc:picChg chg="mod">
          <ac:chgData name="Kawtar SADIQ" userId="65df04e4-2d23-4bab-afb0-40df8a2c1b9f" providerId="ADAL" clId="{13E48CF6-3C07-4AA7-848A-1E964CBB0D3A}" dt="2022-11-30T15:38:23.672" v="20948" actId="1036"/>
          <ac:picMkLst>
            <pc:docMk/>
            <pc:sldMk cId="113270668" sldId="2147469773"/>
            <ac:picMk id="48" creationId="{4F89416E-FFEA-4E3B-A9FF-09F2D804A1EA}"/>
          </ac:picMkLst>
        </pc:picChg>
        <pc:picChg chg="mod">
          <ac:chgData name="Kawtar SADIQ" userId="65df04e4-2d23-4bab-afb0-40df8a2c1b9f" providerId="ADAL" clId="{13E48CF6-3C07-4AA7-848A-1E964CBB0D3A}" dt="2022-11-30T15:38:23.672" v="20948" actId="1036"/>
          <ac:picMkLst>
            <pc:docMk/>
            <pc:sldMk cId="113270668" sldId="2147469773"/>
            <ac:picMk id="51" creationId="{808ED442-E54C-4915-92B3-38107B138C24}"/>
          </ac:picMkLst>
        </pc:picChg>
        <pc:picChg chg="mod">
          <ac:chgData name="Kawtar SADIQ" userId="65df04e4-2d23-4bab-afb0-40df8a2c1b9f" providerId="ADAL" clId="{13E48CF6-3C07-4AA7-848A-1E964CBB0D3A}" dt="2022-11-30T15:38:23.672" v="20948" actId="1036"/>
          <ac:picMkLst>
            <pc:docMk/>
            <pc:sldMk cId="113270668" sldId="2147469773"/>
            <ac:picMk id="52" creationId="{784BD7BB-6012-473C-B356-FFEDD914C3A6}"/>
          </ac:picMkLst>
        </pc:picChg>
        <pc:picChg chg="mod">
          <ac:chgData name="Kawtar SADIQ" userId="65df04e4-2d23-4bab-afb0-40df8a2c1b9f" providerId="ADAL" clId="{13E48CF6-3C07-4AA7-848A-1E964CBB0D3A}" dt="2022-11-30T15:38:23.672" v="20948" actId="1036"/>
          <ac:picMkLst>
            <pc:docMk/>
            <pc:sldMk cId="113270668" sldId="2147469773"/>
            <ac:picMk id="53" creationId="{C74D0DC7-E814-4B9B-A341-8D73299D89A1}"/>
          </ac:picMkLst>
        </pc:picChg>
        <pc:picChg chg="mod">
          <ac:chgData name="Kawtar SADIQ" userId="65df04e4-2d23-4bab-afb0-40df8a2c1b9f" providerId="ADAL" clId="{13E48CF6-3C07-4AA7-848A-1E964CBB0D3A}" dt="2022-11-30T15:38:23.672" v="20948" actId="1036"/>
          <ac:picMkLst>
            <pc:docMk/>
            <pc:sldMk cId="113270668" sldId="2147469773"/>
            <ac:picMk id="54" creationId="{2BD30CE7-33E3-49F6-9BF2-49C5C2AD5A53}"/>
          </ac:picMkLst>
        </pc:picChg>
        <pc:picChg chg="add del mod">
          <ac:chgData name="Kawtar SADIQ" userId="65df04e4-2d23-4bab-afb0-40df8a2c1b9f" providerId="ADAL" clId="{13E48CF6-3C07-4AA7-848A-1E964CBB0D3A}" dt="2022-12-01T08:07:37.983" v="24562" actId="478"/>
          <ac:picMkLst>
            <pc:docMk/>
            <pc:sldMk cId="113270668" sldId="2147469773"/>
            <ac:picMk id="55" creationId="{496335A3-088A-4E2A-B6CC-281E3E5F8D96}"/>
          </ac:picMkLst>
        </pc:picChg>
        <pc:picChg chg="add mod">
          <ac:chgData name="Kawtar SADIQ" userId="65df04e4-2d23-4bab-afb0-40df8a2c1b9f" providerId="ADAL" clId="{13E48CF6-3C07-4AA7-848A-1E964CBB0D3A}" dt="2022-12-01T08:08:26.656" v="24617" actId="14100"/>
          <ac:picMkLst>
            <pc:docMk/>
            <pc:sldMk cId="113270668" sldId="2147469773"/>
            <ac:picMk id="56" creationId="{31763CDD-DCB9-4F9C-A89A-21BF78674BF5}"/>
          </ac:picMkLst>
        </pc:picChg>
        <pc:picChg chg="add del mod">
          <ac:chgData name="Kawtar SADIQ" userId="65df04e4-2d23-4bab-afb0-40df8a2c1b9f" providerId="ADAL" clId="{13E48CF6-3C07-4AA7-848A-1E964CBB0D3A}" dt="2022-12-01T08:08:43.564" v="24621" actId="478"/>
          <ac:picMkLst>
            <pc:docMk/>
            <pc:sldMk cId="113270668" sldId="2147469773"/>
            <ac:picMk id="57" creationId="{35D3C8DE-1A88-471C-9E77-0EC9DF9B4902}"/>
          </ac:picMkLst>
        </pc:picChg>
        <pc:picChg chg="add mod">
          <ac:chgData name="Kawtar SADIQ" userId="65df04e4-2d23-4bab-afb0-40df8a2c1b9f" providerId="ADAL" clId="{13E48CF6-3C07-4AA7-848A-1E964CBB0D3A}" dt="2022-12-01T08:09:24.717" v="24681" actId="1035"/>
          <ac:picMkLst>
            <pc:docMk/>
            <pc:sldMk cId="113270668" sldId="2147469773"/>
            <ac:picMk id="58" creationId="{223633B3-780C-45E0-B911-F7900E0F1D8A}"/>
          </ac:picMkLst>
        </pc:picChg>
        <pc:picChg chg="add del mod">
          <ac:chgData name="Kawtar SADIQ" userId="65df04e4-2d23-4bab-afb0-40df8a2c1b9f" providerId="ADAL" clId="{13E48CF6-3C07-4AA7-848A-1E964CBB0D3A}" dt="2022-12-01T08:07:26.204" v="24559" actId="478"/>
          <ac:picMkLst>
            <pc:docMk/>
            <pc:sldMk cId="113270668" sldId="2147469773"/>
            <ac:picMk id="61" creationId="{56EEEF18-365C-4C56-A781-213E1E9D1FAC}"/>
          </ac:picMkLst>
        </pc:picChg>
        <pc:picChg chg="add del mod">
          <ac:chgData name="Kawtar SADIQ" userId="65df04e4-2d23-4bab-afb0-40df8a2c1b9f" providerId="ADAL" clId="{13E48CF6-3C07-4AA7-848A-1E964CBB0D3A}" dt="2022-12-01T08:07:24.127" v="24558" actId="478"/>
          <ac:picMkLst>
            <pc:docMk/>
            <pc:sldMk cId="113270668" sldId="2147469773"/>
            <ac:picMk id="64" creationId="{71BBF2D3-1A2B-4C3D-A5F3-B87587BE035F}"/>
          </ac:picMkLst>
        </pc:picChg>
        <pc:cxnChg chg="mod">
          <ac:chgData name="Kawtar SADIQ" userId="65df04e4-2d23-4bab-afb0-40df8a2c1b9f" providerId="ADAL" clId="{13E48CF6-3C07-4AA7-848A-1E964CBB0D3A}" dt="2022-11-30T15:38:23.672" v="20948" actId="1036"/>
          <ac:cxnSpMkLst>
            <pc:docMk/>
            <pc:sldMk cId="113270668" sldId="2147469773"/>
            <ac:cxnSpMk id="18" creationId="{D6FAE3F3-2EDC-4E2E-BF82-236D21D5AAB9}"/>
          </ac:cxnSpMkLst>
        </pc:cxnChg>
      </pc:sldChg>
      <pc:sldChg chg="addSp delSp modSp new mod">
        <pc:chgData name="Kawtar SADIQ" userId="65df04e4-2d23-4bab-afb0-40df8a2c1b9f" providerId="ADAL" clId="{13E48CF6-3C07-4AA7-848A-1E964CBB0D3A}" dt="2022-12-01T17:02:21.633" v="28042"/>
        <pc:sldMkLst>
          <pc:docMk/>
          <pc:sldMk cId="1025963086" sldId="2147469774"/>
        </pc:sldMkLst>
        <pc:spChg chg="add del mod">
          <ac:chgData name="Kawtar SADIQ" userId="65df04e4-2d23-4bab-afb0-40df8a2c1b9f" providerId="ADAL" clId="{13E48CF6-3C07-4AA7-848A-1E964CBB0D3A}" dt="2022-11-30T16:07:57.146" v="21174" actId="20577"/>
          <ac:spMkLst>
            <pc:docMk/>
            <pc:sldMk cId="1025963086" sldId="2147469774"/>
            <ac:spMk id="2" creationId="{C16E4B82-BBDE-434D-B24C-F5DC04F2C2CE}"/>
          </ac:spMkLst>
        </pc:spChg>
        <pc:spChg chg="del">
          <ac:chgData name="Kawtar SADIQ" userId="65df04e4-2d23-4bab-afb0-40df8a2c1b9f" providerId="ADAL" clId="{13E48CF6-3C07-4AA7-848A-1E964CBB0D3A}" dt="2022-11-30T15:46:05.418" v="20967" actId="478"/>
          <ac:spMkLst>
            <pc:docMk/>
            <pc:sldMk cId="1025963086" sldId="2147469774"/>
            <ac:spMk id="3" creationId="{2AAB6D6C-DDF6-441F-9BED-DAF51F9F558A}"/>
          </ac:spMkLst>
        </pc:spChg>
        <pc:spChg chg="add del mod">
          <ac:chgData name="Kawtar SADIQ" userId="65df04e4-2d23-4bab-afb0-40df8a2c1b9f" providerId="ADAL" clId="{13E48CF6-3C07-4AA7-848A-1E964CBB0D3A}" dt="2022-11-30T15:46:25.275" v="20973"/>
          <ac:spMkLst>
            <pc:docMk/>
            <pc:sldMk cId="1025963086" sldId="2147469774"/>
            <ac:spMk id="4" creationId="{DF33B104-1ABA-4235-A55B-552E299D7C89}"/>
          </ac:spMkLst>
        </pc:spChg>
        <pc:spChg chg="add del mod">
          <ac:chgData name="Kawtar SADIQ" userId="65df04e4-2d23-4bab-afb0-40df8a2c1b9f" providerId="ADAL" clId="{13E48CF6-3C07-4AA7-848A-1E964CBB0D3A}" dt="2022-11-30T15:46:25.275" v="20973"/>
          <ac:spMkLst>
            <pc:docMk/>
            <pc:sldMk cId="1025963086" sldId="2147469774"/>
            <ac:spMk id="6" creationId="{40427695-A280-4B64-9C69-115786341A24}"/>
          </ac:spMkLst>
        </pc:spChg>
        <pc:spChg chg="add del mod">
          <ac:chgData name="Kawtar SADIQ" userId="65df04e4-2d23-4bab-afb0-40df8a2c1b9f" providerId="ADAL" clId="{13E48CF6-3C07-4AA7-848A-1E964CBB0D3A}" dt="2022-11-30T15:48:17.371" v="20987"/>
          <ac:spMkLst>
            <pc:docMk/>
            <pc:sldMk cId="1025963086" sldId="2147469774"/>
            <ac:spMk id="8" creationId="{CA5186CA-7F50-4520-B585-A572F9CF6034}"/>
          </ac:spMkLst>
        </pc:spChg>
        <pc:spChg chg="add del mod">
          <ac:chgData name="Kawtar SADIQ" userId="65df04e4-2d23-4bab-afb0-40df8a2c1b9f" providerId="ADAL" clId="{13E48CF6-3C07-4AA7-848A-1E964CBB0D3A}" dt="2022-11-30T15:48:17.371" v="20987"/>
          <ac:spMkLst>
            <pc:docMk/>
            <pc:sldMk cId="1025963086" sldId="2147469774"/>
            <ac:spMk id="11" creationId="{482E45E8-4847-479A-889C-6F607F6F668D}"/>
          </ac:spMkLst>
        </pc:spChg>
        <pc:spChg chg="add del mod">
          <ac:chgData name="Kawtar SADIQ" userId="65df04e4-2d23-4bab-afb0-40df8a2c1b9f" providerId="ADAL" clId="{13E48CF6-3C07-4AA7-848A-1E964CBB0D3A}" dt="2022-11-30T15:48:36.076" v="20996" actId="478"/>
          <ac:spMkLst>
            <pc:docMk/>
            <pc:sldMk cId="1025963086" sldId="2147469774"/>
            <ac:spMk id="12" creationId="{4307C711-A113-41CB-B330-CF404AB5BFE4}"/>
          </ac:spMkLst>
        </pc:spChg>
        <pc:spChg chg="add mod">
          <ac:chgData name="Kawtar SADIQ" userId="65df04e4-2d23-4bab-afb0-40df8a2c1b9f" providerId="ADAL" clId="{13E48CF6-3C07-4AA7-848A-1E964CBB0D3A}" dt="2022-11-30T15:57:16.311" v="21047" actId="6549"/>
          <ac:spMkLst>
            <pc:docMk/>
            <pc:sldMk cId="1025963086" sldId="2147469774"/>
            <ac:spMk id="15" creationId="{7380437E-D442-4201-94A7-D1B54DC6F804}"/>
          </ac:spMkLst>
        </pc:spChg>
        <pc:graphicFrameChg chg="add del mod">
          <ac:chgData name="Kawtar SADIQ" userId="65df04e4-2d23-4bab-afb0-40df8a2c1b9f" providerId="ADAL" clId="{13E48CF6-3C07-4AA7-848A-1E964CBB0D3A}" dt="2022-11-30T15:46:25.275" v="20973"/>
          <ac:graphicFrameMkLst>
            <pc:docMk/>
            <pc:sldMk cId="1025963086" sldId="2147469774"/>
            <ac:graphicFrameMk id="5" creationId="{32C8C6F9-1CE7-414C-A9B5-FC1ECD6E4707}"/>
          </ac:graphicFrameMkLst>
        </pc:graphicFrameChg>
        <pc:graphicFrameChg chg="add del mod">
          <ac:chgData name="Kawtar SADIQ" userId="65df04e4-2d23-4bab-afb0-40df8a2c1b9f" providerId="ADAL" clId="{13E48CF6-3C07-4AA7-848A-1E964CBB0D3A}" dt="2022-11-30T15:48:17.371" v="20987"/>
          <ac:graphicFrameMkLst>
            <pc:docMk/>
            <pc:sldMk cId="1025963086" sldId="2147469774"/>
            <ac:graphicFrameMk id="9" creationId="{169DA9D5-6445-46F7-9149-D7694DEE5F0C}"/>
          </ac:graphicFrameMkLst>
        </pc:graphicFrameChg>
        <pc:graphicFrameChg chg="add del mod">
          <ac:chgData name="Kawtar SADIQ" userId="65df04e4-2d23-4bab-afb0-40df8a2c1b9f" providerId="ADAL" clId="{13E48CF6-3C07-4AA7-848A-1E964CBB0D3A}" dt="2022-11-30T15:48:17.371" v="20987"/>
          <ac:graphicFrameMkLst>
            <pc:docMk/>
            <pc:sldMk cId="1025963086" sldId="2147469774"/>
            <ac:graphicFrameMk id="10" creationId="{FFC05ED7-538B-4821-BFD6-FD4508CB7BB1}"/>
          </ac:graphicFrameMkLst>
        </pc:graphicFrameChg>
        <pc:graphicFrameChg chg="add mod modGraphic">
          <ac:chgData name="Kawtar SADIQ" userId="65df04e4-2d23-4bab-afb0-40df8a2c1b9f" providerId="ADAL" clId="{13E48CF6-3C07-4AA7-848A-1E964CBB0D3A}" dt="2022-12-01T17:02:21.633" v="28042"/>
          <ac:graphicFrameMkLst>
            <pc:docMk/>
            <pc:sldMk cId="1025963086" sldId="2147469774"/>
            <ac:graphicFrameMk id="13" creationId="{AFE617C0-3910-4329-BEEB-7B789BA13048}"/>
          </ac:graphicFrameMkLst>
        </pc:graphicFrameChg>
        <pc:graphicFrameChg chg="add mod modGraphic">
          <ac:chgData name="Kawtar SADIQ" userId="65df04e4-2d23-4bab-afb0-40df8a2c1b9f" providerId="ADAL" clId="{13E48CF6-3C07-4AA7-848A-1E964CBB0D3A}" dt="2022-11-30T16:10:57.603" v="21211" actId="207"/>
          <ac:graphicFrameMkLst>
            <pc:docMk/>
            <pc:sldMk cId="1025963086" sldId="2147469774"/>
            <ac:graphicFrameMk id="14" creationId="{CFE43C19-6150-4002-867B-E9B823EE844F}"/>
          </ac:graphicFrameMkLst>
        </pc:graphicFrameChg>
        <pc:graphicFrameChg chg="add del mod">
          <ac:chgData name="Kawtar SADIQ" userId="65df04e4-2d23-4bab-afb0-40df8a2c1b9f" providerId="ADAL" clId="{13E48CF6-3C07-4AA7-848A-1E964CBB0D3A}" dt="2022-11-30T16:01:41.783" v="21093" actId="478"/>
          <ac:graphicFrameMkLst>
            <pc:docMk/>
            <pc:sldMk cId="1025963086" sldId="2147469774"/>
            <ac:graphicFrameMk id="16" creationId="{28CC29C8-5266-493E-B119-0AC916D6C86F}"/>
          </ac:graphicFrameMkLst>
        </pc:graphicFrameChg>
        <pc:graphicFrameChg chg="add del mod">
          <ac:chgData name="Kawtar SADIQ" userId="65df04e4-2d23-4bab-afb0-40df8a2c1b9f" providerId="ADAL" clId="{13E48CF6-3C07-4AA7-848A-1E964CBB0D3A}" dt="2022-11-30T16:01:57.443" v="21096" actId="478"/>
          <ac:graphicFrameMkLst>
            <pc:docMk/>
            <pc:sldMk cId="1025963086" sldId="2147469774"/>
            <ac:graphicFrameMk id="17" creationId="{C1429C7C-8256-4F07-B5FA-30247DBCA949}"/>
          </ac:graphicFrameMkLst>
        </pc:graphicFrameChg>
        <pc:graphicFrameChg chg="add del mod">
          <ac:chgData name="Kawtar SADIQ" userId="65df04e4-2d23-4bab-afb0-40df8a2c1b9f" providerId="ADAL" clId="{13E48CF6-3C07-4AA7-848A-1E964CBB0D3A}" dt="2022-11-30T16:02:07.270" v="21099" actId="478"/>
          <ac:graphicFrameMkLst>
            <pc:docMk/>
            <pc:sldMk cId="1025963086" sldId="2147469774"/>
            <ac:graphicFrameMk id="18" creationId="{E82947AD-CD43-47EC-AA3B-BE8CAF099074}"/>
          </ac:graphicFrameMkLst>
        </pc:graphicFrameChg>
        <pc:graphicFrameChg chg="add del mod">
          <ac:chgData name="Kawtar SADIQ" userId="65df04e4-2d23-4bab-afb0-40df8a2c1b9f" providerId="ADAL" clId="{13E48CF6-3C07-4AA7-848A-1E964CBB0D3A}" dt="2022-11-30T16:02:13.865" v="21102" actId="478"/>
          <ac:graphicFrameMkLst>
            <pc:docMk/>
            <pc:sldMk cId="1025963086" sldId="2147469774"/>
            <ac:graphicFrameMk id="19" creationId="{19AE58EC-5098-439E-8432-D74ACAF01BC5}"/>
          </ac:graphicFrameMkLst>
        </pc:graphicFrameChg>
        <pc:graphicFrameChg chg="add del mod">
          <ac:chgData name="Kawtar SADIQ" userId="65df04e4-2d23-4bab-afb0-40df8a2c1b9f" providerId="ADAL" clId="{13E48CF6-3C07-4AA7-848A-1E964CBB0D3A}" dt="2022-11-30T16:02:24.445" v="21106" actId="478"/>
          <ac:graphicFrameMkLst>
            <pc:docMk/>
            <pc:sldMk cId="1025963086" sldId="2147469774"/>
            <ac:graphicFrameMk id="20" creationId="{0ED0A68A-9076-4AB7-A1C6-61472DCB8B76}"/>
          </ac:graphicFrameMkLst>
        </pc:graphicFrameChg>
        <pc:graphicFrameChg chg="add del mod">
          <ac:chgData name="Kawtar SADIQ" userId="65df04e4-2d23-4bab-afb0-40df8a2c1b9f" providerId="ADAL" clId="{13E48CF6-3C07-4AA7-848A-1E964CBB0D3A}" dt="2022-11-30T16:02:35.813" v="21109" actId="478"/>
          <ac:graphicFrameMkLst>
            <pc:docMk/>
            <pc:sldMk cId="1025963086" sldId="2147469774"/>
            <ac:graphicFrameMk id="21" creationId="{057B7E33-011C-45B0-9A39-78BF6E9F4F60}"/>
          </ac:graphicFrameMkLst>
        </pc:graphicFrameChg>
        <pc:graphicFrameChg chg="add del mod">
          <ac:chgData name="Kawtar SADIQ" userId="65df04e4-2d23-4bab-afb0-40df8a2c1b9f" providerId="ADAL" clId="{13E48CF6-3C07-4AA7-848A-1E964CBB0D3A}" dt="2022-11-30T16:02:42.470" v="21113" actId="478"/>
          <ac:graphicFrameMkLst>
            <pc:docMk/>
            <pc:sldMk cId="1025963086" sldId="2147469774"/>
            <ac:graphicFrameMk id="22" creationId="{DC8F847A-B014-45F1-ADFB-30905743DC8A}"/>
          </ac:graphicFrameMkLst>
        </pc:graphicFrameChg>
        <pc:graphicFrameChg chg="add del mod">
          <ac:chgData name="Kawtar SADIQ" userId="65df04e4-2d23-4bab-afb0-40df8a2c1b9f" providerId="ADAL" clId="{13E48CF6-3C07-4AA7-848A-1E964CBB0D3A}" dt="2022-11-30T16:02:48.574" v="21116" actId="478"/>
          <ac:graphicFrameMkLst>
            <pc:docMk/>
            <pc:sldMk cId="1025963086" sldId="2147469774"/>
            <ac:graphicFrameMk id="23" creationId="{2412FE44-AD7B-4CDB-B7F0-F9D061E617C3}"/>
          </ac:graphicFrameMkLst>
        </pc:graphicFrameChg>
        <pc:graphicFrameChg chg="add del mod">
          <ac:chgData name="Kawtar SADIQ" userId="65df04e4-2d23-4bab-afb0-40df8a2c1b9f" providerId="ADAL" clId="{13E48CF6-3C07-4AA7-848A-1E964CBB0D3A}" dt="2022-11-30T16:03:03.257" v="21121" actId="478"/>
          <ac:graphicFrameMkLst>
            <pc:docMk/>
            <pc:sldMk cId="1025963086" sldId="2147469774"/>
            <ac:graphicFrameMk id="24" creationId="{F8EE0CFF-C76C-4736-AD4A-ADFBB55E63CD}"/>
          </ac:graphicFrameMkLst>
        </pc:graphicFrameChg>
        <pc:graphicFrameChg chg="add del mod">
          <ac:chgData name="Kawtar SADIQ" userId="65df04e4-2d23-4bab-afb0-40df8a2c1b9f" providerId="ADAL" clId="{13E48CF6-3C07-4AA7-848A-1E964CBB0D3A}" dt="2022-11-30T16:03:34.079" v="21127" actId="478"/>
          <ac:graphicFrameMkLst>
            <pc:docMk/>
            <pc:sldMk cId="1025963086" sldId="2147469774"/>
            <ac:graphicFrameMk id="25" creationId="{D798D8BA-9963-4E84-A4C6-E3195CC80B88}"/>
          </ac:graphicFrameMkLst>
        </pc:graphicFrameChg>
        <pc:graphicFrameChg chg="add del mod">
          <ac:chgData name="Kawtar SADIQ" userId="65df04e4-2d23-4bab-afb0-40df8a2c1b9f" providerId="ADAL" clId="{13E48CF6-3C07-4AA7-848A-1E964CBB0D3A}" dt="2022-11-30T16:03:58.328" v="21132" actId="478"/>
          <ac:graphicFrameMkLst>
            <pc:docMk/>
            <pc:sldMk cId="1025963086" sldId="2147469774"/>
            <ac:graphicFrameMk id="26" creationId="{55C3AC62-0FB8-4C35-91CD-B96A2522D76D}"/>
          </ac:graphicFrameMkLst>
        </pc:graphicFrameChg>
        <pc:graphicFrameChg chg="add del mod">
          <ac:chgData name="Kawtar SADIQ" userId="65df04e4-2d23-4bab-afb0-40df8a2c1b9f" providerId="ADAL" clId="{13E48CF6-3C07-4AA7-848A-1E964CBB0D3A}" dt="2022-11-30T16:04:16.966" v="21137" actId="478"/>
          <ac:graphicFrameMkLst>
            <pc:docMk/>
            <pc:sldMk cId="1025963086" sldId="2147469774"/>
            <ac:graphicFrameMk id="27" creationId="{FCBF1731-2EE7-46A6-A085-EF2296F65853}"/>
          </ac:graphicFrameMkLst>
        </pc:graphicFrameChg>
        <pc:graphicFrameChg chg="add del mod modGraphic">
          <ac:chgData name="Kawtar SADIQ" userId="65df04e4-2d23-4bab-afb0-40df8a2c1b9f" providerId="ADAL" clId="{13E48CF6-3C07-4AA7-848A-1E964CBB0D3A}" dt="2022-11-30T16:05:23.781" v="21152" actId="478"/>
          <ac:graphicFrameMkLst>
            <pc:docMk/>
            <pc:sldMk cId="1025963086" sldId="2147469774"/>
            <ac:graphicFrameMk id="28" creationId="{07F24DA0-750A-42C6-9DFA-6927FED25CE2}"/>
          </ac:graphicFrameMkLst>
        </pc:graphicFrameChg>
        <pc:picChg chg="add del mod">
          <ac:chgData name="Kawtar SADIQ" userId="65df04e4-2d23-4bab-afb0-40df8a2c1b9f" providerId="ADAL" clId="{13E48CF6-3C07-4AA7-848A-1E964CBB0D3A}" dt="2022-11-30T15:46:25.275" v="20973"/>
          <ac:picMkLst>
            <pc:docMk/>
            <pc:sldMk cId="1025963086" sldId="2147469774"/>
            <ac:picMk id="7" creationId="{1A16DEA5-4EDB-49D7-83C7-508DA70DBC07}"/>
          </ac:picMkLst>
        </pc:picChg>
      </pc:sldChg>
      <pc:sldChg chg="del">
        <pc:chgData name="Kawtar SADIQ" userId="65df04e4-2d23-4bab-afb0-40df8a2c1b9f" providerId="ADAL" clId="{13E48CF6-3C07-4AA7-848A-1E964CBB0D3A}" dt="2022-11-30T15:48:05.303" v="20984" actId="47"/>
        <pc:sldMkLst>
          <pc:docMk/>
          <pc:sldMk cId="1192389472" sldId="2147469775"/>
        </pc:sldMkLst>
      </pc:sldChg>
      <pc:sldChg chg="add del">
        <pc:chgData name="Kawtar SADIQ" userId="65df04e4-2d23-4bab-afb0-40df8a2c1b9f" providerId="ADAL" clId="{13E48CF6-3C07-4AA7-848A-1E964CBB0D3A}" dt="2022-11-30T15:51:42.092" v="21005" actId="47"/>
        <pc:sldMkLst>
          <pc:docMk/>
          <pc:sldMk cId="2319704072" sldId="2147469775"/>
        </pc:sldMkLst>
      </pc:sldChg>
      <pc:sldChg chg="add del">
        <pc:chgData name="Kawtar SADIQ" userId="65df04e4-2d23-4bab-afb0-40df8a2c1b9f" providerId="ADAL" clId="{13E48CF6-3C07-4AA7-848A-1E964CBB0D3A}" dt="2022-11-30T16:11:39.039" v="21212" actId="47"/>
        <pc:sldMkLst>
          <pc:docMk/>
          <pc:sldMk cId="511912845" sldId="2147469776"/>
        </pc:sldMkLst>
      </pc:sldChg>
      <pc:sldChg chg="add del">
        <pc:chgData name="Kawtar SADIQ" userId="65df04e4-2d23-4bab-afb0-40df8a2c1b9f" providerId="ADAL" clId="{13E48CF6-3C07-4AA7-848A-1E964CBB0D3A}" dt="2022-11-30T15:51:17.189" v="21001" actId="47"/>
        <pc:sldMkLst>
          <pc:docMk/>
          <pc:sldMk cId="1030548258" sldId="2147469776"/>
        </pc:sldMkLst>
      </pc:sldChg>
      <pc:sldChg chg="del">
        <pc:chgData name="Kawtar SADIQ" userId="65df04e4-2d23-4bab-afb0-40df8a2c1b9f" providerId="ADAL" clId="{13E48CF6-3C07-4AA7-848A-1E964CBB0D3A}" dt="2022-11-30T15:47:48.607" v="20981" actId="47"/>
        <pc:sldMkLst>
          <pc:docMk/>
          <pc:sldMk cId="1277725380" sldId="2147469776"/>
        </pc:sldMkLst>
      </pc:sldChg>
      <pc:sldChg chg="delSp del mod">
        <pc:chgData name="Kawtar SADIQ" userId="65df04e4-2d23-4bab-afb0-40df8a2c1b9f" providerId="ADAL" clId="{13E48CF6-3C07-4AA7-848A-1E964CBB0D3A}" dt="2022-11-30T15:49:15.394" v="20998" actId="47"/>
        <pc:sldMkLst>
          <pc:docMk/>
          <pc:sldMk cId="2686200631" sldId="2147469776"/>
        </pc:sldMkLst>
        <pc:picChg chg="del">
          <ac:chgData name="Kawtar SADIQ" userId="65df04e4-2d23-4bab-afb0-40df8a2c1b9f" providerId="ADAL" clId="{13E48CF6-3C07-4AA7-848A-1E964CBB0D3A}" dt="2022-11-30T15:48:03.078" v="20983" actId="478"/>
          <ac:picMkLst>
            <pc:docMk/>
            <pc:sldMk cId="2686200631" sldId="2147469776"/>
            <ac:picMk id="24" creationId="{A9EF794C-9C42-4F9F-8C99-FA29CAD9F81F}"/>
          </ac:picMkLst>
        </pc:picChg>
      </pc:sldChg>
      <pc:sldChg chg="del">
        <pc:chgData name="Kawtar SADIQ" userId="65df04e4-2d23-4bab-afb0-40df8a2c1b9f" providerId="ADAL" clId="{13E48CF6-3C07-4AA7-848A-1E964CBB0D3A}" dt="2022-11-30T15:47:54.900" v="20982"/>
        <pc:sldMkLst>
          <pc:docMk/>
          <pc:sldMk cId="3543879826" sldId="2147469776"/>
        </pc:sldMkLst>
      </pc:sldChg>
      <pc:sldChg chg="addSp delSp modSp new mod setBg">
        <pc:chgData name="Kawtar SADIQ" userId="65df04e4-2d23-4bab-afb0-40df8a2c1b9f" providerId="ADAL" clId="{13E48CF6-3C07-4AA7-848A-1E964CBB0D3A}" dt="2022-12-01T17:02:21.633" v="28042"/>
        <pc:sldMkLst>
          <pc:docMk/>
          <pc:sldMk cId="4009460775" sldId="2147469777"/>
        </pc:sldMkLst>
        <pc:spChg chg="mod">
          <ac:chgData name="Kawtar SADIQ" userId="65df04e4-2d23-4bab-afb0-40df8a2c1b9f" providerId="ADAL" clId="{13E48CF6-3C07-4AA7-848A-1E964CBB0D3A}" dt="2022-11-30T16:08:09.516" v="21176" actId="20577"/>
          <ac:spMkLst>
            <pc:docMk/>
            <pc:sldMk cId="4009460775" sldId="2147469777"/>
            <ac:spMk id="2" creationId="{7C6FF438-26A1-4F86-AB84-A8B6E1D62098}"/>
          </ac:spMkLst>
        </pc:spChg>
        <pc:spChg chg="del">
          <ac:chgData name="Kawtar SADIQ" userId="65df04e4-2d23-4bab-afb0-40df8a2c1b9f" providerId="ADAL" clId="{13E48CF6-3C07-4AA7-848A-1E964CBB0D3A}" dt="2022-11-30T15:53:30.905" v="21033" actId="478"/>
          <ac:spMkLst>
            <pc:docMk/>
            <pc:sldMk cId="4009460775" sldId="2147469777"/>
            <ac:spMk id="3" creationId="{6475672F-D4D5-4119-9035-DA5DB2D6FE78}"/>
          </ac:spMkLst>
        </pc:spChg>
        <pc:spChg chg="add del mod">
          <ac:chgData name="Kawtar SADIQ" userId="65df04e4-2d23-4bab-afb0-40df8a2c1b9f" providerId="ADAL" clId="{13E48CF6-3C07-4AA7-848A-1E964CBB0D3A}" dt="2022-11-30T15:52:38.606" v="21028"/>
          <ac:spMkLst>
            <pc:docMk/>
            <pc:sldMk cId="4009460775" sldId="2147469777"/>
            <ac:spMk id="4" creationId="{5D6B545B-D078-4C67-A4B5-E00BB2F75C00}"/>
          </ac:spMkLst>
        </pc:spChg>
        <pc:spChg chg="add del mod">
          <ac:chgData name="Kawtar SADIQ" userId="65df04e4-2d23-4bab-afb0-40df8a2c1b9f" providerId="ADAL" clId="{13E48CF6-3C07-4AA7-848A-1E964CBB0D3A}" dt="2022-11-30T15:52:38.606" v="21028"/>
          <ac:spMkLst>
            <pc:docMk/>
            <pc:sldMk cId="4009460775" sldId="2147469777"/>
            <ac:spMk id="5" creationId="{54613FF3-871E-4773-9E08-C38F978192A2}"/>
          </ac:spMkLst>
        </pc:spChg>
        <pc:spChg chg="add del mod">
          <ac:chgData name="Kawtar SADIQ" userId="65df04e4-2d23-4bab-afb0-40df8a2c1b9f" providerId="ADAL" clId="{13E48CF6-3C07-4AA7-848A-1E964CBB0D3A}" dt="2022-11-30T15:53:24.673" v="21031" actId="478"/>
          <ac:spMkLst>
            <pc:docMk/>
            <pc:sldMk cId="4009460775" sldId="2147469777"/>
            <ac:spMk id="8" creationId="{AE941C4E-37C1-4F64-BE9C-CF79EBBE2557}"/>
          </ac:spMkLst>
        </pc:spChg>
        <pc:spChg chg="add mod">
          <ac:chgData name="Kawtar SADIQ" userId="65df04e4-2d23-4bab-afb0-40df8a2c1b9f" providerId="ADAL" clId="{13E48CF6-3C07-4AA7-848A-1E964CBB0D3A}" dt="2022-11-30T16:08:52.334" v="21187" actId="1035"/>
          <ac:spMkLst>
            <pc:docMk/>
            <pc:sldMk cId="4009460775" sldId="2147469777"/>
            <ac:spMk id="9" creationId="{4722D771-55F0-411B-AF1A-BDAB265B2A21}"/>
          </ac:spMkLst>
        </pc:spChg>
        <pc:graphicFrameChg chg="add del mod">
          <ac:chgData name="Kawtar SADIQ" userId="65df04e4-2d23-4bab-afb0-40df8a2c1b9f" providerId="ADAL" clId="{13E48CF6-3C07-4AA7-848A-1E964CBB0D3A}" dt="2022-11-30T15:52:38.606" v="21028"/>
          <ac:graphicFrameMkLst>
            <pc:docMk/>
            <pc:sldMk cId="4009460775" sldId="2147469777"/>
            <ac:graphicFrameMk id="6" creationId="{5F01BAC3-96C4-4929-9C58-B7F6E927130A}"/>
          </ac:graphicFrameMkLst>
        </pc:graphicFrameChg>
        <pc:graphicFrameChg chg="add del mod">
          <ac:chgData name="Kawtar SADIQ" userId="65df04e4-2d23-4bab-afb0-40df8a2c1b9f" providerId="ADAL" clId="{13E48CF6-3C07-4AA7-848A-1E964CBB0D3A}" dt="2022-11-30T15:52:38.606" v="21028"/>
          <ac:graphicFrameMkLst>
            <pc:docMk/>
            <pc:sldMk cId="4009460775" sldId="2147469777"/>
            <ac:graphicFrameMk id="7" creationId="{9B102548-06D8-4F21-B671-1C4368F132F8}"/>
          </ac:graphicFrameMkLst>
        </pc:graphicFrameChg>
        <pc:graphicFrameChg chg="add mod modGraphic">
          <ac:chgData name="Kawtar SADIQ" userId="65df04e4-2d23-4bab-afb0-40df8a2c1b9f" providerId="ADAL" clId="{13E48CF6-3C07-4AA7-848A-1E964CBB0D3A}" dt="2022-11-30T17:02:25.065" v="21352" actId="207"/>
          <ac:graphicFrameMkLst>
            <pc:docMk/>
            <pc:sldMk cId="4009460775" sldId="2147469777"/>
            <ac:graphicFrameMk id="10" creationId="{674EC4BF-8746-4C66-8B46-CCED49224F5A}"/>
          </ac:graphicFrameMkLst>
        </pc:graphicFrameChg>
        <pc:graphicFrameChg chg="add mod modGraphic">
          <ac:chgData name="Kawtar SADIQ" userId="65df04e4-2d23-4bab-afb0-40df8a2c1b9f" providerId="ADAL" clId="{13E48CF6-3C07-4AA7-848A-1E964CBB0D3A}" dt="2022-12-01T17:02:21.633" v="28042"/>
          <ac:graphicFrameMkLst>
            <pc:docMk/>
            <pc:sldMk cId="4009460775" sldId="2147469777"/>
            <ac:graphicFrameMk id="11" creationId="{A8A801D2-12D7-41B8-B86A-19C2B9725390}"/>
          </ac:graphicFrameMkLst>
        </pc:graphicFrameChg>
        <pc:picChg chg="add del mod">
          <ac:chgData name="Kawtar SADIQ" userId="65df04e4-2d23-4bab-afb0-40df8a2c1b9f" providerId="ADAL" clId="{13E48CF6-3C07-4AA7-848A-1E964CBB0D3A}" dt="2022-11-30T15:53:26.223" v="21032" actId="478"/>
          <ac:picMkLst>
            <pc:docMk/>
            <pc:sldMk cId="4009460775" sldId="2147469777"/>
            <ac:picMk id="12" creationId="{98EBF213-E0EA-4D61-8D6E-ED9AB4BB5BF2}"/>
          </ac:picMkLst>
        </pc:picChg>
      </pc:sldChg>
      <pc:sldChg chg="addSp delSp modSp new del mod ord">
        <pc:chgData name="Kawtar SADIQ" userId="65df04e4-2d23-4bab-afb0-40df8a2c1b9f" providerId="ADAL" clId="{13E48CF6-3C07-4AA7-848A-1E964CBB0D3A}" dt="2022-11-30T17:58:44.792" v="21974" actId="47"/>
        <pc:sldMkLst>
          <pc:docMk/>
          <pc:sldMk cId="2347713863" sldId="2147469778"/>
        </pc:sldMkLst>
        <pc:spChg chg="del">
          <ac:chgData name="Kawtar SADIQ" userId="65df04e4-2d23-4bab-afb0-40df8a2c1b9f" providerId="ADAL" clId="{13E48CF6-3C07-4AA7-848A-1E964CBB0D3A}" dt="2022-11-30T16:53:18.550" v="21223" actId="478"/>
          <ac:spMkLst>
            <pc:docMk/>
            <pc:sldMk cId="2347713863" sldId="2147469778"/>
            <ac:spMk id="2" creationId="{705FA13E-B0C2-4CED-9278-5895051E4EDD}"/>
          </ac:spMkLst>
        </pc:spChg>
        <pc:spChg chg="del">
          <ac:chgData name="Kawtar SADIQ" userId="65df04e4-2d23-4bab-afb0-40df8a2c1b9f" providerId="ADAL" clId="{13E48CF6-3C07-4AA7-848A-1E964CBB0D3A}" dt="2022-11-30T16:53:23.768" v="21224" actId="478"/>
          <ac:spMkLst>
            <pc:docMk/>
            <pc:sldMk cId="2347713863" sldId="2147469778"/>
            <ac:spMk id="3" creationId="{15E83E64-04E4-4870-8A37-3CB0DC77A87D}"/>
          </ac:spMkLst>
        </pc:spChg>
        <pc:spChg chg="add del mod">
          <ac:chgData name="Kawtar SADIQ" userId="65df04e4-2d23-4bab-afb0-40df8a2c1b9f" providerId="ADAL" clId="{13E48CF6-3C07-4AA7-848A-1E964CBB0D3A}" dt="2022-11-30T16:49:19.620" v="21221"/>
          <ac:spMkLst>
            <pc:docMk/>
            <pc:sldMk cId="2347713863" sldId="2147469778"/>
            <ac:spMk id="5" creationId="{2DC174B0-8D7D-46E4-A752-AC1782AAABB6}"/>
          </ac:spMkLst>
        </pc:spChg>
        <pc:spChg chg="add del mod">
          <ac:chgData name="Kawtar SADIQ" userId="65df04e4-2d23-4bab-afb0-40df8a2c1b9f" providerId="ADAL" clId="{13E48CF6-3C07-4AA7-848A-1E964CBB0D3A}" dt="2022-11-30T16:49:19.620" v="21221"/>
          <ac:spMkLst>
            <pc:docMk/>
            <pc:sldMk cId="2347713863" sldId="2147469778"/>
            <ac:spMk id="6" creationId="{3B876D9A-391F-422A-849F-33B763627088}"/>
          </ac:spMkLst>
        </pc:spChg>
        <pc:spChg chg="add del mod">
          <ac:chgData name="Kawtar SADIQ" userId="65df04e4-2d23-4bab-afb0-40df8a2c1b9f" providerId="ADAL" clId="{13E48CF6-3C07-4AA7-848A-1E964CBB0D3A}" dt="2022-11-30T16:49:19.620" v="21221"/>
          <ac:spMkLst>
            <pc:docMk/>
            <pc:sldMk cId="2347713863" sldId="2147469778"/>
            <ac:spMk id="7" creationId="{82924D35-8B16-46B0-96FB-35605026C437}"/>
          </ac:spMkLst>
        </pc:spChg>
        <pc:spChg chg="add del mod">
          <ac:chgData name="Kawtar SADIQ" userId="65df04e4-2d23-4bab-afb0-40df8a2c1b9f" providerId="ADAL" clId="{13E48CF6-3C07-4AA7-848A-1E964CBB0D3A}" dt="2022-11-30T16:49:19.620" v="21221"/>
          <ac:spMkLst>
            <pc:docMk/>
            <pc:sldMk cId="2347713863" sldId="2147469778"/>
            <ac:spMk id="8" creationId="{DAF618AD-FCA0-4594-A35A-BF72C8F0E531}"/>
          </ac:spMkLst>
        </pc:spChg>
        <pc:spChg chg="add del mod">
          <ac:chgData name="Kawtar SADIQ" userId="65df04e4-2d23-4bab-afb0-40df8a2c1b9f" providerId="ADAL" clId="{13E48CF6-3C07-4AA7-848A-1E964CBB0D3A}" dt="2022-11-30T16:49:19.620" v="21221"/>
          <ac:spMkLst>
            <pc:docMk/>
            <pc:sldMk cId="2347713863" sldId="2147469778"/>
            <ac:spMk id="9" creationId="{CD1EBCF1-2694-410A-827F-5E0AA622D943}"/>
          </ac:spMkLst>
        </pc:spChg>
        <pc:spChg chg="add del mod">
          <ac:chgData name="Kawtar SADIQ" userId="65df04e4-2d23-4bab-afb0-40df8a2c1b9f" providerId="ADAL" clId="{13E48CF6-3C07-4AA7-848A-1E964CBB0D3A}" dt="2022-11-30T16:49:19.620" v="21221"/>
          <ac:spMkLst>
            <pc:docMk/>
            <pc:sldMk cId="2347713863" sldId="2147469778"/>
            <ac:spMk id="10" creationId="{CA466433-FDE7-44C0-8195-4E9E90FD7371}"/>
          </ac:spMkLst>
        </pc:spChg>
        <pc:spChg chg="add del mod">
          <ac:chgData name="Kawtar SADIQ" userId="65df04e4-2d23-4bab-afb0-40df8a2c1b9f" providerId="ADAL" clId="{13E48CF6-3C07-4AA7-848A-1E964CBB0D3A}" dt="2022-11-30T16:49:19.620" v="21221"/>
          <ac:spMkLst>
            <pc:docMk/>
            <pc:sldMk cId="2347713863" sldId="2147469778"/>
            <ac:spMk id="11" creationId="{0C2668D2-D0AB-4B01-B7D6-B683941DBEA3}"/>
          </ac:spMkLst>
        </pc:spChg>
        <pc:spChg chg="add del mod">
          <ac:chgData name="Kawtar SADIQ" userId="65df04e4-2d23-4bab-afb0-40df8a2c1b9f" providerId="ADAL" clId="{13E48CF6-3C07-4AA7-848A-1E964CBB0D3A}" dt="2022-11-30T16:49:19.620" v="21221"/>
          <ac:spMkLst>
            <pc:docMk/>
            <pc:sldMk cId="2347713863" sldId="2147469778"/>
            <ac:spMk id="12" creationId="{6E38A89C-650E-4697-8D83-42044C5FBAFC}"/>
          </ac:spMkLst>
        </pc:spChg>
        <pc:spChg chg="add del mod">
          <ac:chgData name="Kawtar SADIQ" userId="65df04e4-2d23-4bab-afb0-40df8a2c1b9f" providerId="ADAL" clId="{13E48CF6-3C07-4AA7-848A-1E964CBB0D3A}" dt="2022-11-30T16:49:19.620" v="21221"/>
          <ac:spMkLst>
            <pc:docMk/>
            <pc:sldMk cId="2347713863" sldId="2147469778"/>
            <ac:spMk id="13" creationId="{470FCF5F-6BC4-4D01-93DA-176D720F386C}"/>
          </ac:spMkLst>
        </pc:spChg>
        <pc:spChg chg="add del mod">
          <ac:chgData name="Kawtar SADIQ" userId="65df04e4-2d23-4bab-afb0-40df8a2c1b9f" providerId="ADAL" clId="{13E48CF6-3C07-4AA7-848A-1E964CBB0D3A}" dt="2022-11-30T16:49:19.620" v="21221"/>
          <ac:spMkLst>
            <pc:docMk/>
            <pc:sldMk cId="2347713863" sldId="2147469778"/>
            <ac:spMk id="14" creationId="{158BCE41-E9C5-4379-8524-590C2BAC5381}"/>
          </ac:spMkLst>
        </pc:spChg>
        <pc:spChg chg="add del mod">
          <ac:chgData name="Kawtar SADIQ" userId="65df04e4-2d23-4bab-afb0-40df8a2c1b9f" providerId="ADAL" clId="{13E48CF6-3C07-4AA7-848A-1E964CBB0D3A}" dt="2022-11-30T16:55:47.134" v="21242" actId="478"/>
          <ac:spMkLst>
            <pc:docMk/>
            <pc:sldMk cId="2347713863" sldId="2147469778"/>
            <ac:spMk id="27" creationId="{6F2A41F0-BEBE-4ECF-9FF4-63BDA2FAC645}"/>
          </ac:spMkLst>
        </pc:spChg>
        <pc:spChg chg="add del mod">
          <ac:chgData name="Kawtar SADIQ" userId="65df04e4-2d23-4bab-afb0-40df8a2c1b9f" providerId="ADAL" clId="{13E48CF6-3C07-4AA7-848A-1E964CBB0D3A}" dt="2022-11-30T16:55:08.917" v="21239" actId="478"/>
          <ac:spMkLst>
            <pc:docMk/>
            <pc:sldMk cId="2347713863" sldId="2147469778"/>
            <ac:spMk id="28" creationId="{526CF40D-41A7-473F-97EF-F6B667E7A8EB}"/>
          </ac:spMkLst>
        </pc:spChg>
        <pc:spChg chg="add mod">
          <ac:chgData name="Kawtar SADIQ" userId="65df04e4-2d23-4bab-afb0-40df8a2c1b9f" providerId="ADAL" clId="{13E48CF6-3C07-4AA7-848A-1E964CBB0D3A}" dt="2022-11-30T17:01:22.409" v="21347" actId="207"/>
          <ac:spMkLst>
            <pc:docMk/>
            <pc:sldMk cId="2347713863" sldId="2147469778"/>
            <ac:spMk id="29" creationId="{7A7D144B-9E50-4C8D-97BB-25302D3632AC}"/>
          </ac:spMkLst>
        </pc:spChg>
        <pc:spChg chg="add mod">
          <ac:chgData name="Kawtar SADIQ" userId="65df04e4-2d23-4bab-afb0-40df8a2c1b9f" providerId="ADAL" clId="{13E48CF6-3C07-4AA7-848A-1E964CBB0D3A}" dt="2022-11-30T17:01:22.409" v="21347" actId="207"/>
          <ac:spMkLst>
            <pc:docMk/>
            <pc:sldMk cId="2347713863" sldId="2147469778"/>
            <ac:spMk id="30" creationId="{F40D1321-AFB2-4097-91C5-EBBF52EC75D7}"/>
          </ac:spMkLst>
        </pc:spChg>
        <pc:spChg chg="add mod">
          <ac:chgData name="Kawtar SADIQ" userId="65df04e4-2d23-4bab-afb0-40df8a2c1b9f" providerId="ADAL" clId="{13E48CF6-3C07-4AA7-848A-1E964CBB0D3A}" dt="2022-11-30T17:01:22.409" v="21347" actId="207"/>
          <ac:spMkLst>
            <pc:docMk/>
            <pc:sldMk cId="2347713863" sldId="2147469778"/>
            <ac:spMk id="31" creationId="{690F0618-4D56-4A43-8C69-33DB3FF009D9}"/>
          </ac:spMkLst>
        </pc:spChg>
        <pc:spChg chg="add mod">
          <ac:chgData name="Kawtar SADIQ" userId="65df04e4-2d23-4bab-afb0-40df8a2c1b9f" providerId="ADAL" clId="{13E48CF6-3C07-4AA7-848A-1E964CBB0D3A}" dt="2022-11-30T17:01:22.409" v="21347" actId="207"/>
          <ac:spMkLst>
            <pc:docMk/>
            <pc:sldMk cId="2347713863" sldId="2147469778"/>
            <ac:spMk id="32" creationId="{C96000C6-E75A-4611-A232-E3D4CBB5BD9B}"/>
          </ac:spMkLst>
        </pc:spChg>
        <pc:spChg chg="add mod">
          <ac:chgData name="Kawtar SADIQ" userId="65df04e4-2d23-4bab-afb0-40df8a2c1b9f" providerId="ADAL" clId="{13E48CF6-3C07-4AA7-848A-1E964CBB0D3A}" dt="2022-11-30T17:01:25.911" v="21348" actId="207"/>
          <ac:spMkLst>
            <pc:docMk/>
            <pc:sldMk cId="2347713863" sldId="2147469778"/>
            <ac:spMk id="33" creationId="{24838046-F5B6-47A4-911F-6693D60C27F6}"/>
          </ac:spMkLst>
        </pc:spChg>
        <pc:spChg chg="add mod">
          <ac:chgData name="Kawtar SADIQ" userId="65df04e4-2d23-4bab-afb0-40df8a2c1b9f" providerId="ADAL" clId="{13E48CF6-3C07-4AA7-848A-1E964CBB0D3A}" dt="2022-11-30T17:01:25.911" v="21348" actId="207"/>
          <ac:spMkLst>
            <pc:docMk/>
            <pc:sldMk cId="2347713863" sldId="2147469778"/>
            <ac:spMk id="34" creationId="{FB14EE70-4A73-4444-9103-7D34D9B4CA39}"/>
          </ac:spMkLst>
        </pc:spChg>
        <pc:spChg chg="add mod">
          <ac:chgData name="Kawtar SADIQ" userId="65df04e4-2d23-4bab-afb0-40df8a2c1b9f" providerId="ADAL" clId="{13E48CF6-3C07-4AA7-848A-1E964CBB0D3A}" dt="2022-11-30T17:01:22.409" v="21347" actId="207"/>
          <ac:spMkLst>
            <pc:docMk/>
            <pc:sldMk cId="2347713863" sldId="2147469778"/>
            <ac:spMk id="35" creationId="{B398A618-059B-4347-A977-CE78A7B47BE8}"/>
          </ac:spMkLst>
        </pc:spChg>
        <pc:spChg chg="add mod">
          <ac:chgData name="Kawtar SADIQ" userId="65df04e4-2d23-4bab-afb0-40df8a2c1b9f" providerId="ADAL" clId="{13E48CF6-3C07-4AA7-848A-1E964CBB0D3A}" dt="2022-11-30T17:01:22.409" v="21347" actId="207"/>
          <ac:spMkLst>
            <pc:docMk/>
            <pc:sldMk cId="2347713863" sldId="2147469778"/>
            <ac:spMk id="36" creationId="{8D7A3B1B-D09B-4340-9149-90914B4A0A85}"/>
          </ac:spMkLst>
        </pc:spChg>
        <pc:spChg chg="add mod">
          <ac:chgData name="Kawtar SADIQ" userId="65df04e4-2d23-4bab-afb0-40df8a2c1b9f" providerId="ADAL" clId="{13E48CF6-3C07-4AA7-848A-1E964CBB0D3A}" dt="2022-11-30T16:55:03.145" v="21238"/>
          <ac:spMkLst>
            <pc:docMk/>
            <pc:sldMk cId="2347713863" sldId="2147469778"/>
            <ac:spMk id="48" creationId="{5D64BE8B-A79D-4B8E-AB4B-ADEF6CC477AB}"/>
          </ac:spMkLst>
        </pc:spChg>
        <pc:spChg chg="add mod">
          <ac:chgData name="Kawtar SADIQ" userId="65df04e4-2d23-4bab-afb0-40df8a2c1b9f" providerId="ADAL" clId="{13E48CF6-3C07-4AA7-848A-1E964CBB0D3A}" dt="2022-11-30T16:59:04.430" v="21277" actId="20577"/>
          <ac:spMkLst>
            <pc:docMk/>
            <pc:sldMk cId="2347713863" sldId="2147469778"/>
            <ac:spMk id="49" creationId="{C72FF7BB-8BBD-4951-AC34-40E501DF058E}"/>
          </ac:spMkLst>
        </pc:spChg>
        <pc:spChg chg="add mod">
          <ac:chgData name="Kawtar SADIQ" userId="65df04e4-2d23-4bab-afb0-40df8a2c1b9f" providerId="ADAL" clId="{13E48CF6-3C07-4AA7-848A-1E964CBB0D3A}" dt="2022-11-30T17:51:30.218" v="21862" actId="1076"/>
          <ac:spMkLst>
            <pc:docMk/>
            <pc:sldMk cId="2347713863" sldId="2147469778"/>
            <ac:spMk id="50" creationId="{C4196467-ADA5-47BE-A1EA-7D46F54AF9A8}"/>
          </ac:spMkLst>
        </pc:spChg>
        <pc:graphicFrameChg chg="add del mod">
          <ac:chgData name="Kawtar SADIQ" userId="65df04e4-2d23-4bab-afb0-40df8a2c1b9f" providerId="ADAL" clId="{13E48CF6-3C07-4AA7-848A-1E964CBB0D3A}" dt="2022-11-30T16:49:19.620" v="21221"/>
          <ac:graphicFrameMkLst>
            <pc:docMk/>
            <pc:sldMk cId="2347713863" sldId="2147469778"/>
            <ac:graphicFrameMk id="4" creationId="{E1BB6C15-86A2-4CCE-837C-A95AE35B75B8}"/>
          </ac:graphicFrameMkLst>
        </pc:graphicFrameChg>
        <pc:graphicFrameChg chg="add del mod">
          <ac:chgData name="Kawtar SADIQ" userId="65df04e4-2d23-4bab-afb0-40df8a2c1b9f" providerId="ADAL" clId="{13E48CF6-3C07-4AA7-848A-1E964CBB0D3A}" dt="2022-11-30T16:49:19.620" v="21221"/>
          <ac:graphicFrameMkLst>
            <pc:docMk/>
            <pc:sldMk cId="2347713863" sldId="2147469778"/>
            <ac:graphicFrameMk id="15" creationId="{A19BFC6D-495F-480A-8EA4-86F6B442F5DB}"/>
          </ac:graphicFrameMkLst>
        </pc:graphicFrameChg>
        <pc:graphicFrameChg chg="add mod modGraphic">
          <ac:chgData name="Kawtar SADIQ" userId="65df04e4-2d23-4bab-afb0-40df8a2c1b9f" providerId="ADAL" clId="{13E48CF6-3C07-4AA7-848A-1E964CBB0D3A}" dt="2022-11-30T16:58:29.362" v="21256" actId="207"/>
          <ac:graphicFrameMkLst>
            <pc:docMk/>
            <pc:sldMk cId="2347713863" sldId="2147469778"/>
            <ac:graphicFrameMk id="26" creationId="{DEA8691B-267E-4389-BA8D-DA6BC78A5490}"/>
          </ac:graphicFrameMkLst>
        </pc:graphicFrameChg>
        <pc:graphicFrameChg chg="add mod modGraphic">
          <ac:chgData name="Kawtar SADIQ" userId="65df04e4-2d23-4bab-afb0-40df8a2c1b9f" providerId="ADAL" clId="{13E48CF6-3C07-4AA7-848A-1E964CBB0D3A}" dt="2022-11-30T17:52:06.607" v="21873" actId="1076"/>
          <ac:graphicFrameMkLst>
            <pc:docMk/>
            <pc:sldMk cId="2347713863" sldId="2147469778"/>
            <ac:graphicFrameMk id="37" creationId="{7780888C-E6F9-44D9-B528-2BFBBA4D2B3D}"/>
          </ac:graphicFrameMkLst>
        </pc:graphicFrameChg>
        <pc:picChg chg="add del mod">
          <ac:chgData name="Kawtar SADIQ" userId="65df04e4-2d23-4bab-afb0-40df8a2c1b9f" providerId="ADAL" clId="{13E48CF6-3C07-4AA7-848A-1E964CBB0D3A}" dt="2022-11-30T16:49:19.620" v="21221"/>
          <ac:picMkLst>
            <pc:docMk/>
            <pc:sldMk cId="2347713863" sldId="2147469778"/>
            <ac:picMk id="16" creationId="{62DECD57-3519-4D1A-B7E3-72CB1F1CFE44}"/>
          </ac:picMkLst>
        </pc:picChg>
        <pc:picChg chg="add del mod">
          <ac:chgData name="Kawtar SADIQ" userId="65df04e4-2d23-4bab-afb0-40df8a2c1b9f" providerId="ADAL" clId="{13E48CF6-3C07-4AA7-848A-1E964CBB0D3A}" dt="2022-11-30T16:49:19.620" v="21221"/>
          <ac:picMkLst>
            <pc:docMk/>
            <pc:sldMk cId="2347713863" sldId="2147469778"/>
            <ac:picMk id="17" creationId="{F1C4A159-BE35-4039-B8D7-2CA31B57330F}"/>
          </ac:picMkLst>
        </pc:picChg>
        <pc:picChg chg="add del mod">
          <ac:chgData name="Kawtar SADIQ" userId="65df04e4-2d23-4bab-afb0-40df8a2c1b9f" providerId="ADAL" clId="{13E48CF6-3C07-4AA7-848A-1E964CBB0D3A}" dt="2022-11-30T16:49:19.620" v="21221"/>
          <ac:picMkLst>
            <pc:docMk/>
            <pc:sldMk cId="2347713863" sldId="2147469778"/>
            <ac:picMk id="18" creationId="{7345EC57-EDBA-4955-9235-AF3295272C28}"/>
          </ac:picMkLst>
        </pc:picChg>
        <pc:picChg chg="add del mod">
          <ac:chgData name="Kawtar SADIQ" userId="65df04e4-2d23-4bab-afb0-40df8a2c1b9f" providerId="ADAL" clId="{13E48CF6-3C07-4AA7-848A-1E964CBB0D3A}" dt="2022-11-30T16:49:19.620" v="21221"/>
          <ac:picMkLst>
            <pc:docMk/>
            <pc:sldMk cId="2347713863" sldId="2147469778"/>
            <ac:picMk id="19" creationId="{66D9C4C7-F6ED-47CA-B82E-9553DEBC5B24}"/>
          </ac:picMkLst>
        </pc:picChg>
        <pc:picChg chg="add del mod">
          <ac:chgData name="Kawtar SADIQ" userId="65df04e4-2d23-4bab-afb0-40df8a2c1b9f" providerId="ADAL" clId="{13E48CF6-3C07-4AA7-848A-1E964CBB0D3A}" dt="2022-11-30T16:49:19.620" v="21221"/>
          <ac:picMkLst>
            <pc:docMk/>
            <pc:sldMk cId="2347713863" sldId="2147469778"/>
            <ac:picMk id="20" creationId="{72ACFEBA-518F-4981-A1EB-DB571A6BE3B5}"/>
          </ac:picMkLst>
        </pc:picChg>
        <pc:picChg chg="add del mod">
          <ac:chgData name="Kawtar SADIQ" userId="65df04e4-2d23-4bab-afb0-40df8a2c1b9f" providerId="ADAL" clId="{13E48CF6-3C07-4AA7-848A-1E964CBB0D3A}" dt="2022-11-30T16:49:19.620" v="21221"/>
          <ac:picMkLst>
            <pc:docMk/>
            <pc:sldMk cId="2347713863" sldId="2147469778"/>
            <ac:picMk id="21" creationId="{74658501-88E2-4C30-9E07-F524D19BFAB4}"/>
          </ac:picMkLst>
        </pc:picChg>
        <pc:picChg chg="add del mod">
          <ac:chgData name="Kawtar SADIQ" userId="65df04e4-2d23-4bab-afb0-40df8a2c1b9f" providerId="ADAL" clId="{13E48CF6-3C07-4AA7-848A-1E964CBB0D3A}" dt="2022-11-30T16:49:19.620" v="21221"/>
          <ac:picMkLst>
            <pc:docMk/>
            <pc:sldMk cId="2347713863" sldId="2147469778"/>
            <ac:picMk id="22" creationId="{6A5F72AA-61C9-4070-90EC-2E2232F9F4ED}"/>
          </ac:picMkLst>
        </pc:picChg>
        <pc:picChg chg="add del mod">
          <ac:chgData name="Kawtar SADIQ" userId="65df04e4-2d23-4bab-afb0-40df8a2c1b9f" providerId="ADAL" clId="{13E48CF6-3C07-4AA7-848A-1E964CBB0D3A}" dt="2022-11-30T16:49:19.620" v="21221"/>
          <ac:picMkLst>
            <pc:docMk/>
            <pc:sldMk cId="2347713863" sldId="2147469778"/>
            <ac:picMk id="23" creationId="{F1264D74-F011-41D0-9CE9-7794DDA58FD4}"/>
          </ac:picMkLst>
        </pc:picChg>
        <pc:picChg chg="add del mod">
          <ac:chgData name="Kawtar SADIQ" userId="65df04e4-2d23-4bab-afb0-40df8a2c1b9f" providerId="ADAL" clId="{13E48CF6-3C07-4AA7-848A-1E964CBB0D3A}" dt="2022-11-30T16:49:19.620" v="21221"/>
          <ac:picMkLst>
            <pc:docMk/>
            <pc:sldMk cId="2347713863" sldId="2147469778"/>
            <ac:picMk id="24" creationId="{21D6472A-102D-4AE1-A05A-F818F9B04311}"/>
          </ac:picMkLst>
        </pc:picChg>
        <pc:picChg chg="add del mod">
          <ac:chgData name="Kawtar SADIQ" userId="65df04e4-2d23-4bab-afb0-40df8a2c1b9f" providerId="ADAL" clId="{13E48CF6-3C07-4AA7-848A-1E964CBB0D3A}" dt="2022-11-30T16:49:19.620" v="21221"/>
          <ac:picMkLst>
            <pc:docMk/>
            <pc:sldMk cId="2347713863" sldId="2147469778"/>
            <ac:picMk id="25" creationId="{67765E6E-5324-428E-8466-F6C790D810FA}"/>
          </ac:picMkLst>
        </pc:picChg>
        <pc:picChg chg="add del mod">
          <ac:chgData name="Kawtar SADIQ" userId="65df04e4-2d23-4bab-afb0-40df8a2c1b9f" providerId="ADAL" clId="{13E48CF6-3C07-4AA7-848A-1E964CBB0D3A}" dt="2022-11-30T17:00:09.927" v="21316" actId="478"/>
          <ac:picMkLst>
            <pc:docMk/>
            <pc:sldMk cId="2347713863" sldId="2147469778"/>
            <ac:picMk id="38" creationId="{9AD1B1FB-75FF-4B74-8B4E-098D258549D5}"/>
          </ac:picMkLst>
        </pc:picChg>
        <pc:picChg chg="add del mod">
          <ac:chgData name="Kawtar SADIQ" userId="65df04e4-2d23-4bab-afb0-40df8a2c1b9f" providerId="ADAL" clId="{13E48CF6-3C07-4AA7-848A-1E964CBB0D3A}" dt="2022-11-30T17:00:09.927" v="21316" actId="478"/>
          <ac:picMkLst>
            <pc:docMk/>
            <pc:sldMk cId="2347713863" sldId="2147469778"/>
            <ac:picMk id="39" creationId="{44DC9036-B980-49EB-BD63-9D7BB613C1C6}"/>
          </ac:picMkLst>
        </pc:picChg>
        <pc:picChg chg="add del mod">
          <ac:chgData name="Kawtar SADIQ" userId="65df04e4-2d23-4bab-afb0-40df8a2c1b9f" providerId="ADAL" clId="{13E48CF6-3C07-4AA7-848A-1E964CBB0D3A}" dt="2022-11-30T17:00:09.927" v="21316" actId="478"/>
          <ac:picMkLst>
            <pc:docMk/>
            <pc:sldMk cId="2347713863" sldId="2147469778"/>
            <ac:picMk id="40" creationId="{4AA4ED8F-D742-4D7E-B4F3-91740640173F}"/>
          </ac:picMkLst>
        </pc:picChg>
        <pc:picChg chg="add del mod">
          <ac:chgData name="Kawtar SADIQ" userId="65df04e4-2d23-4bab-afb0-40df8a2c1b9f" providerId="ADAL" clId="{13E48CF6-3C07-4AA7-848A-1E964CBB0D3A}" dt="2022-11-30T17:00:09.927" v="21316" actId="478"/>
          <ac:picMkLst>
            <pc:docMk/>
            <pc:sldMk cId="2347713863" sldId="2147469778"/>
            <ac:picMk id="41" creationId="{077F0394-C19F-46BE-AA79-EB42CAD67A31}"/>
          </ac:picMkLst>
        </pc:picChg>
        <pc:picChg chg="add del mod">
          <ac:chgData name="Kawtar SADIQ" userId="65df04e4-2d23-4bab-afb0-40df8a2c1b9f" providerId="ADAL" clId="{13E48CF6-3C07-4AA7-848A-1E964CBB0D3A}" dt="2022-11-30T17:00:09.927" v="21316" actId="478"/>
          <ac:picMkLst>
            <pc:docMk/>
            <pc:sldMk cId="2347713863" sldId="2147469778"/>
            <ac:picMk id="42" creationId="{8F53A2C3-6C13-4030-962D-7483017B054F}"/>
          </ac:picMkLst>
        </pc:picChg>
        <pc:picChg chg="add del mod">
          <ac:chgData name="Kawtar SADIQ" userId="65df04e4-2d23-4bab-afb0-40df8a2c1b9f" providerId="ADAL" clId="{13E48CF6-3C07-4AA7-848A-1E964CBB0D3A}" dt="2022-11-30T17:00:09.927" v="21316" actId="478"/>
          <ac:picMkLst>
            <pc:docMk/>
            <pc:sldMk cId="2347713863" sldId="2147469778"/>
            <ac:picMk id="43" creationId="{5821EEF3-4D99-4538-B395-A4F410A9536D}"/>
          </ac:picMkLst>
        </pc:picChg>
        <pc:picChg chg="add del mod">
          <ac:chgData name="Kawtar SADIQ" userId="65df04e4-2d23-4bab-afb0-40df8a2c1b9f" providerId="ADAL" clId="{13E48CF6-3C07-4AA7-848A-1E964CBB0D3A}" dt="2022-11-30T17:00:09.927" v="21316" actId="478"/>
          <ac:picMkLst>
            <pc:docMk/>
            <pc:sldMk cId="2347713863" sldId="2147469778"/>
            <ac:picMk id="44" creationId="{61A6199D-983E-4735-AC27-572011AABA8F}"/>
          </ac:picMkLst>
        </pc:picChg>
        <pc:picChg chg="add del mod">
          <ac:chgData name="Kawtar SADIQ" userId="65df04e4-2d23-4bab-afb0-40df8a2c1b9f" providerId="ADAL" clId="{13E48CF6-3C07-4AA7-848A-1E964CBB0D3A}" dt="2022-11-30T17:00:09.927" v="21316" actId="478"/>
          <ac:picMkLst>
            <pc:docMk/>
            <pc:sldMk cId="2347713863" sldId="2147469778"/>
            <ac:picMk id="45" creationId="{347287EA-8A11-42C7-AB7E-874A7D2DECEA}"/>
          </ac:picMkLst>
        </pc:picChg>
        <pc:picChg chg="add del mod">
          <ac:chgData name="Kawtar SADIQ" userId="65df04e4-2d23-4bab-afb0-40df8a2c1b9f" providerId="ADAL" clId="{13E48CF6-3C07-4AA7-848A-1E964CBB0D3A}" dt="2022-11-30T17:00:07.247" v="21315" actId="478"/>
          <ac:picMkLst>
            <pc:docMk/>
            <pc:sldMk cId="2347713863" sldId="2147469778"/>
            <ac:picMk id="46" creationId="{87C3A7D1-FB4C-4A77-8142-D0B06C4A112A}"/>
          </ac:picMkLst>
        </pc:picChg>
        <pc:picChg chg="add del mod">
          <ac:chgData name="Kawtar SADIQ" userId="65df04e4-2d23-4bab-afb0-40df8a2c1b9f" providerId="ADAL" clId="{13E48CF6-3C07-4AA7-848A-1E964CBB0D3A}" dt="2022-11-30T17:00:09.927" v="21316" actId="478"/>
          <ac:picMkLst>
            <pc:docMk/>
            <pc:sldMk cId="2347713863" sldId="2147469778"/>
            <ac:picMk id="47" creationId="{54A3FCB1-4323-4663-8542-3B3A7809CB64}"/>
          </ac:picMkLst>
        </pc:picChg>
      </pc:sldChg>
      <pc:sldChg chg="del">
        <pc:chgData name="Kawtar SADIQ" userId="65df04e4-2d23-4bab-afb0-40df8a2c1b9f" providerId="ADAL" clId="{13E48CF6-3C07-4AA7-848A-1E964CBB0D3A}" dt="2022-11-30T16:10:24.474" v="21205" actId="47"/>
        <pc:sldMkLst>
          <pc:docMk/>
          <pc:sldMk cId="2417301681" sldId="2147469778"/>
        </pc:sldMkLst>
      </pc:sldChg>
      <pc:sldChg chg="addSp delSp modSp mod">
        <pc:chgData name="Kawtar SADIQ" userId="65df04e4-2d23-4bab-afb0-40df8a2c1b9f" providerId="ADAL" clId="{13E48CF6-3C07-4AA7-848A-1E964CBB0D3A}" dt="2022-12-01T18:31:12.887" v="28108" actId="478"/>
        <pc:sldMkLst>
          <pc:docMk/>
          <pc:sldMk cId="821738576" sldId="2147469786"/>
        </pc:sldMkLst>
        <pc:spChg chg="add del mod">
          <ac:chgData name="Kawtar SADIQ" userId="65df04e4-2d23-4bab-afb0-40df8a2c1b9f" providerId="ADAL" clId="{13E48CF6-3C07-4AA7-848A-1E964CBB0D3A}" dt="2022-12-01T18:31:12.887" v="28108" actId="478"/>
          <ac:spMkLst>
            <pc:docMk/>
            <pc:sldMk cId="821738576" sldId="2147469786"/>
            <ac:spMk id="8" creationId="{B40C0F8B-4441-4BE1-9102-1D0647EEFF1A}"/>
          </ac:spMkLst>
        </pc:spChg>
      </pc:sldChg>
      <pc:sldChg chg="addSp delSp modSp mod">
        <pc:chgData name="Kawtar SADIQ" userId="65df04e4-2d23-4bab-afb0-40df8a2c1b9f" providerId="ADAL" clId="{13E48CF6-3C07-4AA7-848A-1E964CBB0D3A}" dt="2022-12-01T13:55:17.829" v="27843" actId="478"/>
        <pc:sldMkLst>
          <pc:docMk/>
          <pc:sldMk cId="1985396647" sldId="2147469798"/>
        </pc:sldMkLst>
        <pc:spChg chg="add del mod">
          <ac:chgData name="Kawtar SADIQ" userId="65df04e4-2d23-4bab-afb0-40df8a2c1b9f" providerId="ADAL" clId="{13E48CF6-3C07-4AA7-848A-1E964CBB0D3A}" dt="2022-12-01T13:55:17.829" v="27843" actId="478"/>
          <ac:spMkLst>
            <pc:docMk/>
            <pc:sldMk cId="1985396647" sldId="2147469798"/>
            <ac:spMk id="2" creationId="{3140F97D-FB1F-4F02-B674-3813750922AE}"/>
          </ac:spMkLst>
        </pc:spChg>
        <pc:spChg chg="mod">
          <ac:chgData name="Kawtar SADIQ" userId="65df04e4-2d23-4bab-afb0-40df8a2c1b9f" providerId="ADAL" clId="{13E48CF6-3C07-4AA7-848A-1E964CBB0D3A}" dt="2022-12-01T08:12:42.845" v="24720" actId="20577"/>
          <ac:spMkLst>
            <pc:docMk/>
            <pc:sldMk cId="1985396647" sldId="2147469798"/>
            <ac:spMk id="4" creationId="{B38E534A-4BFA-B041-C1BB-3E2E2E141A43}"/>
          </ac:spMkLst>
        </pc:spChg>
        <pc:spChg chg="mod">
          <ac:chgData name="Kawtar SADIQ" userId="65df04e4-2d23-4bab-afb0-40df8a2c1b9f" providerId="ADAL" clId="{13E48CF6-3C07-4AA7-848A-1E964CBB0D3A}" dt="2022-12-01T08:13:00.563" v="24721" actId="20577"/>
          <ac:spMkLst>
            <pc:docMk/>
            <pc:sldMk cId="1985396647" sldId="2147469798"/>
            <ac:spMk id="6" creationId="{EF35A969-8E72-F9E2-E4DF-353E6BF5883F}"/>
          </ac:spMkLst>
        </pc:spChg>
      </pc:sldChg>
      <pc:sldChg chg="add">
        <pc:chgData name="Kawtar SADIQ" userId="65df04e4-2d23-4bab-afb0-40df8a2c1b9f" providerId="ADAL" clId="{13E48CF6-3C07-4AA7-848A-1E964CBB0D3A}" dt="2022-12-01T18:30:12.528" v="28107"/>
        <pc:sldMkLst>
          <pc:docMk/>
          <pc:sldMk cId="530589121" sldId="2147469799"/>
        </pc:sldMkLst>
      </pc:sldChg>
      <pc:sldChg chg="add">
        <pc:chgData name="Kawtar SADIQ" userId="65df04e4-2d23-4bab-afb0-40df8a2c1b9f" providerId="ADAL" clId="{13E48CF6-3C07-4AA7-848A-1E964CBB0D3A}" dt="2022-12-01T16:13:17.047" v="27866"/>
        <pc:sldMkLst>
          <pc:docMk/>
          <pc:sldMk cId="1648857649" sldId="2147469799"/>
        </pc:sldMkLst>
      </pc:sldChg>
      <pc:sldChg chg="del">
        <pc:chgData name="Kawtar SADIQ" userId="65df04e4-2d23-4bab-afb0-40df8a2c1b9f" providerId="ADAL" clId="{13E48CF6-3C07-4AA7-848A-1E964CBB0D3A}" dt="2022-12-01T17:52:07.804" v="28047" actId="47"/>
        <pc:sldMkLst>
          <pc:docMk/>
          <pc:sldMk cId="2978135730" sldId="2147469799"/>
        </pc:sldMkLst>
      </pc:sldChg>
      <pc:sldChg chg="addSp modSp new mod">
        <pc:chgData name="Kawtar SADIQ" userId="65df04e4-2d23-4bab-afb0-40df8a2c1b9f" providerId="ADAL" clId="{13E48CF6-3C07-4AA7-848A-1E964CBB0D3A}" dt="2022-11-30T17:09:16.340" v="21404" actId="20577"/>
        <pc:sldMkLst>
          <pc:docMk/>
          <pc:sldMk cId="3843943041" sldId="2147469799"/>
        </pc:sldMkLst>
        <pc:spChg chg="add mod">
          <ac:chgData name="Kawtar SADIQ" userId="65df04e4-2d23-4bab-afb0-40df8a2c1b9f" providerId="ADAL" clId="{13E48CF6-3C07-4AA7-848A-1E964CBB0D3A}" dt="2022-11-30T17:09:16.340" v="21404" actId="20577"/>
          <ac:spMkLst>
            <pc:docMk/>
            <pc:sldMk cId="3843943041" sldId="2147469799"/>
            <ac:spMk id="4" creationId="{CD99CB26-5364-4F14-9006-D7D654CDE401}"/>
          </ac:spMkLst>
        </pc:spChg>
      </pc:sldChg>
      <pc:sldChg chg="addSp delSp modSp add mod ord">
        <pc:chgData name="Kawtar SADIQ" userId="65df04e4-2d23-4bab-afb0-40df8a2c1b9f" providerId="ADAL" clId="{13E48CF6-3C07-4AA7-848A-1E964CBB0D3A}" dt="2022-11-30T17:58:55.269" v="21976"/>
        <pc:sldMkLst>
          <pc:docMk/>
          <pc:sldMk cId="2556075751" sldId="2147469800"/>
        </pc:sldMkLst>
        <pc:spChg chg="mod">
          <ac:chgData name="Kawtar SADIQ" userId="65df04e4-2d23-4bab-afb0-40df8a2c1b9f" providerId="ADAL" clId="{13E48CF6-3C07-4AA7-848A-1E964CBB0D3A}" dt="2022-11-30T17:48:53.762" v="21811"/>
          <ac:spMkLst>
            <pc:docMk/>
            <pc:sldMk cId="2556075751" sldId="2147469800"/>
            <ac:spMk id="2" creationId="{C16E4B82-BBDE-434D-B24C-F5DC04F2C2CE}"/>
          </ac:spMkLst>
        </pc:spChg>
        <pc:spChg chg="add del mod">
          <ac:chgData name="Kawtar SADIQ" userId="65df04e4-2d23-4bab-afb0-40df8a2c1b9f" providerId="ADAL" clId="{13E48CF6-3C07-4AA7-848A-1E964CBB0D3A}" dt="2022-11-30T17:58:32.451" v="21973" actId="478"/>
          <ac:spMkLst>
            <pc:docMk/>
            <pc:sldMk cId="2556075751" sldId="2147469800"/>
            <ac:spMk id="6" creationId="{9B5F75C3-4FC1-4152-8007-86F41F94D52A}"/>
          </ac:spMkLst>
        </pc:spChg>
        <pc:spChg chg="mod">
          <ac:chgData name="Kawtar SADIQ" userId="65df04e4-2d23-4bab-afb0-40df8a2c1b9f" providerId="ADAL" clId="{13E48CF6-3C07-4AA7-848A-1E964CBB0D3A}" dt="2022-11-30T17:48:59.513" v="21812"/>
          <ac:spMkLst>
            <pc:docMk/>
            <pc:sldMk cId="2556075751" sldId="2147469800"/>
            <ac:spMk id="15" creationId="{7380437E-D442-4201-94A7-D1B54DC6F804}"/>
          </ac:spMkLst>
        </pc:spChg>
        <pc:graphicFrameChg chg="mod modGraphic">
          <ac:chgData name="Kawtar SADIQ" userId="65df04e4-2d23-4bab-afb0-40df8a2c1b9f" providerId="ADAL" clId="{13E48CF6-3C07-4AA7-848A-1E964CBB0D3A}" dt="2022-11-30T17:51:04.286" v="21860" actId="20577"/>
          <ac:graphicFrameMkLst>
            <pc:docMk/>
            <pc:sldMk cId="2556075751" sldId="2147469800"/>
            <ac:graphicFrameMk id="13" creationId="{AFE617C0-3910-4329-BEEB-7B789BA13048}"/>
          </ac:graphicFrameMkLst>
        </pc:graphicFrameChg>
        <pc:graphicFrameChg chg="mod modGraphic">
          <ac:chgData name="Kawtar SADIQ" userId="65df04e4-2d23-4bab-afb0-40df8a2c1b9f" providerId="ADAL" clId="{13E48CF6-3C07-4AA7-848A-1E964CBB0D3A}" dt="2022-11-30T17:58:21.996" v="21972" actId="242"/>
          <ac:graphicFrameMkLst>
            <pc:docMk/>
            <pc:sldMk cId="2556075751" sldId="2147469800"/>
            <ac:graphicFrameMk id="14" creationId="{CFE43C19-6150-4002-867B-E9B823EE844F}"/>
          </ac:graphicFrameMkLst>
        </pc:graphicFrameChg>
      </pc:sldChg>
      <pc:sldChg chg="addSp modSp new del mod">
        <pc:chgData name="Kawtar SADIQ" userId="65df04e4-2d23-4bab-afb0-40df8a2c1b9f" providerId="ADAL" clId="{13E48CF6-3C07-4AA7-848A-1E964CBB0D3A}" dt="2022-11-30T19:11:36.747" v="22583" actId="47"/>
        <pc:sldMkLst>
          <pc:docMk/>
          <pc:sldMk cId="787834185" sldId="2147469801"/>
        </pc:sldMkLst>
        <pc:picChg chg="add mod">
          <ac:chgData name="Kawtar SADIQ" userId="65df04e4-2d23-4bab-afb0-40df8a2c1b9f" providerId="ADAL" clId="{13E48CF6-3C07-4AA7-848A-1E964CBB0D3A}" dt="2022-11-30T18:49:41.121" v="22149" actId="1076"/>
          <ac:picMkLst>
            <pc:docMk/>
            <pc:sldMk cId="787834185" sldId="2147469801"/>
            <ac:picMk id="5" creationId="{431D3884-EF91-4224-A220-0B8473AC38A8}"/>
          </ac:picMkLst>
        </pc:picChg>
      </pc:sldChg>
      <pc:sldChg chg="new del">
        <pc:chgData name="Kawtar SADIQ" userId="65df04e4-2d23-4bab-afb0-40df8a2c1b9f" providerId="ADAL" clId="{13E48CF6-3C07-4AA7-848A-1E964CBB0D3A}" dt="2022-11-30T18:53:24.974" v="22151" actId="680"/>
        <pc:sldMkLst>
          <pc:docMk/>
          <pc:sldMk cId="649161832" sldId="2147469802"/>
        </pc:sldMkLst>
      </pc:sldChg>
      <pc:sldChg chg="addSp delSp modSp new add del mod">
        <pc:chgData name="Kawtar SADIQ" userId="65df04e4-2d23-4bab-afb0-40df8a2c1b9f" providerId="ADAL" clId="{13E48CF6-3C07-4AA7-848A-1E964CBB0D3A}" dt="2022-12-01T18:28:15.568" v="28102" actId="1038"/>
        <pc:sldMkLst>
          <pc:docMk/>
          <pc:sldMk cId="2540188229" sldId="2147469802"/>
        </pc:sldMkLst>
        <pc:spChg chg="mod">
          <ac:chgData name="Kawtar SADIQ" userId="65df04e4-2d23-4bab-afb0-40df8a2c1b9f" providerId="ADAL" clId="{13E48CF6-3C07-4AA7-848A-1E964CBB0D3A}" dt="2022-12-01T11:38:12.389" v="26185"/>
          <ac:spMkLst>
            <pc:docMk/>
            <pc:sldMk cId="2540188229" sldId="2147469802"/>
            <ac:spMk id="2" creationId="{CA762840-70F9-4081-AEF7-418B9580EB34}"/>
          </ac:spMkLst>
        </pc:spChg>
        <pc:spChg chg="mod">
          <ac:chgData name="Kawtar SADIQ" userId="65df04e4-2d23-4bab-afb0-40df8a2c1b9f" providerId="ADAL" clId="{13E48CF6-3C07-4AA7-848A-1E964CBB0D3A}" dt="2022-12-01T17:02:21.633" v="28042"/>
          <ac:spMkLst>
            <pc:docMk/>
            <pc:sldMk cId="2540188229" sldId="2147469802"/>
            <ac:spMk id="3" creationId="{30BA9AC5-F339-4DAA-A784-D309B75F50DB}"/>
          </ac:spMkLst>
        </pc:spChg>
        <pc:spChg chg="mod">
          <ac:chgData name="Kawtar SADIQ" userId="65df04e4-2d23-4bab-afb0-40df8a2c1b9f" providerId="ADAL" clId="{13E48CF6-3C07-4AA7-848A-1E964CBB0D3A}" dt="2022-12-01T14:10:29.820" v="27845" actId="14100"/>
          <ac:spMkLst>
            <pc:docMk/>
            <pc:sldMk cId="2540188229" sldId="2147469802"/>
            <ac:spMk id="7" creationId="{C410B62C-E9A4-412D-829C-EBC589B1132D}"/>
          </ac:spMkLst>
        </pc:spChg>
        <pc:spChg chg="mod">
          <ac:chgData name="Kawtar SADIQ" userId="65df04e4-2d23-4bab-afb0-40df8a2c1b9f" providerId="ADAL" clId="{13E48CF6-3C07-4AA7-848A-1E964CBB0D3A}" dt="2022-11-30T18:53:36.304" v="22156" actId="165"/>
          <ac:spMkLst>
            <pc:docMk/>
            <pc:sldMk cId="2540188229" sldId="2147469802"/>
            <ac:spMk id="11" creationId="{6452DEC6-62A0-476A-998F-B616A7DBA64E}"/>
          </ac:spMkLst>
        </pc:spChg>
        <pc:spChg chg="mod">
          <ac:chgData name="Kawtar SADIQ" userId="65df04e4-2d23-4bab-afb0-40df8a2c1b9f" providerId="ADAL" clId="{13E48CF6-3C07-4AA7-848A-1E964CBB0D3A}" dt="2022-12-01T18:27:10.341" v="28092" actId="552"/>
          <ac:spMkLst>
            <pc:docMk/>
            <pc:sldMk cId="2540188229" sldId="2147469802"/>
            <ac:spMk id="12" creationId="{B3ACA60F-769A-43E5-B275-30B91C8443EA}"/>
          </ac:spMkLst>
        </pc:spChg>
        <pc:spChg chg="mod">
          <ac:chgData name="Kawtar SADIQ" userId="65df04e4-2d23-4bab-afb0-40df8a2c1b9f" providerId="ADAL" clId="{13E48CF6-3C07-4AA7-848A-1E964CBB0D3A}" dt="2022-11-30T18:53:36.304" v="22156" actId="165"/>
          <ac:spMkLst>
            <pc:docMk/>
            <pc:sldMk cId="2540188229" sldId="2147469802"/>
            <ac:spMk id="12" creationId="{CE8A729C-4752-4C55-A657-FEB826F49942}"/>
          </ac:spMkLst>
        </pc:spChg>
        <pc:spChg chg="mod">
          <ac:chgData name="Kawtar SADIQ" userId="65df04e4-2d23-4bab-afb0-40df8a2c1b9f" providerId="ADAL" clId="{13E48CF6-3C07-4AA7-848A-1E964CBB0D3A}" dt="2022-11-30T18:53:36.304" v="22156" actId="165"/>
          <ac:spMkLst>
            <pc:docMk/>
            <pc:sldMk cId="2540188229" sldId="2147469802"/>
            <ac:spMk id="13" creationId="{C66671FE-4452-4E04-ACF7-A9D2E26F4343}"/>
          </ac:spMkLst>
        </pc:spChg>
        <pc:spChg chg="mod">
          <ac:chgData name="Kawtar SADIQ" userId="65df04e4-2d23-4bab-afb0-40df8a2c1b9f" providerId="ADAL" clId="{13E48CF6-3C07-4AA7-848A-1E964CBB0D3A}" dt="2022-11-30T18:53:36.304" v="22156" actId="165"/>
          <ac:spMkLst>
            <pc:docMk/>
            <pc:sldMk cId="2540188229" sldId="2147469802"/>
            <ac:spMk id="14" creationId="{CEF06C3B-45F4-427B-8D59-752C10E58CA2}"/>
          </ac:spMkLst>
        </pc:spChg>
        <pc:spChg chg="mod">
          <ac:chgData name="Kawtar SADIQ" userId="65df04e4-2d23-4bab-afb0-40df8a2c1b9f" providerId="ADAL" clId="{13E48CF6-3C07-4AA7-848A-1E964CBB0D3A}" dt="2022-12-01T11:27:25.656" v="26136" actId="1036"/>
          <ac:spMkLst>
            <pc:docMk/>
            <pc:sldMk cId="2540188229" sldId="2147469802"/>
            <ac:spMk id="15" creationId="{9BF86833-3204-4342-A5D5-61FEA7F88E0A}"/>
          </ac:spMkLst>
        </pc:spChg>
        <pc:spChg chg="mod">
          <ac:chgData name="Kawtar SADIQ" userId="65df04e4-2d23-4bab-afb0-40df8a2c1b9f" providerId="ADAL" clId="{13E48CF6-3C07-4AA7-848A-1E964CBB0D3A}" dt="2022-11-30T18:53:36.304" v="22156" actId="165"/>
          <ac:spMkLst>
            <pc:docMk/>
            <pc:sldMk cId="2540188229" sldId="2147469802"/>
            <ac:spMk id="15" creationId="{9FCCB315-7975-4895-B887-0EFE197B8E4B}"/>
          </ac:spMkLst>
        </pc:spChg>
        <pc:spChg chg="mod">
          <ac:chgData name="Kawtar SADIQ" userId="65df04e4-2d23-4bab-afb0-40df8a2c1b9f" providerId="ADAL" clId="{13E48CF6-3C07-4AA7-848A-1E964CBB0D3A}" dt="2022-11-30T18:53:36.304" v="22156" actId="165"/>
          <ac:spMkLst>
            <pc:docMk/>
            <pc:sldMk cId="2540188229" sldId="2147469802"/>
            <ac:spMk id="16" creationId="{62998D75-108F-473A-948A-1339EC4ECBA7}"/>
          </ac:spMkLst>
        </pc:spChg>
        <pc:spChg chg="mod">
          <ac:chgData name="Kawtar SADIQ" userId="65df04e4-2d23-4bab-afb0-40df8a2c1b9f" providerId="ADAL" clId="{13E48CF6-3C07-4AA7-848A-1E964CBB0D3A}" dt="2022-11-30T18:53:36.304" v="22156" actId="165"/>
          <ac:spMkLst>
            <pc:docMk/>
            <pc:sldMk cId="2540188229" sldId="2147469802"/>
            <ac:spMk id="17" creationId="{B576604F-3E1B-4A51-9BAB-87E23369307E}"/>
          </ac:spMkLst>
        </pc:spChg>
        <pc:spChg chg="mod">
          <ac:chgData name="Kawtar SADIQ" userId="65df04e4-2d23-4bab-afb0-40df8a2c1b9f" providerId="ADAL" clId="{13E48CF6-3C07-4AA7-848A-1E964CBB0D3A}" dt="2022-11-30T18:53:36.304" v="22156" actId="165"/>
          <ac:spMkLst>
            <pc:docMk/>
            <pc:sldMk cId="2540188229" sldId="2147469802"/>
            <ac:spMk id="18" creationId="{9EB337FA-9E07-4193-8E17-FAC9002833C8}"/>
          </ac:spMkLst>
        </pc:spChg>
        <pc:spChg chg="mod">
          <ac:chgData name="Kawtar SADIQ" userId="65df04e4-2d23-4bab-afb0-40df8a2c1b9f" providerId="ADAL" clId="{13E48CF6-3C07-4AA7-848A-1E964CBB0D3A}" dt="2022-11-30T18:53:36.304" v="22156" actId="165"/>
          <ac:spMkLst>
            <pc:docMk/>
            <pc:sldMk cId="2540188229" sldId="2147469802"/>
            <ac:spMk id="19" creationId="{D803F2A6-7768-4A78-9ADB-1532F79679D6}"/>
          </ac:spMkLst>
        </pc:spChg>
        <pc:spChg chg="mod">
          <ac:chgData name="Kawtar SADIQ" userId="65df04e4-2d23-4bab-afb0-40df8a2c1b9f" providerId="ADAL" clId="{13E48CF6-3C07-4AA7-848A-1E964CBB0D3A}" dt="2022-11-30T18:53:36.304" v="22156" actId="165"/>
          <ac:spMkLst>
            <pc:docMk/>
            <pc:sldMk cId="2540188229" sldId="2147469802"/>
            <ac:spMk id="20" creationId="{250E3EDD-AB3E-4807-B35D-09D9C1B3693B}"/>
          </ac:spMkLst>
        </pc:spChg>
        <pc:spChg chg="add del mod">
          <ac:chgData name="Kawtar SADIQ" userId="65df04e4-2d23-4bab-afb0-40df8a2c1b9f" providerId="ADAL" clId="{13E48CF6-3C07-4AA7-848A-1E964CBB0D3A}" dt="2022-11-30T19:02:50.075" v="22372" actId="207"/>
          <ac:spMkLst>
            <pc:docMk/>
            <pc:sldMk cId="2540188229" sldId="2147469802"/>
            <ac:spMk id="21" creationId="{D9AFC49B-5DEF-4EE0-9A26-C6C2305ADB9B}"/>
          </ac:spMkLst>
        </pc:spChg>
        <pc:spChg chg="add del mod">
          <ac:chgData name="Kawtar SADIQ" userId="65df04e4-2d23-4bab-afb0-40df8a2c1b9f" providerId="ADAL" clId="{13E48CF6-3C07-4AA7-848A-1E964CBB0D3A}" dt="2022-11-30T19:03:02.354" v="22375" actId="208"/>
          <ac:spMkLst>
            <pc:docMk/>
            <pc:sldMk cId="2540188229" sldId="2147469802"/>
            <ac:spMk id="22" creationId="{DC7204C4-E492-4FC5-AE69-1C4861144734}"/>
          </ac:spMkLst>
        </pc:spChg>
        <pc:spChg chg="mod">
          <ac:chgData name="Kawtar SADIQ" userId="65df04e4-2d23-4bab-afb0-40df8a2c1b9f" providerId="ADAL" clId="{13E48CF6-3C07-4AA7-848A-1E964CBB0D3A}" dt="2022-11-30T18:56:30.056" v="22304" actId="207"/>
          <ac:spMkLst>
            <pc:docMk/>
            <pc:sldMk cId="2540188229" sldId="2147469802"/>
            <ac:spMk id="23" creationId="{477CE869-1A01-432B-9761-9FB9C01E390C}"/>
          </ac:spMkLst>
        </pc:spChg>
        <pc:spChg chg="mod">
          <ac:chgData name="Kawtar SADIQ" userId="65df04e4-2d23-4bab-afb0-40df8a2c1b9f" providerId="ADAL" clId="{13E48CF6-3C07-4AA7-848A-1E964CBB0D3A}" dt="2022-11-30T18:56:39.165" v="22308" actId="208"/>
          <ac:spMkLst>
            <pc:docMk/>
            <pc:sldMk cId="2540188229" sldId="2147469802"/>
            <ac:spMk id="24" creationId="{83F4D58F-4301-4B67-B378-85409ED3C403}"/>
          </ac:spMkLst>
        </pc:spChg>
        <pc:spChg chg="mod">
          <ac:chgData name="Kawtar SADIQ" userId="65df04e4-2d23-4bab-afb0-40df8a2c1b9f" providerId="ADAL" clId="{13E48CF6-3C07-4AA7-848A-1E964CBB0D3A}" dt="2022-11-30T19:11:27.418" v="22582" actId="207"/>
          <ac:spMkLst>
            <pc:docMk/>
            <pc:sldMk cId="2540188229" sldId="2147469802"/>
            <ac:spMk id="25" creationId="{52FEB4A4-8005-4698-B2F8-3629105E0310}"/>
          </ac:spMkLst>
        </pc:spChg>
        <pc:spChg chg="mod">
          <ac:chgData name="Kawtar SADIQ" userId="65df04e4-2d23-4bab-afb0-40df8a2c1b9f" providerId="ADAL" clId="{13E48CF6-3C07-4AA7-848A-1E964CBB0D3A}" dt="2022-11-30T19:11:24.080" v="22581" actId="208"/>
          <ac:spMkLst>
            <pc:docMk/>
            <pc:sldMk cId="2540188229" sldId="2147469802"/>
            <ac:spMk id="26" creationId="{9F07B456-AA14-44E6-8CE7-8BE521E9AA09}"/>
          </ac:spMkLst>
        </pc:spChg>
        <pc:spChg chg="mod">
          <ac:chgData name="Kawtar SADIQ" userId="65df04e4-2d23-4bab-afb0-40df8a2c1b9f" providerId="ADAL" clId="{13E48CF6-3C07-4AA7-848A-1E964CBB0D3A}" dt="2022-11-30T19:07:51.766" v="22535" actId="14100"/>
          <ac:spMkLst>
            <pc:docMk/>
            <pc:sldMk cId="2540188229" sldId="2147469802"/>
            <ac:spMk id="27" creationId="{642FD0AA-E6FE-416E-BC1C-783754C4FAEC}"/>
          </ac:spMkLst>
        </pc:spChg>
        <pc:spChg chg="mod">
          <ac:chgData name="Kawtar SADIQ" userId="65df04e4-2d23-4bab-afb0-40df8a2c1b9f" providerId="ADAL" clId="{13E48CF6-3C07-4AA7-848A-1E964CBB0D3A}" dt="2022-11-30T18:53:36.304" v="22156" actId="165"/>
          <ac:spMkLst>
            <pc:docMk/>
            <pc:sldMk cId="2540188229" sldId="2147469802"/>
            <ac:spMk id="28" creationId="{50C5B3CF-3A4F-42B6-8018-47EFF163D4E0}"/>
          </ac:spMkLst>
        </pc:spChg>
        <pc:spChg chg="add mod">
          <ac:chgData name="Kawtar SADIQ" userId="65df04e4-2d23-4bab-afb0-40df8a2c1b9f" providerId="ADAL" clId="{13E48CF6-3C07-4AA7-848A-1E964CBB0D3A}" dt="2022-11-30T19:08:34.312" v="22560" actId="1076"/>
          <ac:spMkLst>
            <pc:docMk/>
            <pc:sldMk cId="2540188229" sldId="2147469802"/>
            <ac:spMk id="29" creationId="{E554D552-6F40-40A0-8C19-CEC1B2AAE5DD}"/>
          </ac:spMkLst>
        </pc:spChg>
        <pc:spChg chg="mod">
          <ac:chgData name="Kawtar SADIQ" userId="65df04e4-2d23-4bab-afb0-40df8a2c1b9f" providerId="ADAL" clId="{13E48CF6-3C07-4AA7-848A-1E964CBB0D3A}" dt="2022-11-30T18:56:25.632" v="22302" actId="207"/>
          <ac:spMkLst>
            <pc:docMk/>
            <pc:sldMk cId="2540188229" sldId="2147469802"/>
            <ac:spMk id="31" creationId="{85BBAEE6-9A14-4E29-A267-7A34B4B2A65C}"/>
          </ac:spMkLst>
        </pc:spChg>
        <pc:spChg chg="add mod">
          <ac:chgData name="Kawtar SADIQ" userId="65df04e4-2d23-4bab-afb0-40df8a2c1b9f" providerId="ADAL" clId="{13E48CF6-3C07-4AA7-848A-1E964CBB0D3A}" dt="2022-12-01T11:28:39.421" v="26161" actId="14100"/>
          <ac:spMkLst>
            <pc:docMk/>
            <pc:sldMk cId="2540188229" sldId="2147469802"/>
            <ac:spMk id="31" creationId="{ED15B70B-6A6D-4AF1-A556-8F7F4196A78E}"/>
          </ac:spMkLst>
        </pc:spChg>
        <pc:spChg chg="mod">
          <ac:chgData name="Kawtar SADIQ" userId="65df04e4-2d23-4bab-afb0-40df8a2c1b9f" providerId="ADAL" clId="{13E48CF6-3C07-4AA7-848A-1E964CBB0D3A}" dt="2022-11-30T19:21:16.836" v="22917" actId="14100"/>
          <ac:spMkLst>
            <pc:docMk/>
            <pc:sldMk cId="2540188229" sldId="2147469802"/>
            <ac:spMk id="32" creationId="{E01865FA-F2F0-4B01-920A-09CDA8063E06}"/>
          </ac:spMkLst>
        </pc:spChg>
        <pc:spChg chg="mod topLvl">
          <ac:chgData name="Kawtar SADIQ" userId="65df04e4-2d23-4bab-afb0-40df8a2c1b9f" providerId="ADAL" clId="{13E48CF6-3C07-4AA7-848A-1E964CBB0D3A}" dt="2022-12-01T11:11:27.554" v="25762" actId="14100"/>
          <ac:spMkLst>
            <pc:docMk/>
            <pc:sldMk cId="2540188229" sldId="2147469802"/>
            <ac:spMk id="34" creationId="{C0CA8087-FD2A-4215-A86B-B1BE5A347983}"/>
          </ac:spMkLst>
        </pc:spChg>
        <pc:spChg chg="mod topLvl">
          <ac:chgData name="Kawtar SADIQ" userId="65df04e4-2d23-4bab-afb0-40df8a2c1b9f" providerId="ADAL" clId="{13E48CF6-3C07-4AA7-848A-1E964CBB0D3A}" dt="2022-12-01T11:21:15.739" v="26030" actId="14100"/>
          <ac:spMkLst>
            <pc:docMk/>
            <pc:sldMk cId="2540188229" sldId="2147469802"/>
            <ac:spMk id="35" creationId="{F4DC386E-A717-46E3-B1B5-36AF2E473127}"/>
          </ac:spMkLst>
        </pc:spChg>
        <pc:spChg chg="add mod">
          <ac:chgData name="Kawtar SADIQ" userId="65df04e4-2d23-4bab-afb0-40df8a2c1b9f" providerId="ADAL" clId="{13E48CF6-3C07-4AA7-848A-1E964CBB0D3A}" dt="2022-11-30T19:04:49.838" v="22422" actId="207"/>
          <ac:spMkLst>
            <pc:docMk/>
            <pc:sldMk cId="2540188229" sldId="2147469802"/>
            <ac:spMk id="36" creationId="{D351801B-BF7F-46DE-A90B-53A43A5BF502}"/>
          </ac:spMkLst>
        </pc:spChg>
        <pc:spChg chg="add mod">
          <ac:chgData name="Kawtar SADIQ" userId="65df04e4-2d23-4bab-afb0-40df8a2c1b9f" providerId="ADAL" clId="{13E48CF6-3C07-4AA7-848A-1E964CBB0D3A}" dt="2022-11-30T19:04:39.071" v="22384" actId="207"/>
          <ac:spMkLst>
            <pc:docMk/>
            <pc:sldMk cId="2540188229" sldId="2147469802"/>
            <ac:spMk id="37" creationId="{9FD8FFEA-4E08-4F1D-9857-EAFDE3D13701}"/>
          </ac:spMkLst>
        </pc:spChg>
        <pc:spChg chg="mod">
          <ac:chgData name="Kawtar SADIQ" userId="65df04e4-2d23-4bab-afb0-40df8a2c1b9f" providerId="ADAL" clId="{13E48CF6-3C07-4AA7-848A-1E964CBB0D3A}" dt="2022-11-30T19:16:36.566" v="22706" actId="20577"/>
          <ac:spMkLst>
            <pc:docMk/>
            <pc:sldMk cId="2540188229" sldId="2147469802"/>
            <ac:spMk id="39" creationId="{500CF304-F8FB-4561-A430-762B048581C7}"/>
          </ac:spMkLst>
        </pc:spChg>
        <pc:spChg chg="mod">
          <ac:chgData name="Kawtar SADIQ" userId="65df04e4-2d23-4bab-afb0-40df8a2c1b9f" providerId="ADAL" clId="{13E48CF6-3C07-4AA7-848A-1E964CBB0D3A}" dt="2022-11-30T19:21:09.571" v="22916" actId="14100"/>
          <ac:spMkLst>
            <pc:docMk/>
            <pc:sldMk cId="2540188229" sldId="2147469802"/>
            <ac:spMk id="40" creationId="{C38490D2-387C-4D6C-821D-40CAA9AD8431}"/>
          </ac:spMkLst>
        </pc:spChg>
        <pc:spChg chg="mod">
          <ac:chgData name="Kawtar SADIQ" userId="65df04e4-2d23-4bab-afb0-40df8a2c1b9f" providerId="ADAL" clId="{13E48CF6-3C07-4AA7-848A-1E964CBB0D3A}" dt="2022-12-01T18:28:15.568" v="28102" actId="1038"/>
          <ac:spMkLst>
            <pc:docMk/>
            <pc:sldMk cId="2540188229" sldId="2147469802"/>
            <ac:spMk id="42" creationId="{79913F19-FC78-4096-8483-7090CCE96FC5}"/>
          </ac:spMkLst>
        </pc:spChg>
        <pc:spChg chg="add mod">
          <ac:chgData name="Kawtar SADIQ" userId="65df04e4-2d23-4bab-afb0-40df8a2c1b9f" providerId="ADAL" clId="{13E48CF6-3C07-4AA7-848A-1E964CBB0D3A}" dt="2022-11-30T19:09:15.570" v="22577" actId="1076"/>
          <ac:spMkLst>
            <pc:docMk/>
            <pc:sldMk cId="2540188229" sldId="2147469802"/>
            <ac:spMk id="43" creationId="{1C919372-D37C-4F14-B5E1-38C8BE742F8A}"/>
          </ac:spMkLst>
        </pc:spChg>
        <pc:spChg chg="add mod">
          <ac:chgData name="Kawtar SADIQ" userId="65df04e4-2d23-4bab-afb0-40df8a2c1b9f" providerId="ADAL" clId="{13E48CF6-3C07-4AA7-848A-1E964CBB0D3A}" dt="2022-11-30T20:24:32.488" v="24489" actId="20577"/>
          <ac:spMkLst>
            <pc:docMk/>
            <pc:sldMk cId="2540188229" sldId="2147469802"/>
            <ac:spMk id="44" creationId="{31505B93-018D-4BEA-AFC9-64EF852EAF81}"/>
          </ac:spMkLst>
        </pc:spChg>
        <pc:spChg chg="add del mod">
          <ac:chgData name="Kawtar SADIQ" userId="65df04e4-2d23-4bab-afb0-40df8a2c1b9f" providerId="ADAL" clId="{13E48CF6-3C07-4AA7-848A-1E964CBB0D3A}" dt="2022-11-30T20:12:56.336" v="24096" actId="478"/>
          <ac:spMkLst>
            <pc:docMk/>
            <pc:sldMk cId="2540188229" sldId="2147469802"/>
            <ac:spMk id="45" creationId="{4BDA6452-6EEB-4C86-AF2E-A1DD1A537254}"/>
          </ac:spMkLst>
        </pc:spChg>
        <pc:spChg chg="add mod ord">
          <ac:chgData name="Kawtar SADIQ" userId="65df04e4-2d23-4bab-afb0-40df8a2c1b9f" providerId="ADAL" clId="{13E48CF6-3C07-4AA7-848A-1E964CBB0D3A}" dt="2022-11-30T19:47:02.092" v="23034" actId="1036"/>
          <ac:spMkLst>
            <pc:docMk/>
            <pc:sldMk cId="2540188229" sldId="2147469802"/>
            <ac:spMk id="46" creationId="{929E9E80-E374-44A5-90CE-2B22810212A5}"/>
          </ac:spMkLst>
        </pc:spChg>
        <pc:spChg chg="add del mod">
          <ac:chgData name="Kawtar SADIQ" userId="65df04e4-2d23-4bab-afb0-40df8a2c1b9f" providerId="ADAL" clId="{13E48CF6-3C07-4AA7-848A-1E964CBB0D3A}" dt="2022-11-30T19:20:03.281" v="22897"/>
          <ac:spMkLst>
            <pc:docMk/>
            <pc:sldMk cId="2540188229" sldId="2147469802"/>
            <ac:spMk id="47" creationId="{7C4FFDF4-9E1E-41AD-B4BF-40C8EBC163BC}"/>
          </ac:spMkLst>
        </pc:spChg>
        <pc:spChg chg="add del mod">
          <ac:chgData name="Kawtar SADIQ" userId="65df04e4-2d23-4bab-afb0-40df8a2c1b9f" providerId="ADAL" clId="{13E48CF6-3C07-4AA7-848A-1E964CBB0D3A}" dt="2022-11-30T19:20:09.322" v="22901"/>
          <ac:spMkLst>
            <pc:docMk/>
            <pc:sldMk cId="2540188229" sldId="2147469802"/>
            <ac:spMk id="48" creationId="{AFA9A2D1-0C81-4B56-8A2B-18AABF9B3E2D}"/>
          </ac:spMkLst>
        </pc:spChg>
        <pc:spChg chg="add mod">
          <ac:chgData name="Kawtar SADIQ" userId="65df04e4-2d23-4bab-afb0-40df8a2c1b9f" providerId="ADAL" clId="{13E48CF6-3C07-4AA7-848A-1E964CBB0D3A}" dt="2022-11-30T20:07:43.198" v="23870" actId="1035"/>
          <ac:spMkLst>
            <pc:docMk/>
            <pc:sldMk cId="2540188229" sldId="2147469802"/>
            <ac:spMk id="49" creationId="{8E8F2E21-C71E-4DE0-AD50-7A00550213B9}"/>
          </ac:spMkLst>
        </pc:spChg>
        <pc:spChg chg="add mod">
          <ac:chgData name="Kawtar SADIQ" userId="65df04e4-2d23-4bab-afb0-40df8a2c1b9f" providerId="ADAL" clId="{13E48CF6-3C07-4AA7-848A-1E964CBB0D3A}" dt="2022-11-30T20:07:38.490" v="23861" actId="1036"/>
          <ac:spMkLst>
            <pc:docMk/>
            <pc:sldMk cId="2540188229" sldId="2147469802"/>
            <ac:spMk id="50" creationId="{85C6E038-4868-4C1F-ABB9-31B243DCED2F}"/>
          </ac:spMkLst>
        </pc:spChg>
        <pc:spChg chg="mod">
          <ac:chgData name="Kawtar SADIQ" userId="65df04e4-2d23-4bab-afb0-40df8a2c1b9f" providerId="ADAL" clId="{13E48CF6-3C07-4AA7-848A-1E964CBB0D3A}" dt="2022-12-01T18:26:51.246" v="28088" actId="552"/>
          <ac:spMkLst>
            <pc:docMk/>
            <pc:sldMk cId="2540188229" sldId="2147469802"/>
            <ac:spMk id="51" creationId="{5359272C-D9A2-42F6-AD4E-166081E8DB63}"/>
          </ac:spMkLst>
        </pc:spChg>
        <pc:spChg chg="add mod">
          <ac:chgData name="Kawtar SADIQ" userId="65df04e4-2d23-4bab-afb0-40df8a2c1b9f" providerId="ADAL" clId="{13E48CF6-3C07-4AA7-848A-1E964CBB0D3A}" dt="2022-12-01T17:02:21.633" v="28042"/>
          <ac:spMkLst>
            <pc:docMk/>
            <pc:sldMk cId="2540188229" sldId="2147469802"/>
            <ac:spMk id="52" creationId="{F8977E9A-A487-43C8-B3E5-E09DD144464D}"/>
          </ac:spMkLst>
        </pc:spChg>
        <pc:spChg chg="add mod">
          <ac:chgData name="Kawtar SADIQ" userId="65df04e4-2d23-4bab-afb0-40df8a2c1b9f" providerId="ADAL" clId="{13E48CF6-3C07-4AA7-848A-1E964CBB0D3A}" dt="2022-11-30T21:42:19.464" v="24496" actId="20577"/>
          <ac:spMkLst>
            <pc:docMk/>
            <pc:sldMk cId="2540188229" sldId="2147469802"/>
            <ac:spMk id="53" creationId="{4C8B2D3E-53B8-45A0-BAAD-3828DCF535FB}"/>
          </ac:spMkLst>
        </pc:spChg>
        <pc:spChg chg="mod">
          <ac:chgData name="Kawtar SADIQ" userId="65df04e4-2d23-4bab-afb0-40df8a2c1b9f" providerId="ADAL" clId="{13E48CF6-3C07-4AA7-848A-1E964CBB0D3A}" dt="2022-12-01T11:13:18.067" v="25774" actId="404"/>
          <ac:spMkLst>
            <pc:docMk/>
            <pc:sldMk cId="2540188229" sldId="2147469802"/>
            <ac:spMk id="54" creationId="{90E86731-C408-4EB5-BA6E-72D06A37D9AF}"/>
          </ac:spMkLst>
        </pc:spChg>
        <pc:spChg chg="add del">
          <ac:chgData name="Kawtar SADIQ" userId="65df04e4-2d23-4bab-afb0-40df8a2c1b9f" providerId="ADAL" clId="{13E48CF6-3C07-4AA7-848A-1E964CBB0D3A}" dt="2022-11-30T20:13:04.221" v="24115" actId="22"/>
          <ac:spMkLst>
            <pc:docMk/>
            <pc:sldMk cId="2540188229" sldId="2147469802"/>
            <ac:spMk id="55" creationId="{2D6A68E8-7107-4762-B155-4974DB38BC27}"/>
          </ac:spMkLst>
        </pc:spChg>
        <pc:spChg chg="mod">
          <ac:chgData name="Kawtar SADIQ" userId="65df04e4-2d23-4bab-afb0-40df8a2c1b9f" providerId="ADAL" clId="{13E48CF6-3C07-4AA7-848A-1E964CBB0D3A}" dt="2022-12-01T18:27:40.367" v="28095" actId="554"/>
          <ac:spMkLst>
            <pc:docMk/>
            <pc:sldMk cId="2540188229" sldId="2147469802"/>
            <ac:spMk id="55" creationId="{F490D901-EE7D-408B-9DC6-AAA328D8AACA}"/>
          </ac:spMkLst>
        </pc:spChg>
        <pc:spChg chg="add mod">
          <ac:chgData name="Kawtar SADIQ" userId="65df04e4-2d23-4bab-afb0-40df8a2c1b9f" providerId="ADAL" clId="{13E48CF6-3C07-4AA7-848A-1E964CBB0D3A}" dt="2022-11-30T22:22:22.123" v="24541" actId="6549"/>
          <ac:spMkLst>
            <pc:docMk/>
            <pc:sldMk cId="2540188229" sldId="2147469802"/>
            <ac:spMk id="56" creationId="{9E417B2B-9161-47F7-9916-19E7E66AC55A}"/>
          </ac:spMkLst>
        </pc:spChg>
        <pc:spChg chg="mod">
          <ac:chgData name="Kawtar SADIQ" userId="65df04e4-2d23-4bab-afb0-40df8a2c1b9f" providerId="ADAL" clId="{13E48CF6-3C07-4AA7-848A-1E964CBB0D3A}" dt="2022-12-01T18:27:40.367" v="28095" actId="554"/>
          <ac:spMkLst>
            <pc:docMk/>
            <pc:sldMk cId="2540188229" sldId="2147469802"/>
            <ac:spMk id="57" creationId="{50A77F80-CC55-4330-B3FF-D75A2E9B2A4B}"/>
          </ac:spMkLst>
        </pc:spChg>
        <pc:spChg chg="del mod">
          <ac:chgData name="Kawtar SADIQ" userId="65df04e4-2d23-4bab-afb0-40df8a2c1b9f" providerId="ADAL" clId="{13E48CF6-3C07-4AA7-848A-1E964CBB0D3A}" dt="2022-12-01T11:17:04.373" v="25822" actId="478"/>
          <ac:spMkLst>
            <pc:docMk/>
            <pc:sldMk cId="2540188229" sldId="2147469802"/>
            <ac:spMk id="59" creationId="{C2752DBD-8CCD-4633-AAFF-8A292529FB4E}"/>
          </ac:spMkLst>
        </pc:spChg>
        <pc:grpChg chg="add del mod">
          <ac:chgData name="Kawtar SADIQ" userId="65df04e4-2d23-4bab-afb0-40df8a2c1b9f" providerId="ADAL" clId="{13E48CF6-3C07-4AA7-848A-1E964CBB0D3A}" dt="2022-11-30T18:53:36.304" v="22156" actId="165"/>
          <ac:grpSpMkLst>
            <pc:docMk/>
            <pc:sldMk cId="2540188229" sldId="2147469802"/>
            <ac:grpSpMk id="4" creationId="{D0FA8BFD-6DBC-402C-B9AC-558380465DE5}"/>
          </ac:grpSpMkLst>
        </pc:grpChg>
        <pc:grpChg chg="mod topLvl">
          <ac:chgData name="Kawtar SADIQ" userId="65df04e4-2d23-4bab-afb0-40df8a2c1b9f" providerId="ADAL" clId="{13E48CF6-3C07-4AA7-848A-1E964CBB0D3A}" dt="2022-11-30T18:56:56.192" v="22309" actId="14100"/>
          <ac:grpSpMkLst>
            <pc:docMk/>
            <pc:sldMk cId="2540188229" sldId="2147469802"/>
            <ac:grpSpMk id="5" creationId="{320EAC56-79BC-41F7-A5BC-307DC9095DA1}"/>
          </ac:grpSpMkLst>
        </pc:grpChg>
        <pc:grpChg chg="mod">
          <ac:chgData name="Kawtar SADIQ" userId="65df04e4-2d23-4bab-afb0-40df8a2c1b9f" providerId="ADAL" clId="{13E48CF6-3C07-4AA7-848A-1E964CBB0D3A}" dt="2022-12-01T11:27:25.656" v="26136" actId="1036"/>
          <ac:grpSpMkLst>
            <pc:docMk/>
            <pc:sldMk cId="2540188229" sldId="2147469802"/>
            <ac:grpSpMk id="6" creationId="{45DBF1F4-B87F-4457-B530-4360637B7FDF}"/>
          </ac:grpSpMkLst>
        </pc:grpChg>
        <pc:grpChg chg="del mod topLvl">
          <ac:chgData name="Kawtar SADIQ" userId="65df04e4-2d23-4bab-afb0-40df8a2c1b9f" providerId="ADAL" clId="{13E48CF6-3C07-4AA7-848A-1E964CBB0D3A}" dt="2022-11-30T19:10:53.825" v="22578" actId="478"/>
          <ac:grpSpMkLst>
            <pc:docMk/>
            <pc:sldMk cId="2540188229" sldId="2147469802"/>
            <ac:grpSpMk id="6" creationId="{CDA23C32-23FA-41C1-9F98-76821627660D}"/>
          </ac:grpSpMkLst>
        </pc:grpChg>
        <pc:grpChg chg="mod">
          <ac:chgData name="Kawtar SADIQ" userId="65df04e4-2d23-4bab-afb0-40df8a2c1b9f" providerId="ADAL" clId="{13E48CF6-3C07-4AA7-848A-1E964CBB0D3A}" dt="2022-11-30T18:53:36.304" v="22156" actId="165"/>
          <ac:grpSpMkLst>
            <pc:docMk/>
            <pc:sldMk cId="2540188229" sldId="2147469802"/>
            <ac:grpSpMk id="7" creationId="{4B9C6D4E-4248-4884-A894-4A946975944D}"/>
          </ac:grpSpMkLst>
        </pc:grpChg>
        <pc:grpChg chg="mod">
          <ac:chgData name="Kawtar SADIQ" userId="65df04e4-2d23-4bab-afb0-40df8a2c1b9f" providerId="ADAL" clId="{13E48CF6-3C07-4AA7-848A-1E964CBB0D3A}" dt="2022-11-30T18:53:36.304" v="22156" actId="165"/>
          <ac:grpSpMkLst>
            <pc:docMk/>
            <pc:sldMk cId="2540188229" sldId="2147469802"/>
            <ac:grpSpMk id="8" creationId="{3C2E7E07-05B8-4809-8187-7B79103BFE3B}"/>
          </ac:grpSpMkLst>
        </pc:grpChg>
        <pc:grpChg chg="mod">
          <ac:chgData name="Kawtar SADIQ" userId="65df04e4-2d23-4bab-afb0-40df8a2c1b9f" providerId="ADAL" clId="{13E48CF6-3C07-4AA7-848A-1E964CBB0D3A}" dt="2022-11-30T18:53:36.304" v="22156" actId="165"/>
          <ac:grpSpMkLst>
            <pc:docMk/>
            <pc:sldMk cId="2540188229" sldId="2147469802"/>
            <ac:grpSpMk id="9" creationId="{FEB7828C-FBAD-4FEE-9342-8DB9F5130219}"/>
          </ac:grpSpMkLst>
        </pc:grpChg>
        <pc:grpChg chg="mod">
          <ac:chgData name="Kawtar SADIQ" userId="65df04e4-2d23-4bab-afb0-40df8a2c1b9f" providerId="ADAL" clId="{13E48CF6-3C07-4AA7-848A-1E964CBB0D3A}" dt="2022-11-30T18:53:36.304" v="22156" actId="165"/>
          <ac:grpSpMkLst>
            <pc:docMk/>
            <pc:sldMk cId="2540188229" sldId="2147469802"/>
            <ac:grpSpMk id="10" creationId="{4A95F0BF-E249-4902-A3AE-B4BC47A9ADEC}"/>
          </ac:grpSpMkLst>
        </pc:grpChg>
        <pc:grpChg chg="mod">
          <ac:chgData name="Kawtar SADIQ" userId="65df04e4-2d23-4bab-afb0-40df8a2c1b9f" providerId="ADAL" clId="{13E48CF6-3C07-4AA7-848A-1E964CBB0D3A}" dt="2022-12-01T11:27:25.656" v="26136" actId="1036"/>
          <ac:grpSpMkLst>
            <pc:docMk/>
            <pc:sldMk cId="2540188229" sldId="2147469802"/>
            <ac:grpSpMk id="14" creationId="{E9AAEAB1-68C9-4F7E-B451-0E171C7784F3}"/>
          </ac:grpSpMkLst>
        </pc:grpChg>
        <pc:grpChg chg="add mod">
          <ac:chgData name="Kawtar SADIQ" userId="65df04e4-2d23-4bab-afb0-40df8a2c1b9f" providerId="ADAL" clId="{13E48CF6-3C07-4AA7-848A-1E964CBB0D3A}" dt="2022-11-30T20:07:43.198" v="23870" actId="1035"/>
          <ac:grpSpMkLst>
            <pc:docMk/>
            <pc:sldMk cId="2540188229" sldId="2147469802"/>
            <ac:grpSpMk id="30" creationId="{1B349961-8AE4-4A13-8F97-629B12D200F4}"/>
          </ac:grpSpMkLst>
        </pc:grpChg>
        <pc:grpChg chg="add del mod">
          <ac:chgData name="Kawtar SADIQ" userId="65df04e4-2d23-4bab-afb0-40df8a2c1b9f" providerId="ADAL" clId="{13E48CF6-3C07-4AA7-848A-1E964CBB0D3A}" dt="2022-11-30T19:00:33.582" v="22318" actId="165"/>
          <ac:grpSpMkLst>
            <pc:docMk/>
            <pc:sldMk cId="2540188229" sldId="2147469802"/>
            <ac:grpSpMk id="33" creationId="{F5BC496C-D475-4FBF-82AB-5CE200186C64}"/>
          </ac:grpSpMkLst>
        </pc:grpChg>
        <pc:grpChg chg="add mod">
          <ac:chgData name="Kawtar SADIQ" userId="65df04e4-2d23-4bab-afb0-40df8a2c1b9f" providerId="ADAL" clId="{13E48CF6-3C07-4AA7-848A-1E964CBB0D3A}" dt="2022-11-30T19:02:36.897" v="22371" actId="1036"/>
          <ac:grpSpMkLst>
            <pc:docMk/>
            <pc:sldMk cId="2540188229" sldId="2147469802"/>
            <ac:grpSpMk id="38" creationId="{4873A3DA-815F-4367-A426-2B5304078FF6}"/>
          </ac:grpSpMkLst>
        </pc:grpChg>
        <pc:grpChg chg="add mod">
          <ac:chgData name="Kawtar SADIQ" userId="65df04e4-2d23-4bab-afb0-40df8a2c1b9f" providerId="ADAL" clId="{13E48CF6-3C07-4AA7-848A-1E964CBB0D3A}" dt="2022-12-01T11:27:25.656" v="26136" actId="1036"/>
          <ac:grpSpMkLst>
            <pc:docMk/>
            <pc:sldMk cId="2540188229" sldId="2147469802"/>
            <ac:grpSpMk id="41" creationId="{1ABD6FA5-BDD0-4310-8B99-B3DFC6FEA444}"/>
          </ac:grpSpMkLst>
        </pc:grpChg>
        <pc:grpChg chg="add del mod">
          <ac:chgData name="Kawtar SADIQ" userId="65df04e4-2d23-4bab-afb0-40df8a2c1b9f" providerId="ADAL" clId="{13E48CF6-3C07-4AA7-848A-1E964CBB0D3A}" dt="2022-11-30T20:07:22.484" v="23850" actId="478"/>
          <ac:grpSpMkLst>
            <pc:docMk/>
            <pc:sldMk cId="2540188229" sldId="2147469802"/>
            <ac:grpSpMk id="42" creationId="{0E9DB109-0878-498F-BC4E-7CB90A4DC803}"/>
          </ac:grpSpMkLst>
        </pc:grpChg>
      </pc:sldChg>
      <pc:sldChg chg="del">
        <pc:chgData name="Kawtar SADIQ" userId="65df04e4-2d23-4bab-afb0-40df8a2c1b9f" providerId="ADAL" clId="{13E48CF6-3C07-4AA7-848A-1E964CBB0D3A}" dt="2022-11-30T17:04:26.939" v="21353" actId="47"/>
        <pc:sldMkLst>
          <pc:docMk/>
          <pc:sldMk cId="3144378083" sldId="2147469802"/>
        </pc:sldMkLst>
      </pc:sldChg>
      <pc:sldChg chg="addSp delSp modSp del mod modCm">
        <pc:chgData name="Kawtar SADIQ" userId="65df04e4-2d23-4bab-afb0-40df8a2c1b9f" providerId="ADAL" clId="{13E48CF6-3C07-4AA7-848A-1E964CBB0D3A}" dt="2022-12-01T16:13:19.869" v="27867" actId="47"/>
        <pc:sldMkLst>
          <pc:docMk/>
          <pc:sldMk cId="530589121" sldId="2147469803"/>
        </pc:sldMkLst>
        <pc:spChg chg="mod">
          <ac:chgData name="Kawtar SADIQ" userId="65df04e4-2d23-4bab-afb0-40df8a2c1b9f" providerId="ADAL" clId="{13E48CF6-3C07-4AA7-848A-1E964CBB0D3A}" dt="2022-12-01T13:50:45.729" v="27841" actId="13926"/>
          <ac:spMkLst>
            <pc:docMk/>
            <pc:sldMk cId="530589121" sldId="2147469803"/>
            <ac:spMk id="5" creationId="{C2045C61-923C-4386-9402-00F2FFFBE6EC}"/>
          </ac:spMkLst>
        </pc:spChg>
        <pc:spChg chg="mod">
          <ac:chgData name="Kawtar SADIQ" userId="65df04e4-2d23-4bab-afb0-40df8a2c1b9f" providerId="ADAL" clId="{13E48CF6-3C07-4AA7-848A-1E964CBB0D3A}" dt="2022-12-01T08:39:39.212" v="25091" actId="404"/>
          <ac:spMkLst>
            <pc:docMk/>
            <pc:sldMk cId="530589121" sldId="2147469803"/>
            <ac:spMk id="9" creationId="{14824792-86E0-45D1-1F62-0ADF61AACE60}"/>
          </ac:spMkLst>
        </pc:spChg>
        <pc:spChg chg="mod">
          <ac:chgData name="Kawtar SADIQ" userId="65df04e4-2d23-4bab-afb0-40df8a2c1b9f" providerId="ADAL" clId="{13E48CF6-3C07-4AA7-848A-1E964CBB0D3A}" dt="2022-12-01T08:39:39.212" v="25091" actId="404"/>
          <ac:spMkLst>
            <pc:docMk/>
            <pc:sldMk cId="530589121" sldId="2147469803"/>
            <ac:spMk id="27" creationId="{CFA39D31-E870-C6FF-EF89-F01F3B7E9F91}"/>
          </ac:spMkLst>
        </pc:spChg>
        <pc:spChg chg="mod">
          <ac:chgData name="Kawtar SADIQ" userId="65df04e4-2d23-4bab-afb0-40df8a2c1b9f" providerId="ADAL" clId="{13E48CF6-3C07-4AA7-848A-1E964CBB0D3A}" dt="2022-12-01T08:39:39.212" v="25091" actId="404"/>
          <ac:spMkLst>
            <pc:docMk/>
            <pc:sldMk cId="530589121" sldId="2147469803"/>
            <ac:spMk id="32" creationId="{BDF2131E-E072-C727-D722-3F5C9BE4A797}"/>
          </ac:spMkLst>
        </pc:spChg>
        <pc:spChg chg="mod">
          <ac:chgData name="Kawtar SADIQ" userId="65df04e4-2d23-4bab-afb0-40df8a2c1b9f" providerId="ADAL" clId="{13E48CF6-3C07-4AA7-848A-1E964CBB0D3A}" dt="2022-12-01T09:19:54.671" v="25243" actId="13926"/>
          <ac:spMkLst>
            <pc:docMk/>
            <pc:sldMk cId="530589121" sldId="2147469803"/>
            <ac:spMk id="35" creationId="{ADCC2C2A-FF7C-F655-E940-CEE0C0D619C0}"/>
          </ac:spMkLst>
        </pc:spChg>
        <pc:spChg chg="add mod">
          <ac:chgData name="Kawtar SADIQ" userId="65df04e4-2d23-4bab-afb0-40df8a2c1b9f" providerId="ADAL" clId="{13E48CF6-3C07-4AA7-848A-1E964CBB0D3A}" dt="2022-12-01T13:48:04.054" v="27840" actId="20577"/>
          <ac:spMkLst>
            <pc:docMk/>
            <pc:sldMk cId="530589121" sldId="2147469803"/>
            <ac:spMk id="38" creationId="{A17794D6-E126-4290-801D-040616810CC4}"/>
          </ac:spMkLst>
        </pc:spChg>
        <pc:spChg chg="add del mod">
          <ac:chgData name="Kawtar SADIQ" userId="65df04e4-2d23-4bab-afb0-40df8a2c1b9f" providerId="ADAL" clId="{13E48CF6-3C07-4AA7-848A-1E964CBB0D3A}" dt="2022-12-01T13:35:14.738" v="27803" actId="478"/>
          <ac:spMkLst>
            <pc:docMk/>
            <pc:sldMk cId="530589121" sldId="2147469803"/>
            <ac:spMk id="39" creationId="{DE923AA5-1893-449F-954B-CC4746FD97E9}"/>
          </ac:spMkLst>
        </pc:spChg>
        <pc:spChg chg="add mod">
          <ac:chgData name="Kawtar SADIQ" userId="65df04e4-2d23-4bab-afb0-40df8a2c1b9f" providerId="ADAL" clId="{13E48CF6-3C07-4AA7-848A-1E964CBB0D3A}" dt="2022-12-01T13:45:42.199" v="27806" actId="1076"/>
          <ac:spMkLst>
            <pc:docMk/>
            <pc:sldMk cId="530589121" sldId="2147469803"/>
            <ac:spMk id="40" creationId="{2A6867DF-09F2-40A4-B765-D0306830925F}"/>
          </ac:spMkLst>
        </pc:spChg>
        <pc:spChg chg="add del mod">
          <ac:chgData name="Kawtar SADIQ" userId="65df04e4-2d23-4bab-afb0-40df8a2c1b9f" providerId="ADAL" clId="{13E48CF6-3C07-4AA7-848A-1E964CBB0D3A}" dt="2022-12-01T08:25:14.268" v="25010" actId="478"/>
          <ac:spMkLst>
            <pc:docMk/>
            <pc:sldMk cId="530589121" sldId="2147469803"/>
            <ac:spMk id="41" creationId="{D0854C95-CCF0-4723-8DF2-E4924CFEF382}"/>
          </ac:spMkLst>
        </pc:spChg>
        <pc:spChg chg="mod">
          <ac:chgData name="Kawtar SADIQ" userId="65df04e4-2d23-4bab-afb0-40df8a2c1b9f" providerId="ADAL" clId="{13E48CF6-3C07-4AA7-848A-1E964CBB0D3A}" dt="2022-12-01T08:39:39.212" v="25091" actId="404"/>
          <ac:spMkLst>
            <pc:docMk/>
            <pc:sldMk cId="530589121" sldId="2147469803"/>
            <ac:spMk id="44" creationId="{1F99F876-AD44-9802-0FE9-295BB3BD200F}"/>
          </ac:spMkLst>
        </pc:spChg>
        <pc:spChg chg="mod">
          <ac:chgData name="Kawtar SADIQ" userId="65df04e4-2d23-4bab-afb0-40df8a2c1b9f" providerId="ADAL" clId="{13E48CF6-3C07-4AA7-848A-1E964CBB0D3A}" dt="2022-12-01T08:39:39.212" v="25091" actId="404"/>
          <ac:spMkLst>
            <pc:docMk/>
            <pc:sldMk cId="530589121" sldId="2147469803"/>
            <ac:spMk id="47" creationId="{17755D9B-DC3E-0EAC-FCF2-AAD190E9C5C2}"/>
          </ac:spMkLst>
        </pc:spChg>
        <pc:spChg chg="mod">
          <ac:chgData name="Kawtar SADIQ" userId="65df04e4-2d23-4bab-afb0-40df8a2c1b9f" providerId="ADAL" clId="{13E48CF6-3C07-4AA7-848A-1E964CBB0D3A}" dt="2022-12-01T13:46:09.569" v="27812" actId="13926"/>
          <ac:spMkLst>
            <pc:docMk/>
            <pc:sldMk cId="530589121" sldId="2147469803"/>
            <ac:spMk id="48" creationId="{4A75020D-3B33-A260-1B18-C3DE54A5699C}"/>
          </ac:spMkLst>
        </pc:spChg>
        <pc:spChg chg="mod">
          <ac:chgData name="Kawtar SADIQ" userId="65df04e4-2d23-4bab-afb0-40df8a2c1b9f" providerId="ADAL" clId="{13E48CF6-3C07-4AA7-848A-1E964CBB0D3A}" dt="2022-12-01T08:39:39.212" v="25091" actId="404"/>
          <ac:spMkLst>
            <pc:docMk/>
            <pc:sldMk cId="530589121" sldId="2147469803"/>
            <ac:spMk id="49" creationId="{B39538A6-E5AF-55D4-CB86-CA260FD82921}"/>
          </ac:spMkLst>
        </pc:spChg>
        <pc:spChg chg="mod">
          <ac:chgData name="Kawtar SADIQ" userId="65df04e4-2d23-4bab-afb0-40df8a2c1b9f" providerId="ADAL" clId="{13E48CF6-3C07-4AA7-848A-1E964CBB0D3A}" dt="2022-12-01T08:39:39.212" v="25091" actId="404"/>
          <ac:spMkLst>
            <pc:docMk/>
            <pc:sldMk cId="530589121" sldId="2147469803"/>
            <ac:spMk id="54" creationId="{70AA2276-436E-8DD9-DAFE-6F74982C8E86}"/>
          </ac:spMkLst>
        </pc:spChg>
        <pc:spChg chg="add del mod">
          <ac:chgData name="Kawtar SADIQ" userId="65df04e4-2d23-4bab-afb0-40df8a2c1b9f" providerId="ADAL" clId="{13E48CF6-3C07-4AA7-848A-1E964CBB0D3A}" dt="2022-12-01T13:45:58.069" v="27810" actId="478"/>
          <ac:spMkLst>
            <pc:docMk/>
            <pc:sldMk cId="530589121" sldId="2147469803"/>
            <ac:spMk id="55" creationId="{60608E1D-78EF-4570-8EB5-646BD533C208}"/>
          </ac:spMkLst>
        </pc:spChg>
        <pc:spChg chg="add del mod">
          <ac:chgData name="Kawtar SADIQ" userId="65df04e4-2d23-4bab-afb0-40df8a2c1b9f" providerId="ADAL" clId="{13E48CF6-3C07-4AA7-848A-1E964CBB0D3A}" dt="2022-12-01T13:45:55.699" v="27809" actId="478"/>
          <ac:spMkLst>
            <pc:docMk/>
            <pc:sldMk cId="530589121" sldId="2147469803"/>
            <ac:spMk id="56" creationId="{5FB4C78B-96EA-46A1-B4D1-33798F9CC49C}"/>
          </ac:spMkLst>
        </pc:spChg>
      </pc:sldChg>
      <pc:sldChg chg="modSp del mod">
        <pc:chgData name="Kawtar SADIQ" userId="65df04e4-2d23-4bab-afb0-40df8a2c1b9f" providerId="ADAL" clId="{13E48CF6-3C07-4AA7-848A-1E964CBB0D3A}" dt="2022-12-01T16:13:28.085" v="27868" actId="47"/>
        <pc:sldMkLst>
          <pc:docMk/>
          <pc:sldMk cId="3144378083" sldId="2147469804"/>
        </pc:sldMkLst>
        <pc:spChg chg="mod">
          <ac:chgData name="Kawtar SADIQ" userId="65df04e4-2d23-4bab-afb0-40df8a2c1b9f" providerId="ADAL" clId="{13E48CF6-3C07-4AA7-848A-1E964CBB0D3A}" dt="2022-12-01T13:34:37.941" v="27799" actId="12789"/>
          <ac:spMkLst>
            <pc:docMk/>
            <pc:sldMk cId="3144378083" sldId="2147469804"/>
            <ac:spMk id="65" creationId="{2B8FC4F5-BFBA-478E-8A95-624728842CF6}"/>
          </ac:spMkLst>
        </pc:spChg>
        <pc:spChg chg="mod">
          <ac:chgData name="Kawtar SADIQ" userId="65df04e4-2d23-4bab-afb0-40df8a2c1b9f" providerId="ADAL" clId="{13E48CF6-3C07-4AA7-848A-1E964CBB0D3A}" dt="2022-12-01T13:34:37.941" v="27799" actId="12789"/>
          <ac:spMkLst>
            <pc:docMk/>
            <pc:sldMk cId="3144378083" sldId="2147469804"/>
            <ac:spMk id="68" creationId="{EE03C7D6-8C2E-411D-8DE0-02892F06ABA7}"/>
          </ac:spMkLst>
        </pc:spChg>
        <pc:spChg chg="mod">
          <ac:chgData name="Kawtar SADIQ" userId="65df04e4-2d23-4bab-afb0-40df8a2c1b9f" providerId="ADAL" clId="{13E48CF6-3C07-4AA7-848A-1E964CBB0D3A}" dt="2022-12-01T13:34:37.941" v="27799" actId="12789"/>
          <ac:spMkLst>
            <pc:docMk/>
            <pc:sldMk cId="3144378083" sldId="2147469804"/>
            <ac:spMk id="72" creationId="{754A890B-AEE0-450B-B4C2-C3202271BC3B}"/>
          </ac:spMkLst>
        </pc:spChg>
        <pc:spChg chg="mod">
          <ac:chgData name="Kawtar SADIQ" userId="65df04e4-2d23-4bab-afb0-40df8a2c1b9f" providerId="ADAL" clId="{13E48CF6-3C07-4AA7-848A-1E964CBB0D3A}" dt="2022-12-01T13:34:37.941" v="27799" actId="12789"/>
          <ac:spMkLst>
            <pc:docMk/>
            <pc:sldMk cId="3144378083" sldId="2147469804"/>
            <ac:spMk id="75" creationId="{BF55A338-32CC-4352-BE26-36BBEA8D2ED8}"/>
          </ac:spMkLst>
        </pc:spChg>
        <pc:spChg chg="mod">
          <ac:chgData name="Kawtar SADIQ" userId="65df04e4-2d23-4bab-afb0-40df8a2c1b9f" providerId="ADAL" clId="{13E48CF6-3C07-4AA7-848A-1E964CBB0D3A}" dt="2022-12-01T15:49:37.711" v="27865" actId="20577"/>
          <ac:spMkLst>
            <pc:docMk/>
            <pc:sldMk cId="3144378083" sldId="2147469804"/>
            <ac:spMk id="77" creationId="{ECEEE934-C02E-4C39-ADEA-60984CB50542}"/>
          </ac:spMkLst>
        </pc:spChg>
        <pc:spChg chg="mod">
          <ac:chgData name="Kawtar SADIQ" userId="65df04e4-2d23-4bab-afb0-40df8a2c1b9f" providerId="ADAL" clId="{13E48CF6-3C07-4AA7-848A-1E964CBB0D3A}" dt="2022-12-01T13:34:37.941" v="27799" actId="12789"/>
          <ac:spMkLst>
            <pc:docMk/>
            <pc:sldMk cId="3144378083" sldId="2147469804"/>
            <ac:spMk id="78" creationId="{C66D7D17-61BA-4E5A-AA21-DE1E0B941E36}"/>
          </ac:spMkLst>
        </pc:spChg>
        <pc:spChg chg="mod">
          <ac:chgData name="Kawtar SADIQ" userId="65df04e4-2d23-4bab-afb0-40df8a2c1b9f" providerId="ADAL" clId="{13E48CF6-3C07-4AA7-848A-1E964CBB0D3A}" dt="2022-12-01T13:34:37.941" v="27799" actId="12789"/>
          <ac:spMkLst>
            <pc:docMk/>
            <pc:sldMk cId="3144378083" sldId="2147469804"/>
            <ac:spMk id="79" creationId="{2348D69A-4EDA-4100-A83D-C38210EBB094}"/>
          </ac:spMkLst>
        </pc:spChg>
        <pc:spChg chg="mod">
          <ac:chgData name="Kawtar SADIQ" userId="65df04e4-2d23-4bab-afb0-40df8a2c1b9f" providerId="ADAL" clId="{13E48CF6-3C07-4AA7-848A-1E964CBB0D3A}" dt="2022-12-01T13:34:37.941" v="27799" actId="12789"/>
          <ac:spMkLst>
            <pc:docMk/>
            <pc:sldMk cId="3144378083" sldId="2147469804"/>
            <ac:spMk id="83" creationId="{FCFFC2B8-E88E-4537-984B-C2B1B15EDC01}"/>
          </ac:spMkLst>
        </pc:spChg>
        <pc:spChg chg="mod">
          <ac:chgData name="Kawtar SADIQ" userId="65df04e4-2d23-4bab-afb0-40df8a2c1b9f" providerId="ADAL" clId="{13E48CF6-3C07-4AA7-848A-1E964CBB0D3A}" dt="2022-12-01T13:46:32.869" v="27813" actId="13926"/>
          <ac:spMkLst>
            <pc:docMk/>
            <pc:sldMk cId="3144378083" sldId="2147469804"/>
            <ac:spMk id="94" creationId="{304517B1-4A95-429C-9E7E-30181EED0F26}"/>
          </ac:spMkLst>
        </pc:spChg>
      </pc:sldChg>
      <pc:sldChg chg="addSp delSp modSp new del mod ord">
        <pc:chgData name="Kawtar SADIQ" userId="65df04e4-2d23-4bab-afb0-40df8a2c1b9f" providerId="ADAL" clId="{13E48CF6-3C07-4AA7-848A-1E964CBB0D3A}" dt="2022-12-01T16:47:27.063" v="27999" actId="47"/>
        <pc:sldMkLst>
          <pc:docMk/>
          <pc:sldMk cId="423120281" sldId="2147469805"/>
        </pc:sldMkLst>
        <pc:spChg chg="mod">
          <ac:chgData name="Kawtar SADIQ" userId="65df04e4-2d23-4bab-afb0-40df8a2c1b9f" providerId="ADAL" clId="{13E48CF6-3C07-4AA7-848A-1E964CBB0D3A}" dt="2022-12-01T14:13:04.860" v="27858" actId="14100"/>
          <ac:spMkLst>
            <pc:docMk/>
            <pc:sldMk cId="423120281" sldId="2147469805"/>
            <ac:spMk id="2" creationId="{2336C7C1-A617-4DF6-8C27-5C47C77EB213}"/>
          </ac:spMkLst>
        </pc:spChg>
        <pc:spChg chg="del">
          <ac:chgData name="Kawtar SADIQ" userId="65df04e4-2d23-4bab-afb0-40df8a2c1b9f" providerId="ADAL" clId="{13E48CF6-3C07-4AA7-848A-1E964CBB0D3A}" dt="2022-12-01T14:12:54.583" v="27854" actId="478"/>
          <ac:spMkLst>
            <pc:docMk/>
            <pc:sldMk cId="423120281" sldId="2147469805"/>
            <ac:spMk id="3" creationId="{55D4EE20-9B22-4ABC-A7BF-D6EE8AE03FA8}"/>
          </ac:spMkLst>
        </pc:spChg>
        <pc:spChg chg="add del mod">
          <ac:chgData name="Kawtar SADIQ" userId="65df04e4-2d23-4bab-afb0-40df8a2c1b9f" providerId="ADAL" clId="{13E48CF6-3C07-4AA7-848A-1E964CBB0D3A}" dt="2022-12-01T14:13:00.959" v="27856" actId="478"/>
          <ac:spMkLst>
            <pc:docMk/>
            <pc:sldMk cId="423120281" sldId="2147469805"/>
            <ac:spMk id="6" creationId="{EBCE5727-1262-4F83-9412-4EE40DABB129}"/>
          </ac:spMkLst>
        </pc:spChg>
        <pc:spChg chg="add mod">
          <ac:chgData name="Kawtar SADIQ" userId="65df04e4-2d23-4bab-afb0-40df8a2c1b9f" providerId="ADAL" clId="{13E48CF6-3C07-4AA7-848A-1E964CBB0D3A}" dt="2022-12-01T14:12:55.260" v="27855"/>
          <ac:spMkLst>
            <pc:docMk/>
            <pc:sldMk cId="423120281" sldId="2147469805"/>
            <ac:spMk id="7" creationId="{4FC07653-644E-437F-B741-5A4A4A49E872}"/>
          </ac:spMkLst>
        </pc:spChg>
        <pc:spChg chg="add mod">
          <ac:chgData name="Kawtar SADIQ" userId="65df04e4-2d23-4bab-afb0-40df8a2c1b9f" providerId="ADAL" clId="{13E48CF6-3C07-4AA7-848A-1E964CBB0D3A}" dt="2022-12-01T14:12:55.260" v="27855"/>
          <ac:spMkLst>
            <pc:docMk/>
            <pc:sldMk cId="423120281" sldId="2147469805"/>
            <ac:spMk id="8" creationId="{F10384A2-BF39-432C-BB7B-B7465906C1A0}"/>
          </ac:spMkLst>
        </pc:spChg>
        <pc:spChg chg="add mod">
          <ac:chgData name="Kawtar SADIQ" userId="65df04e4-2d23-4bab-afb0-40df8a2c1b9f" providerId="ADAL" clId="{13E48CF6-3C07-4AA7-848A-1E964CBB0D3A}" dt="2022-12-01T14:12:55.260" v="27855"/>
          <ac:spMkLst>
            <pc:docMk/>
            <pc:sldMk cId="423120281" sldId="2147469805"/>
            <ac:spMk id="9" creationId="{D21F00CB-64AE-4089-83C7-90F011F724BD}"/>
          </ac:spMkLst>
        </pc:spChg>
        <pc:spChg chg="mod">
          <ac:chgData name="Kawtar SADIQ" userId="65df04e4-2d23-4bab-afb0-40df8a2c1b9f" providerId="ADAL" clId="{13E48CF6-3C07-4AA7-848A-1E964CBB0D3A}" dt="2022-12-01T14:12:55.260" v="27855"/>
          <ac:spMkLst>
            <pc:docMk/>
            <pc:sldMk cId="423120281" sldId="2147469805"/>
            <ac:spMk id="11" creationId="{651F0AAB-C6CC-4720-941B-57D99DF1F920}"/>
          </ac:spMkLst>
        </pc:spChg>
        <pc:spChg chg="mod">
          <ac:chgData name="Kawtar SADIQ" userId="65df04e4-2d23-4bab-afb0-40df8a2c1b9f" providerId="ADAL" clId="{13E48CF6-3C07-4AA7-848A-1E964CBB0D3A}" dt="2022-12-01T14:12:55.260" v="27855"/>
          <ac:spMkLst>
            <pc:docMk/>
            <pc:sldMk cId="423120281" sldId="2147469805"/>
            <ac:spMk id="12" creationId="{21D6E6F6-3A01-46B2-BEF3-34C78DE281DA}"/>
          </ac:spMkLst>
        </pc:spChg>
        <pc:spChg chg="add mod">
          <ac:chgData name="Kawtar SADIQ" userId="65df04e4-2d23-4bab-afb0-40df8a2c1b9f" providerId="ADAL" clId="{13E48CF6-3C07-4AA7-848A-1E964CBB0D3A}" dt="2022-12-01T14:12:55.260" v="27855"/>
          <ac:spMkLst>
            <pc:docMk/>
            <pc:sldMk cId="423120281" sldId="2147469805"/>
            <ac:spMk id="13" creationId="{9D97F4C7-F14D-4A55-BFE4-17319CBFB4F9}"/>
          </ac:spMkLst>
        </pc:spChg>
        <pc:spChg chg="mod">
          <ac:chgData name="Kawtar SADIQ" userId="65df04e4-2d23-4bab-afb0-40df8a2c1b9f" providerId="ADAL" clId="{13E48CF6-3C07-4AA7-848A-1E964CBB0D3A}" dt="2022-12-01T14:12:55.260" v="27855"/>
          <ac:spMkLst>
            <pc:docMk/>
            <pc:sldMk cId="423120281" sldId="2147469805"/>
            <ac:spMk id="15" creationId="{6EB5E461-61A4-4E75-9DC0-ACD137EE7878}"/>
          </ac:spMkLst>
        </pc:spChg>
        <pc:spChg chg="mod">
          <ac:chgData name="Kawtar SADIQ" userId="65df04e4-2d23-4bab-afb0-40df8a2c1b9f" providerId="ADAL" clId="{13E48CF6-3C07-4AA7-848A-1E964CBB0D3A}" dt="2022-12-01T14:12:55.260" v="27855"/>
          <ac:spMkLst>
            <pc:docMk/>
            <pc:sldMk cId="423120281" sldId="2147469805"/>
            <ac:spMk id="16" creationId="{E747C6A9-7A44-415A-9692-1D57AC5F531B}"/>
          </ac:spMkLst>
        </pc:spChg>
        <pc:spChg chg="add mod">
          <ac:chgData name="Kawtar SADIQ" userId="65df04e4-2d23-4bab-afb0-40df8a2c1b9f" providerId="ADAL" clId="{13E48CF6-3C07-4AA7-848A-1E964CBB0D3A}" dt="2022-12-01T14:12:55.260" v="27855"/>
          <ac:spMkLst>
            <pc:docMk/>
            <pc:sldMk cId="423120281" sldId="2147469805"/>
            <ac:spMk id="17" creationId="{545A3ECB-0201-457E-A89B-57CC38E5B06E}"/>
          </ac:spMkLst>
        </pc:spChg>
        <pc:spChg chg="add mod">
          <ac:chgData name="Kawtar SADIQ" userId="65df04e4-2d23-4bab-afb0-40df8a2c1b9f" providerId="ADAL" clId="{13E48CF6-3C07-4AA7-848A-1E964CBB0D3A}" dt="2022-12-01T14:12:55.260" v="27855"/>
          <ac:spMkLst>
            <pc:docMk/>
            <pc:sldMk cId="423120281" sldId="2147469805"/>
            <ac:spMk id="18" creationId="{FB214DAA-D81E-4A26-9D63-21CC450FCD0B}"/>
          </ac:spMkLst>
        </pc:spChg>
        <pc:spChg chg="add mod">
          <ac:chgData name="Kawtar SADIQ" userId="65df04e4-2d23-4bab-afb0-40df8a2c1b9f" providerId="ADAL" clId="{13E48CF6-3C07-4AA7-848A-1E964CBB0D3A}" dt="2022-12-01T14:12:55.260" v="27855"/>
          <ac:spMkLst>
            <pc:docMk/>
            <pc:sldMk cId="423120281" sldId="2147469805"/>
            <ac:spMk id="19" creationId="{AA4856EF-BC60-4F86-A31B-8142208538EA}"/>
          </ac:spMkLst>
        </pc:spChg>
        <pc:spChg chg="add mod">
          <ac:chgData name="Kawtar SADIQ" userId="65df04e4-2d23-4bab-afb0-40df8a2c1b9f" providerId="ADAL" clId="{13E48CF6-3C07-4AA7-848A-1E964CBB0D3A}" dt="2022-12-01T14:12:55.260" v="27855"/>
          <ac:spMkLst>
            <pc:docMk/>
            <pc:sldMk cId="423120281" sldId="2147469805"/>
            <ac:spMk id="20" creationId="{69956BB3-B6FE-400B-8632-6B0829E37FAD}"/>
          </ac:spMkLst>
        </pc:spChg>
        <pc:spChg chg="add mod">
          <ac:chgData name="Kawtar SADIQ" userId="65df04e4-2d23-4bab-afb0-40df8a2c1b9f" providerId="ADAL" clId="{13E48CF6-3C07-4AA7-848A-1E964CBB0D3A}" dt="2022-12-01T14:12:55.260" v="27855"/>
          <ac:spMkLst>
            <pc:docMk/>
            <pc:sldMk cId="423120281" sldId="2147469805"/>
            <ac:spMk id="21" creationId="{0E4EDCC4-9BBE-4D64-8A5C-4290B999886A}"/>
          </ac:spMkLst>
        </pc:spChg>
        <pc:spChg chg="add mod">
          <ac:chgData name="Kawtar SADIQ" userId="65df04e4-2d23-4bab-afb0-40df8a2c1b9f" providerId="ADAL" clId="{13E48CF6-3C07-4AA7-848A-1E964CBB0D3A}" dt="2022-12-01T14:12:55.260" v="27855"/>
          <ac:spMkLst>
            <pc:docMk/>
            <pc:sldMk cId="423120281" sldId="2147469805"/>
            <ac:spMk id="22" creationId="{5FBA5407-1FD5-4901-A6B3-614EF69D2A4C}"/>
          </ac:spMkLst>
        </pc:spChg>
        <pc:spChg chg="add mod">
          <ac:chgData name="Kawtar SADIQ" userId="65df04e4-2d23-4bab-afb0-40df8a2c1b9f" providerId="ADAL" clId="{13E48CF6-3C07-4AA7-848A-1E964CBB0D3A}" dt="2022-12-01T14:12:55.260" v="27855"/>
          <ac:spMkLst>
            <pc:docMk/>
            <pc:sldMk cId="423120281" sldId="2147469805"/>
            <ac:spMk id="23" creationId="{DD91B30A-D2CB-453E-A0F8-D07B3BE217BC}"/>
          </ac:spMkLst>
        </pc:spChg>
        <pc:spChg chg="add mod">
          <ac:chgData name="Kawtar SADIQ" userId="65df04e4-2d23-4bab-afb0-40df8a2c1b9f" providerId="ADAL" clId="{13E48CF6-3C07-4AA7-848A-1E964CBB0D3A}" dt="2022-12-01T14:12:55.260" v="27855"/>
          <ac:spMkLst>
            <pc:docMk/>
            <pc:sldMk cId="423120281" sldId="2147469805"/>
            <ac:spMk id="24" creationId="{C1E05065-E69F-4E28-AAB7-C8BA3A08A950}"/>
          </ac:spMkLst>
        </pc:spChg>
        <pc:spChg chg="add mod">
          <ac:chgData name="Kawtar SADIQ" userId="65df04e4-2d23-4bab-afb0-40df8a2c1b9f" providerId="ADAL" clId="{13E48CF6-3C07-4AA7-848A-1E964CBB0D3A}" dt="2022-12-01T14:12:55.260" v="27855"/>
          <ac:spMkLst>
            <pc:docMk/>
            <pc:sldMk cId="423120281" sldId="2147469805"/>
            <ac:spMk id="25" creationId="{4F06BDEC-D901-4E52-A6C3-1436CD802BEB}"/>
          </ac:spMkLst>
        </pc:spChg>
        <pc:spChg chg="add mod">
          <ac:chgData name="Kawtar SADIQ" userId="65df04e4-2d23-4bab-afb0-40df8a2c1b9f" providerId="ADAL" clId="{13E48CF6-3C07-4AA7-848A-1E964CBB0D3A}" dt="2022-12-01T14:12:55.260" v="27855"/>
          <ac:spMkLst>
            <pc:docMk/>
            <pc:sldMk cId="423120281" sldId="2147469805"/>
            <ac:spMk id="26" creationId="{E9E45B7C-8462-4CDE-BC33-DED64CA37495}"/>
          </ac:spMkLst>
        </pc:spChg>
        <pc:spChg chg="add mod">
          <ac:chgData name="Kawtar SADIQ" userId="65df04e4-2d23-4bab-afb0-40df8a2c1b9f" providerId="ADAL" clId="{13E48CF6-3C07-4AA7-848A-1E964CBB0D3A}" dt="2022-12-01T14:12:55.260" v="27855"/>
          <ac:spMkLst>
            <pc:docMk/>
            <pc:sldMk cId="423120281" sldId="2147469805"/>
            <ac:spMk id="27" creationId="{4B77339C-58E0-4567-B41D-A925B6892036}"/>
          </ac:spMkLst>
        </pc:spChg>
        <pc:spChg chg="add mod">
          <ac:chgData name="Kawtar SADIQ" userId="65df04e4-2d23-4bab-afb0-40df8a2c1b9f" providerId="ADAL" clId="{13E48CF6-3C07-4AA7-848A-1E964CBB0D3A}" dt="2022-12-01T14:12:55.260" v="27855"/>
          <ac:spMkLst>
            <pc:docMk/>
            <pc:sldMk cId="423120281" sldId="2147469805"/>
            <ac:spMk id="28" creationId="{F287DAB8-4078-42F8-AF65-E3E518084A31}"/>
          </ac:spMkLst>
        </pc:spChg>
        <pc:spChg chg="add mod">
          <ac:chgData name="Kawtar SADIQ" userId="65df04e4-2d23-4bab-afb0-40df8a2c1b9f" providerId="ADAL" clId="{13E48CF6-3C07-4AA7-848A-1E964CBB0D3A}" dt="2022-12-01T14:12:55.260" v="27855"/>
          <ac:spMkLst>
            <pc:docMk/>
            <pc:sldMk cId="423120281" sldId="2147469805"/>
            <ac:spMk id="29" creationId="{3E459048-C932-4D0B-84CA-B6190861258F}"/>
          </ac:spMkLst>
        </pc:spChg>
        <pc:spChg chg="add mod">
          <ac:chgData name="Kawtar SADIQ" userId="65df04e4-2d23-4bab-afb0-40df8a2c1b9f" providerId="ADAL" clId="{13E48CF6-3C07-4AA7-848A-1E964CBB0D3A}" dt="2022-12-01T14:12:55.260" v="27855"/>
          <ac:spMkLst>
            <pc:docMk/>
            <pc:sldMk cId="423120281" sldId="2147469805"/>
            <ac:spMk id="30" creationId="{0B197501-30E9-43D4-9F94-76762DA8E353}"/>
          </ac:spMkLst>
        </pc:spChg>
        <pc:spChg chg="add mod">
          <ac:chgData name="Kawtar SADIQ" userId="65df04e4-2d23-4bab-afb0-40df8a2c1b9f" providerId="ADAL" clId="{13E48CF6-3C07-4AA7-848A-1E964CBB0D3A}" dt="2022-12-01T14:12:55.260" v="27855"/>
          <ac:spMkLst>
            <pc:docMk/>
            <pc:sldMk cId="423120281" sldId="2147469805"/>
            <ac:spMk id="31" creationId="{EAEE7171-6EC2-43A3-B859-92A5D79EFC92}"/>
          </ac:spMkLst>
        </pc:spChg>
        <pc:spChg chg="add mod">
          <ac:chgData name="Kawtar SADIQ" userId="65df04e4-2d23-4bab-afb0-40df8a2c1b9f" providerId="ADAL" clId="{13E48CF6-3C07-4AA7-848A-1E964CBB0D3A}" dt="2022-12-01T14:12:55.260" v="27855"/>
          <ac:spMkLst>
            <pc:docMk/>
            <pc:sldMk cId="423120281" sldId="2147469805"/>
            <ac:spMk id="37" creationId="{CC14477C-DEC7-475D-86FF-2AF066EFC0F5}"/>
          </ac:spMkLst>
        </pc:spChg>
        <pc:spChg chg="add mod">
          <ac:chgData name="Kawtar SADIQ" userId="65df04e4-2d23-4bab-afb0-40df8a2c1b9f" providerId="ADAL" clId="{13E48CF6-3C07-4AA7-848A-1E964CBB0D3A}" dt="2022-12-01T14:12:55.260" v="27855"/>
          <ac:spMkLst>
            <pc:docMk/>
            <pc:sldMk cId="423120281" sldId="2147469805"/>
            <ac:spMk id="38" creationId="{93832706-0CBE-456B-A42D-F79CEE9A4AE0}"/>
          </ac:spMkLst>
        </pc:spChg>
        <pc:spChg chg="add mod">
          <ac:chgData name="Kawtar SADIQ" userId="65df04e4-2d23-4bab-afb0-40df8a2c1b9f" providerId="ADAL" clId="{13E48CF6-3C07-4AA7-848A-1E964CBB0D3A}" dt="2022-12-01T14:12:55.260" v="27855"/>
          <ac:spMkLst>
            <pc:docMk/>
            <pc:sldMk cId="423120281" sldId="2147469805"/>
            <ac:spMk id="39" creationId="{F5F02526-5D12-4708-A249-38E711769452}"/>
          </ac:spMkLst>
        </pc:spChg>
        <pc:spChg chg="add mod">
          <ac:chgData name="Kawtar SADIQ" userId="65df04e4-2d23-4bab-afb0-40df8a2c1b9f" providerId="ADAL" clId="{13E48CF6-3C07-4AA7-848A-1E964CBB0D3A}" dt="2022-12-01T14:12:55.260" v="27855"/>
          <ac:spMkLst>
            <pc:docMk/>
            <pc:sldMk cId="423120281" sldId="2147469805"/>
            <ac:spMk id="40" creationId="{F414ACF9-7B24-4E94-9E2C-14BAD8B29EFD}"/>
          </ac:spMkLst>
        </pc:spChg>
        <pc:spChg chg="mod">
          <ac:chgData name="Kawtar SADIQ" userId="65df04e4-2d23-4bab-afb0-40df8a2c1b9f" providerId="ADAL" clId="{13E48CF6-3C07-4AA7-848A-1E964CBB0D3A}" dt="2022-12-01T14:12:55.260" v="27855"/>
          <ac:spMkLst>
            <pc:docMk/>
            <pc:sldMk cId="423120281" sldId="2147469805"/>
            <ac:spMk id="45" creationId="{672DC806-497D-44D2-B990-ACCF2AF7E284}"/>
          </ac:spMkLst>
        </pc:spChg>
        <pc:spChg chg="mod">
          <ac:chgData name="Kawtar SADIQ" userId="65df04e4-2d23-4bab-afb0-40df8a2c1b9f" providerId="ADAL" clId="{13E48CF6-3C07-4AA7-848A-1E964CBB0D3A}" dt="2022-12-01T14:12:55.260" v="27855"/>
          <ac:spMkLst>
            <pc:docMk/>
            <pc:sldMk cId="423120281" sldId="2147469805"/>
            <ac:spMk id="48" creationId="{3D43252A-B09B-4F59-BE9F-95B7E7EFF1FE}"/>
          </ac:spMkLst>
        </pc:spChg>
        <pc:spChg chg="add mod">
          <ac:chgData name="Kawtar SADIQ" userId="65df04e4-2d23-4bab-afb0-40df8a2c1b9f" providerId="ADAL" clId="{13E48CF6-3C07-4AA7-848A-1E964CBB0D3A}" dt="2022-12-01T14:12:55.260" v="27855"/>
          <ac:spMkLst>
            <pc:docMk/>
            <pc:sldMk cId="423120281" sldId="2147469805"/>
            <ac:spMk id="50" creationId="{7A004F77-F9A6-4544-BCC2-AE751D0F81BA}"/>
          </ac:spMkLst>
        </pc:spChg>
        <pc:spChg chg="mod">
          <ac:chgData name="Kawtar SADIQ" userId="65df04e4-2d23-4bab-afb0-40df8a2c1b9f" providerId="ADAL" clId="{13E48CF6-3C07-4AA7-848A-1E964CBB0D3A}" dt="2022-12-01T14:12:55.260" v="27855"/>
          <ac:spMkLst>
            <pc:docMk/>
            <pc:sldMk cId="423120281" sldId="2147469805"/>
            <ac:spMk id="52" creationId="{67B64EE0-44F4-4EFC-8E25-65778A69F647}"/>
          </ac:spMkLst>
        </pc:spChg>
        <pc:grpChg chg="add mod">
          <ac:chgData name="Kawtar SADIQ" userId="65df04e4-2d23-4bab-afb0-40df8a2c1b9f" providerId="ADAL" clId="{13E48CF6-3C07-4AA7-848A-1E964CBB0D3A}" dt="2022-12-01T14:12:55.260" v="27855"/>
          <ac:grpSpMkLst>
            <pc:docMk/>
            <pc:sldMk cId="423120281" sldId="2147469805"/>
            <ac:grpSpMk id="10" creationId="{C08FCB33-5024-459E-A292-0CEF63625D30}"/>
          </ac:grpSpMkLst>
        </pc:grpChg>
        <pc:grpChg chg="add mod">
          <ac:chgData name="Kawtar SADIQ" userId="65df04e4-2d23-4bab-afb0-40df8a2c1b9f" providerId="ADAL" clId="{13E48CF6-3C07-4AA7-848A-1E964CBB0D3A}" dt="2022-12-01T14:12:55.260" v="27855"/>
          <ac:grpSpMkLst>
            <pc:docMk/>
            <pc:sldMk cId="423120281" sldId="2147469805"/>
            <ac:grpSpMk id="14" creationId="{698BD4A9-2FBB-46EB-AB68-028FA806FF0E}"/>
          </ac:grpSpMkLst>
        </pc:grpChg>
        <pc:grpChg chg="add mod">
          <ac:chgData name="Kawtar SADIQ" userId="65df04e4-2d23-4bab-afb0-40df8a2c1b9f" providerId="ADAL" clId="{13E48CF6-3C07-4AA7-848A-1E964CBB0D3A}" dt="2022-12-01T14:12:55.260" v="27855"/>
          <ac:grpSpMkLst>
            <pc:docMk/>
            <pc:sldMk cId="423120281" sldId="2147469805"/>
            <ac:grpSpMk id="44" creationId="{29B652C3-A08E-4B70-9C85-BCB64443C81B}"/>
          </ac:grpSpMkLst>
        </pc:grpChg>
        <pc:grpChg chg="add mod">
          <ac:chgData name="Kawtar SADIQ" userId="65df04e4-2d23-4bab-afb0-40df8a2c1b9f" providerId="ADAL" clId="{13E48CF6-3C07-4AA7-848A-1E964CBB0D3A}" dt="2022-12-01T14:12:55.260" v="27855"/>
          <ac:grpSpMkLst>
            <pc:docMk/>
            <pc:sldMk cId="423120281" sldId="2147469805"/>
            <ac:grpSpMk id="47" creationId="{B61BBD1A-CCF3-43C4-A8F3-EB1CFAE578D6}"/>
          </ac:grpSpMkLst>
        </pc:grpChg>
        <pc:grpChg chg="add mod">
          <ac:chgData name="Kawtar SADIQ" userId="65df04e4-2d23-4bab-afb0-40df8a2c1b9f" providerId="ADAL" clId="{13E48CF6-3C07-4AA7-848A-1E964CBB0D3A}" dt="2022-12-01T14:12:55.260" v="27855"/>
          <ac:grpSpMkLst>
            <pc:docMk/>
            <pc:sldMk cId="423120281" sldId="2147469805"/>
            <ac:grpSpMk id="51" creationId="{0C6428B1-8913-4E57-B5CB-FE4B9AE9BC6D}"/>
          </ac:grpSpMkLst>
        </pc:grpChg>
        <pc:picChg chg="add mod">
          <ac:chgData name="Kawtar SADIQ" userId="65df04e4-2d23-4bab-afb0-40df8a2c1b9f" providerId="ADAL" clId="{13E48CF6-3C07-4AA7-848A-1E964CBB0D3A}" dt="2022-12-01T14:12:55.260" v="27855"/>
          <ac:picMkLst>
            <pc:docMk/>
            <pc:sldMk cId="423120281" sldId="2147469805"/>
            <ac:picMk id="32" creationId="{D4F729F3-DEED-42E5-9BF2-F6A9AC56BCE3}"/>
          </ac:picMkLst>
        </pc:picChg>
        <pc:picChg chg="add mod">
          <ac:chgData name="Kawtar SADIQ" userId="65df04e4-2d23-4bab-afb0-40df8a2c1b9f" providerId="ADAL" clId="{13E48CF6-3C07-4AA7-848A-1E964CBB0D3A}" dt="2022-12-01T14:12:55.260" v="27855"/>
          <ac:picMkLst>
            <pc:docMk/>
            <pc:sldMk cId="423120281" sldId="2147469805"/>
            <ac:picMk id="33" creationId="{867D0C36-E23C-443D-96A9-30B61E9E4376}"/>
          </ac:picMkLst>
        </pc:picChg>
        <pc:picChg chg="add mod">
          <ac:chgData name="Kawtar SADIQ" userId="65df04e4-2d23-4bab-afb0-40df8a2c1b9f" providerId="ADAL" clId="{13E48CF6-3C07-4AA7-848A-1E964CBB0D3A}" dt="2022-12-01T14:12:55.260" v="27855"/>
          <ac:picMkLst>
            <pc:docMk/>
            <pc:sldMk cId="423120281" sldId="2147469805"/>
            <ac:picMk id="34" creationId="{E1220D0F-9CF7-4154-988A-DEB3932B362E}"/>
          </ac:picMkLst>
        </pc:picChg>
        <pc:picChg chg="add mod">
          <ac:chgData name="Kawtar SADIQ" userId="65df04e4-2d23-4bab-afb0-40df8a2c1b9f" providerId="ADAL" clId="{13E48CF6-3C07-4AA7-848A-1E964CBB0D3A}" dt="2022-12-01T14:12:55.260" v="27855"/>
          <ac:picMkLst>
            <pc:docMk/>
            <pc:sldMk cId="423120281" sldId="2147469805"/>
            <ac:picMk id="35" creationId="{5B514967-1691-48B1-A420-CC4C9BA73F63}"/>
          </ac:picMkLst>
        </pc:picChg>
        <pc:picChg chg="add mod">
          <ac:chgData name="Kawtar SADIQ" userId="65df04e4-2d23-4bab-afb0-40df8a2c1b9f" providerId="ADAL" clId="{13E48CF6-3C07-4AA7-848A-1E964CBB0D3A}" dt="2022-12-01T14:12:55.260" v="27855"/>
          <ac:picMkLst>
            <pc:docMk/>
            <pc:sldMk cId="423120281" sldId="2147469805"/>
            <ac:picMk id="36" creationId="{71F91153-4666-47B3-80AD-08E859ACEAFD}"/>
          </ac:picMkLst>
        </pc:picChg>
        <pc:picChg chg="mod">
          <ac:chgData name="Kawtar SADIQ" userId="65df04e4-2d23-4bab-afb0-40df8a2c1b9f" providerId="ADAL" clId="{13E48CF6-3C07-4AA7-848A-1E964CBB0D3A}" dt="2022-12-01T14:12:55.260" v="27855"/>
          <ac:picMkLst>
            <pc:docMk/>
            <pc:sldMk cId="423120281" sldId="2147469805"/>
            <ac:picMk id="46" creationId="{4F95A00C-DD65-49F8-9E19-FD3ADB10643D}"/>
          </ac:picMkLst>
        </pc:picChg>
        <pc:picChg chg="mod">
          <ac:chgData name="Kawtar SADIQ" userId="65df04e4-2d23-4bab-afb0-40df8a2c1b9f" providerId="ADAL" clId="{13E48CF6-3C07-4AA7-848A-1E964CBB0D3A}" dt="2022-12-01T14:12:55.260" v="27855"/>
          <ac:picMkLst>
            <pc:docMk/>
            <pc:sldMk cId="423120281" sldId="2147469805"/>
            <ac:picMk id="49" creationId="{6824A333-F054-4641-B5BC-A64C44295A84}"/>
          </ac:picMkLst>
        </pc:picChg>
        <pc:picChg chg="mod">
          <ac:chgData name="Kawtar SADIQ" userId="65df04e4-2d23-4bab-afb0-40df8a2c1b9f" providerId="ADAL" clId="{13E48CF6-3C07-4AA7-848A-1E964CBB0D3A}" dt="2022-12-01T14:12:55.260" v="27855"/>
          <ac:picMkLst>
            <pc:docMk/>
            <pc:sldMk cId="423120281" sldId="2147469805"/>
            <ac:picMk id="53" creationId="{DF7082F0-1964-46B1-A82E-B9B5EA44096A}"/>
          </ac:picMkLst>
        </pc:picChg>
        <pc:picChg chg="add mod">
          <ac:chgData name="Kawtar SADIQ" userId="65df04e4-2d23-4bab-afb0-40df8a2c1b9f" providerId="ADAL" clId="{13E48CF6-3C07-4AA7-848A-1E964CBB0D3A}" dt="2022-12-01T14:12:55.260" v="27855"/>
          <ac:picMkLst>
            <pc:docMk/>
            <pc:sldMk cId="423120281" sldId="2147469805"/>
            <ac:picMk id="54" creationId="{3F898D11-0952-48F3-A92E-E2DC4E80BCDB}"/>
          </ac:picMkLst>
        </pc:picChg>
        <pc:cxnChg chg="add mod">
          <ac:chgData name="Kawtar SADIQ" userId="65df04e4-2d23-4bab-afb0-40df8a2c1b9f" providerId="ADAL" clId="{13E48CF6-3C07-4AA7-848A-1E964CBB0D3A}" dt="2022-12-01T14:12:55.260" v="27855"/>
          <ac:cxnSpMkLst>
            <pc:docMk/>
            <pc:sldMk cId="423120281" sldId="2147469805"/>
            <ac:cxnSpMk id="4" creationId="{2295DB81-3D16-4481-9DCE-3F12FC10F4EF}"/>
          </ac:cxnSpMkLst>
        </pc:cxnChg>
        <pc:cxnChg chg="add mod">
          <ac:chgData name="Kawtar SADIQ" userId="65df04e4-2d23-4bab-afb0-40df8a2c1b9f" providerId="ADAL" clId="{13E48CF6-3C07-4AA7-848A-1E964CBB0D3A}" dt="2022-12-01T14:12:55.260" v="27855"/>
          <ac:cxnSpMkLst>
            <pc:docMk/>
            <pc:sldMk cId="423120281" sldId="2147469805"/>
            <ac:cxnSpMk id="5" creationId="{AC5338E3-CD25-4D24-A298-B1D9FC074DA0}"/>
          </ac:cxnSpMkLst>
        </pc:cxnChg>
        <pc:cxnChg chg="add mod">
          <ac:chgData name="Kawtar SADIQ" userId="65df04e4-2d23-4bab-afb0-40df8a2c1b9f" providerId="ADAL" clId="{13E48CF6-3C07-4AA7-848A-1E964CBB0D3A}" dt="2022-12-01T14:12:55.260" v="27855"/>
          <ac:cxnSpMkLst>
            <pc:docMk/>
            <pc:sldMk cId="423120281" sldId="2147469805"/>
            <ac:cxnSpMk id="41" creationId="{DDEF18A0-1EEB-4809-B086-E70D48A5DC94}"/>
          </ac:cxnSpMkLst>
        </pc:cxnChg>
        <pc:cxnChg chg="add mod">
          <ac:chgData name="Kawtar SADIQ" userId="65df04e4-2d23-4bab-afb0-40df8a2c1b9f" providerId="ADAL" clId="{13E48CF6-3C07-4AA7-848A-1E964CBB0D3A}" dt="2022-12-01T14:12:55.260" v="27855"/>
          <ac:cxnSpMkLst>
            <pc:docMk/>
            <pc:sldMk cId="423120281" sldId="2147469805"/>
            <ac:cxnSpMk id="42" creationId="{F2708484-320F-4A20-8D30-7F26F9198E75}"/>
          </ac:cxnSpMkLst>
        </pc:cxnChg>
        <pc:cxnChg chg="add mod">
          <ac:chgData name="Kawtar SADIQ" userId="65df04e4-2d23-4bab-afb0-40df8a2c1b9f" providerId="ADAL" clId="{13E48CF6-3C07-4AA7-848A-1E964CBB0D3A}" dt="2022-12-01T14:12:55.260" v="27855"/>
          <ac:cxnSpMkLst>
            <pc:docMk/>
            <pc:sldMk cId="423120281" sldId="2147469805"/>
            <ac:cxnSpMk id="43" creationId="{71BE678A-791D-43E2-9195-9DD2F7FA99EE}"/>
          </ac:cxnSpMkLst>
        </pc:cxnChg>
      </pc:sldChg>
      <pc:sldChg chg="addSp delSp modSp new del">
        <pc:chgData name="Kawtar SADIQ" userId="65df04e4-2d23-4bab-afb0-40df8a2c1b9f" providerId="ADAL" clId="{13E48CF6-3C07-4AA7-848A-1E964CBB0D3A}" dt="2022-12-01T13:09:05.441" v="27700" actId="47"/>
        <pc:sldMkLst>
          <pc:docMk/>
          <pc:sldMk cId="1951424366" sldId="2147469805"/>
        </pc:sldMkLst>
        <pc:spChg chg="add del mod">
          <ac:chgData name="Kawtar SADIQ" userId="65df04e4-2d23-4bab-afb0-40df8a2c1b9f" providerId="ADAL" clId="{13E48CF6-3C07-4AA7-848A-1E964CBB0D3A}" dt="2022-12-01T13:08:57.857" v="27697" actId="478"/>
          <ac:spMkLst>
            <pc:docMk/>
            <pc:sldMk cId="1951424366" sldId="2147469805"/>
            <ac:spMk id="5" creationId="{4D1E8939-B739-440E-A433-A1AEFC3BF525}"/>
          </ac:spMkLst>
        </pc:spChg>
        <pc:spChg chg="add del mod">
          <ac:chgData name="Kawtar SADIQ" userId="65df04e4-2d23-4bab-afb0-40df8a2c1b9f" providerId="ADAL" clId="{13E48CF6-3C07-4AA7-848A-1E964CBB0D3A}" dt="2022-12-01T13:09:03.107" v="27699"/>
          <ac:spMkLst>
            <pc:docMk/>
            <pc:sldMk cId="1951424366" sldId="2147469805"/>
            <ac:spMk id="7" creationId="{A0C1B56C-7BBC-4B21-8B4C-6C101A045787}"/>
          </ac:spMkLst>
        </pc:spChg>
        <pc:graphicFrameChg chg="add del mod">
          <ac:chgData name="Kawtar SADIQ" userId="65df04e4-2d23-4bab-afb0-40df8a2c1b9f" providerId="ADAL" clId="{13E48CF6-3C07-4AA7-848A-1E964CBB0D3A}" dt="2022-12-01T13:08:57.857" v="27697" actId="478"/>
          <ac:graphicFrameMkLst>
            <pc:docMk/>
            <pc:sldMk cId="1951424366" sldId="2147469805"/>
            <ac:graphicFrameMk id="4" creationId="{50EF6019-79A9-41A9-88BD-CB205B880569}"/>
          </ac:graphicFrameMkLst>
        </pc:graphicFrameChg>
        <pc:graphicFrameChg chg="add del mod">
          <ac:chgData name="Kawtar SADIQ" userId="65df04e4-2d23-4bab-afb0-40df8a2c1b9f" providerId="ADAL" clId="{13E48CF6-3C07-4AA7-848A-1E964CBB0D3A}" dt="2022-12-01T13:09:03.107" v="27699"/>
          <ac:graphicFrameMkLst>
            <pc:docMk/>
            <pc:sldMk cId="1951424366" sldId="2147469805"/>
            <ac:graphicFrameMk id="6" creationId="{36F90BAA-0B45-4318-A013-7CD14665BC8B}"/>
          </ac:graphicFrameMkLst>
        </pc:graphicFrameChg>
      </pc:sldChg>
      <pc:sldChg chg="addSp modSp del mod">
        <pc:chgData name="Kawtar SADIQ" userId="65df04e4-2d23-4bab-afb0-40df8a2c1b9f" providerId="ADAL" clId="{13E48CF6-3C07-4AA7-848A-1E964CBB0D3A}" dt="2022-12-01T11:38:16.866" v="26186" actId="47"/>
        <pc:sldMkLst>
          <pc:docMk/>
          <pc:sldMk cId="3999266684" sldId="2147469805"/>
        </pc:sldMkLst>
        <pc:spChg chg="add mod">
          <ac:chgData name="Kawtar SADIQ" userId="65df04e4-2d23-4bab-afb0-40df8a2c1b9f" providerId="ADAL" clId="{13E48CF6-3C07-4AA7-848A-1E964CBB0D3A}" dt="2022-12-01T09:08:01.485" v="25239" actId="20577"/>
          <ac:spMkLst>
            <pc:docMk/>
            <pc:sldMk cId="3999266684" sldId="2147469805"/>
            <ac:spMk id="29" creationId="{4FA94346-F71D-47EB-9E53-BE0F4DF956E1}"/>
          </ac:spMkLst>
        </pc:spChg>
      </pc:sldChg>
      <pc:sldChg chg="del">
        <pc:chgData name="Kawtar SADIQ" userId="65df04e4-2d23-4bab-afb0-40df8a2c1b9f" providerId="ADAL" clId="{13E48CF6-3C07-4AA7-848A-1E964CBB0D3A}" dt="2022-12-01T18:30:08.190" v="28104" actId="47"/>
        <pc:sldMkLst>
          <pc:docMk/>
          <pc:sldMk cId="776537158" sldId="2147469806"/>
        </pc:sldMkLst>
      </pc:sldChg>
      <pc:sldChg chg="add">
        <pc:chgData name="Kawtar SADIQ" userId="65df04e4-2d23-4bab-afb0-40df8a2c1b9f" providerId="ADAL" clId="{13E48CF6-3C07-4AA7-848A-1E964CBB0D3A}" dt="2022-12-01T15:25:30.511" v="27862"/>
        <pc:sldMkLst>
          <pc:docMk/>
          <pc:sldMk cId="3770313867" sldId="2147469806"/>
        </pc:sldMkLst>
      </pc:sldChg>
      <pc:sldChg chg="add del">
        <pc:chgData name="Kawtar SADIQ" userId="65df04e4-2d23-4bab-afb0-40df8a2c1b9f" providerId="ADAL" clId="{13E48CF6-3C07-4AA7-848A-1E964CBB0D3A}" dt="2022-12-01T16:46:28.013" v="27991" actId="47"/>
        <pc:sldMkLst>
          <pc:docMk/>
          <pc:sldMk cId="999042431" sldId="2147469825"/>
        </pc:sldMkLst>
      </pc:sldChg>
      <pc:sldChg chg="add del">
        <pc:chgData name="Kawtar SADIQ" userId="65df04e4-2d23-4bab-afb0-40df8a2c1b9f" providerId="ADAL" clId="{13E48CF6-3C07-4AA7-848A-1E964CBB0D3A}" dt="2022-12-01T18:30:10.308" v="28106" actId="47"/>
        <pc:sldMkLst>
          <pc:docMk/>
          <pc:sldMk cId="1758684442" sldId="2147469826"/>
        </pc:sldMkLst>
      </pc:sldChg>
      <pc:sldChg chg="del">
        <pc:chgData name="Kawtar SADIQ" userId="65df04e4-2d23-4bab-afb0-40df8a2c1b9f" providerId="ADAL" clId="{13E48CF6-3C07-4AA7-848A-1E964CBB0D3A}" dt="2022-12-01T18:30:09.107" v="28105" actId="47"/>
        <pc:sldMkLst>
          <pc:docMk/>
          <pc:sldMk cId="1648857649" sldId="2147469827"/>
        </pc:sldMkLst>
      </pc:sldChg>
      <pc:sldChg chg="del">
        <pc:chgData name="Kawtar SADIQ" userId="65df04e4-2d23-4bab-afb0-40df8a2c1b9f" providerId="ADAL" clId="{13E48CF6-3C07-4AA7-848A-1E964CBB0D3A}" dt="2022-12-01T16:46:27.243" v="27990" actId="47"/>
        <pc:sldMkLst>
          <pc:docMk/>
          <pc:sldMk cId="3770313867" sldId="2147469828"/>
        </pc:sldMkLst>
      </pc:sldChg>
      <pc:sldChg chg="new del ord">
        <pc:chgData name="Kawtar SADIQ" userId="65df04e4-2d23-4bab-afb0-40df8a2c1b9f" providerId="ADAL" clId="{13E48CF6-3C07-4AA7-848A-1E964CBB0D3A}" dt="2022-12-01T16:22:23.639" v="27886" actId="47"/>
        <pc:sldMkLst>
          <pc:docMk/>
          <pc:sldMk cId="117064450" sldId="2147469829"/>
        </pc:sldMkLst>
      </pc:sldChg>
      <pc:sldChg chg="addSp delSp modSp new del mod ord">
        <pc:chgData name="Kawtar SADIQ" userId="65df04e4-2d23-4bab-afb0-40df8a2c1b9f" providerId="ADAL" clId="{13E48CF6-3C07-4AA7-848A-1E964CBB0D3A}" dt="2022-12-01T16:17:12.095" v="27882" actId="680"/>
        <pc:sldMkLst>
          <pc:docMk/>
          <pc:sldMk cId="2347032234" sldId="2147469829"/>
        </pc:sldMkLst>
        <pc:spChg chg="add del">
          <ac:chgData name="Kawtar SADIQ" userId="65df04e4-2d23-4bab-afb0-40df8a2c1b9f" providerId="ADAL" clId="{13E48CF6-3C07-4AA7-848A-1E964CBB0D3A}" dt="2022-12-01T16:17:03.785" v="27879" actId="478"/>
          <ac:spMkLst>
            <pc:docMk/>
            <pc:sldMk cId="2347032234" sldId="2147469829"/>
            <ac:spMk id="2" creationId="{484E95FD-DB4E-4F9B-A16E-55F4E4A86E46}"/>
          </ac:spMkLst>
        </pc:spChg>
        <pc:spChg chg="add del">
          <ac:chgData name="Kawtar SADIQ" userId="65df04e4-2d23-4bab-afb0-40df8a2c1b9f" providerId="ADAL" clId="{13E48CF6-3C07-4AA7-848A-1E964CBB0D3A}" dt="2022-12-01T16:17:03.785" v="27879" actId="478"/>
          <ac:spMkLst>
            <pc:docMk/>
            <pc:sldMk cId="2347032234" sldId="2147469829"/>
            <ac:spMk id="3" creationId="{3C009680-C9EA-458F-9D2E-27BE70E88041}"/>
          </ac:spMkLst>
        </pc:spChg>
        <pc:spChg chg="add del mod">
          <ac:chgData name="Kawtar SADIQ" userId="65df04e4-2d23-4bab-afb0-40df8a2c1b9f" providerId="ADAL" clId="{13E48CF6-3C07-4AA7-848A-1E964CBB0D3A}" dt="2022-12-01T16:17:02.510" v="27878"/>
          <ac:spMkLst>
            <pc:docMk/>
            <pc:sldMk cId="2347032234" sldId="2147469829"/>
            <ac:spMk id="4" creationId="{D64E19A1-8009-4F5F-A4F0-3022E8FC6FB1}"/>
          </ac:spMkLst>
        </pc:spChg>
        <pc:spChg chg="add del mod">
          <ac:chgData name="Kawtar SADIQ" userId="65df04e4-2d23-4bab-afb0-40df8a2c1b9f" providerId="ADAL" clId="{13E48CF6-3C07-4AA7-848A-1E964CBB0D3A}" dt="2022-12-01T16:17:02.510" v="27878"/>
          <ac:spMkLst>
            <pc:docMk/>
            <pc:sldMk cId="2347032234" sldId="2147469829"/>
            <ac:spMk id="5" creationId="{3DE49747-6D48-455C-8E0A-C876BEC35CF2}"/>
          </ac:spMkLst>
        </pc:spChg>
        <pc:spChg chg="add del mod">
          <ac:chgData name="Kawtar SADIQ" userId="65df04e4-2d23-4bab-afb0-40df8a2c1b9f" providerId="ADAL" clId="{13E48CF6-3C07-4AA7-848A-1E964CBB0D3A}" dt="2022-12-01T16:17:02.510" v="27878"/>
          <ac:spMkLst>
            <pc:docMk/>
            <pc:sldMk cId="2347032234" sldId="2147469829"/>
            <ac:spMk id="6" creationId="{2A00B253-6AA4-46D0-AB06-01728C5BAC85}"/>
          </ac:spMkLst>
        </pc:spChg>
      </pc:sldChg>
      <pc:sldChg chg="new del">
        <pc:chgData name="Kawtar SADIQ" userId="65df04e4-2d23-4bab-afb0-40df8a2c1b9f" providerId="ADAL" clId="{13E48CF6-3C07-4AA7-848A-1E964CBB0D3A}" dt="2022-12-01T16:16:12.225" v="27870" actId="680"/>
        <pc:sldMkLst>
          <pc:docMk/>
          <pc:sldMk cId="3965679479" sldId="2147469829"/>
        </pc:sldMkLst>
      </pc:sldChg>
      <pc:sldChg chg="addSp delSp modSp new mod">
        <pc:chgData name="Kawtar SADIQ" userId="65df04e4-2d23-4bab-afb0-40df8a2c1b9f" providerId="ADAL" clId="{13E48CF6-3C07-4AA7-848A-1E964CBB0D3A}" dt="2022-12-01T17:02:21.633" v="28042"/>
        <pc:sldMkLst>
          <pc:docMk/>
          <pc:sldMk cId="4289527151" sldId="2147469829"/>
        </pc:sldMkLst>
        <pc:spChg chg="del">
          <ac:chgData name="Kawtar SADIQ" userId="65df04e4-2d23-4bab-afb0-40df8a2c1b9f" providerId="ADAL" clId="{13E48CF6-3C07-4AA7-848A-1E964CBB0D3A}" dt="2022-12-01T16:24:29.270" v="27889" actId="478"/>
          <ac:spMkLst>
            <pc:docMk/>
            <pc:sldMk cId="4289527151" sldId="2147469829"/>
            <ac:spMk id="2" creationId="{A7E3110B-92F3-4E27-9679-1AE9F8B6B987}"/>
          </ac:spMkLst>
        </pc:spChg>
        <pc:spChg chg="del">
          <ac:chgData name="Kawtar SADIQ" userId="65df04e4-2d23-4bab-afb0-40df8a2c1b9f" providerId="ADAL" clId="{13E48CF6-3C07-4AA7-848A-1E964CBB0D3A}" dt="2022-12-01T16:24:29.270" v="27889" actId="478"/>
          <ac:spMkLst>
            <pc:docMk/>
            <pc:sldMk cId="4289527151" sldId="2147469829"/>
            <ac:spMk id="3" creationId="{F93660F2-7D08-4922-BD30-CE8341BECAA6}"/>
          </ac:spMkLst>
        </pc:spChg>
        <pc:spChg chg="add mod">
          <ac:chgData name="Kawtar SADIQ" userId="65df04e4-2d23-4bab-afb0-40df8a2c1b9f" providerId="ADAL" clId="{13E48CF6-3C07-4AA7-848A-1E964CBB0D3A}" dt="2022-12-01T16:24:30.180" v="27890"/>
          <ac:spMkLst>
            <pc:docMk/>
            <pc:sldMk cId="4289527151" sldId="2147469829"/>
            <ac:spMk id="4" creationId="{39B5CE5E-3F27-4216-ACBB-AE6D154B86FE}"/>
          </ac:spMkLst>
        </pc:spChg>
        <pc:spChg chg="add mod">
          <ac:chgData name="Kawtar SADIQ" userId="65df04e4-2d23-4bab-afb0-40df8a2c1b9f" providerId="ADAL" clId="{13E48CF6-3C07-4AA7-848A-1E964CBB0D3A}" dt="2022-12-01T17:02:21.633" v="28042"/>
          <ac:spMkLst>
            <pc:docMk/>
            <pc:sldMk cId="4289527151" sldId="2147469829"/>
            <ac:spMk id="5" creationId="{F42F9A6C-578C-477B-8E16-1AA32ACD65D9}"/>
          </ac:spMkLst>
        </pc:spChg>
        <pc:spChg chg="mod">
          <ac:chgData name="Kawtar SADIQ" userId="65df04e4-2d23-4bab-afb0-40df8a2c1b9f" providerId="ADAL" clId="{13E48CF6-3C07-4AA7-848A-1E964CBB0D3A}" dt="2022-12-01T16:24:30.180" v="27890"/>
          <ac:spMkLst>
            <pc:docMk/>
            <pc:sldMk cId="4289527151" sldId="2147469829"/>
            <ac:spMk id="7" creationId="{829428E0-3D50-4438-8E2D-C53527CDE217}"/>
          </ac:spMkLst>
        </pc:spChg>
        <pc:spChg chg="mod">
          <ac:chgData name="Kawtar SADIQ" userId="65df04e4-2d23-4bab-afb0-40df8a2c1b9f" providerId="ADAL" clId="{13E48CF6-3C07-4AA7-848A-1E964CBB0D3A}" dt="2022-12-01T16:24:30.180" v="27890"/>
          <ac:spMkLst>
            <pc:docMk/>
            <pc:sldMk cId="4289527151" sldId="2147469829"/>
            <ac:spMk id="8" creationId="{56BEEF1A-DF61-4C87-B1D9-6CBEF3021703}"/>
          </ac:spMkLst>
        </pc:spChg>
        <pc:spChg chg="mod">
          <ac:chgData name="Kawtar SADIQ" userId="65df04e4-2d23-4bab-afb0-40df8a2c1b9f" providerId="ADAL" clId="{13E48CF6-3C07-4AA7-848A-1E964CBB0D3A}" dt="2022-12-01T16:24:30.180" v="27890"/>
          <ac:spMkLst>
            <pc:docMk/>
            <pc:sldMk cId="4289527151" sldId="2147469829"/>
            <ac:spMk id="9" creationId="{9A14E51C-8468-4052-BFEF-EAF403839BCE}"/>
          </ac:spMkLst>
        </pc:spChg>
        <pc:spChg chg="mod">
          <ac:chgData name="Kawtar SADIQ" userId="65df04e4-2d23-4bab-afb0-40df8a2c1b9f" providerId="ADAL" clId="{13E48CF6-3C07-4AA7-848A-1E964CBB0D3A}" dt="2022-12-01T16:24:30.180" v="27890"/>
          <ac:spMkLst>
            <pc:docMk/>
            <pc:sldMk cId="4289527151" sldId="2147469829"/>
            <ac:spMk id="10" creationId="{72047739-5F28-41C2-BEB9-B4F378C4F927}"/>
          </ac:spMkLst>
        </pc:spChg>
        <pc:spChg chg="mod">
          <ac:chgData name="Kawtar SADIQ" userId="65df04e4-2d23-4bab-afb0-40df8a2c1b9f" providerId="ADAL" clId="{13E48CF6-3C07-4AA7-848A-1E964CBB0D3A}" dt="2022-12-01T16:24:30.180" v="27890"/>
          <ac:spMkLst>
            <pc:docMk/>
            <pc:sldMk cId="4289527151" sldId="2147469829"/>
            <ac:spMk id="11" creationId="{3A236E1F-8FDB-4C57-9571-5A1A8872F69F}"/>
          </ac:spMkLst>
        </pc:spChg>
        <pc:spChg chg="mod">
          <ac:chgData name="Kawtar SADIQ" userId="65df04e4-2d23-4bab-afb0-40df8a2c1b9f" providerId="ADAL" clId="{13E48CF6-3C07-4AA7-848A-1E964CBB0D3A}" dt="2022-12-01T16:24:30.180" v="27890"/>
          <ac:spMkLst>
            <pc:docMk/>
            <pc:sldMk cId="4289527151" sldId="2147469829"/>
            <ac:spMk id="12" creationId="{B9E505B0-9E31-49F5-8E92-495A60986533}"/>
          </ac:spMkLst>
        </pc:spChg>
        <pc:spChg chg="mod">
          <ac:chgData name="Kawtar SADIQ" userId="65df04e4-2d23-4bab-afb0-40df8a2c1b9f" providerId="ADAL" clId="{13E48CF6-3C07-4AA7-848A-1E964CBB0D3A}" dt="2022-12-01T16:24:30.180" v="27890"/>
          <ac:spMkLst>
            <pc:docMk/>
            <pc:sldMk cId="4289527151" sldId="2147469829"/>
            <ac:spMk id="13" creationId="{2EE1ABDB-642D-4BA6-AF56-7ED187998F26}"/>
          </ac:spMkLst>
        </pc:spChg>
        <pc:spChg chg="mod">
          <ac:chgData name="Kawtar SADIQ" userId="65df04e4-2d23-4bab-afb0-40df8a2c1b9f" providerId="ADAL" clId="{13E48CF6-3C07-4AA7-848A-1E964CBB0D3A}" dt="2022-12-01T16:24:30.180" v="27890"/>
          <ac:spMkLst>
            <pc:docMk/>
            <pc:sldMk cId="4289527151" sldId="2147469829"/>
            <ac:spMk id="15" creationId="{F06F2B5B-5B9E-4F99-B54E-F8063F0836C1}"/>
          </ac:spMkLst>
        </pc:spChg>
        <pc:spChg chg="mod">
          <ac:chgData name="Kawtar SADIQ" userId="65df04e4-2d23-4bab-afb0-40df8a2c1b9f" providerId="ADAL" clId="{13E48CF6-3C07-4AA7-848A-1E964CBB0D3A}" dt="2022-12-01T16:24:30.180" v="27890"/>
          <ac:spMkLst>
            <pc:docMk/>
            <pc:sldMk cId="4289527151" sldId="2147469829"/>
            <ac:spMk id="16" creationId="{232EB3AC-1968-4EFB-8BE1-B20D94E4009C}"/>
          </ac:spMkLst>
        </pc:spChg>
        <pc:spChg chg="mod">
          <ac:chgData name="Kawtar SADIQ" userId="65df04e4-2d23-4bab-afb0-40df8a2c1b9f" providerId="ADAL" clId="{13E48CF6-3C07-4AA7-848A-1E964CBB0D3A}" dt="2022-12-01T16:24:30.180" v="27890"/>
          <ac:spMkLst>
            <pc:docMk/>
            <pc:sldMk cId="4289527151" sldId="2147469829"/>
            <ac:spMk id="17" creationId="{E872F06C-73B2-440E-BD0F-6D74802E8A06}"/>
          </ac:spMkLst>
        </pc:spChg>
        <pc:spChg chg="mod">
          <ac:chgData name="Kawtar SADIQ" userId="65df04e4-2d23-4bab-afb0-40df8a2c1b9f" providerId="ADAL" clId="{13E48CF6-3C07-4AA7-848A-1E964CBB0D3A}" dt="2022-12-01T16:24:30.180" v="27890"/>
          <ac:spMkLst>
            <pc:docMk/>
            <pc:sldMk cId="4289527151" sldId="2147469829"/>
            <ac:spMk id="18" creationId="{4210AA0A-86F3-42C9-8848-D34C4CF6112B}"/>
          </ac:spMkLst>
        </pc:spChg>
        <pc:spChg chg="mod">
          <ac:chgData name="Kawtar SADIQ" userId="65df04e4-2d23-4bab-afb0-40df8a2c1b9f" providerId="ADAL" clId="{13E48CF6-3C07-4AA7-848A-1E964CBB0D3A}" dt="2022-12-01T16:24:30.180" v="27890"/>
          <ac:spMkLst>
            <pc:docMk/>
            <pc:sldMk cId="4289527151" sldId="2147469829"/>
            <ac:spMk id="19" creationId="{69AAA0CB-12BD-458F-A537-5F3BD7C8B574}"/>
          </ac:spMkLst>
        </pc:spChg>
        <pc:spChg chg="mod">
          <ac:chgData name="Kawtar SADIQ" userId="65df04e4-2d23-4bab-afb0-40df8a2c1b9f" providerId="ADAL" clId="{13E48CF6-3C07-4AA7-848A-1E964CBB0D3A}" dt="2022-12-01T16:24:30.180" v="27890"/>
          <ac:spMkLst>
            <pc:docMk/>
            <pc:sldMk cId="4289527151" sldId="2147469829"/>
            <ac:spMk id="20" creationId="{961A0785-D238-4CAD-AB5E-B47F28087ECE}"/>
          </ac:spMkLst>
        </pc:spChg>
        <pc:spChg chg="mod">
          <ac:chgData name="Kawtar SADIQ" userId="65df04e4-2d23-4bab-afb0-40df8a2c1b9f" providerId="ADAL" clId="{13E48CF6-3C07-4AA7-848A-1E964CBB0D3A}" dt="2022-12-01T16:24:30.180" v="27890"/>
          <ac:spMkLst>
            <pc:docMk/>
            <pc:sldMk cId="4289527151" sldId="2147469829"/>
            <ac:spMk id="21" creationId="{63D4EFA2-F8DD-4212-AA53-6ECF36B63D3E}"/>
          </ac:spMkLst>
        </pc:spChg>
        <pc:grpChg chg="add mod">
          <ac:chgData name="Kawtar SADIQ" userId="65df04e4-2d23-4bab-afb0-40df8a2c1b9f" providerId="ADAL" clId="{13E48CF6-3C07-4AA7-848A-1E964CBB0D3A}" dt="2022-12-01T16:24:30.180" v="27890"/>
          <ac:grpSpMkLst>
            <pc:docMk/>
            <pc:sldMk cId="4289527151" sldId="2147469829"/>
            <ac:grpSpMk id="6" creationId="{37121A69-DB8B-4D1A-956B-36554A0CC471}"/>
          </ac:grpSpMkLst>
        </pc:grpChg>
        <pc:grpChg chg="add mod">
          <ac:chgData name="Kawtar SADIQ" userId="65df04e4-2d23-4bab-afb0-40df8a2c1b9f" providerId="ADAL" clId="{13E48CF6-3C07-4AA7-848A-1E964CBB0D3A}" dt="2022-12-01T16:24:30.180" v="27890"/>
          <ac:grpSpMkLst>
            <pc:docMk/>
            <pc:sldMk cId="4289527151" sldId="2147469829"/>
            <ac:grpSpMk id="14" creationId="{1FB16E3E-2719-4CAB-B625-54CB6E37EA4F}"/>
          </ac:grpSpMkLst>
        </pc:grpChg>
      </pc:sldChg>
      <pc:sldChg chg="addSp delSp modSp new mod">
        <pc:chgData name="Kawtar SADIQ" userId="65df04e4-2d23-4bab-afb0-40df8a2c1b9f" providerId="ADAL" clId="{13E48CF6-3C07-4AA7-848A-1E964CBB0D3A}" dt="2022-12-01T16:25:28.132" v="27894"/>
        <pc:sldMkLst>
          <pc:docMk/>
          <pc:sldMk cId="2134048775" sldId="2147469830"/>
        </pc:sldMkLst>
        <pc:spChg chg="del">
          <ac:chgData name="Kawtar SADIQ" userId="65df04e4-2d23-4bab-afb0-40df8a2c1b9f" providerId="ADAL" clId="{13E48CF6-3C07-4AA7-848A-1E964CBB0D3A}" dt="2022-12-01T16:25:17.806" v="27893" actId="478"/>
          <ac:spMkLst>
            <pc:docMk/>
            <pc:sldMk cId="2134048775" sldId="2147469830"/>
            <ac:spMk id="2" creationId="{2148AC5E-BB13-4154-B715-B3DB0A2EE1BF}"/>
          </ac:spMkLst>
        </pc:spChg>
        <pc:spChg chg="del">
          <ac:chgData name="Kawtar SADIQ" userId="65df04e4-2d23-4bab-afb0-40df8a2c1b9f" providerId="ADAL" clId="{13E48CF6-3C07-4AA7-848A-1E964CBB0D3A}" dt="2022-12-01T16:25:17.806" v="27893" actId="478"/>
          <ac:spMkLst>
            <pc:docMk/>
            <pc:sldMk cId="2134048775" sldId="2147469830"/>
            <ac:spMk id="3" creationId="{66C2F011-EE55-43CD-A1E3-09991E915219}"/>
          </ac:spMkLst>
        </pc:spChg>
        <pc:spChg chg="add mod">
          <ac:chgData name="Kawtar SADIQ" userId="65df04e4-2d23-4bab-afb0-40df8a2c1b9f" providerId="ADAL" clId="{13E48CF6-3C07-4AA7-848A-1E964CBB0D3A}" dt="2022-12-01T16:25:28.132" v="27894"/>
          <ac:spMkLst>
            <pc:docMk/>
            <pc:sldMk cId="2134048775" sldId="2147469830"/>
            <ac:spMk id="4" creationId="{1FF6D0A7-311B-47CD-9D3A-D2BF4D198B09}"/>
          </ac:spMkLst>
        </pc:spChg>
        <pc:spChg chg="add mod">
          <ac:chgData name="Kawtar SADIQ" userId="65df04e4-2d23-4bab-afb0-40df8a2c1b9f" providerId="ADAL" clId="{13E48CF6-3C07-4AA7-848A-1E964CBB0D3A}" dt="2022-12-01T16:25:28.132" v="27894"/>
          <ac:spMkLst>
            <pc:docMk/>
            <pc:sldMk cId="2134048775" sldId="2147469830"/>
            <ac:spMk id="5" creationId="{33A1075D-77EA-4543-8407-75D991922167}"/>
          </ac:spMkLst>
        </pc:spChg>
        <pc:spChg chg="add mod">
          <ac:chgData name="Kawtar SADIQ" userId="65df04e4-2d23-4bab-afb0-40df8a2c1b9f" providerId="ADAL" clId="{13E48CF6-3C07-4AA7-848A-1E964CBB0D3A}" dt="2022-12-01T16:25:28.132" v="27894"/>
          <ac:spMkLst>
            <pc:docMk/>
            <pc:sldMk cId="2134048775" sldId="2147469830"/>
            <ac:spMk id="6" creationId="{D1D60B42-22A7-467D-8416-89E0A85F62D1}"/>
          </ac:spMkLst>
        </pc:spChg>
        <pc:spChg chg="add mod">
          <ac:chgData name="Kawtar SADIQ" userId="65df04e4-2d23-4bab-afb0-40df8a2c1b9f" providerId="ADAL" clId="{13E48CF6-3C07-4AA7-848A-1E964CBB0D3A}" dt="2022-12-01T16:25:28.132" v="27894"/>
          <ac:spMkLst>
            <pc:docMk/>
            <pc:sldMk cId="2134048775" sldId="2147469830"/>
            <ac:spMk id="7" creationId="{C4ACC8E1-A544-4899-B659-49CFE2835BE8}"/>
          </ac:spMkLst>
        </pc:spChg>
        <pc:spChg chg="add mod">
          <ac:chgData name="Kawtar SADIQ" userId="65df04e4-2d23-4bab-afb0-40df8a2c1b9f" providerId="ADAL" clId="{13E48CF6-3C07-4AA7-848A-1E964CBB0D3A}" dt="2022-12-01T16:25:28.132" v="27894"/>
          <ac:spMkLst>
            <pc:docMk/>
            <pc:sldMk cId="2134048775" sldId="2147469830"/>
            <ac:spMk id="8" creationId="{FDE38E4F-D823-434D-B3D5-22EC5E0686C8}"/>
          </ac:spMkLst>
        </pc:spChg>
        <pc:spChg chg="add mod">
          <ac:chgData name="Kawtar SADIQ" userId="65df04e4-2d23-4bab-afb0-40df8a2c1b9f" providerId="ADAL" clId="{13E48CF6-3C07-4AA7-848A-1E964CBB0D3A}" dt="2022-12-01T16:25:28.132" v="27894"/>
          <ac:spMkLst>
            <pc:docMk/>
            <pc:sldMk cId="2134048775" sldId="2147469830"/>
            <ac:spMk id="9" creationId="{845197EC-683A-4C06-BF16-13614CD7E105}"/>
          </ac:spMkLst>
        </pc:spChg>
        <pc:spChg chg="add mod">
          <ac:chgData name="Kawtar SADIQ" userId="65df04e4-2d23-4bab-afb0-40df8a2c1b9f" providerId="ADAL" clId="{13E48CF6-3C07-4AA7-848A-1E964CBB0D3A}" dt="2022-12-01T16:25:28.132" v="27894"/>
          <ac:spMkLst>
            <pc:docMk/>
            <pc:sldMk cId="2134048775" sldId="2147469830"/>
            <ac:spMk id="10" creationId="{5C878E28-B0AD-4095-8217-A867C0C09759}"/>
          </ac:spMkLst>
        </pc:spChg>
        <pc:spChg chg="add mod">
          <ac:chgData name="Kawtar SADIQ" userId="65df04e4-2d23-4bab-afb0-40df8a2c1b9f" providerId="ADAL" clId="{13E48CF6-3C07-4AA7-848A-1E964CBB0D3A}" dt="2022-12-01T16:25:28.132" v="27894"/>
          <ac:spMkLst>
            <pc:docMk/>
            <pc:sldMk cId="2134048775" sldId="2147469830"/>
            <ac:spMk id="11" creationId="{3840421B-F245-461D-9EB0-DB74A56E4A07}"/>
          </ac:spMkLst>
        </pc:spChg>
        <pc:spChg chg="add mod">
          <ac:chgData name="Kawtar SADIQ" userId="65df04e4-2d23-4bab-afb0-40df8a2c1b9f" providerId="ADAL" clId="{13E48CF6-3C07-4AA7-848A-1E964CBB0D3A}" dt="2022-12-01T16:25:28.132" v="27894"/>
          <ac:spMkLst>
            <pc:docMk/>
            <pc:sldMk cId="2134048775" sldId="2147469830"/>
            <ac:spMk id="12" creationId="{5AEF789D-438D-49FA-B40D-C9CA1C4F234E}"/>
          </ac:spMkLst>
        </pc:spChg>
        <pc:spChg chg="add mod">
          <ac:chgData name="Kawtar SADIQ" userId="65df04e4-2d23-4bab-afb0-40df8a2c1b9f" providerId="ADAL" clId="{13E48CF6-3C07-4AA7-848A-1E964CBB0D3A}" dt="2022-12-01T16:25:28.132" v="27894"/>
          <ac:spMkLst>
            <pc:docMk/>
            <pc:sldMk cId="2134048775" sldId="2147469830"/>
            <ac:spMk id="13" creationId="{1D9C1EF5-53DF-436E-AC85-C1144A3DA33A}"/>
          </ac:spMkLst>
        </pc:spChg>
        <pc:spChg chg="add mod">
          <ac:chgData name="Kawtar SADIQ" userId="65df04e4-2d23-4bab-afb0-40df8a2c1b9f" providerId="ADAL" clId="{13E48CF6-3C07-4AA7-848A-1E964CBB0D3A}" dt="2022-12-01T16:25:28.132" v="27894"/>
          <ac:spMkLst>
            <pc:docMk/>
            <pc:sldMk cId="2134048775" sldId="2147469830"/>
            <ac:spMk id="14" creationId="{D06C3F1B-EF35-4E32-A311-C8952CE2AFAE}"/>
          </ac:spMkLst>
        </pc:spChg>
        <pc:spChg chg="add mod">
          <ac:chgData name="Kawtar SADIQ" userId="65df04e4-2d23-4bab-afb0-40df8a2c1b9f" providerId="ADAL" clId="{13E48CF6-3C07-4AA7-848A-1E964CBB0D3A}" dt="2022-12-01T16:25:28.132" v="27894"/>
          <ac:spMkLst>
            <pc:docMk/>
            <pc:sldMk cId="2134048775" sldId="2147469830"/>
            <ac:spMk id="15" creationId="{154F356B-A430-45CF-9BCB-252AE8C14D6E}"/>
          </ac:spMkLst>
        </pc:spChg>
        <pc:spChg chg="add mod">
          <ac:chgData name="Kawtar SADIQ" userId="65df04e4-2d23-4bab-afb0-40df8a2c1b9f" providerId="ADAL" clId="{13E48CF6-3C07-4AA7-848A-1E964CBB0D3A}" dt="2022-12-01T16:25:28.132" v="27894"/>
          <ac:spMkLst>
            <pc:docMk/>
            <pc:sldMk cId="2134048775" sldId="2147469830"/>
            <ac:spMk id="16" creationId="{DCB43FF9-9A9E-4F62-8BD7-D92AD13E13D2}"/>
          </ac:spMkLst>
        </pc:spChg>
        <pc:spChg chg="add mod">
          <ac:chgData name="Kawtar SADIQ" userId="65df04e4-2d23-4bab-afb0-40df8a2c1b9f" providerId="ADAL" clId="{13E48CF6-3C07-4AA7-848A-1E964CBB0D3A}" dt="2022-12-01T16:25:28.132" v="27894"/>
          <ac:spMkLst>
            <pc:docMk/>
            <pc:sldMk cId="2134048775" sldId="2147469830"/>
            <ac:spMk id="17" creationId="{510214D4-7691-49EF-BE8E-88535208C72A}"/>
          </ac:spMkLst>
        </pc:spChg>
        <pc:spChg chg="add mod">
          <ac:chgData name="Kawtar SADIQ" userId="65df04e4-2d23-4bab-afb0-40df8a2c1b9f" providerId="ADAL" clId="{13E48CF6-3C07-4AA7-848A-1E964CBB0D3A}" dt="2022-12-01T16:25:28.132" v="27894"/>
          <ac:spMkLst>
            <pc:docMk/>
            <pc:sldMk cId="2134048775" sldId="2147469830"/>
            <ac:spMk id="18" creationId="{6EA858CF-C658-4824-8FCF-93806C8FEE0C}"/>
          </ac:spMkLst>
        </pc:spChg>
        <pc:spChg chg="add mod">
          <ac:chgData name="Kawtar SADIQ" userId="65df04e4-2d23-4bab-afb0-40df8a2c1b9f" providerId="ADAL" clId="{13E48CF6-3C07-4AA7-848A-1E964CBB0D3A}" dt="2022-12-01T16:25:28.132" v="27894"/>
          <ac:spMkLst>
            <pc:docMk/>
            <pc:sldMk cId="2134048775" sldId="2147469830"/>
            <ac:spMk id="19" creationId="{48B6D120-EE58-4EF0-861C-A52E7E8A5C74}"/>
          </ac:spMkLst>
        </pc:spChg>
        <pc:spChg chg="add mod">
          <ac:chgData name="Kawtar SADIQ" userId="65df04e4-2d23-4bab-afb0-40df8a2c1b9f" providerId="ADAL" clId="{13E48CF6-3C07-4AA7-848A-1E964CBB0D3A}" dt="2022-12-01T16:25:28.132" v="27894"/>
          <ac:spMkLst>
            <pc:docMk/>
            <pc:sldMk cId="2134048775" sldId="2147469830"/>
            <ac:spMk id="20" creationId="{1429FA62-1FBB-4615-9D06-68641C80566C}"/>
          </ac:spMkLst>
        </pc:spChg>
        <pc:spChg chg="add mod">
          <ac:chgData name="Kawtar SADIQ" userId="65df04e4-2d23-4bab-afb0-40df8a2c1b9f" providerId="ADAL" clId="{13E48CF6-3C07-4AA7-848A-1E964CBB0D3A}" dt="2022-12-01T16:25:28.132" v="27894"/>
          <ac:spMkLst>
            <pc:docMk/>
            <pc:sldMk cId="2134048775" sldId="2147469830"/>
            <ac:spMk id="21" creationId="{743E2107-5AA9-493A-BAEA-FA69478833E5}"/>
          </ac:spMkLst>
        </pc:spChg>
        <pc:spChg chg="add mod">
          <ac:chgData name="Kawtar SADIQ" userId="65df04e4-2d23-4bab-afb0-40df8a2c1b9f" providerId="ADAL" clId="{13E48CF6-3C07-4AA7-848A-1E964CBB0D3A}" dt="2022-12-01T16:25:28.132" v="27894"/>
          <ac:spMkLst>
            <pc:docMk/>
            <pc:sldMk cId="2134048775" sldId="2147469830"/>
            <ac:spMk id="22" creationId="{0FB25DD7-BE5E-4CAB-97E2-22A80E4352B2}"/>
          </ac:spMkLst>
        </pc:spChg>
        <pc:spChg chg="add mod">
          <ac:chgData name="Kawtar SADIQ" userId="65df04e4-2d23-4bab-afb0-40df8a2c1b9f" providerId="ADAL" clId="{13E48CF6-3C07-4AA7-848A-1E964CBB0D3A}" dt="2022-12-01T16:25:28.132" v="27894"/>
          <ac:spMkLst>
            <pc:docMk/>
            <pc:sldMk cId="2134048775" sldId="2147469830"/>
            <ac:spMk id="23" creationId="{8D945931-9798-40FD-AD92-9CA3F13E084C}"/>
          </ac:spMkLst>
        </pc:spChg>
        <pc:spChg chg="add mod">
          <ac:chgData name="Kawtar SADIQ" userId="65df04e4-2d23-4bab-afb0-40df8a2c1b9f" providerId="ADAL" clId="{13E48CF6-3C07-4AA7-848A-1E964CBB0D3A}" dt="2022-12-01T16:25:28.132" v="27894"/>
          <ac:spMkLst>
            <pc:docMk/>
            <pc:sldMk cId="2134048775" sldId="2147469830"/>
            <ac:spMk id="24" creationId="{00E5DCB5-0006-4575-861C-FAD8FAFB59BB}"/>
          </ac:spMkLst>
        </pc:spChg>
      </pc:sldChg>
      <pc:sldChg chg="addSp delSp modSp new del mod">
        <pc:chgData name="Kawtar SADIQ" userId="65df04e4-2d23-4bab-afb0-40df8a2c1b9f" providerId="ADAL" clId="{13E48CF6-3C07-4AA7-848A-1E964CBB0D3A}" dt="2022-12-01T16:28:02.313" v="27899" actId="47"/>
        <pc:sldMkLst>
          <pc:docMk/>
          <pc:sldMk cId="255727045" sldId="2147469831"/>
        </pc:sldMkLst>
        <pc:spChg chg="del">
          <ac:chgData name="Kawtar SADIQ" userId="65df04e4-2d23-4bab-afb0-40df8a2c1b9f" providerId="ADAL" clId="{13E48CF6-3C07-4AA7-848A-1E964CBB0D3A}" dt="2022-12-01T16:26:14.323" v="27897" actId="478"/>
          <ac:spMkLst>
            <pc:docMk/>
            <pc:sldMk cId="255727045" sldId="2147469831"/>
            <ac:spMk id="2" creationId="{CF0EF460-5168-4FED-9CBA-751AE1442D95}"/>
          </ac:spMkLst>
        </pc:spChg>
        <pc:spChg chg="del">
          <ac:chgData name="Kawtar SADIQ" userId="65df04e4-2d23-4bab-afb0-40df8a2c1b9f" providerId="ADAL" clId="{13E48CF6-3C07-4AA7-848A-1E964CBB0D3A}" dt="2022-12-01T16:26:14.323" v="27897" actId="478"/>
          <ac:spMkLst>
            <pc:docMk/>
            <pc:sldMk cId="255727045" sldId="2147469831"/>
            <ac:spMk id="4" creationId="{9AC1597D-102F-48FD-A89A-16D8254AB209}"/>
          </ac:spMkLst>
        </pc:spChg>
        <pc:spChg chg="del">
          <ac:chgData name="Kawtar SADIQ" userId="65df04e4-2d23-4bab-afb0-40df8a2c1b9f" providerId="ADAL" clId="{13E48CF6-3C07-4AA7-848A-1E964CBB0D3A}" dt="2022-12-01T16:26:14.323" v="27897" actId="478"/>
          <ac:spMkLst>
            <pc:docMk/>
            <pc:sldMk cId="255727045" sldId="2147469831"/>
            <ac:spMk id="5" creationId="{A765F3FE-D8D8-4269-AF5E-CB13A0ADBB9E}"/>
          </ac:spMkLst>
        </pc:spChg>
        <pc:spChg chg="add mod">
          <ac:chgData name="Kawtar SADIQ" userId="65df04e4-2d23-4bab-afb0-40df8a2c1b9f" providerId="ADAL" clId="{13E48CF6-3C07-4AA7-848A-1E964CBB0D3A}" dt="2022-12-01T16:26:20.879" v="27898"/>
          <ac:spMkLst>
            <pc:docMk/>
            <pc:sldMk cId="255727045" sldId="2147469831"/>
            <ac:spMk id="6" creationId="{B9298C36-B5A5-4882-A462-582C5C18C2EC}"/>
          </ac:spMkLst>
        </pc:spChg>
        <pc:spChg chg="add mod">
          <ac:chgData name="Kawtar SADIQ" userId="65df04e4-2d23-4bab-afb0-40df8a2c1b9f" providerId="ADAL" clId="{13E48CF6-3C07-4AA7-848A-1E964CBB0D3A}" dt="2022-12-01T16:26:20.879" v="27898"/>
          <ac:spMkLst>
            <pc:docMk/>
            <pc:sldMk cId="255727045" sldId="2147469831"/>
            <ac:spMk id="7" creationId="{1A345F01-8DD7-4CC2-AEDB-4E14841DF091}"/>
          </ac:spMkLst>
        </pc:spChg>
        <pc:spChg chg="add mod">
          <ac:chgData name="Kawtar SADIQ" userId="65df04e4-2d23-4bab-afb0-40df8a2c1b9f" providerId="ADAL" clId="{13E48CF6-3C07-4AA7-848A-1E964CBB0D3A}" dt="2022-12-01T16:26:20.879" v="27898"/>
          <ac:spMkLst>
            <pc:docMk/>
            <pc:sldMk cId="255727045" sldId="2147469831"/>
            <ac:spMk id="8" creationId="{902F20A6-0355-4428-A3EA-7B0F90C881AF}"/>
          </ac:spMkLst>
        </pc:spChg>
        <pc:spChg chg="add mod">
          <ac:chgData name="Kawtar SADIQ" userId="65df04e4-2d23-4bab-afb0-40df8a2c1b9f" providerId="ADAL" clId="{13E48CF6-3C07-4AA7-848A-1E964CBB0D3A}" dt="2022-12-01T16:26:20.879" v="27898"/>
          <ac:spMkLst>
            <pc:docMk/>
            <pc:sldMk cId="255727045" sldId="2147469831"/>
            <ac:spMk id="9" creationId="{5A458298-2EC7-4BFD-8D61-BB91DB24104C}"/>
          </ac:spMkLst>
        </pc:spChg>
      </pc:sldChg>
      <pc:sldChg chg="addSp delSp modSp new mod">
        <pc:chgData name="Kawtar SADIQ" userId="65df04e4-2d23-4bab-afb0-40df8a2c1b9f" providerId="ADAL" clId="{13E48CF6-3C07-4AA7-848A-1E964CBB0D3A}" dt="2022-12-01T16:41:02.573" v="27933"/>
        <pc:sldMkLst>
          <pc:docMk/>
          <pc:sldMk cId="1301648618" sldId="2147469831"/>
        </pc:sldMkLst>
        <pc:spChg chg="del">
          <ac:chgData name="Kawtar SADIQ" userId="65df04e4-2d23-4bab-afb0-40df8a2c1b9f" providerId="ADAL" clId="{13E48CF6-3C07-4AA7-848A-1E964CBB0D3A}" dt="2022-12-01T16:40:54.793" v="27932" actId="478"/>
          <ac:spMkLst>
            <pc:docMk/>
            <pc:sldMk cId="1301648618" sldId="2147469831"/>
            <ac:spMk id="2" creationId="{C737BC68-EC04-4565-A1B6-5CB0479ABF4B}"/>
          </ac:spMkLst>
        </pc:spChg>
        <pc:spChg chg="del">
          <ac:chgData name="Kawtar SADIQ" userId="65df04e4-2d23-4bab-afb0-40df8a2c1b9f" providerId="ADAL" clId="{13E48CF6-3C07-4AA7-848A-1E964CBB0D3A}" dt="2022-12-01T16:40:54.793" v="27932" actId="478"/>
          <ac:spMkLst>
            <pc:docMk/>
            <pc:sldMk cId="1301648618" sldId="2147469831"/>
            <ac:spMk id="4" creationId="{46A95964-1E09-493B-81B0-FD8E84E3B0DB}"/>
          </ac:spMkLst>
        </pc:spChg>
        <pc:spChg chg="del">
          <ac:chgData name="Kawtar SADIQ" userId="65df04e4-2d23-4bab-afb0-40df8a2c1b9f" providerId="ADAL" clId="{13E48CF6-3C07-4AA7-848A-1E964CBB0D3A}" dt="2022-12-01T16:40:54.793" v="27932" actId="478"/>
          <ac:spMkLst>
            <pc:docMk/>
            <pc:sldMk cId="1301648618" sldId="2147469831"/>
            <ac:spMk id="5" creationId="{E2D49F26-501D-4A95-A7CB-3195F3E3130F}"/>
          </ac:spMkLst>
        </pc:spChg>
        <pc:spChg chg="add mod">
          <ac:chgData name="Kawtar SADIQ" userId="65df04e4-2d23-4bab-afb0-40df8a2c1b9f" providerId="ADAL" clId="{13E48CF6-3C07-4AA7-848A-1E964CBB0D3A}" dt="2022-12-01T16:41:02.573" v="27933"/>
          <ac:spMkLst>
            <pc:docMk/>
            <pc:sldMk cId="1301648618" sldId="2147469831"/>
            <ac:spMk id="6" creationId="{AEBC0999-258A-4C10-A90A-751177DA8163}"/>
          </ac:spMkLst>
        </pc:spChg>
        <pc:spChg chg="add mod">
          <ac:chgData name="Kawtar SADIQ" userId="65df04e4-2d23-4bab-afb0-40df8a2c1b9f" providerId="ADAL" clId="{13E48CF6-3C07-4AA7-848A-1E964CBB0D3A}" dt="2022-12-01T16:41:02.573" v="27933"/>
          <ac:spMkLst>
            <pc:docMk/>
            <pc:sldMk cId="1301648618" sldId="2147469831"/>
            <ac:spMk id="7" creationId="{8FFDA8EC-8B79-4111-9A54-1FBA6FF78689}"/>
          </ac:spMkLst>
        </pc:spChg>
        <pc:spChg chg="add mod">
          <ac:chgData name="Kawtar SADIQ" userId="65df04e4-2d23-4bab-afb0-40df8a2c1b9f" providerId="ADAL" clId="{13E48CF6-3C07-4AA7-848A-1E964CBB0D3A}" dt="2022-12-01T16:41:02.573" v="27933"/>
          <ac:spMkLst>
            <pc:docMk/>
            <pc:sldMk cId="1301648618" sldId="2147469831"/>
            <ac:spMk id="8" creationId="{7EE3A62C-16BD-4386-A32F-A24CCFC7199D}"/>
          </ac:spMkLst>
        </pc:spChg>
        <pc:spChg chg="add mod">
          <ac:chgData name="Kawtar SADIQ" userId="65df04e4-2d23-4bab-afb0-40df8a2c1b9f" providerId="ADAL" clId="{13E48CF6-3C07-4AA7-848A-1E964CBB0D3A}" dt="2022-12-01T16:41:02.573" v="27933"/>
          <ac:spMkLst>
            <pc:docMk/>
            <pc:sldMk cId="1301648618" sldId="2147469831"/>
            <ac:spMk id="9" creationId="{BD6433EC-D9EB-4716-B094-2038D14B5EE7}"/>
          </ac:spMkLst>
        </pc:spChg>
      </pc:sldChg>
      <pc:sldChg chg="addSp delSp modSp new mod ord">
        <pc:chgData name="Kawtar SADIQ" userId="65df04e4-2d23-4bab-afb0-40df8a2c1b9f" providerId="ADAL" clId="{13E48CF6-3C07-4AA7-848A-1E964CBB0D3A}" dt="2022-12-01T16:42:23.022" v="27947"/>
        <pc:sldMkLst>
          <pc:docMk/>
          <pc:sldMk cId="3405077761" sldId="2147469832"/>
        </pc:sldMkLst>
        <pc:spChg chg="del">
          <ac:chgData name="Kawtar SADIQ" userId="65df04e4-2d23-4bab-afb0-40df8a2c1b9f" providerId="ADAL" clId="{13E48CF6-3C07-4AA7-848A-1E964CBB0D3A}" dt="2022-12-01T16:42:10.943" v="27944" actId="478"/>
          <ac:spMkLst>
            <pc:docMk/>
            <pc:sldMk cId="3405077761" sldId="2147469832"/>
            <ac:spMk id="2" creationId="{B1BDE124-C7FF-4525-AD78-7930ECB01584}"/>
          </ac:spMkLst>
        </pc:spChg>
        <pc:spChg chg="del">
          <ac:chgData name="Kawtar SADIQ" userId="65df04e4-2d23-4bab-afb0-40df8a2c1b9f" providerId="ADAL" clId="{13E48CF6-3C07-4AA7-848A-1E964CBB0D3A}" dt="2022-12-01T16:42:10.943" v="27944" actId="478"/>
          <ac:spMkLst>
            <pc:docMk/>
            <pc:sldMk cId="3405077761" sldId="2147469832"/>
            <ac:spMk id="3" creationId="{A7F317BA-6C03-4F98-AA9B-0D3D8C765D4D}"/>
          </ac:spMkLst>
        </pc:spChg>
        <pc:spChg chg="add mod">
          <ac:chgData name="Kawtar SADIQ" userId="65df04e4-2d23-4bab-afb0-40df8a2c1b9f" providerId="ADAL" clId="{13E48CF6-3C07-4AA7-848A-1E964CBB0D3A}" dt="2022-12-01T16:42:23.022" v="27947"/>
          <ac:spMkLst>
            <pc:docMk/>
            <pc:sldMk cId="3405077761" sldId="2147469832"/>
            <ac:spMk id="4" creationId="{758598F9-8BBB-4424-A0B0-88F9BB4B331D}"/>
          </ac:spMkLst>
        </pc:spChg>
        <pc:spChg chg="add mod">
          <ac:chgData name="Kawtar SADIQ" userId="65df04e4-2d23-4bab-afb0-40df8a2c1b9f" providerId="ADAL" clId="{13E48CF6-3C07-4AA7-848A-1E964CBB0D3A}" dt="2022-12-01T16:42:23.022" v="27947"/>
          <ac:spMkLst>
            <pc:docMk/>
            <pc:sldMk cId="3405077761" sldId="2147469832"/>
            <ac:spMk id="5" creationId="{5D688AB2-7A9C-4E94-9F96-0D15CEC7E0F1}"/>
          </ac:spMkLst>
        </pc:spChg>
        <pc:spChg chg="add mod">
          <ac:chgData name="Kawtar SADIQ" userId="65df04e4-2d23-4bab-afb0-40df8a2c1b9f" providerId="ADAL" clId="{13E48CF6-3C07-4AA7-848A-1E964CBB0D3A}" dt="2022-12-01T16:42:23.022" v="27947"/>
          <ac:spMkLst>
            <pc:docMk/>
            <pc:sldMk cId="3405077761" sldId="2147469832"/>
            <ac:spMk id="6" creationId="{04A49824-ABED-44CE-9CFE-F2DB93BED5F1}"/>
          </ac:spMkLst>
        </pc:spChg>
        <pc:spChg chg="add mod">
          <ac:chgData name="Kawtar SADIQ" userId="65df04e4-2d23-4bab-afb0-40df8a2c1b9f" providerId="ADAL" clId="{13E48CF6-3C07-4AA7-848A-1E964CBB0D3A}" dt="2022-12-01T16:42:23.022" v="27947"/>
          <ac:spMkLst>
            <pc:docMk/>
            <pc:sldMk cId="3405077761" sldId="2147469832"/>
            <ac:spMk id="7" creationId="{E6CA2F7B-269F-4CD4-A2BE-DE0E7902B462}"/>
          </ac:spMkLst>
        </pc:spChg>
        <pc:spChg chg="add mod">
          <ac:chgData name="Kawtar SADIQ" userId="65df04e4-2d23-4bab-afb0-40df8a2c1b9f" providerId="ADAL" clId="{13E48CF6-3C07-4AA7-848A-1E964CBB0D3A}" dt="2022-12-01T16:42:23.022" v="27947"/>
          <ac:spMkLst>
            <pc:docMk/>
            <pc:sldMk cId="3405077761" sldId="2147469832"/>
            <ac:spMk id="8" creationId="{D8BADCE5-4985-4488-B097-095E619995F7}"/>
          </ac:spMkLst>
        </pc:spChg>
        <pc:spChg chg="add mod">
          <ac:chgData name="Kawtar SADIQ" userId="65df04e4-2d23-4bab-afb0-40df8a2c1b9f" providerId="ADAL" clId="{13E48CF6-3C07-4AA7-848A-1E964CBB0D3A}" dt="2022-12-01T16:42:23.022" v="27947"/>
          <ac:spMkLst>
            <pc:docMk/>
            <pc:sldMk cId="3405077761" sldId="2147469832"/>
            <ac:spMk id="9" creationId="{E2894613-6823-4990-AAE1-01A4C3216607}"/>
          </ac:spMkLst>
        </pc:spChg>
        <pc:spChg chg="add mod">
          <ac:chgData name="Kawtar SADIQ" userId="65df04e4-2d23-4bab-afb0-40df8a2c1b9f" providerId="ADAL" clId="{13E48CF6-3C07-4AA7-848A-1E964CBB0D3A}" dt="2022-12-01T16:42:23.022" v="27947"/>
          <ac:spMkLst>
            <pc:docMk/>
            <pc:sldMk cId="3405077761" sldId="2147469832"/>
            <ac:spMk id="10" creationId="{ABB5AB67-381A-437D-B638-9C67FAEA8134}"/>
          </ac:spMkLst>
        </pc:spChg>
        <pc:spChg chg="add mod">
          <ac:chgData name="Kawtar SADIQ" userId="65df04e4-2d23-4bab-afb0-40df8a2c1b9f" providerId="ADAL" clId="{13E48CF6-3C07-4AA7-848A-1E964CBB0D3A}" dt="2022-12-01T16:42:23.022" v="27947"/>
          <ac:spMkLst>
            <pc:docMk/>
            <pc:sldMk cId="3405077761" sldId="2147469832"/>
            <ac:spMk id="11" creationId="{6C690B49-956F-4986-B2FE-8DADD934D493}"/>
          </ac:spMkLst>
        </pc:spChg>
        <pc:spChg chg="add mod">
          <ac:chgData name="Kawtar SADIQ" userId="65df04e4-2d23-4bab-afb0-40df8a2c1b9f" providerId="ADAL" clId="{13E48CF6-3C07-4AA7-848A-1E964CBB0D3A}" dt="2022-12-01T16:42:23.022" v="27947"/>
          <ac:spMkLst>
            <pc:docMk/>
            <pc:sldMk cId="3405077761" sldId="2147469832"/>
            <ac:spMk id="12" creationId="{7D82899E-54A9-4A94-A1CC-8808C0A00FAB}"/>
          </ac:spMkLst>
        </pc:spChg>
        <pc:spChg chg="add mod">
          <ac:chgData name="Kawtar SADIQ" userId="65df04e4-2d23-4bab-afb0-40df8a2c1b9f" providerId="ADAL" clId="{13E48CF6-3C07-4AA7-848A-1E964CBB0D3A}" dt="2022-12-01T16:42:23.022" v="27947"/>
          <ac:spMkLst>
            <pc:docMk/>
            <pc:sldMk cId="3405077761" sldId="2147469832"/>
            <ac:spMk id="13" creationId="{2DA3159F-53CD-4861-BDF2-ACA0C57F98BB}"/>
          </ac:spMkLst>
        </pc:spChg>
        <pc:spChg chg="mod">
          <ac:chgData name="Kawtar SADIQ" userId="65df04e4-2d23-4bab-afb0-40df8a2c1b9f" providerId="ADAL" clId="{13E48CF6-3C07-4AA7-848A-1E964CBB0D3A}" dt="2022-12-01T16:42:23.022" v="27947"/>
          <ac:spMkLst>
            <pc:docMk/>
            <pc:sldMk cId="3405077761" sldId="2147469832"/>
            <ac:spMk id="15" creationId="{5CD86C66-A1A8-4DE1-B731-64E49159503F}"/>
          </ac:spMkLst>
        </pc:spChg>
        <pc:spChg chg="mod">
          <ac:chgData name="Kawtar SADIQ" userId="65df04e4-2d23-4bab-afb0-40df8a2c1b9f" providerId="ADAL" clId="{13E48CF6-3C07-4AA7-848A-1E964CBB0D3A}" dt="2022-12-01T16:42:23.022" v="27947"/>
          <ac:spMkLst>
            <pc:docMk/>
            <pc:sldMk cId="3405077761" sldId="2147469832"/>
            <ac:spMk id="16" creationId="{82A43789-BD45-49CA-828D-D0FC4B0421ED}"/>
          </ac:spMkLst>
        </pc:spChg>
        <pc:spChg chg="mod">
          <ac:chgData name="Kawtar SADIQ" userId="65df04e4-2d23-4bab-afb0-40df8a2c1b9f" providerId="ADAL" clId="{13E48CF6-3C07-4AA7-848A-1E964CBB0D3A}" dt="2022-12-01T16:42:23.022" v="27947"/>
          <ac:spMkLst>
            <pc:docMk/>
            <pc:sldMk cId="3405077761" sldId="2147469832"/>
            <ac:spMk id="18" creationId="{2EB04531-62EE-4221-A517-C75078EF635D}"/>
          </ac:spMkLst>
        </pc:spChg>
        <pc:spChg chg="mod">
          <ac:chgData name="Kawtar SADIQ" userId="65df04e4-2d23-4bab-afb0-40df8a2c1b9f" providerId="ADAL" clId="{13E48CF6-3C07-4AA7-848A-1E964CBB0D3A}" dt="2022-12-01T16:42:23.022" v="27947"/>
          <ac:spMkLst>
            <pc:docMk/>
            <pc:sldMk cId="3405077761" sldId="2147469832"/>
            <ac:spMk id="19" creationId="{B4453E68-8A4F-4013-8CD2-BD85D48F53A9}"/>
          </ac:spMkLst>
        </pc:spChg>
        <pc:spChg chg="mod">
          <ac:chgData name="Kawtar SADIQ" userId="65df04e4-2d23-4bab-afb0-40df8a2c1b9f" providerId="ADAL" clId="{13E48CF6-3C07-4AA7-848A-1E964CBB0D3A}" dt="2022-12-01T16:42:23.022" v="27947"/>
          <ac:spMkLst>
            <pc:docMk/>
            <pc:sldMk cId="3405077761" sldId="2147469832"/>
            <ac:spMk id="21" creationId="{15372033-8439-488E-A93F-6EBD817E12F0}"/>
          </ac:spMkLst>
        </pc:spChg>
        <pc:spChg chg="mod">
          <ac:chgData name="Kawtar SADIQ" userId="65df04e4-2d23-4bab-afb0-40df8a2c1b9f" providerId="ADAL" clId="{13E48CF6-3C07-4AA7-848A-1E964CBB0D3A}" dt="2022-12-01T16:42:23.022" v="27947"/>
          <ac:spMkLst>
            <pc:docMk/>
            <pc:sldMk cId="3405077761" sldId="2147469832"/>
            <ac:spMk id="22" creationId="{DD394757-DC83-45AE-8E1F-A24D739E8C4A}"/>
          </ac:spMkLst>
        </pc:spChg>
        <pc:spChg chg="mod">
          <ac:chgData name="Kawtar SADIQ" userId="65df04e4-2d23-4bab-afb0-40df8a2c1b9f" providerId="ADAL" clId="{13E48CF6-3C07-4AA7-848A-1E964CBB0D3A}" dt="2022-12-01T16:42:23.022" v="27947"/>
          <ac:spMkLst>
            <pc:docMk/>
            <pc:sldMk cId="3405077761" sldId="2147469832"/>
            <ac:spMk id="24" creationId="{0A0793A2-0785-4723-9EB3-A1FB6CEBED85}"/>
          </ac:spMkLst>
        </pc:spChg>
        <pc:spChg chg="mod">
          <ac:chgData name="Kawtar SADIQ" userId="65df04e4-2d23-4bab-afb0-40df8a2c1b9f" providerId="ADAL" clId="{13E48CF6-3C07-4AA7-848A-1E964CBB0D3A}" dt="2022-12-01T16:42:23.022" v="27947"/>
          <ac:spMkLst>
            <pc:docMk/>
            <pc:sldMk cId="3405077761" sldId="2147469832"/>
            <ac:spMk id="25" creationId="{EB054365-E17E-4480-97B1-B7DC01452A83}"/>
          </ac:spMkLst>
        </pc:spChg>
        <pc:spChg chg="add mod">
          <ac:chgData name="Kawtar SADIQ" userId="65df04e4-2d23-4bab-afb0-40df8a2c1b9f" providerId="ADAL" clId="{13E48CF6-3C07-4AA7-848A-1E964CBB0D3A}" dt="2022-12-01T16:42:23.022" v="27947"/>
          <ac:spMkLst>
            <pc:docMk/>
            <pc:sldMk cId="3405077761" sldId="2147469832"/>
            <ac:spMk id="26" creationId="{DFD6F423-AED8-4A7F-B53A-D46E7631B302}"/>
          </ac:spMkLst>
        </pc:spChg>
        <pc:spChg chg="add mod">
          <ac:chgData name="Kawtar SADIQ" userId="65df04e4-2d23-4bab-afb0-40df8a2c1b9f" providerId="ADAL" clId="{13E48CF6-3C07-4AA7-848A-1E964CBB0D3A}" dt="2022-12-01T16:42:23.022" v="27947"/>
          <ac:spMkLst>
            <pc:docMk/>
            <pc:sldMk cId="3405077761" sldId="2147469832"/>
            <ac:spMk id="27" creationId="{9758A226-4FFE-4283-8F11-04662839F350}"/>
          </ac:spMkLst>
        </pc:spChg>
        <pc:spChg chg="add mod">
          <ac:chgData name="Kawtar SADIQ" userId="65df04e4-2d23-4bab-afb0-40df8a2c1b9f" providerId="ADAL" clId="{13E48CF6-3C07-4AA7-848A-1E964CBB0D3A}" dt="2022-12-01T16:42:23.022" v="27947"/>
          <ac:spMkLst>
            <pc:docMk/>
            <pc:sldMk cId="3405077761" sldId="2147469832"/>
            <ac:spMk id="28" creationId="{D4D83668-303A-4A3B-98B3-83B6E6E83BC8}"/>
          </ac:spMkLst>
        </pc:spChg>
        <pc:spChg chg="mod">
          <ac:chgData name="Kawtar SADIQ" userId="65df04e4-2d23-4bab-afb0-40df8a2c1b9f" providerId="ADAL" clId="{13E48CF6-3C07-4AA7-848A-1E964CBB0D3A}" dt="2022-12-01T16:42:23.022" v="27947"/>
          <ac:spMkLst>
            <pc:docMk/>
            <pc:sldMk cId="3405077761" sldId="2147469832"/>
            <ac:spMk id="30" creationId="{17F12320-A96C-494E-9846-726CB5DEC7CB}"/>
          </ac:spMkLst>
        </pc:spChg>
        <pc:spChg chg="mod">
          <ac:chgData name="Kawtar SADIQ" userId="65df04e4-2d23-4bab-afb0-40df8a2c1b9f" providerId="ADAL" clId="{13E48CF6-3C07-4AA7-848A-1E964CBB0D3A}" dt="2022-12-01T16:42:23.022" v="27947"/>
          <ac:spMkLst>
            <pc:docMk/>
            <pc:sldMk cId="3405077761" sldId="2147469832"/>
            <ac:spMk id="31" creationId="{B3231CE6-0660-481E-84F5-86479CD04D27}"/>
          </ac:spMkLst>
        </pc:spChg>
        <pc:grpChg chg="add mod">
          <ac:chgData name="Kawtar SADIQ" userId="65df04e4-2d23-4bab-afb0-40df8a2c1b9f" providerId="ADAL" clId="{13E48CF6-3C07-4AA7-848A-1E964CBB0D3A}" dt="2022-12-01T16:42:23.022" v="27947"/>
          <ac:grpSpMkLst>
            <pc:docMk/>
            <pc:sldMk cId="3405077761" sldId="2147469832"/>
            <ac:grpSpMk id="14" creationId="{A9CB7BFA-1F74-4B07-94FC-2E4B2C1E738A}"/>
          </ac:grpSpMkLst>
        </pc:grpChg>
        <pc:grpChg chg="add mod">
          <ac:chgData name="Kawtar SADIQ" userId="65df04e4-2d23-4bab-afb0-40df8a2c1b9f" providerId="ADAL" clId="{13E48CF6-3C07-4AA7-848A-1E964CBB0D3A}" dt="2022-12-01T16:42:23.022" v="27947"/>
          <ac:grpSpMkLst>
            <pc:docMk/>
            <pc:sldMk cId="3405077761" sldId="2147469832"/>
            <ac:grpSpMk id="17" creationId="{B7D12E65-A980-46C4-9252-D8C74B74FC50}"/>
          </ac:grpSpMkLst>
        </pc:grpChg>
        <pc:grpChg chg="add mod">
          <ac:chgData name="Kawtar SADIQ" userId="65df04e4-2d23-4bab-afb0-40df8a2c1b9f" providerId="ADAL" clId="{13E48CF6-3C07-4AA7-848A-1E964CBB0D3A}" dt="2022-12-01T16:42:23.022" v="27947"/>
          <ac:grpSpMkLst>
            <pc:docMk/>
            <pc:sldMk cId="3405077761" sldId="2147469832"/>
            <ac:grpSpMk id="20" creationId="{B70BBC39-7D34-4E1F-8250-26C498FB778C}"/>
          </ac:grpSpMkLst>
        </pc:grpChg>
        <pc:grpChg chg="add mod">
          <ac:chgData name="Kawtar SADIQ" userId="65df04e4-2d23-4bab-afb0-40df8a2c1b9f" providerId="ADAL" clId="{13E48CF6-3C07-4AA7-848A-1E964CBB0D3A}" dt="2022-12-01T16:42:23.022" v="27947"/>
          <ac:grpSpMkLst>
            <pc:docMk/>
            <pc:sldMk cId="3405077761" sldId="2147469832"/>
            <ac:grpSpMk id="23" creationId="{8AEA3C21-11A2-480C-994F-37FFA112C56E}"/>
          </ac:grpSpMkLst>
        </pc:grpChg>
        <pc:grpChg chg="add mod">
          <ac:chgData name="Kawtar SADIQ" userId="65df04e4-2d23-4bab-afb0-40df8a2c1b9f" providerId="ADAL" clId="{13E48CF6-3C07-4AA7-848A-1E964CBB0D3A}" dt="2022-12-01T16:42:23.022" v="27947"/>
          <ac:grpSpMkLst>
            <pc:docMk/>
            <pc:sldMk cId="3405077761" sldId="2147469832"/>
            <ac:grpSpMk id="29" creationId="{9D55CEE6-9FEC-4CCC-A96C-A3505795750A}"/>
          </ac:grpSpMkLst>
        </pc:grpChg>
      </pc:sldChg>
      <pc:sldChg chg="addSp delSp modSp new del mod">
        <pc:chgData name="Kawtar SADIQ" userId="65df04e4-2d23-4bab-afb0-40df8a2c1b9f" providerId="ADAL" clId="{13E48CF6-3C07-4AA7-848A-1E964CBB0D3A}" dt="2022-12-01T16:41:45.453" v="27940" actId="680"/>
        <pc:sldMkLst>
          <pc:docMk/>
          <pc:sldMk cId="3739482364" sldId="2147469832"/>
        </pc:sldMkLst>
        <pc:spChg chg="add del">
          <ac:chgData name="Kawtar SADIQ" userId="65df04e4-2d23-4bab-afb0-40df8a2c1b9f" providerId="ADAL" clId="{13E48CF6-3C07-4AA7-848A-1E964CBB0D3A}" dt="2022-12-01T16:41:44.024" v="27939" actId="478"/>
          <ac:spMkLst>
            <pc:docMk/>
            <pc:sldMk cId="3739482364" sldId="2147469832"/>
            <ac:spMk id="2" creationId="{847E14AB-8A73-4EC8-A029-41BAC2310038}"/>
          </ac:spMkLst>
        </pc:spChg>
        <pc:spChg chg="add del">
          <ac:chgData name="Kawtar SADIQ" userId="65df04e4-2d23-4bab-afb0-40df8a2c1b9f" providerId="ADAL" clId="{13E48CF6-3C07-4AA7-848A-1E964CBB0D3A}" dt="2022-12-01T16:41:44.024" v="27939" actId="478"/>
          <ac:spMkLst>
            <pc:docMk/>
            <pc:sldMk cId="3739482364" sldId="2147469832"/>
            <ac:spMk id="3" creationId="{448A2194-5776-4E22-858D-E040A75EFD3C}"/>
          </ac:spMkLst>
        </pc:spChg>
        <pc:spChg chg="add del mod">
          <ac:chgData name="Kawtar SADIQ" userId="65df04e4-2d23-4bab-afb0-40df8a2c1b9f" providerId="ADAL" clId="{13E48CF6-3C07-4AA7-848A-1E964CBB0D3A}" dt="2022-12-01T16:41:42.902" v="27938"/>
          <ac:spMkLst>
            <pc:docMk/>
            <pc:sldMk cId="3739482364" sldId="2147469832"/>
            <ac:spMk id="4" creationId="{3CA51FD0-5B26-44D7-93AF-DA2B23A34DBF}"/>
          </ac:spMkLst>
        </pc:spChg>
        <pc:spChg chg="add del mod">
          <ac:chgData name="Kawtar SADIQ" userId="65df04e4-2d23-4bab-afb0-40df8a2c1b9f" providerId="ADAL" clId="{13E48CF6-3C07-4AA7-848A-1E964CBB0D3A}" dt="2022-12-01T16:41:42.902" v="27938"/>
          <ac:spMkLst>
            <pc:docMk/>
            <pc:sldMk cId="3739482364" sldId="2147469832"/>
            <ac:spMk id="5" creationId="{EC8597E8-0802-407E-8DB4-0514C8061DFB}"/>
          </ac:spMkLst>
        </pc:spChg>
        <pc:spChg chg="mod">
          <ac:chgData name="Kawtar SADIQ" userId="65df04e4-2d23-4bab-afb0-40df8a2c1b9f" providerId="ADAL" clId="{13E48CF6-3C07-4AA7-848A-1E964CBB0D3A}" dt="2022-12-01T16:41:33.843" v="27937"/>
          <ac:spMkLst>
            <pc:docMk/>
            <pc:sldMk cId="3739482364" sldId="2147469832"/>
            <ac:spMk id="7" creationId="{8DD88DC6-C841-4A68-A098-C8A1C2011BF6}"/>
          </ac:spMkLst>
        </pc:spChg>
        <pc:spChg chg="mod">
          <ac:chgData name="Kawtar SADIQ" userId="65df04e4-2d23-4bab-afb0-40df8a2c1b9f" providerId="ADAL" clId="{13E48CF6-3C07-4AA7-848A-1E964CBB0D3A}" dt="2022-12-01T16:41:33.843" v="27937"/>
          <ac:spMkLst>
            <pc:docMk/>
            <pc:sldMk cId="3739482364" sldId="2147469832"/>
            <ac:spMk id="8" creationId="{65C420EA-3AD0-42F2-99AA-42441E8251F7}"/>
          </ac:spMkLst>
        </pc:spChg>
        <pc:spChg chg="mod">
          <ac:chgData name="Kawtar SADIQ" userId="65df04e4-2d23-4bab-afb0-40df8a2c1b9f" providerId="ADAL" clId="{13E48CF6-3C07-4AA7-848A-1E964CBB0D3A}" dt="2022-12-01T16:41:33.843" v="27937"/>
          <ac:spMkLst>
            <pc:docMk/>
            <pc:sldMk cId="3739482364" sldId="2147469832"/>
            <ac:spMk id="11" creationId="{91D90FD1-A0D3-4049-AC60-4F03A04903D7}"/>
          </ac:spMkLst>
        </pc:spChg>
        <pc:spChg chg="mod">
          <ac:chgData name="Kawtar SADIQ" userId="65df04e4-2d23-4bab-afb0-40df8a2c1b9f" providerId="ADAL" clId="{13E48CF6-3C07-4AA7-848A-1E964CBB0D3A}" dt="2022-12-01T16:41:33.843" v="27937"/>
          <ac:spMkLst>
            <pc:docMk/>
            <pc:sldMk cId="3739482364" sldId="2147469832"/>
            <ac:spMk id="12" creationId="{A59AFA9D-B87D-4DC9-ADB2-E03E73406173}"/>
          </ac:spMkLst>
        </pc:spChg>
        <pc:spChg chg="mod">
          <ac:chgData name="Kawtar SADIQ" userId="65df04e4-2d23-4bab-afb0-40df8a2c1b9f" providerId="ADAL" clId="{13E48CF6-3C07-4AA7-848A-1E964CBB0D3A}" dt="2022-12-01T16:41:33.843" v="27937"/>
          <ac:spMkLst>
            <pc:docMk/>
            <pc:sldMk cId="3739482364" sldId="2147469832"/>
            <ac:spMk id="13" creationId="{A9F1C1F4-3873-4D8D-B593-4F7AED60CBC4}"/>
          </ac:spMkLst>
        </pc:spChg>
        <pc:spChg chg="mod">
          <ac:chgData name="Kawtar SADIQ" userId="65df04e4-2d23-4bab-afb0-40df8a2c1b9f" providerId="ADAL" clId="{13E48CF6-3C07-4AA7-848A-1E964CBB0D3A}" dt="2022-12-01T16:41:33.843" v="27937"/>
          <ac:spMkLst>
            <pc:docMk/>
            <pc:sldMk cId="3739482364" sldId="2147469832"/>
            <ac:spMk id="14" creationId="{BFCE0C67-AB3A-4D5C-A34B-4D2D3208FF93}"/>
          </ac:spMkLst>
        </pc:spChg>
        <pc:spChg chg="mod">
          <ac:chgData name="Kawtar SADIQ" userId="65df04e4-2d23-4bab-afb0-40df8a2c1b9f" providerId="ADAL" clId="{13E48CF6-3C07-4AA7-848A-1E964CBB0D3A}" dt="2022-12-01T16:41:33.843" v="27937"/>
          <ac:spMkLst>
            <pc:docMk/>
            <pc:sldMk cId="3739482364" sldId="2147469832"/>
            <ac:spMk id="15" creationId="{BF70146B-5D94-41C9-BC4A-ED06A774FF1D}"/>
          </ac:spMkLst>
        </pc:spChg>
        <pc:spChg chg="mod">
          <ac:chgData name="Kawtar SADIQ" userId="65df04e4-2d23-4bab-afb0-40df8a2c1b9f" providerId="ADAL" clId="{13E48CF6-3C07-4AA7-848A-1E964CBB0D3A}" dt="2022-12-01T16:41:33.843" v="27937"/>
          <ac:spMkLst>
            <pc:docMk/>
            <pc:sldMk cId="3739482364" sldId="2147469832"/>
            <ac:spMk id="16" creationId="{45279B06-6ED7-40E6-95E0-6C8B1D0A7599}"/>
          </ac:spMkLst>
        </pc:spChg>
        <pc:spChg chg="mod">
          <ac:chgData name="Kawtar SADIQ" userId="65df04e4-2d23-4bab-afb0-40df8a2c1b9f" providerId="ADAL" clId="{13E48CF6-3C07-4AA7-848A-1E964CBB0D3A}" dt="2022-12-01T16:41:33.843" v="27937"/>
          <ac:spMkLst>
            <pc:docMk/>
            <pc:sldMk cId="3739482364" sldId="2147469832"/>
            <ac:spMk id="17" creationId="{C32EEF6D-357B-49D5-93E6-13825519A0E6}"/>
          </ac:spMkLst>
        </pc:spChg>
        <pc:spChg chg="mod">
          <ac:chgData name="Kawtar SADIQ" userId="65df04e4-2d23-4bab-afb0-40df8a2c1b9f" providerId="ADAL" clId="{13E48CF6-3C07-4AA7-848A-1E964CBB0D3A}" dt="2022-12-01T16:41:33.843" v="27937"/>
          <ac:spMkLst>
            <pc:docMk/>
            <pc:sldMk cId="3739482364" sldId="2147469832"/>
            <ac:spMk id="18" creationId="{74C5B606-1E09-4345-80E2-5793747AB628}"/>
          </ac:spMkLst>
        </pc:spChg>
        <pc:spChg chg="mod">
          <ac:chgData name="Kawtar SADIQ" userId="65df04e4-2d23-4bab-afb0-40df8a2c1b9f" providerId="ADAL" clId="{13E48CF6-3C07-4AA7-848A-1E964CBB0D3A}" dt="2022-12-01T16:41:33.843" v="27937"/>
          <ac:spMkLst>
            <pc:docMk/>
            <pc:sldMk cId="3739482364" sldId="2147469832"/>
            <ac:spMk id="19" creationId="{F5C09A78-D132-408D-9B12-F520ED53FDA6}"/>
          </ac:spMkLst>
        </pc:spChg>
        <pc:spChg chg="mod">
          <ac:chgData name="Kawtar SADIQ" userId="65df04e4-2d23-4bab-afb0-40df8a2c1b9f" providerId="ADAL" clId="{13E48CF6-3C07-4AA7-848A-1E964CBB0D3A}" dt="2022-12-01T16:41:33.843" v="27937"/>
          <ac:spMkLst>
            <pc:docMk/>
            <pc:sldMk cId="3739482364" sldId="2147469832"/>
            <ac:spMk id="20" creationId="{B9C038C4-392E-4486-9384-056919662734}"/>
          </ac:spMkLst>
        </pc:spChg>
        <pc:spChg chg="mod">
          <ac:chgData name="Kawtar SADIQ" userId="65df04e4-2d23-4bab-afb0-40df8a2c1b9f" providerId="ADAL" clId="{13E48CF6-3C07-4AA7-848A-1E964CBB0D3A}" dt="2022-12-01T16:41:33.843" v="27937"/>
          <ac:spMkLst>
            <pc:docMk/>
            <pc:sldMk cId="3739482364" sldId="2147469832"/>
            <ac:spMk id="21" creationId="{19E80744-A979-4AD5-9A96-24297045076B}"/>
          </ac:spMkLst>
        </pc:spChg>
        <pc:spChg chg="add del mod">
          <ac:chgData name="Kawtar SADIQ" userId="65df04e4-2d23-4bab-afb0-40df8a2c1b9f" providerId="ADAL" clId="{13E48CF6-3C07-4AA7-848A-1E964CBB0D3A}" dt="2022-12-01T16:41:42.902" v="27938"/>
          <ac:spMkLst>
            <pc:docMk/>
            <pc:sldMk cId="3739482364" sldId="2147469832"/>
            <ac:spMk id="22" creationId="{11093F57-015D-4971-9124-E5F49495E443}"/>
          </ac:spMkLst>
        </pc:spChg>
        <pc:spChg chg="add del mod">
          <ac:chgData name="Kawtar SADIQ" userId="65df04e4-2d23-4bab-afb0-40df8a2c1b9f" providerId="ADAL" clId="{13E48CF6-3C07-4AA7-848A-1E964CBB0D3A}" dt="2022-12-01T16:41:42.902" v="27938"/>
          <ac:spMkLst>
            <pc:docMk/>
            <pc:sldMk cId="3739482364" sldId="2147469832"/>
            <ac:spMk id="23" creationId="{8B668CA8-8899-4732-BF80-CC26707A97C1}"/>
          </ac:spMkLst>
        </pc:spChg>
        <pc:spChg chg="mod">
          <ac:chgData name="Kawtar SADIQ" userId="65df04e4-2d23-4bab-afb0-40df8a2c1b9f" providerId="ADAL" clId="{13E48CF6-3C07-4AA7-848A-1E964CBB0D3A}" dt="2022-12-01T16:41:33.843" v="27937"/>
          <ac:spMkLst>
            <pc:docMk/>
            <pc:sldMk cId="3739482364" sldId="2147469832"/>
            <ac:spMk id="25" creationId="{1B49C4BC-B4D4-46C5-AE3B-EC60AA4E5C65}"/>
          </ac:spMkLst>
        </pc:spChg>
        <pc:spChg chg="mod">
          <ac:chgData name="Kawtar SADIQ" userId="65df04e4-2d23-4bab-afb0-40df8a2c1b9f" providerId="ADAL" clId="{13E48CF6-3C07-4AA7-848A-1E964CBB0D3A}" dt="2022-12-01T16:41:33.843" v="27937"/>
          <ac:spMkLst>
            <pc:docMk/>
            <pc:sldMk cId="3739482364" sldId="2147469832"/>
            <ac:spMk id="26" creationId="{E78B2ADF-5DD1-4281-9953-671A241A9E5E}"/>
          </ac:spMkLst>
        </pc:spChg>
        <pc:spChg chg="mod">
          <ac:chgData name="Kawtar SADIQ" userId="65df04e4-2d23-4bab-afb0-40df8a2c1b9f" providerId="ADAL" clId="{13E48CF6-3C07-4AA7-848A-1E964CBB0D3A}" dt="2022-12-01T16:41:33.843" v="27937"/>
          <ac:spMkLst>
            <pc:docMk/>
            <pc:sldMk cId="3739482364" sldId="2147469832"/>
            <ac:spMk id="27" creationId="{D12A67A2-97E7-428A-9E45-73F0A5F5BE5C}"/>
          </ac:spMkLst>
        </pc:spChg>
        <pc:spChg chg="mod">
          <ac:chgData name="Kawtar SADIQ" userId="65df04e4-2d23-4bab-afb0-40df8a2c1b9f" providerId="ADAL" clId="{13E48CF6-3C07-4AA7-848A-1E964CBB0D3A}" dt="2022-12-01T16:41:33.843" v="27937"/>
          <ac:spMkLst>
            <pc:docMk/>
            <pc:sldMk cId="3739482364" sldId="2147469832"/>
            <ac:spMk id="28" creationId="{6E59E87A-EE2D-4154-A24A-FE303312D1BE}"/>
          </ac:spMkLst>
        </pc:spChg>
        <pc:spChg chg="mod">
          <ac:chgData name="Kawtar SADIQ" userId="65df04e4-2d23-4bab-afb0-40df8a2c1b9f" providerId="ADAL" clId="{13E48CF6-3C07-4AA7-848A-1E964CBB0D3A}" dt="2022-12-01T16:41:33.843" v="27937"/>
          <ac:spMkLst>
            <pc:docMk/>
            <pc:sldMk cId="3739482364" sldId="2147469832"/>
            <ac:spMk id="29" creationId="{8A132FFF-AE4F-4EF5-8378-A80ED27C4402}"/>
          </ac:spMkLst>
        </pc:spChg>
        <pc:spChg chg="mod">
          <ac:chgData name="Kawtar SADIQ" userId="65df04e4-2d23-4bab-afb0-40df8a2c1b9f" providerId="ADAL" clId="{13E48CF6-3C07-4AA7-848A-1E964CBB0D3A}" dt="2022-12-01T16:41:33.843" v="27937"/>
          <ac:spMkLst>
            <pc:docMk/>
            <pc:sldMk cId="3739482364" sldId="2147469832"/>
            <ac:spMk id="30" creationId="{0FC06284-C680-4054-A9E7-947F089049B1}"/>
          </ac:spMkLst>
        </pc:spChg>
        <pc:spChg chg="add del mod">
          <ac:chgData name="Kawtar SADIQ" userId="65df04e4-2d23-4bab-afb0-40df8a2c1b9f" providerId="ADAL" clId="{13E48CF6-3C07-4AA7-848A-1E964CBB0D3A}" dt="2022-12-01T16:41:42.902" v="27938"/>
          <ac:spMkLst>
            <pc:docMk/>
            <pc:sldMk cId="3739482364" sldId="2147469832"/>
            <ac:spMk id="31" creationId="{EF980986-A004-47D6-8278-D2FF17091E24}"/>
          </ac:spMkLst>
        </pc:spChg>
        <pc:spChg chg="add del mod">
          <ac:chgData name="Kawtar SADIQ" userId="65df04e4-2d23-4bab-afb0-40df8a2c1b9f" providerId="ADAL" clId="{13E48CF6-3C07-4AA7-848A-1E964CBB0D3A}" dt="2022-12-01T16:41:42.902" v="27938"/>
          <ac:spMkLst>
            <pc:docMk/>
            <pc:sldMk cId="3739482364" sldId="2147469832"/>
            <ac:spMk id="32" creationId="{859A28BD-6E81-49F8-8994-B256D4F09966}"/>
          </ac:spMkLst>
        </pc:spChg>
        <pc:grpChg chg="add del mod">
          <ac:chgData name="Kawtar SADIQ" userId="65df04e4-2d23-4bab-afb0-40df8a2c1b9f" providerId="ADAL" clId="{13E48CF6-3C07-4AA7-848A-1E964CBB0D3A}" dt="2022-12-01T16:41:42.902" v="27938"/>
          <ac:grpSpMkLst>
            <pc:docMk/>
            <pc:sldMk cId="3739482364" sldId="2147469832"/>
            <ac:grpSpMk id="6" creationId="{3E628068-0311-4602-BE11-0D5EEBCBE4E2}"/>
          </ac:grpSpMkLst>
        </pc:grpChg>
        <pc:grpChg chg="add del mod">
          <ac:chgData name="Kawtar SADIQ" userId="65df04e4-2d23-4bab-afb0-40df8a2c1b9f" providerId="ADAL" clId="{13E48CF6-3C07-4AA7-848A-1E964CBB0D3A}" dt="2022-12-01T16:41:42.902" v="27938"/>
          <ac:grpSpMkLst>
            <pc:docMk/>
            <pc:sldMk cId="3739482364" sldId="2147469832"/>
            <ac:grpSpMk id="9" creationId="{1238ACA4-59CF-44A7-9767-A6384F9BC0F0}"/>
          </ac:grpSpMkLst>
        </pc:grpChg>
        <pc:grpChg chg="mod">
          <ac:chgData name="Kawtar SADIQ" userId="65df04e4-2d23-4bab-afb0-40df8a2c1b9f" providerId="ADAL" clId="{13E48CF6-3C07-4AA7-848A-1E964CBB0D3A}" dt="2022-12-01T16:41:33.843" v="27937"/>
          <ac:grpSpMkLst>
            <pc:docMk/>
            <pc:sldMk cId="3739482364" sldId="2147469832"/>
            <ac:grpSpMk id="10" creationId="{B723D35A-8482-450D-9D11-AD4B049B11E3}"/>
          </ac:grpSpMkLst>
        </pc:grpChg>
        <pc:grpChg chg="add del mod">
          <ac:chgData name="Kawtar SADIQ" userId="65df04e4-2d23-4bab-afb0-40df8a2c1b9f" providerId="ADAL" clId="{13E48CF6-3C07-4AA7-848A-1E964CBB0D3A}" dt="2022-12-01T16:41:42.902" v="27938"/>
          <ac:grpSpMkLst>
            <pc:docMk/>
            <pc:sldMk cId="3739482364" sldId="2147469832"/>
            <ac:grpSpMk id="24" creationId="{957B7A8B-06F4-468A-B75D-FD52A213FEF3}"/>
          </ac:grpSpMkLst>
        </pc:grpChg>
      </pc:sldChg>
      <pc:sldChg chg="addSp delSp modSp new mod">
        <pc:chgData name="Kawtar SADIQ" userId="65df04e4-2d23-4bab-afb0-40df8a2c1b9f" providerId="ADAL" clId="{13E48CF6-3C07-4AA7-848A-1E964CBB0D3A}" dt="2022-12-01T16:42:35.853" v="27949"/>
        <pc:sldMkLst>
          <pc:docMk/>
          <pc:sldMk cId="2226750021" sldId="2147469833"/>
        </pc:sldMkLst>
        <pc:spChg chg="del">
          <ac:chgData name="Kawtar SADIQ" userId="65df04e4-2d23-4bab-afb0-40df8a2c1b9f" providerId="ADAL" clId="{13E48CF6-3C07-4AA7-848A-1E964CBB0D3A}" dt="2022-12-01T16:42:16.143" v="27946" actId="478"/>
          <ac:spMkLst>
            <pc:docMk/>
            <pc:sldMk cId="2226750021" sldId="2147469833"/>
            <ac:spMk id="2" creationId="{7A73F412-FBF5-4E97-AC26-2FBE24ABFBEC}"/>
          </ac:spMkLst>
        </pc:spChg>
        <pc:spChg chg="del">
          <ac:chgData name="Kawtar SADIQ" userId="65df04e4-2d23-4bab-afb0-40df8a2c1b9f" providerId="ADAL" clId="{13E48CF6-3C07-4AA7-848A-1E964CBB0D3A}" dt="2022-12-01T16:42:16.143" v="27946" actId="478"/>
          <ac:spMkLst>
            <pc:docMk/>
            <pc:sldMk cId="2226750021" sldId="2147469833"/>
            <ac:spMk id="3" creationId="{F42570B0-46AD-4143-9A72-8EFBABB8C3DF}"/>
          </ac:spMkLst>
        </pc:spChg>
        <pc:spChg chg="add mod">
          <ac:chgData name="Kawtar SADIQ" userId="65df04e4-2d23-4bab-afb0-40df8a2c1b9f" providerId="ADAL" clId="{13E48CF6-3C07-4AA7-848A-1E964CBB0D3A}" dt="2022-12-01T16:42:35.853" v="27949"/>
          <ac:spMkLst>
            <pc:docMk/>
            <pc:sldMk cId="2226750021" sldId="2147469833"/>
            <ac:spMk id="4" creationId="{43D31529-D7BE-4C1A-A141-A8E634C263AE}"/>
          </ac:spMkLst>
        </pc:spChg>
        <pc:spChg chg="add mod">
          <ac:chgData name="Kawtar SADIQ" userId="65df04e4-2d23-4bab-afb0-40df8a2c1b9f" providerId="ADAL" clId="{13E48CF6-3C07-4AA7-848A-1E964CBB0D3A}" dt="2022-12-01T16:42:35.853" v="27949"/>
          <ac:spMkLst>
            <pc:docMk/>
            <pc:sldMk cId="2226750021" sldId="2147469833"/>
            <ac:spMk id="5" creationId="{C342797C-F500-403A-BB96-5388A0EA58ED}"/>
          </ac:spMkLst>
        </pc:spChg>
        <pc:spChg chg="add mod">
          <ac:chgData name="Kawtar SADIQ" userId="65df04e4-2d23-4bab-afb0-40df8a2c1b9f" providerId="ADAL" clId="{13E48CF6-3C07-4AA7-848A-1E964CBB0D3A}" dt="2022-12-01T16:42:35.853" v="27949"/>
          <ac:spMkLst>
            <pc:docMk/>
            <pc:sldMk cId="2226750021" sldId="2147469833"/>
            <ac:spMk id="6" creationId="{40B3B08A-1BA6-44BA-8C0A-DC178F728A04}"/>
          </ac:spMkLst>
        </pc:spChg>
        <pc:spChg chg="add mod">
          <ac:chgData name="Kawtar SADIQ" userId="65df04e4-2d23-4bab-afb0-40df8a2c1b9f" providerId="ADAL" clId="{13E48CF6-3C07-4AA7-848A-1E964CBB0D3A}" dt="2022-12-01T16:42:35.853" v="27949"/>
          <ac:spMkLst>
            <pc:docMk/>
            <pc:sldMk cId="2226750021" sldId="2147469833"/>
            <ac:spMk id="7" creationId="{13A1EDDB-57A4-448C-9E46-63B794DE2251}"/>
          </ac:spMkLst>
        </pc:spChg>
        <pc:spChg chg="add mod">
          <ac:chgData name="Kawtar SADIQ" userId="65df04e4-2d23-4bab-afb0-40df8a2c1b9f" providerId="ADAL" clId="{13E48CF6-3C07-4AA7-848A-1E964CBB0D3A}" dt="2022-12-01T16:42:35.853" v="27949"/>
          <ac:spMkLst>
            <pc:docMk/>
            <pc:sldMk cId="2226750021" sldId="2147469833"/>
            <ac:spMk id="8" creationId="{ED08C789-00DC-44D0-8434-698F88B4B2BF}"/>
          </ac:spMkLst>
        </pc:spChg>
        <pc:spChg chg="add mod">
          <ac:chgData name="Kawtar SADIQ" userId="65df04e4-2d23-4bab-afb0-40df8a2c1b9f" providerId="ADAL" clId="{13E48CF6-3C07-4AA7-848A-1E964CBB0D3A}" dt="2022-12-01T16:42:35.853" v="27949"/>
          <ac:spMkLst>
            <pc:docMk/>
            <pc:sldMk cId="2226750021" sldId="2147469833"/>
            <ac:spMk id="9" creationId="{FB372766-44A2-4480-B686-C65136BA1232}"/>
          </ac:spMkLst>
        </pc:spChg>
        <pc:spChg chg="add mod">
          <ac:chgData name="Kawtar SADIQ" userId="65df04e4-2d23-4bab-afb0-40df8a2c1b9f" providerId="ADAL" clId="{13E48CF6-3C07-4AA7-848A-1E964CBB0D3A}" dt="2022-12-01T16:42:35.853" v="27949"/>
          <ac:spMkLst>
            <pc:docMk/>
            <pc:sldMk cId="2226750021" sldId="2147469833"/>
            <ac:spMk id="10" creationId="{D6A675F7-931A-4652-9153-4EC2EF0C5204}"/>
          </ac:spMkLst>
        </pc:spChg>
        <pc:spChg chg="add mod">
          <ac:chgData name="Kawtar SADIQ" userId="65df04e4-2d23-4bab-afb0-40df8a2c1b9f" providerId="ADAL" clId="{13E48CF6-3C07-4AA7-848A-1E964CBB0D3A}" dt="2022-12-01T16:42:35.853" v="27949"/>
          <ac:spMkLst>
            <pc:docMk/>
            <pc:sldMk cId="2226750021" sldId="2147469833"/>
            <ac:spMk id="11" creationId="{E0947EE3-3CA3-420C-BEC0-321C9228B2B2}"/>
          </ac:spMkLst>
        </pc:spChg>
        <pc:spChg chg="add mod">
          <ac:chgData name="Kawtar SADIQ" userId="65df04e4-2d23-4bab-afb0-40df8a2c1b9f" providerId="ADAL" clId="{13E48CF6-3C07-4AA7-848A-1E964CBB0D3A}" dt="2022-12-01T16:42:35.853" v="27949"/>
          <ac:spMkLst>
            <pc:docMk/>
            <pc:sldMk cId="2226750021" sldId="2147469833"/>
            <ac:spMk id="12" creationId="{99D018CB-D585-47AB-9C07-CA3681F16E23}"/>
          </ac:spMkLst>
        </pc:spChg>
        <pc:spChg chg="add mod">
          <ac:chgData name="Kawtar SADIQ" userId="65df04e4-2d23-4bab-afb0-40df8a2c1b9f" providerId="ADAL" clId="{13E48CF6-3C07-4AA7-848A-1E964CBB0D3A}" dt="2022-12-01T16:42:35.853" v="27949"/>
          <ac:spMkLst>
            <pc:docMk/>
            <pc:sldMk cId="2226750021" sldId="2147469833"/>
            <ac:spMk id="13" creationId="{BABED708-7911-4604-B6BC-A0406602E719}"/>
          </ac:spMkLst>
        </pc:spChg>
      </pc:sldChg>
      <pc:sldChg chg="addSp delSp modSp new mod">
        <pc:chgData name="Kawtar SADIQ" userId="65df04e4-2d23-4bab-afb0-40df8a2c1b9f" providerId="ADAL" clId="{13E48CF6-3C07-4AA7-848A-1E964CBB0D3A}" dt="2022-12-01T16:42:52.622" v="27953"/>
        <pc:sldMkLst>
          <pc:docMk/>
          <pc:sldMk cId="3958617290" sldId="2147469834"/>
        </pc:sldMkLst>
        <pc:spChg chg="del">
          <ac:chgData name="Kawtar SADIQ" userId="65df04e4-2d23-4bab-afb0-40df8a2c1b9f" providerId="ADAL" clId="{13E48CF6-3C07-4AA7-848A-1E964CBB0D3A}" dt="2022-12-01T16:42:46.652" v="27952" actId="478"/>
          <ac:spMkLst>
            <pc:docMk/>
            <pc:sldMk cId="3958617290" sldId="2147469834"/>
            <ac:spMk id="2" creationId="{EA0A977C-1A23-4464-826E-EDE7064297E8}"/>
          </ac:spMkLst>
        </pc:spChg>
        <pc:spChg chg="del">
          <ac:chgData name="Kawtar SADIQ" userId="65df04e4-2d23-4bab-afb0-40df8a2c1b9f" providerId="ADAL" clId="{13E48CF6-3C07-4AA7-848A-1E964CBB0D3A}" dt="2022-12-01T16:42:46.652" v="27952" actId="478"/>
          <ac:spMkLst>
            <pc:docMk/>
            <pc:sldMk cId="3958617290" sldId="2147469834"/>
            <ac:spMk id="3" creationId="{FE6099C6-1241-4EFD-91CD-61A486B398F9}"/>
          </ac:spMkLst>
        </pc:spChg>
        <pc:spChg chg="add mod">
          <ac:chgData name="Kawtar SADIQ" userId="65df04e4-2d23-4bab-afb0-40df8a2c1b9f" providerId="ADAL" clId="{13E48CF6-3C07-4AA7-848A-1E964CBB0D3A}" dt="2022-12-01T16:42:52.622" v="27953"/>
          <ac:spMkLst>
            <pc:docMk/>
            <pc:sldMk cId="3958617290" sldId="2147469834"/>
            <ac:spMk id="5" creationId="{FB3FF2C0-EF0B-47FD-88D3-D36CBAF5C9D0}"/>
          </ac:spMkLst>
        </pc:spChg>
        <pc:spChg chg="add mod">
          <ac:chgData name="Kawtar SADIQ" userId="65df04e4-2d23-4bab-afb0-40df8a2c1b9f" providerId="ADAL" clId="{13E48CF6-3C07-4AA7-848A-1E964CBB0D3A}" dt="2022-12-01T16:42:52.622" v="27953"/>
          <ac:spMkLst>
            <pc:docMk/>
            <pc:sldMk cId="3958617290" sldId="2147469834"/>
            <ac:spMk id="6" creationId="{91BF4286-DF76-4878-8886-A3D2133831C4}"/>
          </ac:spMkLst>
        </pc:spChg>
        <pc:spChg chg="add mod">
          <ac:chgData name="Kawtar SADIQ" userId="65df04e4-2d23-4bab-afb0-40df8a2c1b9f" providerId="ADAL" clId="{13E48CF6-3C07-4AA7-848A-1E964CBB0D3A}" dt="2022-12-01T16:42:52.622" v="27953"/>
          <ac:spMkLst>
            <pc:docMk/>
            <pc:sldMk cId="3958617290" sldId="2147469834"/>
            <ac:spMk id="11" creationId="{5436BECF-2218-4F87-8834-BB4F6D706EB3}"/>
          </ac:spMkLst>
        </pc:spChg>
        <pc:spChg chg="add mod">
          <ac:chgData name="Kawtar SADIQ" userId="65df04e4-2d23-4bab-afb0-40df8a2c1b9f" providerId="ADAL" clId="{13E48CF6-3C07-4AA7-848A-1E964CBB0D3A}" dt="2022-12-01T16:42:52.622" v="27953"/>
          <ac:spMkLst>
            <pc:docMk/>
            <pc:sldMk cId="3958617290" sldId="2147469834"/>
            <ac:spMk id="12" creationId="{F1085BAA-197C-4397-8FC8-330CD1101FCD}"/>
          </ac:spMkLst>
        </pc:spChg>
        <pc:spChg chg="add mod">
          <ac:chgData name="Kawtar SADIQ" userId="65df04e4-2d23-4bab-afb0-40df8a2c1b9f" providerId="ADAL" clId="{13E48CF6-3C07-4AA7-848A-1E964CBB0D3A}" dt="2022-12-01T16:42:52.622" v="27953"/>
          <ac:spMkLst>
            <pc:docMk/>
            <pc:sldMk cId="3958617290" sldId="2147469834"/>
            <ac:spMk id="13" creationId="{521DC27C-C851-4383-A98A-E4FDFD3BDE3A}"/>
          </ac:spMkLst>
        </pc:spChg>
        <pc:spChg chg="add mod">
          <ac:chgData name="Kawtar SADIQ" userId="65df04e4-2d23-4bab-afb0-40df8a2c1b9f" providerId="ADAL" clId="{13E48CF6-3C07-4AA7-848A-1E964CBB0D3A}" dt="2022-12-01T16:42:52.622" v="27953"/>
          <ac:spMkLst>
            <pc:docMk/>
            <pc:sldMk cId="3958617290" sldId="2147469834"/>
            <ac:spMk id="15" creationId="{A8401D60-C228-485D-ABD1-CF965DBC5F7E}"/>
          </ac:spMkLst>
        </pc:spChg>
        <pc:spChg chg="add mod">
          <ac:chgData name="Kawtar SADIQ" userId="65df04e4-2d23-4bab-afb0-40df8a2c1b9f" providerId="ADAL" clId="{13E48CF6-3C07-4AA7-848A-1E964CBB0D3A}" dt="2022-12-01T16:42:52.622" v="27953"/>
          <ac:spMkLst>
            <pc:docMk/>
            <pc:sldMk cId="3958617290" sldId="2147469834"/>
            <ac:spMk id="17" creationId="{C656E025-4588-42D8-AA51-EF0BB6B93C1A}"/>
          </ac:spMkLst>
        </pc:spChg>
        <pc:spChg chg="add mod">
          <ac:chgData name="Kawtar SADIQ" userId="65df04e4-2d23-4bab-afb0-40df8a2c1b9f" providerId="ADAL" clId="{13E48CF6-3C07-4AA7-848A-1E964CBB0D3A}" dt="2022-12-01T16:42:52.622" v="27953"/>
          <ac:spMkLst>
            <pc:docMk/>
            <pc:sldMk cId="3958617290" sldId="2147469834"/>
            <ac:spMk id="19" creationId="{CB8A9802-2C70-4F30-9CA7-29786AF78DCE}"/>
          </ac:spMkLst>
        </pc:spChg>
        <pc:spChg chg="add mod">
          <ac:chgData name="Kawtar SADIQ" userId="65df04e4-2d23-4bab-afb0-40df8a2c1b9f" providerId="ADAL" clId="{13E48CF6-3C07-4AA7-848A-1E964CBB0D3A}" dt="2022-12-01T16:42:52.622" v="27953"/>
          <ac:spMkLst>
            <pc:docMk/>
            <pc:sldMk cId="3958617290" sldId="2147469834"/>
            <ac:spMk id="21" creationId="{B20398F8-2324-4A69-9206-8891FA3B36FC}"/>
          </ac:spMkLst>
        </pc:spChg>
        <pc:spChg chg="add mod">
          <ac:chgData name="Kawtar SADIQ" userId="65df04e4-2d23-4bab-afb0-40df8a2c1b9f" providerId="ADAL" clId="{13E48CF6-3C07-4AA7-848A-1E964CBB0D3A}" dt="2022-12-01T16:42:52.622" v="27953"/>
          <ac:spMkLst>
            <pc:docMk/>
            <pc:sldMk cId="3958617290" sldId="2147469834"/>
            <ac:spMk id="22" creationId="{AB28AB08-C48D-466A-B348-C19CECCA2237}"/>
          </ac:spMkLst>
        </pc:spChg>
        <pc:spChg chg="add mod">
          <ac:chgData name="Kawtar SADIQ" userId="65df04e4-2d23-4bab-afb0-40df8a2c1b9f" providerId="ADAL" clId="{13E48CF6-3C07-4AA7-848A-1E964CBB0D3A}" dt="2022-12-01T16:42:52.622" v="27953"/>
          <ac:spMkLst>
            <pc:docMk/>
            <pc:sldMk cId="3958617290" sldId="2147469834"/>
            <ac:spMk id="23" creationId="{C2CDCD69-BF53-46F0-8C04-88BDAC83F24A}"/>
          </ac:spMkLst>
        </pc:spChg>
        <pc:spChg chg="add mod">
          <ac:chgData name="Kawtar SADIQ" userId="65df04e4-2d23-4bab-afb0-40df8a2c1b9f" providerId="ADAL" clId="{13E48CF6-3C07-4AA7-848A-1E964CBB0D3A}" dt="2022-12-01T16:42:52.622" v="27953"/>
          <ac:spMkLst>
            <pc:docMk/>
            <pc:sldMk cId="3958617290" sldId="2147469834"/>
            <ac:spMk id="24" creationId="{228F2B96-056F-4865-B8F6-C8276D3AA87F}"/>
          </ac:spMkLst>
        </pc:spChg>
        <pc:spChg chg="mod">
          <ac:chgData name="Kawtar SADIQ" userId="65df04e4-2d23-4bab-afb0-40df8a2c1b9f" providerId="ADAL" clId="{13E48CF6-3C07-4AA7-848A-1E964CBB0D3A}" dt="2022-12-01T16:42:52.622" v="27953"/>
          <ac:spMkLst>
            <pc:docMk/>
            <pc:sldMk cId="3958617290" sldId="2147469834"/>
            <ac:spMk id="26" creationId="{B2EBBDC8-A1E1-4949-A711-ABE4AE6F0939}"/>
          </ac:spMkLst>
        </pc:spChg>
        <pc:spChg chg="mod">
          <ac:chgData name="Kawtar SADIQ" userId="65df04e4-2d23-4bab-afb0-40df8a2c1b9f" providerId="ADAL" clId="{13E48CF6-3C07-4AA7-848A-1E964CBB0D3A}" dt="2022-12-01T16:42:52.622" v="27953"/>
          <ac:spMkLst>
            <pc:docMk/>
            <pc:sldMk cId="3958617290" sldId="2147469834"/>
            <ac:spMk id="27" creationId="{CCC525A9-A859-4F39-B121-CF8A301CA88A}"/>
          </ac:spMkLst>
        </pc:spChg>
        <pc:spChg chg="add mod">
          <ac:chgData name="Kawtar SADIQ" userId="65df04e4-2d23-4bab-afb0-40df8a2c1b9f" providerId="ADAL" clId="{13E48CF6-3C07-4AA7-848A-1E964CBB0D3A}" dt="2022-12-01T16:42:52.622" v="27953"/>
          <ac:spMkLst>
            <pc:docMk/>
            <pc:sldMk cId="3958617290" sldId="2147469834"/>
            <ac:spMk id="29" creationId="{013EE7DD-C3E2-44F3-BF45-B8E3E4D3C925}"/>
          </ac:spMkLst>
        </pc:spChg>
        <pc:spChg chg="mod">
          <ac:chgData name="Kawtar SADIQ" userId="65df04e4-2d23-4bab-afb0-40df8a2c1b9f" providerId="ADAL" clId="{13E48CF6-3C07-4AA7-848A-1E964CBB0D3A}" dt="2022-12-01T16:42:52.622" v="27953"/>
          <ac:spMkLst>
            <pc:docMk/>
            <pc:sldMk cId="3958617290" sldId="2147469834"/>
            <ac:spMk id="31" creationId="{DD18DE0C-A680-4A85-A0F3-0220A2B892DE}"/>
          </ac:spMkLst>
        </pc:spChg>
        <pc:spChg chg="mod">
          <ac:chgData name="Kawtar SADIQ" userId="65df04e4-2d23-4bab-afb0-40df8a2c1b9f" providerId="ADAL" clId="{13E48CF6-3C07-4AA7-848A-1E964CBB0D3A}" dt="2022-12-01T16:42:52.622" v="27953"/>
          <ac:spMkLst>
            <pc:docMk/>
            <pc:sldMk cId="3958617290" sldId="2147469834"/>
            <ac:spMk id="32" creationId="{C4D9486B-D729-4128-9207-8E15FADC287F}"/>
          </ac:spMkLst>
        </pc:spChg>
        <pc:spChg chg="add mod">
          <ac:chgData name="Kawtar SADIQ" userId="65df04e4-2d23-4bab-afb0-40df8a2c1b9f" providerId="ADAL" clId="{13E48CF6-3C07-4AA7-848A-1E964CBB0D3A}" dt="2022-12-01T16:42:52.622" v="27953"/>
          <ac:spMkLst>
            <pc:docMk/>
            <pc:sldMk cId="3958617290" sldId="2147469834"/>
            <ac:spMk id="33" creationId="{C42E5BBD-BE0A-477F-AE05-02F9C351A0C7}"/>
          </ac:spMkLst>
        </pc:spChg>
        <pc:spChg chg="mod">
          <ac:chgData name="Kawtar SADIQ" userId="65df04e4-2d23-4bab-afb0-40df8a2c1b9f" providerId="ADAL" clId="{13E48CF6-3C07-4AA7-848A-1E964CBB0D3A}" dt="2022-12-01T16:42:52.622" v="27953"/>
          <ac:spMkLst>
            <pc:docMk/>
            <pc:sldMk cId="3958617290" sldId="2147469834"/>
            <ac:spMk id="35" creationId="{0B5ADE9A-952D-43C0-88C1-FB9F9A9D8B7B}"/>
          </ac:spMkLst>
        </pc:spChg>
        <pc:spChg chg="mod">
          <ac:chgData name="Kawtar SADIQ" userId="65df04e4-2d23-4bab-afb0-40df8a2c1b9f" providerId="ADAL" clId="{13E48CF6-3C07-4AA7-848A-1E964CBB0D3A}" dt="2022-12-01T16:42:52.622" v="27953"/>
          <ac:spMkLst>
            <pc:docMk/>
            <pc:sldMk cId="3958617290" sldId="2147469834"/>
            <ac:spMk id="36" creationId="{CFA3FA81-0617-4EBF-88EA-78603A010534}"/>
          </ac:spMkLst>
        </pc:spChg>
        <pc:spChg chg="mod">
          <ac:chgData name="Kawtar SADIQ" userId="65df04e4-2d23-4bab-afb0-40df8a2c1b9f" providerId="ADAL" clId="{13E48CF6-3C07-4AA7-848A-1E964CBB0D3A}" dt="2022-12-01T16:42:52.622" v="27953"/>
          <ac:spMkLst>
            <pc:docMk/>
            <pc:sldMk cId="3958617290" sldId="2147469834"/>
            <ac:spMk id="38" creationId="{9716847C-CB7B-4762-9155-C868084C5B72}"/>
          </ac:spMkLst>
        </pc:spChg>
        <pc:spChg chg="mod">
          <ac:chgData name="Kawtar SADIQ" userId="65df04e4-2d23-4bab-afb0-40df8a2c1b9f" providerId="ADAL" clId="{13E48CF6-3C07-4AA7-848A-1E964CBB0D3A}" dt="2022-12-01T16:42:52.622" v="27953"/>
          <ac:spMkLst>
            <pc:docMk/>
            <pc:sldMk cId="3958617290" sldId="2147469834"/>
            <ac:spMk id="39" creationId="{8F19B6BA-EDF5-4A26-B4B1-3C5BEFA46BD1}"/>
          </ac:spMkLst>
        </pc:spChg>
        <pc:spChg chg="mod">
          <ac:chgData name="Kawtar SADIQ" userId="65df04e4-2d23-4bab-afb0-40df8a2c1b9f" providerId="ADAL" clId="{13E48CF6-3C07-4AA7-848A-1E964CBB0D3A}" dt="2022-12-01T16:42:52.622" v="27953"/>
          <ac:spMkLst>
            <pc:docMk/>
            <pc:sldMk cId="3958617290" sldId="2147469834"/>
            <ac:spMk id="41" creationId="{25573386-397D-4236-AC94-CC2FA0F6E291}"/>
          </ac:spMkLst>
        </pc:spChg>
        <pc:spChg chg="mod">
          <ac:chgData name="Kawtar SADIQ" userId="65df04e4-2d23-4bab-afb0-40df8a2c1b9f" providerId="ADAL" clId="{13E48CF6-3C07-4AA7-848A-1E964CBB0D3A}" dt="2022-12-01T16:42:52.622" v="27953"/>
          <ac:spMkLst>
            <pc:docMk/>
            <pc:sldMk cId="3958617290" sldId="2147469834"/>
            <ac:spMk id="42" creationId="{F6E0AFCB-348E-400B-B884-54DE72ED0ED4}"/>
          </ac:spMkLst>
        </pc:spChg>
        <pc:spChg chg="mod">
          <ac:chgData name="Kawtar SADIQ" userId="65df04e4-2d23-4bab-afb0-40df8a2c1b9f" providerId="ADAL" clId="{13E48CF6-3C07-4AA7-848A-1E964CBB0D3A}" dt="2022-12-01T16:42:52.622" v="27953"/>
          <ac:spMkLst>
            <pc:docMk/>
            <pc:sldMk cId="3958617290" sldId="2147469834"/>
            <ac:spMk id="44" creationId="{1DB943B0-40C2-46D1-BD16-171780F78F62}"/>
          </ac:spMkLst>
        </pc:spChg>
        <pc:spChg chg="mod">
          <ac:chgData name="Kawtar SADIQ" userId="65df04e4-2d23-4bab-afb0-40df8a2c1b9f" providerId="ADAL" clId="{13E48CF6-3C07-4AA7-848A-1E964CBB0D3A}" dt="2022-12-01T16:42:52.622" v="27953"/>
          <ac:spMkLst>
            <pc:docMk/>
            <pc:sldMk cId="3958617290" sldId="2147469834"/>
            <ac:spMk id="45" creationId="{69D13E50-A0CE-428D-A351-E5B5C40CCD34}"/>
          </ac:spMkLst>
        </pc:spChg>
        <pc:spChg chg="add mod">
          <ac:chgData name="Kawtar SADIQ" userId="65df04e4-2d23-4bab-afb0-40df8a2c1b9f" providerId="ADAL" clId="{13E48CF6-3C07-4AA7-848A-1E964CBB0D3A}" dt="2022-12-01T16:42:52.622" v="27953"/>
          <ac:spMkLst>
            <pc:docMk/>
            <pc:sldMk cId="3958617290" sldId="2147469834"/>
            <ac:spMk id="46" creationId="{59C0D482-C128-40DF-B712-89DA0F3E31EA}"/>
          </ac:spMkLst>
        </pc:spChg>
        <pc:spChg chg="mod">
          <ac:chgData name="Kawtar SADIQ" userId="65df04e4-2d23-4bab-afb0-40df8a2c1b9f" providerId="ADAL" clId="{13E48CF6-3C07-4AA7-848A-1E964CBB0D3A}" dt="2022-12-01T16:42:52.622" v="27953"/>
          <ac:spMkLst>
            <pc:docMk/>
            <pc:sldMk cId="3958617290" sldId="2147469834"/>
            <ac:spMk id="50" creationId="{656F9762-697D-4D58-840D-1FCA82B6376D}"/>
          </ac:spMkLst>
        </pc:spChg>
        <pc:spChg chg="mod">
          <ac:chgData name="Kawtar SADIQ" userId="65df04e4-2d23-4bab-afb0-40df8a2c1b9f" providerId="ADAL" clId="{13E48CF6-3C07-4AA7-848A-1E964CBB0D3A}" dt="2022-12-01T16:42:52.622" v="27953"/>
          <ac:spMkLst>
            <pc:docMk/>
            <pc:sldMk cId="3958617290" sldId="2147469834"/>
            <ac:spMk id="51" creationId="{BA595CFE-00F5-4BC7-AC1D-19CBFCF0C852}"/>
          </ac:spMkLst>
        </pc:spChg>
        <pc:spChg chg="mod">
          <ac:chgData name="Kawtar SADIQ" userId="65df04e4-2d23-4bab-afb0-40df8a2c1b9f" providerId="ADAL" clId="{13E48CF6-3C07-4AA7-848A-1E964CBB0D3A}" dt="2022-12-01T16:42:52.622" v="27953"/>
          <ac:spMkLst>
            <pc:docMk/>
            <pc:sldMk cId="3958617290" sldId="2147469834"/>
            <ac:spMk id="53" creationId="{559C0185-5C5E-4499-AB8C-ACEFED8F8D99}"/>
          </ac:spMkLst>
        </pc:spChg>
        <pc:spChg chg="mod">
          <ac:chgData name="Kawtar SADIQ" userId="65df04e4-2d23-4bab-afb0-40df8a2c1b9f" providerId="ADAL" clId="{13E48CF6-3C07-4AA7-848A-1E964CBB0D3A}" dt="2022-12-01T16:42:52.622" v="27953"/>
          <ac:spMkLst>
            <pc:docMk/>
            <pc:sldMk cId="3958617290" sldId="2147469834"/>
            <ac:spMk id="54" creationId="{34A3EA5B-4F02-4ECE-BD62-3ECA15AE04BF}"/>
          </ac:spMkLst>
        </pc:spChg>
        <pc:spChg chg="add mod">
          <ac:chgData name="Kawtar SADIQ" userId="65df04e4-2d23-4bab-afb0-40df8a2c1b9f" providerId="ADAL" clId="{13E48CF6-3C07-4AA7-848A-1E964CBB0D3A}" dt="2022-12-01T16:42:52.622" v="27953"/>
          <ac:spMkLst>
            <pc:docMk/>
            <pc:sldMk cId="3958617290" sldId="2147469834"/>
            <ac:spMk id="60" creationId="{513EDA07-04FA-41A2-B6E5-5620CDC8AE76}"/>
          </ac:spMkLst>
        </pc:spChg>
        <pc:spChg chg="mod">
          <ac:chgData name="Kawtar SADIQ" userId="65df04e4-2d23-4bab-afb0-40df8a2c1b9f" providerId="ADAL" clId="{13E48CF6-3C07-4AA7-848A-1E964CBB0D3A}" dt="2022-12-01T16:42:52.622" v="27953"/>
          <ac:spMkLst>
            <pc:docMk/>
            <pc:sldMk cId="3958617290" sldId="2147469834"/>
            <ac:spMk id="62" creationId="{7DD97953-2691-4462-A956-4BB7CE9B463B}"/>
          </ac:spMkLst>
        </pc:spChg>
        <pc:spChg chg="add mod">
          <ac:chgData name="Kawtar SADIQ" userId="65df04e4-2d23-4bab-afb0-40df8a2c1b9f" providerId="ADAL" clId="{13E48CF6-3C07-4AA7-848A-1E964CBB0D3A}" dt="2022-12-01T16:42:52.622" v="27953"/>
          <ac:spMkLst>
            <pc:docMk/>
            <pc:sldMk cId="3958617290" sldId="2147469834"/>
            <ac:spMk id="64" creationId="{E81B612B-1AD3-408E-9DEE-C975DAEC3C2C}"/>
          </ac:spMkLst>
        </pc:spChg>
        <pc:spChg chg="mod">
          <ac:chgData name="Kawtar SADIQ" userId="65df04e4-2d23-4bab-afb0-40df8a2c1b9f" providerId="ADAL" clId="{13E48CF6-3C07-4AA7-848A-1E964CBB0D3A}" dt="2022-12-01T16:42:52.622" v="27953"/>
          <ac:spMkLst>
            <pc:docMk/>
            <pc:sldMk cId="3958617290" sldId="2147469834"/>
            <ac:spMk id="66" creationId="{E56E11F9-8830-42A0-BB67-24727D5F5D28}"/>
          </ac:spMkLst>
        </pc:spChg>
        <pc:spChg chg="add mod">
          <ac:chgData name="Kawtar SADIQ" userId="65df04e4-2d23-4bab-afb0-40df8a2c1b9f" providerId="ADAL" clId="{13E48CF6-3C07-4AA7-848A-1E964CBB0D3A}" dt="2022-12-01T16:42:52.622" v="27953"/>
          <ac:spMkLst>
            <pc:docMk/>
            <pc:sldMk cId="3958617290" sldId="2147469834"/>
            <ac:spMk id="68" creationId="{C03E0C56-82DA-459D-8FF7-4927AEF36680}"/>
          </ac:spMkLst>
        </pc:spChg>
        <pc:spChg chg="mod">
          <ac:chgData name="Kawtar SADIQ" userId="65df04e4-2d23-4bab-afb0-40df8a2c1b9f" providerId="ADAL" clId="{13E48CF6-3C07-4AA7-848A-1E964CBB0D3A}" dt="2022-12-01T16:42:52.622" v="27953"/>
          <ac:spMkLst>
            <pc:docMk/>
            <pc:sldMk cId="3958617290" sldId="2147469834"/>
            <ac:spMk id="70" creationId="{B3D44E8B-1A34-45D4-AE62-782BC8DB7C49}"/>
          </ac:spMkLst>
        </pc:spChg>
        <pc:spChg chg="add mod">
          <ac:chgData name="Kawtar SADIQ" userId="65df04e4-2d23-4bab-afb0-40df8a2c1b9f" providerId="ADAL" clId="{13E48CF6-3C07-4AA7-848A-1E964CBB0D3A}" dt="2022-12-01T16:42:52.622" v="27953"/>
          <ac:spMkLst>
            <pc:docMk/>
            <pc:sldMk cId="3958617290" sldId="2147469834"/>
            <ac:spMk id="72" creationId="{D1F4F826-4F54-4A14-87FD-FBF7A85546CC}"/>
          </ac:spMkLst>
        </pc:spChg>
        <pc:grpChg chg="add mod">
          <ac:chgData name="Kawtar SADIQ" userId="65df04e4-2d23-4bab-afb0-40df8a2c1b9f" providerId="ADAL" clId="{13E48CF6-3C07-4AA7-848A-1E964CBB0D3A}" dt="2022-12-01T16:42:52.622" v="27953"/>
          <ac:grpSpMkLst>
            <pc:docMk/>
            <pc:sldMk cId="3958617290" sldId="2147469834"/>
            <ac:grpSpMk id="25" creationId="{54639CCC-00F1-493B-8C3E-C0BD4B72BBDD}"/>
          </ac:grpSpMkLst>
        </pc:grpChg>
        <pc:grpChg chg="add mod">
          <ac:chgData name="Kawtar SADIQ" userId="65df04e4-2d23-4bab-afb0-40df8a2c1b9f" providerId="ADAL" clId="{13E48CF6-3C07-4AA7-848A-1E964CBB0D3A}" dt="2022-12-01T16:42:52.622" v="27953"/>
          <ac:grpSpMkLst>
            <pc:docMk/>
            <pc:sldMk cId="3958617290" sldId="2147469834"/>
            <ac:grpSpMk id="30" creationId="{16E02022-8725-485A-8C29-222FF321869F}"/>
          </ac:grpSpMkLst>
        </pc:grpChg>
        <pc:grpChg chg="add mod">
          <ac:chgData name="Kawtar SADIQ" userId="65df04e4-2d23-4bab-afb0-40df8a2c1b9f" providerId="ADAL" clId="{13E48CF6-3C07-4AA7-848A-1E964CBB0D3A}" dt="2022-12-01T16:42:52.622" v="27953"/>
          <ac:grpSpMkLst>
            <pc:docMk/>
            <pc:sldMk cId="3958617290" sldId="2147469834"/>
            <ac:grpSpMk id="34" creationId="{BD9BE46D-59C4-4BC9-9B04-3DA5121C3178}"/>
          </ac:grpSpMkLst>
        </pc:grpChg>
        <pc:grpChg chg="mod">
          <ac:chgData name="Kawtar SADIQ" userId="65df04e4-2d23-4bab-afb0-40df8a2c1b9f" providerId="ADAL" clId="{13E48CF6-3C07-4AA7-848A-1E964CBB0D3A}" dt="2022-12-01T16:42:52.622" v="27953"/>
          <ac:grpSpMkLst>
            <pc:docMk/>
            <pc:sldMk cId="3958617290" sldId="2147469834"/>
            <ac:grpSpMk id="37" creationId="{7D38552C-A285-4503-8324-BA2442A979C9}"/>
          </ac:grpSpMkLst>
        </pc:grpChg>
        <pc:grpChg chg="add mod">
          <ac:chgData name="Kawtar SADIQ" userId="65df04e4-2d23-4bab-afb0-40df8a2c1b9f" providerId="ADAL" clId="{13E48CF6-3C07-4AA7-848A-1E964CBB0D3A}" dt="2022-12-01T16:42:52.622" v="27953"/>
          <ac:grpSpMkLst>
            <pc:docMk/>
            <pc:sldMk cId="3958617290" sldId="2147469834"/>
            <ac:grpSpMk id="40" creationId="{E79DF9FB-B043-4002-B082-759D0AC65092}"/>
          </ac:grpSpMkLst>
        </pc:grpChg>
        <pc:grpChg chg="mod">
          <ac:chgData name="Kawtar SADIQ" userId="65df04e4-2d23-4bab-afb0-40df8a2c1b9f" providerId="ADAL" clId="{13E48CF6-3C07-4AA7-848A-1E964CBB0D3A}" dt="2022-12-01T16:42:52.622" v="27953"/>
          <ac:grpSpMkLst>
            <pc:docMk/>
            <pc:sldMk cId="3958617290" sldId="2147469834"/>
            <ac:grpSpMk id="43" creationId="{4EE5D89A-4ECA-444B-9F26-774B046AE12A}"/>
          </ac:grpSpMkLst>
        </pc:grpChg>
        <pc:grpChg chg="add mod">
          <ac:chgData name="Kawtar SADIQ" userId="65df04e4-2d23-4bab-afb0-40df8a2c1b9f" providerId="ADAL" clId="{13E48CF6-3C07-4AA7-848A-1E964CBB0D3A}" dt="2022-12-01T16:42:52.622" v="27953"/>
          <ac:grpSpMkLst>
            <pc:docMk/>
            <pc:sldMk cId="3958617290" sldId="2147469834"/>
            <ac:grpSpMk id="49" creationId="{C032E789-EC0B-4CC4-9DF5-FBED97103B09}"/>
          </ac:grpSpMkLst>
        </pc:grpChg>
        <pc:grpChg chg="add mod">
          <ac:chgData name="Kawtar SADIQ" userId="65df04e4-2d23-4bab-afb0-40df8a2c1b9f" providerId="ADAL" clId="{13E48CF6-3C07-4AA7-848A-1E964CBB0D3A}" dt="2022-12-01T16:42:52.622" v="27953"/>
          <ac:grpSpMkLst>
            <pc:docMk/>
            <pc:sldMk cId="3958617290" sldId="2147469834"/>
            <ac:grpSpMk id="52" creationId="{86121005-7D88-4274-ACB1-B6E8DBAD62B8}"/>
          </ac:grpSpMkLst>
        </pc:grpChg>
        <pc:grpChg chg="add mod">
          <ac:chgData name="Kawtar SADIQ" userId="65df04e4-2d23-4bab-afb0-40df8a2c1b9f" providerId="ADAL" clId="{13E48CF6-3C07-4AA7-848A-1E964CBB0D3A}" dt="2022-12-01T16:42:52.622" v="27953"/>
          <ac:grpSpMkLst>
            <pc:docMk/>
            <pc:sldMk cId="3958617290" sldId="2147469834"/>
            <ac:grpSpMk id="61" creationId="{0CBEDCFC-1302-4567-8CCC-1FD71DEF48B2}"/>
          </ac:grpSpMkLst>
        </pc:grpChg>
        <pc:grpChg chg="add mod">
          <ac:chgData name="Kawtar SADIQ" userId="65df04e4-2d23-4bab-afb0-40df8a2c1b9f" providerId="ADAL" clId="{13E48CF6-3C07-4AA7-848A-1E964CBB0D3A}" dt="2022-12-01T16:42:52.622" v="27953"/>
          <ac:grpSpMkLst>
            <pc:docMk/>
            <pc:sldMk cId="3958617290" sldId="2147469834"/>
            <ac:grpSpMk id="65" creationId="{C92D8FA7-E775-4211-AA41-666FD46226CD}"/>
          </ac:grpSpMkLst>
        </pc:grpChg>
        <pc:grpChg chg="add mod">
          <ac:chgData name="Kawtar SADIQ" userId="65df04e4-2d23-4bab-afb0-40df8a2c1b9f" providerId="ADAL" clId="{13E48CF6-3C07-4AA7-848A-1E964CBB0D3A}" dt="2022-12-01T16:42:52.622" v="27953"/>
          <ac:grpSpMkLst>
            <pc:docMk/>
            <pc:sldMk cId="3958617290" sldId="2147469834"/>
            <ac:grpSpMk id="69" creationId="{9BD1F073-6249-4E51-86D8-C753977F4A52}"/>
          </ac:grpSpMkLst>
        </pc:grpChg>
        <pc:picChg chg="add mod">
          <ac:chgData name="Kawtar SADIQ" userId="65df04e4-2d23-4bab-afb0-40df8a2c1b9f" providerId="ADAL" clId="{13E48CF6-3C07-4AA7-848A-1E964CBB0D3A}" dt="2022-12-01T16:42:52.622" v="27953"/>
          <ac:picMkLst>
            <pc:docMk/>
            <pc:sldMk cId="3958617290" sldId="2147469834"/>
            <ac:picMk id="7" creationId="{637E5C13-B5A1-4BEE-AE85-85C1CB60DD88}"/>
          </ac:picMkLst>
        </pc:picChg>
        <pc:picChg chg="add mod">
          <ac:chgData name="Kawtar SADIQ" userId="65df04e4-2d23-4bab-afb0-40df8a2c1b9f" providerId="ADAL" clId="{13E48CF6-3C07-4AA7-848A-1E964CBB0D3A}" dt="2022-12-01T16:42:52.622" v="27953"/>
          <ac:picMkLst>
            <pc:docMk/>
            <pc:sldMk cId="3958617290" sldId="2147469834"/>
            <ac:picMk id="8" creationId="{F839F4C7-F801-4A53-822E-104702AC26D7}"/>
          </ac:picMkLst>
        </pc:picChg>
        <pc:picChg chg="add mod">
          <ac:chgData name="Kawtar SADIQ" userId="65df04e4-2d23-4bab-afb0-40df8a2c1b9f" providerId="ADAL" clId="{13E48CF6-3C07-4AA7-848A-1E964CBB0D3A}" dt="2022-12-01T16:42:52.622" v="27953"/>
          <ac:picMkLst>
            <pc:docMk/>
            <pc:sldMk cId="3958617290" sldId="2147469834"/>
            <ac:picMk id="9" creationId="{3E69FFC7-067F-4CC6-9D46-A0413CBC5679}"/>
          </ac:picMkLst>
        </pc:picChg>
        <pc:picChg chg="add mod">
          <ac:chgData name="Kawtar SADIQ" userId="65df04e4-2d23-4bab-afb0-40df8a2c1b9f" providerId="ADAL" clId="{13E48CF6-3C07-4AA7-848A-1E964CBB0D3A}" dt="2022-12-01T16:42:52.622" v="27953"/>
          <ac:picMkLst>
            <pc:docMk/>
            <pc:sldMk cId="3958617290" sldId="2147469834"/>
            <ac:picMk id="20" creationId="{136D2429-7CD0-4027-8B6A-3DEB887CBDB6}"/>
          </ac:picMkLst>
        </pc:picChg>
        <pc:picChg chg="add mod">
          <ac:chgData name="Kawtar SADIQ" userId="65df04e4-2d23-4bab-afb0-40df8a2c1b9f" providerId="ADAL" clId="{13E48CF6-3C07-4AA7-848A-1E964CBB0D3A}" dt="2022-12-01T16:42:52.622" v="27953"/>
          <ac:picMkLst>
            <pc:docMk/>
            <pc:sldMk cId="3958617290" sldId="2147469834"/>
            <ac:picMk id="48" creationId="{40B2FAB6-6AF6-46E9-AAE9-EF768EC85EFD}"/>
          </ac:picMkLst>
        </pc:picChg>
        <pc:picChg chg="add mod">
          <ac:chgData name="Kawtar SADIQ" userId="65df04e4-2d23-4bab-afb0-40df8a2c1b9f" providerId="ADAL" clId="{13E48CF6-3C07-4AA7-848A-1E964CBB0D3A}" dt="2022-12-01T16:42:52.622" v="27953"/>
          <ac:picMkLst>
            <pc:docMk/>
            <pc:sldMk cId="3958617290" sldId="2147469834"/>
            <ac:picMk id="55" creationId="{4E934850-F749-4DB8-9AB5-DD1135F4AB7F}"/>
          </ac:picMkLst>
        </pc:picChg>
        <pc:picChg chg="add mod">
          <ac:chgData name="Kawtar SADIQ" userId="65df04e4-2d23-4bab-afb0-40df8a2c1b9f" providerId="ADAL" clId="{13E48CF6-3C07-4AA7-848A-1E964CBB0D3A}" dt="2022-12-01T16:42:52.622" v="27953"/>
          <ac:picMkLst>
            <pc:docMk/>
            <pc:sldMk cId="3958617290" sldId="2147469834"/>
            <ac:picMk id="56" creationId="{59DCB770-F799-47E5-8827-A2A17CF0D78A}"/>
          </ac:picMkLst>
        </pc:picChg>
        <pc:picChg chg="add mod">
          <ac:chgData name="Kawtar SADIQ" userId="65df04e4-2d23-4bab-afb0-40df8a2c1b9f" providerId="ADAL" clId="{13E48CF6-3C07-4AA7-848A-1E964CBB0D3A}" dt="2022-12-01T16:42:52.622" v="27953"/>
          <ac:picMkLst>
            <pc:docMk/>
            <pc:sldMk cId="3958617290" sldId="2147469834"/>
            <ac:picMk id="57" creationId="{AD2DD848-40C1-4A10-BEC7-81F39DF794AC}"/>
          </ac:picMkLst>
        </pc:picChg>
        <pc:cxnChg chg="add mod">
          <ac:chgData name="Kawtar SADIQ" userId="65df04e4-2d23-4bab-afb0-40df8a2c1b9f" providerId="ADAL" clId="{13E48CF6-3C07-4AA7-848A-1E964CBB0D3A}" dt="2022-12-01T16:42:52.622" v="27953"/>
          <ac:cxnSpMkLst>
            <pc:docMk/>
            <pc:sldMk cId="3958617290" sldId="2147469834"/>
            <ac:cxnSpMk id="4" creationId="{4DA8EDA8-FCC1-4657-85DE-68DA6AC8D6B6}"/>
          </ac:cxnSpMkLst>
        </pc:cxnChg>
        <pc:cxnChg chg="add mod">
          <ac:chgData name="Kawtar SADIQ" userId="65df04e4-2d23-4bab-afb0-40df8a2c1b9f" providerId="ADAL" clId="{13E48CF6-3C07-4AA7-848A-1E964CBB0D3A}" dt="2022-12-01T16:42:52.622" v="27953"/>
          <ac:cxnSpMkLst>
            <pc:docMk/>
            <pc:sldMk cId="3958617290" sldId="2147469834"/>
            <ac:cxnSpMk id="10" creationId="{B23AAF0F-259D-4945-A105-2A75B40C1FE9}"/>
          </ac:cxnSpMkLst>
        </pc:cxnChg>
        <pc:cxnChg chg="add mod">
          <ac:chgData name="Kawtar SADIQ" userId="65df04e4-2d23-4bab-afb0-40df8a2c1b9f" providerId="ADAL" clId="{13E48CF6-3C07-4AA7-848A-1E964CBB0D3A}" dt="2022-12-01T16:42:52.622" v="27953"/>
          <ac:cxnSpMkLst>
            <pc:docMk/>
            <pc:sldMk cId="3958617290" sldId="2147469834"/>
            <ac:cxnSpMk id="14" creationId="{F151865A-EDAC-43E2-BF3C-F1BC0CECA4C1}"/>
          </ac:cxnSpMkLst>
        </pc:cxnChg>
        <pc:cxnChg chg="add mod">
          <ac:chgData name="Kawtar SADIQ" userId="65df04e4-2d23-4bab-afb0-40df8a2c1b9f" providerId="ADAL" clId="{13E48CF6-3C07-4AA7-848A-1E964CBB0D3A}" dt="2022-12-01T16:42:52.622" v="27953"/>
          <ac:cxnSpMkLst>
            <pc:docMk/>
            <pc:sldMk cId="3958617290" sldId="2147469834"/>
            <ac:cxnSpMk id="16" creationId="{C942B351-C0C4-4F49-AE72-5E65E6609119}"/>
          </ac:cxnSpMkLst>
        </pc:cxnChg>
        <pc:cxnChg chg="add mod">
          <ac:chgData name="Kawtar SADIQ" userId="65df04e4-2d23-4bab-afb0-40df8a2c1b9f" providerId="ADAL" clId="{13E48CF6-3C07-4AA7-848A-1E964CBB0D3A}" dt="2022-12-01T16:42:52.622" v="27953"/>
          <ac:cxnSpMkLst>
            <pc:docMk/>
            <pc:sldMk cId="3958617290" sldId="2147469834"/>
            <ac:cxnSpMk id="18" creationId="{04B94CFF-10B5-49D4-9D0E-AAF763665E37}"/>
          </ac:cxnSpMkLst>
        </pc:cxnChg>
        <pc:cxnChg chg="add mod">
          <ac:chgData name="Kawtar SADIQ" userId="65df04e4-2d23-4bab-afb0-40df8a2c1b9f" providerId="ADAL" clId="{13E48CF6-3C07-4AA7-848A-1E964CBB0D3A}" dt="2022-12-01T16:42:52.622" v="27953"/>
          <ac:cxnSpMkLst>
            <pc:docMk/>
            <pc:sldMk cId="3958617290" sldId="2147469834"/>
            <ac:cxnSpMk id="28" creationId="{4FB6AA98-FAA2-4687-875E-A669ED1DD26D}"/>
          </ac:cxnSpMkLst>
        </pc:cxnChg>
        <pc:cxnChg chg="add mod">
          <ac:chgData name="Kawtar SADIQ" userId="65df04e4-2d23-4bab-afb0-40df8a2c1b9f" providerId="ADAL" clId="{13E48CF6-3C07-4AA7-848A-1E964CBB0D3A}" dt="2022-12-01T16:42:52.622" v="27953"/>
          <ac:cxnSpMkLst>
            <pc:docMk/>
            <pc:sldMk cId="3958617290" sldId="2147469834"/>
            <ac:cxnSpMk id="47" creationId="{19D84011-19B0-485F-B036-FAD14C1F1B7F}"/>
          </ac:cxnSpMkLst>
        </pc:cxnChg>
        <pc:cxnChg chg="add mod">
          <ac:chgData name="Kawtar SADIQ" userId="65df04e4-2d23-4bab-afb0-40df8a2c1b9f" providerId="ADAL" clId="{13E48CF6-3C07-4AA7-848A-1E964CBB0D3A}" dt="2022-12-01T16:42:52.622" v="27953"/>
          <ac:cxnSpMkLst>
            <pc:docMk/>
            <pc:sldMk cId="3958617290" sldId="2147469834"/>
            <ac:cxnSpMk id="58" creationId="{DB714736-EFFB-430E-A28E-D0B2CA25E5B9}"/>
          </ac:cxnSpMkLst>
        </pc:cxnChg>
        <pc:cxnChg chg="add mod">
          <ac:chgData name="Kawtar SADIQ" userId="65df04e4-2d23-4bab-afb0-40df8a2c1b9f" providerId="ADAL" clId="{13E48CF6-3C07-4AA7-848A-1E964CBB0D3A}" dt="2022-12-01T16:42:52.622" v="27953"/>
          <ac:cxnSpMkLst>
            <pc:docMk/>
            <pc:sldMk cId="3958617290" sldId="2147469834"/>
            <ac:cxnSpMk id="59" creationId="{380B42C9-D744-4632-A714-7C81BDF83A32}"/>
          </ac:cxnSpMkLst>
        </pc:cxnChg>
        <pc:cxnChg chg="mod">
          <ac:chgData name="Kawtar SADIQ" userId="65df04e4-2d23-4bab-afb0-40df8a2c1b9f" providerId="ADAL" clId="{13E48CF6-3C07-4AA7-848A-1E964CBB0D3A}" dt="2022-12-01T16:42:52.622" v="27953"/>
          <ac:cxnSpMkLst>
            <pc:docMk/>
            <pc:sldMk cId="3958617290" sldId="2147469834"/>
            <ac:cxnSpMk id="63" creationId="{35E84E3F-AC79-4F64-9717-A41E4CD49F8F}"/>
          </ac:cxnSpMkLst>
        </pc:cxnChg>
        <pc:cxnChg chg="mod">
          <ac:chgData name="Kawtar SADIQ" userId="65df04e4-2d23-4bab-afb0-40df8a2c1b9f" providerId="ADAL" clId="{13E48CF6-3C07-4AA7-848A-1E964CBB0D3A}" dt="2022-12-01T16:42:52.622" v="27953"/>
          <ac:cxnSpMkLst>
            <pc:docMk/>
            <pc:sldMk cId="3958617290" sldId="2147469834"/>
            <ac:cxnSpMk id="67" creationId="{BB90EE5C-B83E-43B9-84C2-5A48EAA65C93}"/>
          </ac:cxnSpMkLst>
        </pc:cxnChg>
        <pc:cxnChg chg="mod">
          <ac:chgData name="Kawtar SADIQ" userId="65df04e4-2d23-4bab-afb0-40df8a2c1b9f" providerId="ADAL" clId="{13E48CF6-3C07-4AA7-848A-1E964CBB0D3A}" dt="2022-12-01T16:42:52.622" v="27953"/>
          <ac:cxnSpMkLst>
            <pc:docMk/>
            <pc:sldMk cId="3958617290" sldId="2147469834"/>
            <ac:cxnSpMk id="71" creationId="{2A2B0DAB-D79F-4AF9-9CC7-6FE7AD9951C7}"/>
          </ac:cxnSpMkLst>
        </pc:cxnChg>
      </pc:sldChg>
      <pc:sldChg chg="addSp delSp modSp new mod">
        <pc:chgData name="Kawtar SADIQ" userId="65df04e4-2d23-4bab-afb0-40df8a2c1b9f" providerId="ADAL" clId="{13E48CF6-3C07-4AA7-848A-1E964CBB0D3A}" dt="2022-12-01T16:43:11.437" v="27957"/>
        <pc:sldMkLst>
          <pc:docMk/>
          <pc:sldMk cId="1844681245" sldId="2147469835"/>
        </pc:sldMkLst>
        <pc:spChg chg="del">
          <ac:chgData name="Kawtar SADIQ" userId="65df04e4-2d23-4bab-afb0-40df8a2c1b9f" providerId="ADAL" clId="{13E48CF6-3C07-4AA7-848A-1E964CBB0D3A}" dt="2022-12-01T16:43:05.643" v="27956" actId="478"/>
          <ac:spMkLst>
            <pc:docMk/>
            <pc:sldMk cId="1844681245" sldId="2147469835"/>
            <ac:spMk id="2" creationId="{B3F8BEBA-463D-44C2-8C7A-52E1A7D1FF07}"/>
          </ac:spMkLst>
        </pc:spChg>
        <pc:spChg chg="del">
          <ac:chgData name="Kawtar SADIQ" userId="65df04e4-2d23-4bab-afb0-40df8a2c1b9f" providerId="ADAL" clId="{13E48CF6-3C07-4AA7-848A-1E964CBB0D3A}" dt="2022-12-01T16:43:05.643" v="27956" actId="478"/>
          <ac:spMkLst>
            <pc:docMk/>
            <pc:sldMk cId="1844681245" sldId="2147469835"/>
            <ac:spMk id="3" creationId="{E06BEE20-234F-481E-8E99-ADCB845E1C15}"/>
          </ac:spMkLst>
        </pc:spChg>
        <pc:spChg chg="add mod">
          <ac:chgData name="Kawtar SADIQ" userId="65df04e4-2d23-4bab-afb0-40df8a2c1b9f" providerId="ADAL" clId="{13E48CF6-3C07-4AA7-848A-1E964CBB0D3A}" dt="2022-12-01T16:43:11.437" v="27957"/>
          <ac:spMkLst>
            <pc:docMk/>
            <pc:sldMk cId="1844681245" sldId="2147469835"/>
            <ac:spMk id="4" creationId="{AAA40FAA-E1A1-43D5-8BBF-859A04655D14}"/>
          </ac:spMkLst>
        </pc:spChg>
        <pc:spChg chg="add mod">
          <ac:chgData name="Kawtar SADIQ" userId="65df04e4-2d23-4bab-afb0-40df8a2c1b9f" providerId="ADAL" clId="{13E48CF6-3C07-4AA7-848A-1E964CBB0D3A}" dt="2022-12-01T16:43:11.437" v="27957"/>
          <ac:spMkLst>
            <pc:docMk/>
            <pc:sldMk cId="1844681245" sldId="2147469835"/>
            <ac:spMk id="6" creationId="{6366DE79-CD2F-405E-84C2-7E5A6BAAB3EE}"/>
          </ac:spMkLst>
        </pc:spChg>
        <pc:spChg chg="add mod">
          <ac:chgData name="Kawtar SADIQ" userId="65df04e4-2d23-4bab-afb0-40df8a2c1b9f" providerId="ADAL" clId="{13E48CF6-3C07-4AA7-848A-1E964CBB0D3A}" dt="2022-12-01T16:43:11.437" v="27957"/>
          <ac:spMkLst>
            <pc:docMk/>
            <pc:sldMk cId="1844681245" sldId="2147469835"/>
            <ac:spMk id="7" creationId="{BA288018-A1D8-4590-81EC-41CB68896DCC}"/>
          </ac:spMkLst>
        </pc:spChg>
        <pc:spChg chg="add mod">
          <ac:chgData name="Kawtar SADIQ" userId="65df04e4-2d23-4bab-afb0-40df8a2c1b9f" providerId="ADAL" clId="{13E48CF6-3C07-4AA7-848A-1E964CBB0D3A}" dt="2022-12-01T16:43:11.437" v="27957"/>
          <ac:spMkLst>
            <pc:docMk/>
            <pc:sldMk cId="1844681245" sldId="2147469835"/>
            <ac:spMk id="11" creationId="{1DD52E58-DFB2-4828-BBA4-72C849CA5618}"/>
          </ac:spMkLst>
        </pc:spChg>
        <pc:spChg chg="add mod">
          <ac:chgData name="Kawtar SADIQ" userId="65df04e4-2d23-4bab-afb0-40df8a2c1b9f" providerId="ADAL" clId="{13E48CF6-3C07-4AA7-848A-1E964CBB0D3A}" dt="2022-12-01T16:43:11.437" v="27957"/>
          <ac:spMkLst>
            <pc:docMk/>
            <pc:sldMk cId="1844681245" sldId="2147469835"/>
            <ac:spMk id="12" creationId="{C9F0FDC9-72D8-4902-8A5D-B469B9A7FF96}"/>
          </ac:spMkLst>
        </pc:spChg>
        <pc:spChg chg="add mod">
          <ac:chgData name="Kawtar SADIQ" userId="65df04e4-2d23-4bab-afb0-40df8a2c1b9f" providerId="ADAL" clId="{13E48CF6-3C07-4AA7-848A-1E964CBB0D3A}" dt="2022-12-01T16:43:11.437" v="27957"/>
          <ac:spMkLst>
            <pc:docMk/>
            <pc:sldMk cId="1844681245" sldId="2147469835"/>
            <ac:spMk id="13" creationId="{9A85D0B2-EF33-4F1C-902A-B4A3E0BFE5A1}"/>
          </ac:spMkLst>
        </pc:spChg>
        <pc:grpChg chg="add mod">
          <ac:chgData name="Kawtar SADIQ" userId="65df04e4-2d23-4bab-afb0-40df8a2c1b9f" providerId="ADAL" clId="{13E48CF6-3C07-4AA7-848A-1E964CBB0D3A}" dt="2022-12-01T16:43:11.437" v="27957"/>
          <ac:grpSpMkLst>
            <pc:docMk/>
            <pc:sldMk cId="1844681245" sldId="2147469835"/>
            <ac:grpSpMk id="8" creationId="{34D3C35C-7C50-4E88-8254-B2F3303DD072}"/>
          </ac:grpSpMkLst>
        </pc:grpChg>
        <pc:picChg chg="add mod">
          <ac:chgData name="Kawtar SADIQ" userId="65df04e4-2d23-4bab-afb0-40df8a2c1b9f" providerId="ADAL" clId="{13E48CF6-3C07-4AA7-848A-1E964CBB0D3A}" dt="2022-12-01T16:43:11.437" v="27957"/>
          <ac:picMkLst>
            <pc:docMk/>
            <pc:sldMk cId="1844681245" sldId="2147469835"/>
            <ac:picMk id="5" creationId="{850FE85A-5828-47A3-9C2E-F2B60A2420F2}"/>
          </ac:picMkLst>
        </pc:picChg>
        <pc:picChg chg="mod">
          <ac:chgData name="Kawtar SADIQ" userId="65df04e4-2d23-4bab-afb0-40df8a2c1b9f" providerId="ADAL" clId="{13E48CF6-3C07-4AA7-848A-1E964CBB0D3A}" dt="2022-12-01T16:43:11.437" v="27957"/>
          <ac:picMkLst>
            <pc:docMk/>
            <pc:sldMk cId="1844681245" sldId="2147469835"/>
            <ac:picMk id="9" creationId="{EB07AFFF-AF82-466E-B53D-15F554B7A4B5}"/>
          </ac:picMkLst>
        </pc:picChg>
        <pc:picChg chg="mod">
          <ac:chgData name="Kawtar SADIQ" userId="65df04e4-2d23-4bab-afb0-40df8a2c1b9f" providerId="ADAL" clId="{13E48CF6-3C07-4AA7-848A-1E964CBB0D3A}" dt="2022-12-01T16:43:11.437" v="27957"/>
          <ac:picMkLst>
            <pc:docMk/>
            <pc:sldMk cId="1844681245" sldId="2147469835"/>
            <ac:picMk id="10" creationId="{65EDA6E2-F8DA-40C8-95B8-2DCF8F8B9C14}"/>
          </ac:picMkLst>
        </pc:picChg>
        <pc:picChg chg="add mod">
          <ac:chgData name="Kawtar SADIQ" userId="65df04e4-2d23-4bab-afb0-40df8a2c1b9f" providerId="ADAL" clId="{13E48CF6-3C07-4AA7-848A-1E964CBB0D3A}" dt="2022-12-01T16:43:11.437" v="27957"/>
          <ac:picMkLst>
            <pc:docMk/>
            <pc:sldMk cId="1844681245" sldId="2147469835"/>
            <ac:picMk id="14" creationId="{81C44082-C966-4F8D-A4AF-0FB7E42168DF}"/>
          </ac:picMkLst>
        </pc:picChg>
        <pc:picChg chg="add mod">
          <ac:chgData name="Kawtar SADIQ" userId="65df04e4-2d23-4bab-afb0-40df8a2c1b9f" providerId="ADAL" clId="{13E48CF6-3C07-4AA7-848A-1E964CBB0D3A}" dt="2022-12-01T16:43:11.437" v="27957"/>
          <ac:picMkLst>
            <pc:docMk/>
            <pc:sldMk cId="1844681245" sldId="2147469835"/>
            <ac:picMk id="15" creationId="{27E3BF67-5021-4F67-BDE9-4E7067286906}"/>
          </ac:picMkLst>
        </pc:picChg>
        <pc:picChg chg="add mod">
          <ac:chgData name="Kawtar SADIQ" userId="65df04e4-2d23-4bab-afb0-40df8a2c1b9f" providerId="ADAL" clId="{13E48CF6-3C07-4AA7-848A-1E964CBB0D3A}" dt="2022-12-01T16:43:11.437" v="27957"/>
          <ac:picMkLst>
            <pc:docMk/>
            <pc:sldMk cId="1844681245" sldId="2147469835"/>
            <ac:picMk id="16" creationId="{89D81F2B-93E4-4F07-B191-BEF73CFF505C}"/>
          </ac:picMkLst>
        </pc:picChg>
        <pc:picChg chg="add mod">
          <ac:chgData name="Kawtar SADIQ" userId="65df04e4-2d23-4bab-afb0-40df8a2c1b9f" providerId="ADAL" clId="{13E48CF6-3C07-4AA7-848A-1E964CBB0D3A}" dt="2022-12-01T16:43:11.437" v="27957"/>
          <ac:picMkLst>
            <pc:docMk/>
            <pc:sldMk cId="1844681245" sldId="2147469835"/>
            <ac:picMk id="17" creationId="{3EAADDD1-8177-460E-AE80-C88E865BC408}"/>
          </ac:picMkLst>
        </pc:picChg>
      </pc:sldChg>
      <pc:sldChg chg="addSp delSp modSp new mod">
        <pc:chgData name="Kawtar SADIQ" userId="65df04e4-2d23-4bab-afb0-40df8a2c1b9f" providerId="ADAL" clId="{13E48CF6-3C07-4AA7-848A-1E964CBB0D3A}" dt="2022-12-01T18:35:02.369" v="28113" actId="20577"/>
        <pc:sldMkLst>
          <pc:docMk/>
          <pc:sldMk cId="3579041657" sldId="2147469836"/>
        </pc:sldMkLst>
        <pc:spChg chg="del">
          <ac:chgData name="Kawtar SADIQ" userId="65df04e4-2d23-4bab-afb0-40df8a2c1b9f" providerId="ADAL" clId="{13E48CF6-3C07-4AA7-848A-1E964CBB0D3A}" dt="2022-12-01T16:43:26.483" v="27960" actId="478"/>
          <ac:spMkLst>
            <pc:docMk/>
            <pc:sldMk cId="3579041657" sldId="2147469836"/>
            <ac:spMk id="2" creationId="{93D258A6-A840-46F8-BFE2-66604AE54EC4}"/>
          </ac:spMkLst>
        </pc:spChg>
        <pc:spChg chg="del">
          <ac:chgData name="Kawtar SADIQ" userId="65df04e4-2d23-4bab-afb0-40df8a2c1b9f" providerId="ADAL" clId="{13E48CF6-3C07-4AA7-848A-1E964CBB0D3A}" dt="2022-12-01T16:43:26.483" v="27960" actId="478"/>
          <ac:spMkLst>
            <pc:docMk/>
            <pc:sldMk cId="3579041657" sldId="2147469836"/>
            <ac:spMk id="3" creationId="{4FA8500C-DDBC-450A-8D97-326CB75BBEDF}"/>
          </ac:spMkLst>
        </pc:spChg>
        <pc:spChg chg="add mod">
          <ac:chgData name="Kawtar SADIQ" userId="65df04e4-2d23-4bab-afb0-40df8a2c1b9f" providerId="ADAL" clId="{13E48CF6-3C07-4AA7-848A-1E964CBB0D3A}" dt="2022-12-01T16:43:32.172" v="27961"/>
          <ac:spMkLst>
            <pc:docMk/>
            <pc:sldMk cId="3579041657" sldId="2147469836"/>
            <ac:spMk id="4" creationId="{CEA5CAC9-35D3-4F08-9582-CD3E5380BD90}"/>
          </ac:spMkLst>
        </pc:spChg>
        <pc:spChg chg="add mod">
          <ac:chgData name="Kawtar SADIQ" userId="65df04e4-2d23-4bab-afb0-40df8a2c1b9f" providerId="ADAL" clId="{13E48CF6-3C07-4AA7-848A-1E964CBB0D3A}" dt="2022-12-01T16:43:32.172" v="27961"/>
          <ac:spMkLst>
            <pc:docMk/>
            <pc:sldMk cId="3579041657" sldId="2147469836"/>
            <ac:spMk id="5" creationId="{7D08A712-08C8-42CE-A5F0-0647CC8D4BDF}"/>
          </ac:spMkLst>
        </pc:spChg>
        <pc:spChg chg="add mod">
          <ac:chgData name="Kawtar SADIQ" userId="65df04e4-2d23-4bab-afb0-40df8a2c1b9f" providerId="ADAL" clId="{13E48CF6-3C07-4AA7-848A-1E964CBB0D3A}" dt="2022-12-01T16:43:32.172" v="27961"/>
          <ac:spMkLst>
            <pc:docMk/>
            <pc:sldMk cId="3579041657" sldId="2147469836"/>
            <ac:spMk id="6" creationId="{4E02B34F-ACB8-4DC3-AD85-0595ADC9A4AB}"/>
          </ac:spMkLst>
        </pc:spChg>
        <pc:spChg chg="add mod">
          <ac:chgData name="Kawtar SADIQ" userId="65df04e4-2d23-4bab-afb0-40df8a2c1b9f" providerId="ADAL" clId="{13E48CF6-3C07-4AA7-848A-1E964CBB0D3A}" dt="2022-12-01T16:43:32.172" v="27961"/>
          <ac:spMkLst>
            <pc:docMk/>
            <pc:sldMk cId="3579041657" sldId="2147469836"/>
            <ac:spMk id="7" creationId="{FE55277B-E749-4385-AFFE-4558628D7FC8}"/>
          </ac:spMkLst>
        </pc:spChg>
        <pc:spChg chg="add mod">
          <ac:chgData name="Kawtar SADIQ" userId="65df04e4-2d23-4bab-afb0-40df8a2c1b9f" providerId="ADAL" clId="{13E48CF6-3C07-4AA7-848A-1E964CBB0D3A}" dt="2022-12-01T16:43:32.172" v="27961"/>
          <ac:spMkLst>
            <pc:docMk/>
            <pc:sldMk cId="3579041657" sldId="2147469836"/>
            <ac:spMk id="12" creationId="{BEA071A1-92D8-4433-B9EC-0C9775F1638E}"/>
          </ac:spMkLst>
        </pc:spChg>
        <pc:spChg chg="add mod">
          <ac:chgData name="Kawtar SADIQ" userId="65df04e4-2d23-4bab-afb0-40df8a2c1b9f" providerId="ADAL" clId="{13E48CF6-3C07-4AA7-848A-1E964CBB0D3A}" dt="2022-12-01T16:43:32.172" v="27961"/>
          <ac:spMkLst>
            <pc:docMk/>
            <pc:sldMk cId="3579041657" sldId="2147469836"/>
            <ac:spMk id="13" creationId="{602F33BC-02A4-4810-95BD-A2788095F6F2}"/>
          </ac:spMkLst>
        </pc:spChg>
        <pc:spChg chg="add mod">
          <ac:chgData name="Kawtar SADIQ" userId="65df04e4-2d23-4bab-afb0-40df8a2c1b9f" providerId="ADAL" clId="{13E48CF6-3C07-4AA7-848A-1E964CBB0D3A}" dt="2022-12-01T16:43:32.172" v="27961"/>
          <ac:spMkLst>
            <pc:docMk/>
            <pc:sldMk cId="3579041657" sldId="2147469836"/>
            <ac:spMk id="14" creationId="{423B2682-E654-4CCE-985E-AAFBB856124B}"/>
          </ac:spMkLst>
        </pc:spChg>
        <pc:spChg chg="add mod">
          <ac:chgData name="Kawtar SADIQ" userId="65df04e4-2d23-4bab-afb0-40df8a2c1b9f" providerId="ADAL" clId="{13E48CF6-3C07-4AA7-848A-1E964CBB0D3A}" dt="2022-12-01T16:43:32.172" v="27961"/>
          <ac:spMkLst>
            <pc:docMk/>
            <pc:sldMk cId="3579041657" sldId="2147469836"/>
            <ac:spMk id="16" creationId="{9E88CA35-66D6-4424-BB7C-319ED67E5FF9}"/>
          </ac:spMkLst>
        </pc:spChg>
        <pc:spChg chg="add mod">
          <ac:chgData name="Kawtar SADIQ" userId="65df04e4-2d23-4bab-afb0-40df8a2c1b9f" providerId="ADAL" clId="{13E48CF6-3C07-4AA7-848A-1E964CBB0D3A}" dt="2022-12-01T16:43:32.172" v="27961"/>
          <ac:spMkLst>
            <pc:docMk/>
            <pc:sldMk cId="3579041657" sldId="2147469836"/>
            <ac:spMk id="19" creationId="{6FB9945A-6419-4B25-A302-75A1CA540280}"/>
          </ac:spMkLst>
        </pc:spChg>
        <pc:spChg chg="add mod">
          <ac:chgData name="Kawtar SADIQ" userId="65df04e4-2d23-4bab-afb0-40df8a2c1b9f" providerId="ADAL" clId="{13E48CF6-3C07-4AA7-848A-1E964CBB0D3A}" dt="2022-12-01T16:43:32.172" v="27961"/>
          <ac:spMkLst>
            <pc:docMk/>
            <pc:sldMk cId="3579041657" sldId="2147469836"/>
            <ac:spMk id="20" creationId="{53CEA717-F11B-4F2B-8CE6-4BA30F3B387F}"/>
          </ac:spMkLst>
        </pc:spChg>
        <pc:spChg chg="add mod">
          <ac:chgData name="Kawtar SADIQ" userId="65df04e4-2d23-4bab-afb0-40df8a2c1b9f" providerId="ADAL" clId="{13E48CF6-3C07-4AA7-848A-1E964CBB0D3A}" dt="2022-12-01T16:43:32.172" v="27961"/>
          <ac:spMkLst>
            <pc:docMk/>
            <pc:sldMk cId="3579041657" sldId="2147469836"/>
            <ac:spMk id="21" creationId="{C0B40D5F-81AB-4464-8718-E9940ADD996E}"/>
          </ac:spMkLst>
        </pc:spChg>
        <pc:spChg chg="add mod">
          <ac:chgData name="Kawtar SADIQ" userId="65df04e4-2d23-4bab-afb0-40df8a2c1b9f" providerId="ADAL" clId="{13E48CF6-3C07-4AA7-848A-1E964CBB0D3A}" dt="2022-12-01T16:43:32.172" v="27961"/>
          <ac:spMkLst>
            <pc:docMk/>
            <pc:sldMk cId="3579041657" sldId="2147469836"/>
            <ac:spMk id="22" creationId="{99DAB9B2-47D7-45BD-9519-8FDD583198C3}"/>
          </ac:spMkLst>
        </pc:spChg>
        <pc:spChg chg="add mod">
          <ac:chgData name="Kawtar SADIQ" userId="65df04e4-2d23-4bab-afb0-40df8a2c1b9f" providerId="ADAL" clId="{13E48CF6-3C07-4AA7-848A-1E964CBB0D3A}" dt="2022-12-01T18:35:02.369" v="28113" actId="20577"/>
          <ac:spMkLst>
            <pc:docMk/>
            <pc:sldMk cId="3579041657" sldId="2147469836"/>
            <ac:spMk id="23" creationId="{90793716-5950-48A8-90A9-20DFC14295DB}"/>
          </ac:spMkLst>
        </pc:spChg>
        <pc:spChg chg="add mod">
          <ac:chgData name="Kawtar SADIQ" userId="65df04e4-2d23-4bab-afb0-40df8a2c1b9f" providerId="ADAL" clId="{13E48CF6-3C07-4AA7-848A-1E964CBB0D3A}" dt="2022-12-01T16:43:32.172" v="27961"/>
          <ac:spMkLst>
            <pc:docMk/>
            <pc:sldMk cId="3579041657" sldId="2147469836"/>
            <ac:spMk id="24" creationId="{4707632E-6A0C-424F-9C30-981E360B55DD}"/>
          </ac:spMkLst>
        </pc:spChg>
        <pc:spChg chg="add mod">
          <ac:chgData name="Kawtar SADIQ" userId="65df04e4-2d23-4bab-afb0-40df8a2c1b9f" providerId="ADAL" clId="{13E48CF6-3C07-4AA7-848A-1E964CBB0D3A}" dt="2022-12-01T16:43:32.172" v="27961"/>
          <ac:spMkLst>
            <pc:docMk/>
            <pc:sldMk cId="3579041657" sldId="2147469836"/>
            <ac:spMk id="25" creationId="{0DA26678-013F-4B0F-9E3B-D1902C5283A3}"/>
          </ac:spMkLst>
        </pc:spChg>
        <pc:spChg chg="add mod">
          <ac:chgData name="Kawtar SADIQ" userId="65df04e4-2d23-4bab-afb0-40df8a2c1b9f" providerId="ADAL" clId="{13E48CF6-3C07-4AA7-848A-1E964CBB0D3A}" dt="2022-12-01T16:43:32.172" v="27961"/>
          <ac:spMkLst>
            <pc:docMk/>
            <pc:sldMk cId="3579041657" sldId="2147469836"/>
            <ac:spMk id="26" creationId="{5A3EED50-EA85-445F-8F2E-F23F2888571F}"/>
          </ac:spMkLst>
        </pc:spChg>
        <pc:picChg chg="add mod">
          <ac:chgData name="Kawtar SADIQ" userId="65df04e4-2d23-4bab-afb0-40df8a2c1b9f" providerId="ADAL" clId="{13E48CF6-3C07-4AA7-848A-1E964CBB0D3A}" dt="2022-12-01T16:43:32.172" v="27961"/>
          <ac:picMkLst>
            <pc:docMk/>
            <pc:sldMk cId="3579041657" sldId="2147469836"/>
            <ac:picMk id="8" creationId="{E5B4DCF0-C938-45DE-BB22-5B37D0040C47}"/>
          </ac:picMkLst>
        </pc:picChg>
        <pc:picChg chg="add mod">
          <ac:chgData name="Kawtar SADIQ" userId="65df04e4-2d23-4bab-afb0-40df8a2c1b9f" providerId="ADAL" clId="{13E48CF6-3C07-4AA7-848A-1E964CBB0D3A}" dt="2022-12-01T16:43:32.172" v="27961"/>
          <ac:picMkLst>
            <pc:docMk/>
            <pc:sldMk cId="3579041657" sldId="2147469836"/>
            <ac:picMk id="9" creationId="{89419ABA-ADF0-4390-B9AA-37489FEBC6A8}"/>
          </ac:picMkLst>
        </pc:picChg>
        <pc:picChg chg="add mod">
          <ac:chgData name="Kawtar SADIQ" userId="65df04e4-2d23-4bab-afb0-40df8a2c1b9f" providerId="ADAL" clId="{13E48CF6-3C07-4AA7-848A-1E964CBB0D3A}" dt="2022-12-01T16:43:32.172" v="27961"/>
          <ac:picMkLst>
            <pc:docMk/>
            <pc:sldMk cId="3579041657" sldId="2147469836"/>
            <ac:picMk id="10" creationId="{3CD9778E-EFF7-45E2-A16A-8CF9006B9A94}"/>
          </ac:picMkLst>
        </pc:picChg>
        <pc:picChg chg="add mod">
          <ac:chgData name="Kawtar SADIQ" userId="65df04e4-2d23-4bab-afb0-40df8a2c1b9f" providerId="ADAL" clId="{13E48CF6-3C07-4AA7-848A-1E964CBB0D3A}" dt="2022-12-01T16:43:32.172" v="27961"/>
          <ac:picMkLst>
            <pc:docMk/>
            <pc:sldMk cId="3579041657" sldId="2147469836"/>
            <ac:picMk id="18" creationId="{7E4C1581-46AC-49C9-A7DB-2D9366A2F530}"/>
          </ac:picMkLst>
        </pc:picChg>
        <pc:cxnChg chg="add mod">
          <ac:chgData name="Kawtar SADIQ" userId="65df04e4-2d23-4bab-afb0-40df8a2c1b9f" providerId="ADAL" clId="{13E48CF6-3C07-4AA7-848A-1E964CBB0D3A}" dt="2022-12-01T16:43:32.172" v="27961"/>
          <ac:cxnSpMkLst>
            <pc:docMk/>
            <pc:sldMk cId="3579041657" sldId="2147469836"/>
            <ac:cxnSpMk id="11" creationId="{80AF116B-9E5D-4605-A0B7-7DD23CF77E1A}"/>
          </ac:cxnSpMkLst>
        </pc:cxnChg>
        <pc:cxnChg chg="add mod">
          <ac:chgData name="Kawtar SADIQ" userId="65df04e4-2d23-4bab-afb0-40df8a2c1b9f" providerId="ADAL" clId="{13E48CF6-3C07-4AA7-848A-1E964CBB0D3A}" dt="2022-12-01T16:43:32.172" v="27961"/>
          <ac:cxnSpMkLst>
            <pc:docMk/>
            <pc:sldMk cId="3579041657" sldId="2147469836"/>
            <ac:cxnSpMk id="15" creationId="{405DAC0A-8DDA-4F43-9FD8-4182F56CFCF5}"/>
          </ac:cxnSpMkLst>
        </pc:cxnChg>
        <pc:cxnChg chg="add mod">
          <ac:chgData name="Kawtar SADIQ" userId="65df04e4-2d23-4bab-afb0-40df8a2c1b9f" providerId="ADAL" clId="{13E48CF6-3C07-4AA7-848A-1E964CBB0D3A}" dt="2022-12-01T16:43:32.172" v="27961"/>
          <ac:cxnSpMkLst>
            <pc:docMk/>
            <pc:sldMk cId="3579041657" sldId="2147469836"/>
            <ac:cxnSpMk id="17" creationId="{A5BE945E-D859-4B2D-AC61-EAE9236B0BE4}"/>
          </ac:cxnSpMkLst>
        </pc:cxnChg>
        <pc:cxnChg chg="add mod">
          <ac:chgData name="Kawtar SADIQ" userId="65df04e4-2d23-4bab-afb0-40df8a2c1b9f" providerId="ADAL" clId="{13E48CF6-3C07-4AA7-848A-1E964CBB0D3A}" dt="2022-12-01T16:43:32.172" v="27961"/>
          <ac:cxnSpMkLst>
            <pc:docMk/>
            <pc:sldMk cId="3579041657" sldId="2147469836"/>
            <ac:cxnSpMk id="27" creationId="{F8828FA9-BF41-4075-B33C-F9C22AC380C3}"/>
          </ac:cxnSpMkLst>
        </pc:cxnChg>
      </pc:sldChg>
      <pc:sldChg chg="addSp delSp modSp new mod">
        <pc:chgData name="Kawtar SADIQ" userId="65df04e4-2d23-4bab-afb0-40df8a2c1b9f" providerId="ADAL" clId="{13E48CF6-3C07-4AA7-848A-1E964CBB0D3A}" dt="2022-12-01T16:43:49.752" v="27965"/>
        <pc:sldMkLst>
          <pc:docMk/>
          <pc:sldMk cId="1412545971" sldId="2147469837"/>
        </pc:sldMkLst>
        <pc:spChg chg="del">
          <ac:chgData name="Kawtar SADIQ" userId="65df04e4-2d23-4bab-afb0-40df8a2c1b9f" providerId="ADAL" clId="{13E48CF6-3C07-4AA7-848A-1E964CBB0D3A}" dt="2022-12-01T16:43:44.113" v="27964" actId="478"/>
          <ac:spMkLst>
            <pc:docMk/>
            <pc:sldMk cId="1412545971" sldId="2147469837"/>
            <ac:spMk id="2" creationId="{36BE5071-72F0-45EF-8E33-429480D54679}"/>
          </ac:spMkLst>
        </pc:spChg>
        <pc:spChg chg="del">
          <ac:chgData name="Kawtar SADIQ" userId="65df04e4-2d23-4bab-afb0-40df8a2c1b9f" providerId="ADAL" clId="{13E48CF6-3C07-4AA7-848A-1E964CBB0D3A}" dt="2022-12-01T16:43:44.113" v="27964" actId="478"/>
          <ac:spMkLst>
            <pc:docMk/>
            <pc:sldMk cId="1412545971" sldId="2147469837"/>
            <ac:spMk id="3" creationId="{2E2A24A3-A42A-4ED7-AFC7-2D6803BC04F6}"/>
          </ac:spMkLst>
        </pc:spChg>
        <pc:spChg chg="add mod">
          <ac:chgData name="Kawtar SADIQ" userId="65df04e4-2d23-4bab-afb0-40df8a2c1b9f" providerId="ADAL" clId="{13E48CF6-3C07-4AA7-848A-1E964CBB0D3A}" dt="2022-12-01T16:43:49.752" v="27965"/>
          <ac:spMkLst>
            <pc:docMk/>
            <pc:sldMk cId="1412545971" sldId="2147469837"/>
            <ac:spMk id="4" creationId="{6FF97440-4726-4044-A79C-ED094C0074E2}"/>
          </ac:spMkLst>
        </pc:spChg>
        <pc:spChg chg="add mod">
          <ac:chgData name="Kawtar SADIQ" userId="65df04e4-2d23-4bab-afb0-40df8a2c1b9f" providerId="ADAL" clId="{13E48CF6-3C07-4AA7-848A-1E964CBB0D3A}" dt="2022-12-01T16:43:49.752" v="27965"/>
          <ac:spMkLst>
            <pc:docMk/>
            <pc:sldMk cId="1412545971" sldId="2147469837"/>
            <ac:spMk id="5" creationId="{E6688B7B-28F0-4AB6-B147-6B1F3F1E9EB9}"/>
          </ac:spMkLst>
        </pc:spChg>
        <pc:spChg chg="add mod">
          <ac:chgData name="Kawtar SADIQ" userId="65df04e4-2d23-4bab-afb0-40df8a2c1b9f" providerId="ADAL" clId="{13E48CF6-3C07-4AA7-848A-1E964CBB0D3A}" dt="2022-12-01T16:43:49.752" v="27965"/>
          <ac:spMkLst>
            <pc:docMk/>
            <pc:sldMk cId="1412545971" sldId="2147469837"/>
            <ac:spMk id="6" creationId="{801637D0-61BE-45E8-9F52-44D8EE13CF4D}"/>
          </ac:spMkLst>
        </pc:spChg>
        <pc:spChg chg="add mod">
          <ac:chgData name="Kawtar SADIQ" userId="65df04e4-2d23-4bab-afb0-40df8a2c1b9f" providerId="ADAL" clId="{13E48CF6-3C07-4AA7-848A-1E964CBB0D3A}" dt="2022-12-01T16:43:49.752" v="27965"/>
          <ac:spMkLst>
            <pc:docMk/>
            <pc:sldMk cId="1412545971" sldId="2147469837"/>
            <ac:spMk id="8" creationId="{1EC92CE3-F11F-496D-90E3-15EDDFE6310B}"/>
          </ac:spMkLst>
        </pc:spChg>
        <pc:spChg chg="add mod">
          <ac:chgData name="Kawtar SADIQ" userId="65df04e4-2d23-4bab-afb0-40df8a2c1b9f" providerId="ADAL" clId="{13E48CF6-3C07-4AA7-848A-1E964CBB0D3A}" dt="2022-12-01T16:43:49.752" v="27965"/>
          <ac:spMkLst>
            <pc:docMk/>
            <pc:sldMk cId="1412545971" sldId="2147469837"/>
            <ac:spMk id="9" creationId="{E523C5A9-1212-41C0-B778-A88C3EB494D5}"/>
          </ac:spMkLst>
        </pc:spChg>
        <pc:spChg chg="add mod">
          <ac:chgData name="Kawtar SADIQ" userId="65df04e4-2d23-4bab-afb0-40df8a2c1b9f" providerId="ADAL" clId="{13E48CF6-3C07-4AA7-848A-1E964CBB0D3A}" dt="2022-12-01T16:43:49.752" v="27965"/>
          <ac:spMkLst>
            <pc:docMk/>
            <pc:sldMk cId="1412545971" sldId="2147469837"/>
            <ac:spMk id="10" creationId="{03535EC2-9310-4454-B840-E28E0CFFDA44}"/>
          </ac:spMkLst>
        </pc:spChg>
        <pc:spChg chg="add mod">
          <ac:chgData name="Kawtar SADIQ" userId="65df04e4-2d23-4bab-afb0-40df8a2c1b9f" providerId="ADAL" clId="{13E48CF6-3C07-4AA7-848A-1E964CBB0D3A}" dt="2022-12-01T16:43:49.752" v="27965"/>
          <ac:spMkLst>
            <pc:docMk/>
            <pc:sldMk cId="1412545971" sldId="2147469837"/>
            <ac:spMk id="15" creationId="{1D060643-E88F-46AF-A628-ABAC17C58B24}"/>
          </ac:spMkLst>
        </pc:spChg>
        <pc:spChg chg="add mod">
          <ac:chgData name="Kawtar SADIQ" userId="65df04e4-2d23-4bab-afb0-40df8a2c1b9f" providerId="ADAL" clId="{13E48CF6-3C07-4AA7-848A-1E964CBB0D3A}" dt="2022-12-01T16:43:49.752" v="27965"/>
          <ac:spMkLst>
            <pc:docMk/>
            <pc:sldMk cId="1412545971" sldId="2147469837"/>
            <ac:spMk id="16" creationId="{21CB4554-FABB-4C7E-85B7-40959E31579F}"/>
          </ac:spMkLst>
        </pc:spChg>
        <pc:spChg chg="add mod">
          <ac:chgData name="Kawtar SADIQ" userId="65df04e4-2d23-4bab-afb0-40df8a2c1b9f" providerId="ADAL" clId="{13E48CF6-3C07-4AA7-848A-1E964CBB0D3A}" dt="2022-12-01T16:43:49.752" v="27965"/>
          <ac:spMkLst>
            <pc:docMk/>
            <pc:sldMk cId="1412545971" sldId="2147469837"/>
            <ac:spMk id="17" creationId="{A80BD4C1-E8B4-4DF2-8934-33A935276EC1}"/>
          </ac:spMkLst>
        </pc:spChg>
        <pc:spChg chg="add mod">
          <ac:chgData name="Kawtar SADIQ" userId="65df04e4-2d23-4bab-afb0-40df8a2c1b9f" providerId="ADAL" clId="{13E48CF6-3C07-4AA7-848A-1E964CBB0D3A}" dt="2022-12-01T16:43:49.752" v="27965"/>
          <ac:spMkLst>
            <pc:docMk/>
            <pc:sldMk cId="1412545971" sldId="2147469837"/>
            <ac:spMk id="18" creationId="{90A8721E-AA0C-40C5-8642-36A0D469E1BD}"/>
          </ac:spMkLst>
        </pc:spChg>
        <pc:spChg chg="add mod">
          <ac:chgData name="Kawtar SADIQ" userId="65df04e4-2d23-4bab-afb0-40df8a2c1b9f" providerId="ADAL" clId="{13E48CF6-3C07-4AA7-848A-1E964CBB0D3A}" dt="2022-12-01T16:43:49.752" v="27965"/>
          <ac:spMkLst>
            <pc:docMk/>
            <pc:sldMk cId="1412545971" sldId="2147469837"/>
            <ac:spMk id="21" creationId="{09128E4A-C7F3-4A4C-BECE-0091C72D4B3B}"/>
          </ac:spMkLst>
        </pc:spChg>
        <pc:spChg chg="add mod">
          <ac:chgData name="Kawtar SADIQ" userId="65df04e4-2d23-4bab-afb0-40df8a2c1b9f" providerId="ADAL" clId="{13E48CF6-3C07-4AA7-848A-1E964CBB0D3A}" dt="2022-12-01T16:43:49.752" v="27965"/>
          <ac:spMkLst>
            <pc:docMk/>
            <pc:sldMk cId="1412545971" sldId="2147469837"/>
            <ac:spMk id="24" creationId="{C5FB0ADE-3D99-4905-AFB3-BF4251C5C3D1}"/>
          </ac:spMkLst>
        </pc:spChg>
        <pc:picChg chg="add mod">
          <ac:chgData name="Kawtar SADIQ" userId="65df04e4-2d23-4bab-afb0-40df8a2c1b9f" providerId="ADAL" clId="{13E48CF6-3C07-4AA7-848A-1E964CBB0D3A}" dt="2022-12-01T16:43:49.752" v="27965"/>
          <ac:picMkLst>
            <pc:docMk/>
            <pc:sldMk cId="1412545971" sldId="2147469837"/>
            <ac:picMk id="7" creationId="{77B0AF42-9801-4C50-82A3-3A5103726C1C}"/>
          </ac:picMkLst>
        </pc:picChg>
        <pc:picChg chg="add mod">
          <ac:chgData name="Kawtar SADIQ" userId="65df04e4-2d23-4bab-afb0-40df8a2c1b9f" providerId="ADAL" clId="{13E48CF6-3C07-4AA7-848A-1E964CBB0D3A}" dt="2022-12-01T16:43:49.752" v="27965"/>
          <ac:picMkLst>
            <pc:docMk/>
            <pc:sldMk cId="1412545971" sldId="2147469837"/>
            <ac:picMk id="11" creationId="{F1C179AE-5219-46CC-B5B7-027BC030FE36}"/>
          </ac:picMkLst>
        </pc:picChg>
        <pc:picChg chg="add mod">
          <ac:chgData name="Kawtar SADIQ" userId="65df04e4-2d23-4bab-afb0-40df8a2c1b9f" providerId="ADAL" clId="{13E48CF6-3C07-4AA7-848A-1E964CBB0D3A}" dt="2022-12-01T16:43:49.752" v="27965"/>
          <ac:picMkLst>
            <pc:docMk/>
            <pc:sldMk cId="1412545971" sldId="2147469837"/>
            <ac:picMk id="19" creationId="{8F4B15C3-9138-43B5-95E6-6017B912D38F}"/>
          </ac:picMkLst>
        </pc:picChg>
        <pc:picChg chg="add mod">
          <ac:chgData name="Kawtar SADIQ" userId="65df04e4-2d23-4bab-afb0-40df8a2c1b9f" providerId="ADAL" clId="{13E48CF6-3C07-4AA7-848A-1E964CBB0D3A}" dt="2022-12-01T16:43:49.752" v="27965"/>
          <ac:picMkLst>
            <pc:docMk/>
            <pc:sldMk cId="1412545971" sldId="2147469837"/>
            <ac:picMk id="20" creationId="{F97E17F9-3EB2-4223-84B2-C022A5875E8D}"/>
          </ac:picMkLst>
        </pc:picChg>
        <pc:picChg chg="add mod">
          <ac:chgData name="Kawtar SADIQ" userId="65df04e4-2d23-4bab-afb0-40df8a2c1b9f" providerId="ADAL" clId="{13E48CF6-3C07-4AA7-848A-1E964CBB0D3A}" dt="2022-12-01T16:43:49.752" v="27965"/>
          <ac:picMkLst>
            <pc:docMk/>
            <pc:sldMk cId="1412545971" sldId="2147469837"/>
            <ac:picMk id="25" creationId="{7EBB19F6-0F47-4838-A869-4415CF667EA6}"/>
          </ac:picMkLst>
        </pc:picChg>
        <pc:cxnChg chg="add mod">
          <ac:chgData name="Kawtar SADIQ" userId="65df04e4-2d23-4bab-afb0-40df8a2c1b9f" providerId="ADAL" clId="{13E48CF6-3C07-4AA7-848A-1E964CBB0D3A}" dt="2022-12-01T16:43:49.752" v="27965"/>
          <ac:cxnSpMkLst>
            <pc:docMk/>
            <pc:sldMk cId="1412545971" sldId="2147469837"/>
            <ac:cxnSpMk id="12" creationId="{C6AE5D6A-FD5F-4423-A97C-5CCD3CF39A4D}"/>
          </ac:cxnSpMkLst>
        </pc:cxnChg>
        <pc:cxnChg chg="add mod">
          <ac:chgData name="Kawtar SADIQ" userId="65df04e4-2d23-4bab-afb0-40df8a2c1b9f" providerId="ADAL" clId="{13E48CF6-3C07-4AA7-848A-1E964CBB0D3A}" dt="2022-12-01T16:43:49.752" v="27965"/>
          <ac:cxnSpMkLst>
            <pc:docMk/>
            <pc:sldMk cId="1412545971" sldId="2147469837"/>
            <ac:cxnSpMk id="13" creationId="{F70D927A-4425-4195-8C15-E5EEB9432289}"/>
          </ac:cxnSpMkLst>
        </pc:cxnChg>
        <pc:cxnChg chg="add mod">
          <ac:chgData name="Kawtar SADIQ" userId="65df04e4-2d23-4bab-afb0-40df8a2c1b9f" providerId="ADAL" clId="{13E48CF6-3C07-4AA7-848A-1E964CBB0D3A}" dt="2022-12-01T16:43:49.752" v="27965"/>
          <ac:cxnSpMkLst>
            <pc:docMk/>
            <pc:sldMk cId="1412545971" sldId="2147469837"/>
            <ac:cxnSpMk id="14" creationId="{EC6FDBCC-AEE0-4853-B940-F8270D661C3D}"/>
          </ac:cxnSpMkLst>
        </pc:cxnChg>
        <pc:cxnChg chg="add mod">
          <ac:chgData name="Kawtar SADIQ" userId="65df04e4-2d23-4bab-afb0-40df8a2c1b9f" providerId="ADAL" clId="{13E48CF6-3C07-4AA7-848A-1E964CBB0D3A}" dt="2022-12-01T16:43:49.752" v="27965"/>
          <ac:cxnSpMkLst>
            <pc:docMk/>
            <pc:sldMk cId="1412545971" sldId="2147469837"/>
            <ac:cxnSpMk id="22" creationId="{85C1C825-19FB-472C-AB16-4D0450F1CDFB}"/>
          </ac:cxnSpMkLst>
        </pc:cxnChg>
        <pc:cxnChg chg="add mod">
          <ac:chgData name="Kawtar SADIQ" userId="65df04e4-2d23-4bab-afb0-40df8a2c1b9f" providerId="ADAL" clId="{13E48CF6-3C07-4AA7-848A-1E964CBB0D3A}" dt="2022-12-01T16:43:49.752" v="27965"/>
          <ac:cxnSpMkLst>
            <pc:docMk/>
            <pc:sldMk cId="1412545971" sldId="2147469837"/>
            <ac:cxnSpMk id="23" creationId="{E42EC028-9CB0-4603-84A5-F47FD3A3C411}"/>
          </ac:cxnSpMkLst>
        </pc:cxnChg>
      </pc:sldChg>
      <pc:sldChg chg="addSp delSp modSp new mod">
        <pc:chgData name="Kawtar SADIQ" userId="65df04e4-2d23-4bab-afb0-40df8a2c1b9f" providerId="ADAL" clId="{13E48CF6-3C07-4AA7-848A-1E964CBB0D3A}" dt="2022-12-01T18:40:00.559" v="28252" actId="123"/>
        <pc:sldMkLst>
          <pc:docMk/>
          <pc:sldMk cId="1189239573" sldId="2147469838"/>
        </pc:sldMkLst>
        <pc:spChg chg="del">
          <ac:chgData name="Kawtar SADIQ" userId="65df04e4-2d23-4bab-afb0-40df8a2c1b9f" providerId="ADAL" clId="{13E48CF6-3C07-4AA7-848A-1E964CBB0D3A}" dt="2022-12-01T16:44:03.302" v="27968" actId="478"/>
          <ac:spMkLst>
            <pc:docMk/>
            <pc:sldMk cId="1189239573" sldId="2147469838"/>
            <ac:spMk id="2" creationId="{184E6216-3F6E-4A03-ACA0-D9D87D62998E}"/>
          </ac:spMkLst>
        </pc:spChg>
        <pc:spChg chg="del">
          <ac:chgData name="Kawtar SADIQ" userId="65df04e4-2d23-4bab-afb0-40df8a2c1b9f" providerId="ADAL" clId="{13E48CF6-3C07-4AA7-848A-1E964CBB0D3A}" dt="2022-12-01T16:44:03.302" v="27968" actId="478"/>
          <ac:spMkLst>
            <pc:docMk/>
            <pc:sldMk cId="1189239573" sldId="2147469838"/>
            <ac:spMk id="3" creationId="{C1BBA10A-AF82-4F3F-BF15-EF34A6C824A7}"/>
          </ac:spMkLst>
        </pc:spChg>
        <pc:spChg chg="add mod">
          <ac:chgData name="Kawtar SADIQ" userId="65df04e4-2d23-4bab-afb0-40df8a2c1b9f" providerId="ADAL" clId="{13E48CF6-3C07-4AA7-848A-1E964CBB0D3A}" dt="2022-12-01T16:44:09.213" v="27969"/>
          <ac:spMkLst>
            <pc:docMk/>
            <pc:sldMk cId="1189239573" sldId="2147469838"/>
            <ac:spMk id="4" creationId="{C307335E-E7CA-4C4F-A289-378D31AC1221}"/>
          </ac:spMkLst>
        </pc:spChg>
        <pc:spChg chg="add mod">
          <ac:chgData name="Kawtar SADIQ" userId="65df04e4-2d23-4bab-afb0-40df8a2c1b9f" providerId="ADAL" clId="{13E48CF6-3C07-4AA7-848A-1E964CBB0D3A}" dt="2022-12-01T16:44:09.213" v="27969"/>
          <ac:spMkLst>
            <pc:docMk/>
            <pc:sldMk cId="1189239573" sldId="2147469838"/>
            <ac:spMk id="5" creationId="{CE1B13A1-E4B9-4825-AF4A-3DE6FADE6E7B}"/>
          </ac:spMkLst>
        </pc:spChg>
        <pc:spChg chg="add mod">
          <ac:chgData name="Kawtar SADIQ" userId="65df04e4-2d23-4bab-afb0-40df8a2c1b9f" providerId="ADAL" clId="{13E48CF6-3C07-4AA7-848A-1E964CBB0D3A}" dt="2022-12-01T16:44:09.213" v="27969"/>
          <ac:spMkLst>
            <pc:docMk/>
            <pc:sldMk cId="1189239573" sldId="2147469838"/>
            <ac:spMk id="6" creationId="{CB6A7651-C4D4-4DB2-B55E-2CD37E7175DD}"/>
          </ac:spMkLst>
        </pc:spChg>
        <pc:spChg chg="add mod">
          <ac:chgData name="Kawtar SADIQ" userId="65df04e4-2d23-4bab-afb0-40df8a2c1b9f" providerId="ADAL" clId="{13E48CF6-3C07-4AA7-848A-1E964CBB0D3A}" dt="2022-12-01T16:44:09.213" v="27969"/>
          <ac:spMkLst>
            <pc:docMk/>
            <pc:sldMk cId="1189239573" sldId="2147469838"/>
            <ac:spMk id="7" creationId="{455817EB-CDE5-4706-AF64-A24D4A853689}"/>
          </ac:spMkLst>
        </pc:spChg>
        <pc:spChg chg="add mod">
          <ac:chgData name="Kawtar SADIQ" userId="65df04e4-2d23-4bab-afb0-40df8a2c1b9f" providerId="ADAL" clId="{13E48CF6-3C07-4AA7-848A-1E964CBB0D3A}" dt="2022-12-01T16:44:09.213" v="27969"/>
          <ac:spMkLst>
            <pc:docMk/>
            <pc:sldMk cId="1189239573" sldId="2147469838"/>
            <ac:spMk id="12" creationId="{498C5BA7-E77C-4B55-9457-919DE4616D23}"/>
          </ac:spMkLst>
        </pc:spChg>
        <pc:spChg chg="add mod">
          <ac:chgData name="Kawtar SADIQ" userId="65df04e4-2d23-4bab-afb0-40df8a2c1b9f" providerId="ADAL" clId="{13E48CF6-3C07-4AA7-848A-1E964CBB0D3A}" dt="2022-12-01T16:44:09.213" v="27969"/>
          <ac:spMkLst>
            <pc:docMk/>
            <pc:sldMk cId="1189239573" sldId="2147469838"/>
            <ac:spMk id="13" creationId="{03596277-A70F-48FA-AD6C-E2D89DBB885D}"/>
          </ac:spMkLst>
        </pc:spChg>
        <pc:spChg chg="add mod">
          <ac:chgData name="Kawtar SADIQ" userId="65df04e4-2d23-4bab-afb0-40df8a2c1b9f" providerId="ADAL" clId="{13E48CF6-3C07-4AA7-848A-1E964CBB0D3A}" dt="2022-12-01T16:44:09.213" v="27969"/>
          <ac:spMkLst>
            <pc:docMk/>
            <pc:sldMk cId="1189239573" sldId="2147469838"/>
            <ac:spMk id="14" creationId="{14BE8442-36DC-467D-B555-A261892DAFE1}"/>
          </ac:spMkLst>
        </pc:spChg>
        <pc:spChg chg="add mod">
          <ac:chgData name="Kawtar SADIQ" userId="65df04e4-2d23-4bab-afb0-40df8a2c1b9f" providerId="ADAL" clId="{13E48CF6-3C07-4AA7-848A-1E964CBB0D3A}" dt="2022-12-01T18:39:27.476" v="28250" actId="20577"/>
          <ac:spMkLst>
            <pc:docMk/>
            <pc:sldMk cId="1189239573" sldId="2147469838"/>
            <ac:spMk id="16" creationId="{BF42D91B-803B-46AA-9F05-6289C655A109}"/>
          </ac:spMkLst>
        </pc:spChg>
        <pc:spChg chg="add mod">
          <ac:chgData name="Kawtar SADIQ" userId="65df04e4-2d23-4bab-afb0-40df8a2c1b9f" providerId="ADAL" clId="{13E48CF6-3C07-4AA7-848A-1E964CBB0D3A}" dt="2022-12-01T16:44:09.213" v="27969"/>
          <ac:spMkLst>
            <pc:docMk/>
            <pc:sldMk cId="1189239573" sldId="2147469838"/>
            <ac:spMk id="18" creationId="{AF9953BA-C183-4383-90B1-8ACDACCF4DDA}"/>
          </ac:spMkLst>
        </pc:spChg>
        <pc:spChg chg="add mod">
          <ac:chgData name="Kawtar SADIQ" userId="65df04e4-2d23-4bab-afb0-40df8a2c1b9f" providerId="ADAL" clId="{13E48CF6-3C07-4AA7-848A-1E964CBB0D3A}" dt="2022-12-01T16:44:09.213" v="27969"/>
          <ac:spMkLst>
            <pc:docMk/>
            <pc:sldMk cId="1189239573" sldId="2147469838"/>
            <ac:spMk id="19" creationId="{23C88E64-E15F-40A3-90EF-A0243DEE8EB5}"/>
          </ac:spMkLst>
        </pc:spChg>
        <pc:spChg chg="add mod">
          <ac:chgData name="Kawtar SADIQ" userId="65df04e4-2d23-4bab-afb0-40df8a2c1b9f" providerId="ADAL" clId="{13E48CF6-3C07-4AA7-848A-1E964CBB0D3A}" dt="2022-12-01T16:44:09.213" v="27969"/>
          <ac:spMkLst>
            <pc:docMk/>
            <pc:sldMk cId="1189239573" sldId="2147469838"/>
            <ac:spMk id="20" creationId="{936005C0-165F-42C3-9478-FAB88BEE6A11}"/>
          </ac:spMkLst>
        </pc:spChg>
        <pc:spChg chg="add mod">
          <ac:chgData name="Kawtar SADIQ" userId="65df04e4-2d23-4bab-afb0-40df8a2c1b9f" providerId="ADAL" clId="{13E48CF6-3C07-4AA7-848A-1E964CBB0D3A}" dt="2022-12-01T16:44:09.213" v="27969"/>
          <ac:spMkLst>
            <pc:docMk/>
            <pc:sldMk cId="1189239573" sldId="2147469838"/>
            <ac:spMk id="21" creationId="{DC130AFC-D8E0-4C91-AFC0-61D489E2EE2F}"/>
          </ac:spMkLst>
        </pc:spChg>
        <pc:spChg chg="add mod">
          <ac:chgData name="Kawtar SADIQ" userId="65df04e4-2d23-4bab-afb0-40df8a2c1b9f" providerId="ADAL" clId="{13E48CF6-3C07-4AA7-848A-1E964CBB0D3A}" dt="2022-12-01T16:44:09.213" v="27969"/>
          <ac:spMkLst>
            <pc:docMk/>
            <pc:sldMk cId="1189239573" sldId="2147469838"/>
            <ac:spMk id="22" creationId="{C2243FCC-590D-474D-84A9-063D82115D46}"/>
          </ac:spMkLst>
        </pc:spChg>
        <pc:spChg chg="add mod">
          <ac:chgData name="Kawtar SADIQ" userId="65df04e4-2d23-4bab-afb0-40df8a2c1b9f" providerId="ADAL" clId="{13E48CF6-3C07-4AA7-848A-1E964CBB0D3A}" dt="2022-12-01T16:44:09.213" v="27969"/>
          <ac:spMkLst>
            <pc:docMk/>
            <pc:sldMk cId="1189239573" sldId="2147469838"/>
            <ac:spMk id="23" creationId="{26A19243-B39C-434B-AE11-8CAF2A229532}"/>
          </ac:spMkLst>
        </pc:spChg>
        <pc:spChg chg="add mod">
          <ac:chgData name="Kawtar SADIQ" userId="65df04e4-2d23-4bab-afb0-40df8a2c1b9f" providerId="ADAL" clId="{13E48CF6-3C07-4AA7-848A-1E964CBB0D3A}" dt="2022-12-01T16:44:09.213" v="27969"/>
          <ac:spMkLst>
            <pc:docMk/>
            <pc:sldMk cId="1189239573" sldId="2147469838"/>
            <ac:spMk id="24" creationId="{9361D0D7-680F-46D5-84F3-9207C5600A3D}"/>
          </ac:spMkLst>
        </pc:spChg>
        <pc:spChg chg="add mod">
          <ac:chgData name="Kawtar SADIQ" userId="65df04e4-2d23-4bab-afb0-40df8a2c1b9f" providerId="ADAL" clId="{13E48CF6-3C07-4AA7-848A-1E964CBB0D3A}" dt="2022-12-01T16:44:09.213" v="27969"/>
          <ac:spMkLst>
            <pc:docMk/>
            <pc:sldMk cId="1189239573" sldId="2147469838"/>
            <ac:spMk id="25" creationId="{A312DAE1-0BC4-4879-B852-8A838E9E1F5F}"/>
          </ac:spMkLst>
        </pc:spChg>
        <pc:spChg chg="add mod">
          <ac:chgData name="Kawtar SADIQ" userId="65df04e4-2d23-4bab-afb0-40df8a2c1b9f" providerId="ADAL" clId="{13E48CF6-3C07-4AA7-848A-1E964CBB0D3A}" dt="2022-12-01T16:44:09.213" v="27969"/>
          <ac:spMkLst>
            <pc:docMk/>
            <pc:sldMk cId="1189239573" sldId="2147469838"/>
            <ac:spMk id="27" creationId="{D31F500E-DD78-4C1C-824A-10C2FAD1D045}"/>
          </ac:spMkLst>
        </pc:spChg>
        <pc:spChg chg="mod">
          <ac:chgData name="Kawtar SADIQ" userId="65df04e4-2d23-4bab-afb0-40df8a2c1b9f" providerId="ADAL" clId="{13E48CF6-3C07-4AA7-848A-1E964CBB0D3A}" dt="2022-12-01T16:44:09.213" v="27969"/>
          <ac:spMkLst>
            <pc:docMk/>
            <pc:sldMk cId="1189239573" sldId="2147469838"/>
            <ac:spMk id="30" creationId="{C07F715D-B5FC-499C-9EAD-8A67BF0369D1}"/>
          </ac:spMkLst>
        </pc:spChg>
        <pc:spChg chg="mod">
          <ac:chgData name="Kawtar SADIQ" userId="65df04e4-2d23-4bab-afb0-40df8a2c1b9f" providerId="ADAL" clId="{13E48CF6-3C07-4AA7-848A-1E964CBB0D3A}" dt="2022-12-01T16:44:09.213" v="27969"/>
          <ac:spMkLst>
            <pc:docMk/>
            <pc:sldMk cId="1189239573" sldId="2147469838"/>
            <ac:spMk id="31" creationId="{900BEA1E-95E5-4DB9-87B4-824279C6E09F}"/>
          </ac:spMkLst>
        </pc:spChg>
        <pc:spChg chg="add mod">
          <ac:chgData name="Kawtar SADIQ" userId="65df04e4-2d23-4bab-afb0-40df8a2c1b9f" providerId="ADAL" clId="{13E48CF6-3C07-4AA7-848A-1E964CBB0D3A}" dt="2022-12-01T18:40:00.559" v="28252" actId="123"/>
          <ac:spMkLst>
            <pc:docMk/>
            <pc:sldMk cId="1189239573" sldId="2147469838"/>
            <ac:spMk id="32" creationId="{9687A42C-9D6E-41DC-AC6A-DACEA592BC04}"/>
          </ac:spMkLst>
        </pc:spChg>
        <pc:spChg chg="add mod">
          <ac:chgData name="Kawtar SADIQ" userId="65df04e4-2d23-4bab-afb0-40df8a2c1b9f" providerId="ADAL" clId="{13E48CF6-3C07-4AA7-848A-1E964CBB0D3A}" dt="2022-12-01T16:44:09.213" v="27969"/>
          <ac:spMkLst>
            <pc:docMk/>
            <pc:sldMk cId="1189239573" sldId="2147469838"/>
            <ac:spMk id="33" creationId="{5B0A470D-C4AA-426D-95B8-7AD530E8F857}"/>
          </ac:spMkLst>
        </pc:spChg>
        <pc:spChg chg="add mod">
          <ac:chgData name="Kawtar SADIQ" userId="65df04e4-2d23-4bab-afb0-40df8a2c1b9f" providerId="ADAL" clId="{13E48CF6-3C07-4AA7-848A-1E964CBB0D3A}" dt="2022-12-01T16:44:09.213" v="27969"/>
          <ac:spMkLst>
            <pc:docMk/>
            <pc:sldMk cId="1189239573" sldId="2147469838"/>
            <ac:spMk id="34" creationId="{4A2752B6-9653-4EBE-B978-890BEE4E5495}"/>
          </ac:spMkLst>
        </pc:spChg>
        <pc:grpChg chg="add mod">
          <ac:chgData name="Kawtar SADIQ" userId="65df04e4-2d23-4bab-afb0-40df8a2c1b9f" providerId="ADAL" clId="{13E48CF6-3C07-4AA7-848A-1E964CBB0D3A}" dt="2022-12-01T16:44:09.213" v="27969"/>
          <ac:grpSpMkLst>
            <pc:docMk/>
            <pc:sldMk cId="1189239573" sldId="2147469838"/>
            <ac:grpSpMk id="29" creationId="{72919AF4-9263-4951-8D3A-2F262FCE0B4B}"/>
          </ac:grpSpMkLst>
        </pc:grpChg>
        <pc:picChg chg="add mod">
          <ac:chgData name="Kawtar SADIQ" userId="65df04e4-2d23-4bab-afb0-40df8a2c1b9f" providerId="ADAL" clId="{13E48CF6-3C07-4AA7-848A-1E964CBB0D3A}" dt="2022-12-01T16:44:09.213" v="27969"/>
          <ac:picMkLst>
            <pc:docMk/>
            <pc:sldMk cId="1189239573" sldId="2147469838"/>
            <ac:picMk id="8" creationId="{C82BE1EE-02EB-4A40-B536-FE9939942510}"/>
          </ac:picMkLst>
        </pc:picChg>
        <pc:picChg chg="add mod">
          <ac:chgData name="Kawtar SADIQ" userId="65df04e4-2d23-4bab-afb0-40df8a2c1b9f" providerId="ADAL" clId="{13E48CF6-3C07-4AA7-848A-1E964CBB0D3A}" dt="2022-12-01T16:44:09.213" v="27969"/>
          <ac:picMkLst>
            <pc:docMk/>
            <pc:sldMk cId="1189239573" sldId="2147469838"/>
            <ac:picMk id="9" creationId="{E81CB1AE-64EA-4DEC-A2C9-21B017B2DE39}"/>
          </ac:picMkLst>
        </pc:picChg>
        <pc:picChg chg="add mod">
          <ac:chgData name="Kawtar SADIQ" userId="65df04e4-2d23-4bab-afb0-40df8a2c1b9f" providerId="ADAL" clId="{13E48CF6-3C07-4AA7-848A-1E964CBB0D3A}" dt="2022-12-01T16:44:09.213" v="27969"/>
          <ac:picMkLst>
            <pc:docMk/>
            <pc:sldMk cId="1189239573" sldId="2147469838"/>
            <ac:picMk id="10" creationId="{147B61F9-E788-44AB-9E79-DFD14E324A97}"/>
          </ac:picMkLst>
        </pc:picChg>
        <pc:picChg chg="add mod">
          <ac:chgData name="Kawtar SADIQ" userId="65df04e4-2d23-4bab-afb0-40df8a2c1b9f" providerId="ADAL" clId="{13E48CF6-3C07-4AA7-848A-1E964CBB0D3A}" dt="2022-12-01T16:44:09.213" v="27969"/>
          <ac:picMkLst>
            <pc:docMk/>
            <pc:sldMk cId="1189239573" sldId="2147469838"/>
            <ac:picMk id="26" creationId="{EF2A0587-3D57-4691-9398-50B53B30AD2F}"/>
          </ac:picMkLst>
        </pc:picChg>
        <pc:cxnChg chg="add mod">
          <ac:chgData name="Kawtar SADIQ" userId="65df04e4-2d23-4bab-afb0-40df8a2c1b9f" providerId="ADAL" clId="{13E48CF6-3C07-4AA7-848A-1E964CBB0D3A}" dt="2022-12-01T16:44:09.213" v="27969"/>
          <ac:cxnSpMkLst>
            <pc:docMk/>
            <pc:sldMk cId="1189239573" sldId="2147469838"/>
            <ac:cxnSpMk id="11" creationId="{7ECD43EE-50EB-45CF-9CFC-C180AFE22460}"/>
          </ac:cxnSpMkLst>
        </pc:cxnChg>
        <pc:cxnChg chg="add mod">
          <ac:chgData name="Kawtar SADIQ" userId="65df04e4-2d23-4bab-afb0-40df8a2c1b9f" providerId="ADAL" clId="{13E48CF6-3C07-4AA7-848A-1E964CBB0D3A}" dt="2022-12-01T16:44:09.213" v="27969"/>
          <ac:cxnSpMkLst>
            <pc:docMk/>
            <pc:sldMk cId="1189239573" sldId="2147469838"/>
            <ac:cxnSpMk id="15" creationId="{D6B07D1E-5B34-4258-9DFD-029DF19D5AFA}"/>
          </ac:cxnSpMkLst>
        </pc:cxnChg>
        <pc:cxnChg chg="add mod">
          <ac:chgData name="Kawtar SADIQ" userId="65df04e4-2d23-4bab-afb0-40df8a2c1b9f" providerId="ADAL" clId="{13E48CF6-3C07-4AA7-848A-1E964CBB0D3A}" dt="2022-12-01T16:44:09.213" v="27969"/>
          <ac:cxnSpMkLst>
            <pc:docMk/>
            <pc:sldMk cId="1189239573" sldId="2147469838"/>
            <ac:cxnSpMk id="17" creationId="{FAC13786-C49D-44A2-B4B0-52D4FC7A5DEB}"/>
          </ac:cxnSpMkLst>
        </pc:cxnChg>
        <pc:cxnChg chg="add mod">
          <ac:chgData name="Kawtar SADIQ" userId="65df04e4-2d23-4bab-afb0-40df8a2c1b9f" providerId="ADAL" clId="{13E48CF6-3C07-4AA7-848A-1E964CBB0D3A}" dt="2022-12-01T16:44:09.213" v="27969"/>
          <ac:cxnSpMkLst>
            <pc:docMk/>
            <pc:sldMk cId="1189239573" sldId="2147469838"/>
            <ac:cxnSpMk id="28" creationId="{87093E44-A025-4A7A-94A7-05C044B9F85C}"/>
          </ac:cxnSpMkLst>
        </pc:cxnChg>
      </pc:sldChg>
      <pc:sldChg chg="addSp delSp modSp new mod">
        <pc:chgData name="Kawtar SADIQ" userId="65df04e4-2d23-4bab-afb0-40df8a2c1b9f" providerId="ADAL" clId="{13E48CF6-3C07-4AA7-848A-1E964CBB0D3A}" dt="2022-12-01T16:44:24.862" v="27973"/>
        <pc:sldMkLst>
          <pc:docMk/>
          <pc:sldMk cId="3617074622" sldId="2147469839"/>
        </pc:sldMkLst>
        <pc:spChg chg="del">
          <ac:chgData name="Kawtar SADIQ" userId="65df04e4-2d23-4bab-afb0-40df8a2c1b9f" providerId="ADAL" clId="{13E48CF6-3C07-4AA7-848A-1E964CBB0D3A}" dt="2022-12-01T16:44:17.392" v="27972" actId="478"/>
          <ac:spMkLst>
            <pc:docMk/>
            <pc:sldMk cId="3617074622" sldId="2147469839"/>
            <ac:spMk id="2" creationId="{E96009F4-0FAB-4172-AB2F-7A56127D5751}"/>
          </ac:spMkLst>
        </pc:spChg>
        <pc:spChg chg="del">
          <ac:chgData name="Kawtar SADIQ" userId="65df04e4-2d23-4bab-afb0-40df8a2c1b9f" providerId="ADAL" clId="{13E48CF6-3C07-4AA7-848A-1E964CBB0D3A}" dt="2022-12-01T16:44:17.392" v="27972" actId="478"/>
          <ac:spMkLst>
            <pc:docMk/>
            <pc:sldMk cId="3617074622" sldId="2147469839"/>
            <ac:spMk id="3" creationId="{A81AAB8E-CE38-406F-A038-AF7B11153447}"/>
          </ac:spMkLst>
        </pc:spChg>
        <pc:spChg chg="add mod">
          <ac:chgData name="Kawtar SADIQ" userId="65df04e4-2d23-4bab-afb0-40df8a2c1b9f" providerId="ADAL" clId="{13E48CF6-3C07-4AA7-848A-1E964CBB0D3A}" dt="2022-12-01T16:44:24.862" v="27973"/>
          <ac:spMkLst>
            <pc:docMk/>
            <pc:sldMk cId="3617074622" sldId="2147469839"/>
            <ac:spMk id="4" creationId="{F0E0D1FF-736E-46BA-8C42-E2DB5D3108E8}"/>
          </ac:spMkLst>
        </pc:spChg>
        <pc:spChg chg="add mod">
          <ac:chgData name="Kawtar SADIQ" userId="65df04e4-2d23-4bab-afb0-40df8a2c1b9f" providerId="ADAL" clId="{13E48CF6-3C07-4AA7-848A-1E964CBB0D3A}" dt="2022-12-01T16:44:24.862" v="27973"/>
          <ac:spMkLst>
            <pc:docMk/>
            <pc:sldMk cId="3617074622" sldId="2147469839"/>
            <ac:spMk id="5" creationId="{8B258091-B124-4A7C-B99A-A013B4030A36}"/>
          </ac:spMkLst>
        </pc:spChg>
        <pc:spChg chg="add mod">
          <ac:chgData name="Kawtar SADIQ" userId="65df04e4-2d23-4bab-afb0-40df8a2c1b9f" providerId="ADAL" clId="{13E48CF6-3C07-4AA7-848A-1E964CBB0D3A}" dt="2022-12-01T16:44:24.862" v="27973"/>
          <ac:spMkLst>
            <pc:docMk/>
            <pc:sldMk cId="3617074622" sldId="2147469839"/>
            <ac:spMk id="6" creationId="{31E39F37-6BE6-4163-9515-96801290E8E6}"/>
          </ac:spMkLst>
        </pc:spChg>
        <pc:spChg chg="add mod">
          <ac:chgData name="Kawtar SADIQ" userId="65df04e4-2d23-4bab-afb0-40df8a2c1b9f" providerId="ADAL" clId="{13E48CF6-3C07-4AA7-848A-1E964CBB0D3A}" dt="2022-12-01T16:44:24.862" v="27973"/>
          <ac:spMkLst>
            <pc:docMk/>
            <pc:sldMk cId="3617074622" sldId="2147469839"/>
            <ac:spMk id="7" creationId="{F6E61E63-9C67-4A3F-9F8A-20BA81C2B8F8}"/>
          </ac:spMkLst>
        </pc:spChg>
        <pc:spChg chg="add mod">
          <ac:chgData name="Kawtar SADIQ" userId="65df04e4-2d23-4bab-afb0-40df8a2c1b9f" providerId="ADAL" clId="{13E48CF6-3C07-4AA7-848A-1E964CBB0D3A}" dt="2022-12-01T16:44:24.862" v="27973"/>
          <ac:spMkLst>
            <pc:docMk/>
            <pc:sldMk cId="3617074622" sldId="2147469839"/>
            <ac:spMk id="8" creationId="{E7C72243-3C46-4A9E-BA21-3509BF482A7C}"/>
          </ac:spMkLst>
        </pc:spChg>
        <pc:spChg chg="add mod">
          <ac:chgData name="Kawtar SADIQ" userId="65df04e4-2d23-4bab-afb0-40df8a2c1b9f" providerId="ADAL" clId="{13E48CF6-3C07-4AA7-848A-1E964CBB0D3A}" dt="2022-12-01T16:44:24.862" v="27973"/>
          <ac:spMkLst>
            <pc:docMk/>
            <pc:sldMk cId="3617074622" sldId="2147469839"/>
            <ac:spMk id="9" creationId="{FDED5154-C571-415E-A437-CEF5874A3699}"/>
          </ac:spMkLst>
        </pc:spChg>
        <pc:spChg chg="add mod">
          <ac:chgData name="Kawtar SADIQ" userId="65df04e4-2d23-4bab-afb0-40df8a2c1b9f" providerId="ADAL" clId="{13E48CF6-3C07-4AA7-848A-1E964CBB0D3A}" dt="2022-12-01T16:44:24.862" v="27973"/>
          <ac:spMkLst>
            <pc:docMk/>
            <pc:sldMk cId="3617074622" sldId="2147469839"/>
            <ac:spMk id="10" creationId="{3E0F8124-DAD2-4914-82DF-E02BEEC4D5DB}"/>
          </ac:spMkLst>
        </pc:spChg>
        <pc:picChg chg="add mod">
          <ac:chgData name="Kawtar SADIQ" userId="65df04e4-2d23-4bab-afb0-40df8a2c1b9f" providerId="ADAL" clId="{13E48CF6-3C07-4AA7-848A-1E964CBB0D3A}" dt="2022-12-01T16:44:24.862" v="27973"/>
          <ac:picMkLst>
            <pc:docMk/>
            <pc:sldMk cId="3617074622" sldId="2147469839"/>
            <ac:picMk id="11" creationId="{2BD990AD-D5F0-4B47-9F8F-4352EA59E36A}"/>
          </ac:picMkLst>
        </pc:picChg>
        <pc:picChg chg="add mod">
          <ac:chgData name="Kawtar SADIQ" userId="65df04e4-2d23-4bab-afb0-40df8a2c1b9f" providerId="ADAL" clId="{13E48CF6-3C07-4AA7-848A-1E964CBB0D3A}" dt="2022-12-01T16:44:24.862" v="27973"/>
          <ac:picMkLst>
            <pc:docMk/>
            <pc:sldMk cId="3617074622" sldId="2147469839"/>
            <ac:picMk id="12" creationId="{C4CBD73A-AC66-4BD1-BB57-4E7D20E7BA36}"/>
          </ac:picMkLst>
        </pc:picChg>
        <pc:picChg chg="add mod">
          <ac:chgData name="Kawtar SADIQ" userId="65df04e4-2d23-4bab-afb0-40df8a2c1b9f" providerId="ADAL" clId="{13E48CF6-3C07-4AA7-848A-1E964CBB0D3A}" dt="2022-12-01T16:44:24.862" v="27973"/>
          <ac:picMkLst>
            <pc:docMk/>
            <pc:sldMk cId="3617074622" sldId="2147469839"/>
            <ac:picMk id="13" creationId="{60F758B3-4BFB-45FD-A281-96279D07B2E4}"/>
          </ac:picMkLst>
        </pc:picChg>
        <pc:picChg chg="add mod">
          <ac:chgData name="Kawtar SADIQ" userId="65df04e4-2d23-4bab-afb0-40df8a2c1b9f" providerId="ADAL" clId="{13E48CF6-3C07-4AA7-848A-1E964CBB0D3A}" dt="2022-12-01T16:44:24.862" v="27973"/>
          <ac:picMkLst>
            <pc:docMk/>
            <pc:sldMk cId="3617074622" sldId="2147469839"/>
            <ac:picMk id="14" creationId="{CB4D073F-4967-41FC-93B8-5DC825D12373}"/>
          </ac:picMkLst>
        </pc:picChg>
      </pc:sldChg>
      <pc:sldChg chg="addSp delSp modSp new mod">
        <pc:chgData name="Kawtar SADIQ" userId="65df04e4-2d23-4bab-afb0-40df8a2c1b9f" providerId="ADAL" clId="{13E48CF6-3C07-4AA7-848A-1E964CBB0D3A}" dt="2022-12-01T16:44:42.422" v="27977"/>
        <pc:sldMkLst>
          <pc:docMk/>
          <pc:sldMk cId="3337495690" sldId="2147469840"/>
        </pc:sldMkLst>
        <pc:spChg chg="del">
          <ac:chgData name="Kawtar SADIQ" userId="65df04e4-2d23-4bab-afb0-40df8a2c1b9f" providerId="ADAL" clId="{13E48CF6-3C07-4AA7-848A-1E964CBB0D3A}" dt="2022-12-01T16:44:35.473" v="27976" actId="478"/>
          <ac:spMkLst>
            <pc:docMk/>
            <pc:sldMk cId="3337495690" sldId="2147469840"/>
            <ac:spMk id="2" creationId="{8A39D2F2-E8E0-42CD-9A8C-203230C974FE}"/>
          </ac:spMkLst>
        </pc:spChg>
        <pc:spChg chg="del">
          <ac:chgData name="Kawtar SADIQ" userId="65df04e4-2d23-4bab-afb0-40df8a2c1b9f" providerId="ADAL" clId="{13E48CF6-3C07-4AA7-848A-1E964CBB0D3A}" dt="2022-12-01T16:44:35.473" v="27976" actId="478"/>
          <ac:spMkLst>
            <pc:docMk/>
            <pc:sldMk cId="3337495690" sldId="2147469840"/>
            <ac:spMk id="3" creationId="{09BB9118-3743-49FA-B763-3825ECDCA110}"/>
          </ac:spMkLst>
        </pc:spChg>
        <pc:spChg chg="mod">
          <ac:chgData name="Kawtar SADIQ" userId="65df04e4-2d23-4bab-afb0-40df8a2c1b9f" providerId="ADAL" clId="{13E48CF6-3C07-4AA7-848A-1E964CBB0D3A}" dt="2022-12-01T16:44:42.422" v="27977"/>
          <ac:spMkLst>
            <pc:docMk/>
            <pc:sldMk cId="3337495690" sldId="2147469840"/>
            <ac:spMk id="5" creationId="{D161F995-8003-4296-850A-1C4103936ECA}"/>
          </ac:spMkLst>
        </pc:spChg>
        <pc:spChg chg="mod">
          <ac:chgData name="Kawtar SADIQ" userId="65df04e4-2d23-4bab-afb0-40df8a2c1b9f" providerId="ADAL" clId="{13E48CF6-3C07-4AA7-848A-1E964CBB0D3A}" dt="2022-12-01T16:44:42.422" v="27977"/>
          <ac:spMkLst>
            <pc:docMk/>
            <pc:sldMk cId="3337495690" sldId="2147469840"/>
            <ac:spMk id="6" creationId="{F9AACD53-C93E-4218-8FC1-ACABC3A07FAB}"/>
          </ac:spMkLst>
        </pc:spChg>
        <pc:spChg chg="add mod">
          <ac:chgData name="Kawtar SADIQ" userId="65df04e4-2d23-4bab-afb0-40df8a2c1b9f" providerId="ADAL" clId="{13E48CF6-3C07-4AA7-848A-1E964CBB0D3A}" dt="2022-12-01T16:44:42.422" v="27977"/>
          <ac:spMkLst>
            <pc:docMk/>
            <pc:sldMk cId="3337495690" sldId="2147469840"/>
            <ac:spMk id="7" creationId="{6EBF4558-8440-48C7-89C0-492CF0E8A9A7}"/>
          </ac:spMkLst>
        </pc:spChg>
        <pc:spChg chg="add mod">
          <ac:chgData name="Kawtar SADIQ" userId="65df04e4-2d23-4bab-afb0-40df8a2c1b9f" providerId="ADAL" clId="{13E48CF6-3C07-4AA7-848A-1E964CBB0D3A}" dt="2022-12-01T16:44:42.422" v="27977"/>
          <ac:spMkLst>
            <pc:docMk/>
            <pc:sldMk cId="3337495690" sldId="2147469840"/>
            <ac:spMk id="8" creationId="{86C9D3C7-E03E-4132-90C0-C7A1D20306FA}"/>
          </ac:spMkLst>
        </pc:spChg>
        <pc:spChg chg="add mod">
          <ac:chgData name="Kawtar SADIQ" userId="65df04e4-2d23-4bab-afb0-40df8a2c1b9f" providerId="ADAL" clId="{13E48CF6-3C07-4AA7-848A-1E964CBB0D3A}" dt="2022-12-01T16:44:42.422" v="27977"/>
          <ac:spMkLst>
            <pc:docMk/>
            <pc:sldMk cId="3337495690" sldId="2147469840"/>
            <ac:spMk id="13" creationId="{4C3FE434-D47F-4A8B-8790-097093DBBEAD}"/>
          </ac:spMkLst>
        </pc:spChg>
        <pc:spChg chg="add mod">
          <ac:chgData name="Kawtar SADIQ" userId="65df04e4-2d23-4bab-afb0-40df8a2c1b9f" providerId="ADAL" clId="{13E48CF6-3C07-4AA7-848A-1E964CBB0D3A}" dt="2022-12-01T16:44:42.422" v="27977"/>
          <ac:spMkLst>
            <pc:docMk/>
            <pc:sldMk cId="3337495690" sldId="2147469840"/>
            <ac:spMk id="14" creationId="{D653805D-3CC4-4C50-B94D-5AC4FABB1731}"/>
          </ac:spMkLst>
        </pc:spChg>
        <pc:spChg chg="add mod">
          <ac:chgData name="Kawtar SADIQ" userId="65df04e4-2d23-4bab-afb0-40df8a2c1b9f" providerId="ADAL" clId="{13E48CF6-3C07-4AA7-848A-1E964CBB0D3A}" dt="2022-12-01T16:44:42.422" v="27977"/>
          <ac:spMkLst>
            <pc:docMk/>
            <pc:sldMk cId="3337495690" sldId="2147469840"/>
            <ac:spMk id="15" creationId="{DEA4F5C2-B165-4ABC-B36E-FDD93480F71B}"/>
          </ac:spMkLst>
        </pc:spChg>
        <pc:spChg chg="add mod">
          <ac:chgData name="Kawtar SADIQ" userId="65df04e4-2d23-4bab-afb0-40df8a2c1b9f" providerId="ADAL" clId="{13E48CF6-3C07-4AA7-848A-1E964CBB0D3A}" dt="2022-12-01T16:44:42.422" v="27977"/>
          <ac:spMkLst>
            <pc:docMk/>
            <pc:sldMk cId="3337495690" sldId="2147469840"/>
            <ac:spMk id="17" creationId="{A4C009BB-F126-42D9-8F8C-E4EE44285426}"/>
          </ac:spMkLst>
        </pc:spChg>
        <pc:spChg chg="add mod">
          <ac:chgData name="Kawtar SADIQ" userId="65df04e4-2d23-4bab-afb0-40df8a2c1b9f" providerId="ADAL" clId="{13E48CF6-3C07-4AA7-848A-1E964CBB0D3A}" dt="2022-12-01T16:44:42.422" v="27977"/>
          <ac:spMkLst>
            <pc:docMk/>
            <pc:sldMk cId="3337495690" sldId="2147469840"/>
            <ac:spMk id="19" creationId="{769DF6EB-8A6F-4FE0-9C8B-E4BC6F570122}"/>
          </ac:spMkLst>
        </pc:spChg>
        <pc:spChg chg="add mod">
          <ac:chgData name="Kawtar SADIQ" userId="65df04e4-2d23-4bab-afb0-40df8a2c1b9f" providerId="ADAL" clId="{13E48CF6-3C07-4AA7-848A-1E964CBB0D3A}" dt="2022-12-01T16:44:42.422" v="27977"/>
          <ac:spMkLst>
            <pc:docMk/>
            <pc:sldMk cId="3337495690" sldId="2147469840"/>
            <ac:spMk id="20" creationId="{40BC62B6-B12D-408E-8173-5F0E85F43D1C}"/>
          </ac:spMkLst>
        </pc:spChg>
        <pc:spChg chg="add mod">
          <ac:chgData name="Kawtar SADIQ" userId="65df04e4-2d23-4bab-afb0-40df8a2c1b9f" providerId="ADAL" clId="{13E48CF6-3C07-4AA7-848A-1E964CBB0D3A}" dt="2022-12-01T16:44:42.422" v="27977"/>
          <ac:spMkLst>
            <pc:docMk/>
            <pc:sldMk cId="3337495690" sldId="2147469840"/>
            <ac:spMk id="21" creationId="{449C9433-4DDF-405B-B7FA-728896BA0C92}"/>
          </ac:spMkLst>
        </pc:spChg>
        <pc:spChg chg="add mod">
          <ac:chgData name="Kawtar SADIQ" userId="65df04e4-2d23-4bab-afb0-40df8a2c1b9f" providerId="ADAL" clId="{13E48CF6-3C07-4AA7-848A-1E964CBB0D3A}" dt="2022-12-01T16:44:42.422" v="27977"/>
          <ac:spMkLst>
            <pc:docMk/>
            <pc:sldMk cId="3337495690" sldId="2147469840"/>
            <ac:spMk id="22" creationId="{12C745A6-F019-48C1-BB46-45BF0A995D80}"/>
          </ac:spMkLst>
        </pc:spChg>
        <pc:spChg chg="add mod">
          <ac:chgData name="Kawtar SADIQ" userId="65df04e4-2d23-4bab-afb0-40df8a2c1b9f" providerId="ADAL" clId="{13E48CF6-3C07-4AA7-848A-1E964CBB0D3A}" dt="2022-12-01T16:44:42.422" v="27977"/>
          <ac:spMkLst>
            <pc:docMk/>
            <pc:sldMk cId="3337495690" sldId="2147469840"/>
            <ac:spMk id="23" creationId="{F8E810EF-EF62-4369-A9E5-197A6D0B50AB}"/>
          </ac:spMkLst>
        </pc:spChg>
        <pc:spChg chg="add mod">
          <ac:chgData name="Kawtar SADIQ" userId="65df04e4-2d23-4bab-afb0-40df8a2c1b9f" providerId="ADAL" clId="{13E48CF6-3C07-4AA7-848A-1E964CBB0D3A}" dt="2022-12-01T16:44:42.422" v="27977"/>
          <ac:spMkLst>
            <pc:docMk/>
            <pc:sldMk cId="3337495690" sldId="2147469840"/>
            <ac:spMk id="24" creationId="{09509CA5-2044-4483-8F11-0C5B4C0C4CAE}"/>
          </ac:spMkLst>
        </pc:spChg>
        <pc:spChg chg="add mod">
          <ac:chgData name="Kawtar SADIQ" userId="65df04e4-2d23-4bab-afb0-40df8a2c1b9f" providerId="ADAL" clId="{13E48CF6-3C07-4AA7-848A-1E964CBB0D3A}" dt="2022-12-01T16:44:42.422" v="27977"/>
          <ac:spMkLst>
            <pc:docMk/>
            <pc:sldMk cId="3337495690" sldId="2147469840"/>
            <ac:spMk id="26" creationId="{14D70B4E-55F1-47D6-9FCD-99400F6DF99D}"/>
          </ac:spMkLst>
        </pc:spChg>
        <pc:spChg chg="add mod">
          <ac:chgData name="Kawtar SADIQ" userId="65df04e4-2d23-4bab-afb0-40df8a2c1b9f" providerId="ADAL" clId="{13E48CF6-3C07-4AA7-848A-1E964CBB0D3A}" dt="2022-12-01T16:44:42.422" v="27977"/>
          <ac:spMkLst>
            <pc:docMk/>
            <pc:sldMk cId="3337495690" sldId="2147469840"/>
            <ac:spMk id="28" creationId="{9F07B304-48A5-4C15-838C-6901AC7B7E72}"/>
          </ac:spMkLst>
        </pc:spChg>
        <pc:spChg chg="add mod">
          <ac:chgData name="Kawtar SADIQ" userId="65df04e4-2d23-4bab-afb0-40df8a2c1b9f" providerId="ADAL" clId="{13E48CF6-3C07-4AA7-848A-1E964CBB0D3A}" dt="2022-12-01T16:44:42.422" v="27977"/>
          <ac:spMkLst>
            <pc:docMk/>
            <pc:sldMk cId="3337495690" sldId="2147469840"/>
            <ac:spMk id="30" creationId="{CA1193A1-D747-40B7-B729-CEC4544193E0}"/>
          </ac:spMkLst>
        </pc:spChg>
        <pc:spChg chg="add mod">
          <ac:chgData name="Kawtar SADIQ" userId="65df04e4-2d23-4bab-afb0-40df8a2c1b9f" providerId="ADAL" clId="{13E48CF6-3C07-4AA7-848A-1E964CBB0D3A}" dt="2022-12-01T16:44:42.422" v="27977"/>
          <ac:spMkLst>
            <pc:docMk/>
            <pc:sldMk cId="3337495690" sldId="2147469840"/>
            <ac:spMk id="32" creationId="{A226285A-4FCE-40A6-8082-A96661BECE7E}"/>
          </ac:spMkLst>
        </pc:spChg>
        <pc:spChg chg="add mod">
          <ac:chgData name="Kawtar SADIQ" userId="65df04e4-2d23-4bab-afb0-40df8a2c1b9f" providerId="ADAL" clId="{13E48CF6-3C07-4AA7-848A-1E964CBB0D3A}" dt="2022-12-01T16:44:42.422" v="27977"/>
          <ac:spMkLst>
            <pc:docMk/>
            <pc:sldMk cId="3337495690" sldId="2147469840"/>
            <ac:spMk id="33" creationId="{ABC36585-D4D9-40A6-970A-B6D4D672FE3B}"/>
          </ac:spMkLst>
        </pc:spChg>
        <pc:spChg chg="add mod">
          <ac:chgData name="Kawtar SADIQ" userId="65df04e4-2d23-4bab-afb0-40df8a2c1b9f" providerId="ADAL" clId="{13E48CF6-3C07-4AA7-848A-1E964CBB0D3A}" dt="2022-12-01T16:44:42.422" v="27977"/>
          <ac:spMkLst>
            <pc:docMk/>
            <pc:sldMk cId="3337495690" sldId="2147469840"/>
            <ac:spMk id="34" creationId="{E4F87287-4426-4C24-85DF-8A5B7EBCD666}"/>
          </ac:spMkLst>
        </pc:spChg>
        <pc:spChg chg="add mod">
          <ac:chgData name="Kawtar SADIQ" userId="65df04e4-2d23-4bab-afb0-40df8a2c1b9f" providerId="ADAL" clId="{13E48CF6-3C07-4AA7-848A-1E964CBB0D3A}" dt="2022-12-01T16:44:42.422" v="27977"/>
          <ac:spMkLst>
            <pc:docMk/>
            <pc:sldMk cId="3337495690" sldId="2147469840"/>
            <ac:spMk id="35" creationId="{9527EE86-8457-45BC-A616-0F418349A575}"/>
          </ac:spMkLst>
        </pc:spChg>
        <pc:spChg chg="add mod">
          <ac:chgData name="Kawtar SADIQ" userId="65df04e4-2d23-4bab-afb0-40df8a2c1b9f" providerId="ADAL" clId="{13E48CF6-3C07-4AA7-848A-1E964CBB0D3A}" dt="2022-12-01T16:44:42.422" v="27977"/>
          <ac:spMkLst>
            <pc:docMk/>
            <pc:sldMk cId="3337495690" sldId="2147469840"/>
            <ac:spMk id="36" creationId="{33AE2E81-E785-475B-8DFE-8199D950ECFC}"/>
          </ac:spMkLst>
        </pc:spChg>
        <pc:spChg chg="add mod">
          <ac:chgData name="Kawtar SADIQ" userId="65df04e4-2d23-4bab-afb0-40df8a2c1b9f" providerId="ADAL" clId="{13E48CF6-3C07-4AA7-848A-1E964CBB0D3A}" dt="2022-12-01T16:44:42.422" v="27977"/>
          <ac:spMkLst>
            <pc:docMk/>
            <pc:sldMk cId="3337495690" sldId="2147469840"/>
            <ac:spMk id="37" creationId="{1D935041-E160-4579-BC99-662D5133D188}"/>
          </ac:spMkLst>
        </pc:spChg>
        <pc:spChg chg="add mod">
          <ac:chgData name="Kawtar SADIQ" userId="65df04e4-2d23-4bab-afb0-40df8a2c1b9f" providerId="ADAL" clId="{13E48CF6-3C07-4AA7-848A-1E964CBB0D3A}" dt="2022-12-01T16:44:42.422" v="27977"/>
          <ac:spMkLst>
            <pc:docMk/>
            <pc:sldMk cId="3337495690" sldId="2147469840"/>
            <ac:spMk id="39" creationId="{18F23C66-00D0-4E83-A484-C733C76BD091}"/>
          </ac:spMkLst>
        </pc:spChg>
        <pc:grpChg chg="add mod">
          <ac:chgData name="Kawtar SADIQ" userId="65df04e4-2d23-4bab-afb0-40df8a2c1b9f" providerId="ADAL" clId="{13E48CF6-3C07-4AA7-848A-1E964CBB0D3A}" dt="2022-12-01T16:44:42.422" v="27977"/>
          <ac:grpSpMkLst>
            <pc:docMk/>
            <pc:sldMk cId="3337495690" sldId="2147469840"/>
            <ac:grpSpMk id="4" creationId="{15378D13-B9A4-41EE-9A8D-AD39FC563741}"/>
          </ac:grpSpMkLst>
        </pc:grpChg>
        <pc:picChg chg="add mod">
          <ac:chgData name="Kawtar SADIQ" userId="65df04e4-2d23-4bab-afb0-40df8a2c1b9f" providerId="ADAL" clId="{13E48CF6-3C07-4AA7-848A-1E964CBB0D3A}" dt="2022-12-01T16:44:42.422" v="27977"/>
          <ac:picMkLst>
            <pc:docMk/>
            <pc:sldMk cId="3337495690" sldId="2147469840"/>
            <ac:picMk id="9" creationId="{0E6CAFB9-1F76-4B5E-8347-35E9EA01F198}"/>
          </ac:picMkLst>
        </pc:picChg>
        <pc:picChg chg="add mod">
          <ac:chgData name="Kawtar SADIQ" userId="65df04e4-2d23-4bab-afb0-40df8a2c1b9f" providerId="ADAL" clId="{13E48CF6-3C07-4AA7-848A-1E964CBB0D3A}" dt="2022-12-01T16:44:42.422" v="27977"/>
          <ac:picMkLst>
            <pc:docMk/>
            <pc:sldMk cId="3337495690" sldId="2147469840"/>
            <ac:picMk id="10" creationId="{728102FC-8ACF-44AB-A41F-186BDD2957FE}"/>
          </ac:picMkLst>
        </pc:picChg>
        <pc:picChg chg="add mod">
          <ac:chgData name="Kawtar SADIQ" userId="65df04e4-2d23-4bab-afb0-40df8a2c1b9f" providerId="ADAL" clId="{13E48CF6-3C07-4AA7-848A-1E964CBB0D3A}" dt="2022-12-01T16:44:42.422" v="27977"/>
          <ac:picMkLst>
            <pc:docMk/>
            <pc:sldMk cId="3337495690" sldId="2147469840"/>
            <ac:picMk id="11" creationId="{60DFC15A-1A97-40D2-86A1-E06262D27A38}"/>
          </ac:picMkLst>
        </pc:picChg>
        <pc:picChg chg="add mod">
          <ac:chgData name="Kawtar SADIQ" userId="65df04e4-2d23-4bab-afb0-40df8a2c1b9f" providerId="ADAL" clId="{13E48CF6-3C07-4AA7-848A-1E964CBB0D3A}" dt="2022-12-01T16:44:42.422" v="27977"/>
          <ac:picMkLst>
            <pc:docMk/>
            <pc:sldMk cId="3337495690" sldId="2147469840"/>
            <ac:picMk id="25" creationId="{C69CEAD2-015F-42C1-AF21-D050B11B3581}"/>
          </ac:picMkLst>
        </pc:picChg>
        <pc:picChg chg="add mod">
          <ac:chgData name="Kawtar SADIQ" userId="65df04e4-2d23-4bab-afb0-40df8a2c1b9f" providerId="ADAL" clId="{13E48CF6-3C07-4AA7-848A-1E964CBB0D3A}" dt="2022-12-01T16:44:42.422" v="27977"/>
          <ac:picMkLst>
            <pc:docMk/>
            <pc:sldMk cId="3337495690" sldId="2147469840"/>
            <ac:picMk id="29" creationId="{CB725067-043A-40D5-B310-FD21B24BD222}"/>
          </ac:picMkLst>
        </pc:picChg>
        <pc:picChg chg="add mod">
          <ac:chgData name="Kawtar SADIQ" userId="65df04e4-2d23-4bab-afb0-40df8a2c1b9f" providerId="ADAL" clId="{13E48CF6-3C07-4AA7-848A-1E964CBB0D3A}" dt="2022-12-01T16:44:42.422" v="27977"/>
          <ac:picMkLst>
            <pc:docMk/>
            <pc:sldMk cId="3337495690" sldId="2147469840"/>
            <ac:picMk id="31" creationId="{9B4A727D-FF09-4FEC-85B1-46D05517FE19}"/>
          </ac:picMkLst>
        </pc:picChg>
        <pc:picChg chg="add mod">
          <ac:chgData name="Kawtar SADIQ" userId="65df04e4-2d23-4bab-afb0-40df8a2c1b9f" providerId="ADAL" clId="{13E48CF6-3C07-4AA7-848A-1E964CBB0D3A}" dt="2022-12-01T16:44:42.422" v="27977"/>
          <ac:picMkLst>
            <pc:docMk/>
            <pc:sldMk cId="3337495690" sldId="2147469840"/>
            <ac:picMk id="38" creationId="{0B31727D-CF7A-4A82-9827-9635CC1FD6EB}"/>
          </ac:picMkLst>
        </pc:picChg>
        <pc:cxnChg chg="add mod">
          <ac:chgData name="Kawtar SADIQ" userId="65df04e4-2d23-4bab-afb0-40df8a2c1b9f" providerId="ADAL" clId="{13E48CF6-3C07-4AA7-848A-1E964CBB0D3A}" dt="2022-12-01T16:44:42.422" v="27977"/>
          <ac:cxnSpMkLst>
            <pc:docMk/>
            <pc:sldMk cId="3337495690" sldId="2147469840"/>
            <ac:cxnSpMk id="12" creationId="{9BB5D238-9E86-431F-88D2-1B1CF8CF3485}"/>
          </ac:cxnSpMkLst>
        </pc:cxnChg>
        <pc:cxnChg chg="add mod">
          <ac:chgData name="Kawtar SADIQ" userId="65df04e4-2d23-4bab-afb0-40df8a2c1b9f" providerId="ADAL" clId="{13E48CF6-3C07-4AA7-848A-1E964CBB0D3A}" dt="2022-12-01T16:44:42.422" v="27977"/>
          <ac:cxnSpMkLst>
            <pc:docMk/>
            <pc:sldMk cId="3337495690" sldId="2147469840"/>
            <ac:cxnSpMk id="16" creationId="{35877BE4-5D51-4A30-9D69-C202D72F4D92}"/>
          </ac:cxnSpMkLst>
        </pc:cxnChg>
        <pc:cxnChg chg="add mod">
          <ac:chgData name="Kawtar SADIQ" userId="65df04e4-2d23-4bab-afb0-40df8a2c1b9f" providerId="ADAL" clId="{13E48CF6-3C07-4AA7-848A-1E964CBB0D3A}" dt="2022-12-01T16:44:42.422" v="27977"/>
          <ac:cxnSpMkLst>
            <pc:docMk/>
            <pc:sldMk cId="3337495690" sldId="2147469840"/>
            <ac:cxnSpMk id="18" creationId="{BBE0CC4C-93D7-49DC-B8CD-E9A1ABE06514}"/>
          </ac:cxnSpMkLst>
        </pc:cxnChg>
        <pc:cxnChg chg="add mod">
          <ac:chgData name="Kawtar SADIQ" userId="65df04e4-2d23-4bab-afb0-40df8a2c1b9f" providerId="ADAL" clId="{13E48CF6-3C07-4AA7-848A-1E964CBB0D3A}" dt="2022-12-01T16:44:42.422" v="27977"/>
          <ac:cxnSpMkLst>
            <pc:docMk/>
            <pc:sldMk cId="3337495690" sldId="2147469840"/>
            <ac:cxnSpMk id="27" creationId="{71F88D63-A840-4B3D-93DE-55228CB64143}"/>
          </ac:cxnSpMkLst>
        </pc:cxnChg>
      </pc:sldChg>
      <pc:sldChg chg="addSp delSp modSp new mod">
        <pc:chgData name="Kawtar SADIQ" userId="65df04e4-2d23-4bab-afb0-40df8a2c1b9f" providerId="ADAL" clId="{13E48CF6-3C07-4AA7-848A-1E964CBB0D3A}" dt="2022-12-01T16:45:07.503" v="27982"/>
        <pc:sldMkLst>
          <pc:docMk/>
          <pc:sldMk cId="2808153295" sldId="2147469841"/>
        </pc:sldMkLst>
        <pc:spChg chg="del">
          <ac:chgData name="Kawtar SADIQ" userId="65df04e4-2d23-4bab-afb0-40df8a2c1b9f" providerId="ADAL" clId="{13E48CF6-3C07-4AA7-848A-1E964CBB0D3A}" dt="2022-12-01T16:44:52.263" v="27980" actId="478"/>
          <ac:spMkLst>
            <pc:docMk/>
            <pc:sldMk cId="2808153295" sldId="2147469841"/>
            <ac:spMk id="2" creationId="{EA5051BC-B9F5-4C23-80F5-180839EBA055}"/>
          </ac:spMkLst>
        </pc:spChg>
        <pc:spChg chg="del">
          <ac:chgData name="Kawtar SADIQ" userId="65df04e4-2d23-4bab-afb0-40df8a2c1b9f" providerId="ADAL" clId="{13E48CF6-3C07-4AA7-848A-1E964CBB0D3A}" dt="2022-12-01T16:44:52.263" v="27980" actId="478"/>
          <ac:spMkLst>
            <pc:docMk/>
            <pc:sldMk cId="2808153295" sldId="2147469841"/>
            <ac:spMk id="3" creationId="{36373D2F-9751-4DCD-AC7E-EF2DC7ABFAB5}"/>
          </ac:spMkLst>
        </pc:spChg>
        <pc:spChg chg="add mod">
          <ac:chgData name="Kawtar SADIQ" userId="65df04e4-2d23-4bab-afb0-40df8a2c1b9f" providerId="ADAL" clId="{13E48CF6-3C07-4AA7-848A-1E964CBB0D3A}" dt="2022-12-01T16:44:57.742" v="27981"/>
          <ac:spMkLst>
            <pc:docMk/>
            <pc:sldMk cId="2808153295" sldId="2147469841"/>
            <ac:spMk id="4" creationId="{9A04DCC4-7414-4302-8A15-06F36B91105F}"/>
          </ac:spMkLst>
        </pc:spChg>
        <pc:spChg chg="add mod">
          <ac:chgData name="Kawtar SADIQ" userId="65df04e4-2d23-4bab-afb0-40df8a2c1b9f" providerId="ADAL" clId="{13E48CF6-3C07-4AA7-848A-1E964CBB0D3A}" dt="2022-12-01T16:44:57.742" v="27981"/>
          <ac:spMkLst>
            <pc:docMk/>
            <pc:sldMk cId="2808153295" sldId="2147469841"/>
            <ac:spMk id="5" creationId="{3EACDEAA-B2FA-4121-B60D-EF7535F39CD1}"/>
          </ac:spMkLst>
        </pc:spChg>
        <pc:spChg chg="add mod">
          <ac:chgData name="Kawtar SADIQ" userId="65df04e4-2d23-4bab-afb0-40df8a2c1b9f" providerId="ADAL" clId="{13E48CF6-3C07-4AA7-848A-1E964CBB0D3A}" dt="2022-12-01T16:44:57.742" v="27981"/>
          <ac:spMkLst>
            <pc:docMk/>
            <pc:sldMk cId="2808153295" sldId="2147469841"/>
            <ac:spMk id="8" creationId="{64E80A8F-371B-49E9-A066-42BAF935E73A}"/>
          </ac:spMkLst>
        </pc:spChg>
        <pc:spChg chg="add mod">
          <ac:chgData name="Kawtar SADIQ" userId="65df04e4-2d23-4bab-afb0-40df8a2c1b9f" providerId="ADAL" clId="{13E48CF6-3C07-4AA7-848A-1E964CBB0D3A}" dt="2022-12-01T16:44:57.742" v="27981"/>
          <ac:spMkLst>
            <pc:docMk/>
            <pc:sldMk cId="2808153295" sldId="2147469841"/>
            <ac:spMk id="9" creationId="{3870EA10-961B-4C47-AFFB-331C9F440387}"/>
          </ac:spMkLst>
        </pc:spChg>
        <pc:spChg chg="add mod">
          <ac:chgData name="Kawtar SADIQ" userId="65df04e4-2d23-4bab-afb0-40df8a2c1b9f" providerId="ADAL" clId="{13E48CF6-3C07-4AA7-848A-1E964CBB0D3A}" dt="2022-12-01T16:45:07.503" v="27982"/>
          <ac:spMkLst>
            <pc:docMk/>
            <pc:sldMk cId="2808153295" sldId="2147469841"/>
            <ac:spMk id="11" creationId="{2CC08AC6-5225-4B2A-9C8C-5F60D818F60F}"/>
          </ac:spMkLst>
        </pc:spChg>
        <pc:picChg chg="add mod">
          <ac:chgData name="Kawtar SADIQ" userId="65df04e4-2d23-4bab-afb0-40df8a2c1b9f" providerId="ADAL" clId="{13E48CF6-3C07-4AA7-848A-1E964CBB0D3A}" dt="2022-12-01T16:44:57.742" v="27981"/>
          <ac:picMkLst>
            <pc:docMk/>
            <pc:sldMk cId="2808153295" sldId="2147469841"/>
            <ac:picMk id="6" creationId="{768479FE-EED4-479C-9D18-BBFD83F872AF}"/>
          </ac:picMkLst>
        </pc:picChg>
        <pc:picChg chg="add mod">
          <ac:chgData name="Kawtar SADIQ" userId="65df04e4-2d23-4bab-afb0-40df8a2c1b9f" providerId="ADAL" clId="{13E48CF6-3C07-4AA7-848A-1E964CBB0D3A}" dt="2022-12-01T16:44:57.742" v="27981"/>
          <ac:picMkLst>
            <pc:docMk/>
            <pc:sldMk cId="2808153295" sldId="2147469841"/>
            <ac:picMk id="7" creationId="{B0B82E97-A134-4BA5-BEEC-EBCE54428BD4}"/>
          </ac:picMkLst>
        </pc:picChg>
        <pc:picChg chg="add mod">
          <ac:chgData name="Kawtar SADIQ" userId="65df04e4-2d23-4bab-afb0-40df8a2c1b9f" providerId="ADAL" clId="{13E48CF6-3C07-4AA7-848A-1E964CBB0D3A}" dt="2022-12-01T16:44:57.742" v="27981"/>
          <ac:picMkLst>
            <pc:docMk/>
            <pc:sldMk cId="2808153295" sldId="2147469841"/>
            <ac:picMk id="10" creationId="{E2490CE1-1579-4AFB-A072-B821F16C4742}"/>
          </ac:picMkLst>
        </pc:picChg>
      </pc:sldChg>
      <pc:sldChg chg="addSp delSp modSp new mod ord">
        <pc:chgData name="Kawtar SADIQ" userId="65df04e4-2d23-4bab-afb0-40df8a2c1b9f" providerId="ADAL" clId="{13E48CF6-3C07-4AA7-848A-1E964CBB0D3A}" dt="2022-12-01T16:45:48.374" v="27988"/>
        <pc:sldMkLst>
          <pc:docMk/>
          <pc:sldMk cId="256183737" sldId="2147469842"/>
        </pc:sldMkLst>
        <pc:spChg chg="del">
          <ac:chgData name="Kawtar SADIQ" userId="65df04e4-2d23-4bab-afb0-40df8a2c1b9f" providerId="ADAL" clId="{13E48CF6-3C07-4AA7-848A-1E964CBB0D3A}" dt="2022-12-01T16:45:40.452" v="27987" actId="478"/>
          <ac:spMkLst>
            <pc:docMk/>
            <pc:sldMk cId="256183737" sldId="2147469842"/>
            <ac:spMk id="2" creationId="{1A2F6CCC-F48F-4288-B05A-C303A4FC7A4F}"/>
          </ac:spMkLst>
        </pc:spChg>
        <pc:spChg chg="del">
          <ac:chgData name="Kawtar SADIQ" userId="65df04e4-2d23-4bab-afb0-40df8a2c1b9f" providerId="ADAL" clId="{13E48CF6-3C07-4AA7-848A-1E964CBB0D3A}" dt="2022-12-01T16:45:40.452" v="27987" actId="478"/>
          <ac:spMkLst>
            <pc:docMk/>
            <pc:sldMk cId="256183737" sldId="2147469842"/>
            <ac:spMk id="3" creationId="{99EB845C-5F16-469F-A88D-B21DF6B4A9D7}"/>
          </ac:spMkLst>
        </pc:spChg>
        <pc:spChg chg="add mod">
          <ac:chgData name="Kawtar SADIQ" userId="65df04e4-2d23-4bab-afb0-40df8a2c1b9f" providerId="ADAL" clId="{13E48CF6-3C07-4AA7-848A-1E964CBB0D3A}" dt="2022-12-01T16:45:48.374" v="27988"/>
          <ac:spMkLst>
            <pc:docMk/>
            <pc:sldMk cId="256183737" sldId="2147469842"/>
            <ac:spMk id="5" creationId="{1A4402D9-398D-4DF2-96CC-333DFAAEE6C6}"/>
          </ac:spMkLst>
        </pc:spChg>
        <pc:spChg chg="add mod">
          <ac:chgData name="Kawtar SADIQ" userId="65df04e4-2d23-4bab-afb0-40df8a2c1b9f" providerId="ADAL" clId="{13E48CF6-3C07-4AA7-848A-1E964CBB0D3A}" dt="2022-12-01T16:45:48.374" v="27988"/>
          <ac:spMkLst>
            <pc:docMk/>
            <pc:sldMk cId="256183737" sldId="2147469842"/>
            <ac:spMk id="6" creationId="{6045B5AE-AEEA-48D4-8EB6-4D26AE82B2D3}"/>
          </ac:spMkLst>
        </pc:spChg>
        <pc:spChg chg="add mod">
          <ac:chgData name="Kawtar SADIQ" userId="65df04e4-2d23-4bab-afb0-40df8a2c1b9f" providerId="ADAL" clId="{13E48CF6-3C07-4AA7-848A-1E964CBB0D3A}" dt="2022-12-01T16:45:48.374" v="27988"/>
          <ac:spMkLst>
            <pc:docMk/>
            <pc:sldMk cId="256183737" sldId="2147469842"/>
            <ac:spMk id="7" creationId="{09CD23FC-4420-46C7-A4E6-F7E37796B87D}"/>
          </ac:spMkLst>
        </pc:spChg>
        <pc:spChg chg="add mod">
          <ac:chgData name="Kawtar SADIQ" userId="65df04e4-2d23-4bab-afb0-40df8a2c1b9f" providerId="ADAL" clId="{13E48CF6-3C07-4AA7-848A-1E964CBB0D3A}" dt="2022-12-01T16:45:48.374" v="27988"/>
          <ac:spMkLst>
            <pc:docMk/>
            <pc:sldMk cId="256183737" sldId="2147469842"/>
            <ac:spMk id="8" creationId="{698B93D7-E0D6-4FEC-833D-F3E2F29295BA}"/>
          </ac:spMkLst>
        </pc:spChg>
        <pc:spChg chg="add mod">
          <ac:chgData name="Kawtar SADIQ" userId="65df04e4-2d23-4bab-afb0-40df8a2c1b9f" providerId="ADAL" clId="{13E48CF6-3C07-4AA7-848A-1E964CBB0D3A}" dt="2022-12-01T16:45:48.374" v="27988"/>
          <ac:spMkLst>
            <pc:docMk/>
            <pc:sldMk cId="256183737" sldId="2147469842"/>
            <ac:spMk id="9" creationId="{AE6B03BC-D7B8-4CFD-80A8-53A533C2B3C4}"/>
          </ac:spMkLst>
        </pc:spChg>
        <pc:spChg chg="add mod">
          <ac:chgData name="Kawtar SADIQ" userId="65df04e4-2d23-4bab-afb0-40df8a2c1b9f" providerId="ADAL" clId="{13E48CF6-3C07-4AA7-848A-1E964CBB0D3A}" dt="2022-12-01T16:45:48.374" v="27988"/>
          <ac:spMkLst>
            <pc:docMk/>
            <pc:sldMk cId="256183737" sldId="2147469842"/>
            <ac:spMk id="10" creationId="{31D2A00E-3033-42B8-B8D3-DB290B766782}"/>
          </ac:spMkLst>
        </pc:spChg>
        <pc:spChg chg="add mod">
          <ac:chgData name="Kawtar SADIQ" userId="65df04e4-2d23-4bab-afb0-40df8a2c1b9f" providerId="ADAL" clId="{13E48CF6-3C07-4AA7-848A-1E964CBB0D3A}" dt="2022-12-01T16:45:48.374" v="27988"/>
          <ac:spMkLst>
            <pc:docMk/>
            <pc:sldMk cId="256183737" sldId="2147469842"/>
            <ac:spMk id="11" creationId="{7E7FAA32-E279-46A8-A94F-3C95CA2177F9}"/>
          </ac:spMkLst>
        </pc:spChg>
        <pc:spChg chg="add mod">
          <ac:chgData name="Kawtar SADIQ" userId="65df04e4-2d23-4bab-afb0-40df8a2c1b9f" providerId="ADAL" clId="{13E48CF6-3C07-4AA7-848A-1E964CBB0D3A}" dt="2022-12-01T16:45:48.374" v="27988"/>
          <ac:spMkLst>
            <pc:docMk/>
            <pc:sldMk cId="256183737" sldId="2147469842"/>
            <ac:spMk id="12" creationId="{DD38511C-0E03-4072-81B8-700D1E4487EC}"/>
          </ac:spMkLst>
        </pc:spChg>
        <pc:spChg chg="add mod">
          <ac:chgData name="Kawtar SADIQ" userId="65df04e4-2d23-4bab-afb0-40df8a2c1b9f" providerId="ADAL" clId="{13E48CF6-3C07-4AA7-848A-1E964CBB0D3A}" dt="2022-12-01T16:45:48.374" v="27988"/>
          <ac:spMkLst>
            <pc:docMk/>
            <pc:sldMk cId="256183737" sldId="2147469842"/>
            <ac:spMk id="13" creationId="{4AA405D1-BCC2-491D-A3BE-AC12FAA779B8}"/>
          </ac:spMkLst>
        </pc:spChg>
        <pc:spChg chg="add mod">
          <ac:chgData name="Kawtar SADIQ" userId="65df04e4-2d23-4bab-afb0-40df8a2c1b9f" providerId="ADAL" clId="{13E48CF6-3C07-4AA7-848A-1E964CBB0D3A}" dt="2022-12-01T16:45:48.374" v="27988"/>
          <ac:spMkLst>
            <pc:docMk/>
            <pc:sldMk cId="256183737" sldId="2147469842"/>
            <ac:spMk id="14" creationId="{6EA94EA1-4FCF-41DC-9347-2B50A2CA8702}"/>
          </ac:spMkLst>
        </pc:spChg>
        <pc:spChg chg="add mod">
          <ac:chgData name="Kawtar SADIQ" userId="65df04e4-2d23-4bab-afb0-40df8a2c1b9f" providerId="ADAL" clId="{13E48CF6-3C07-4AA7-848A-1E964CBB0D3A}" dt="2022-12-01T16:45:48.374" v="27988"/>
          <ac:spMkLst>
            <pc:docMk/>
            <pc:sldMk cId="256183737" sldId="2147469842"/>
            <ac:spMk id="15" creationId="{DA75F5F8-4C89-47CC-8DA4-0A20A62AAC7B}"/>
          </ac:spMkLst>
        </pc:spChg>
        <pc:spChg chg="add mod">
          <ac:chgData name="Kawtar SADIQ" userId="65df04e4-2d23-4bab-afb0-40df8a2c1b9f" providerId="ADAL" clId="{13E48CF6-3C07-4AA7-848A-1E964CBB0D3A}" dt="2022-12-01T16:45:48.374" v="27988"/>
          <ac:spMkLst>
            <pc:docMk/>
            <pc:sldMk cId="256183737" sldId="2147469842"/>
            <ac:spMk id="16" creationId="{8DCC9C9D-5E75-45A9-BA32-538F99B8F054}"/>
          </ac:spMkLst>
        </pc:spChg>
        <pc:spChg chg="add mod">
          <ac:chgData name="Kawtar SADIQ" userId="65df04e4-2d23-4bab-afb0-40df8a2c1b9f" providerId="ADAL" clId="{13E48CF6-3C07-4AA7-848A-1E964CBB0D3A}" dt="2022-12-01T16:45:48.374" v="27988"/>
          <ac:spMkLst>
            <pc:docMk/>
            <pc:sldMk cId="256183737" sldId="2147469842"/>
            <ac:spMk id="17" creationId="{D7E8B901-C2B6-4960-BEFB-F8BCDA6C98EA}"/>
          </ac:spMkLst>
        </pc:spChg>
        <pc:spChg chg="add mod">
          <ac:chgData name="Kawtar SADIQ" userId="65df04e4-2d23-4bab-afb0-40df8a2c1b9f" providerId="ADAL" clId="{13E48CF6-3C07-4AA7-848A-1E964CBB0D3A}" dt="2022-12-01T16:45:48.374" v="27988"/>
          <ac:spMkLst>
            <pc:docMk/>
            <pc:sldMk cId="256183737" sldId="2147469842"/>
            <ac:spMk id="18" creationId="{F118B02A-C0D4-45BB-8E67-AC6DD4EA2CB1}"/>
          </ac:spMkLst>
        </pc:spChg>
        <pc:spChg chg="add mod">
          <ac:chgData name="Kawtar SADIQ" userId="65df04e4-2d23-4bab-afb0-40df8a2c1b9f" providerId="ADAL" clId="{13E48CF6-3C07-4AA7-848A-1E964CBB0D3A}" dt="2022-12-01T16:45:48.374" v="27988"/>
          <ac:spMkLst>
            <pc:docMk/>
            <pc:sldMk cId="256183737" sldId="2147469842"/>
            <ac:spMk id="19" creationId="{0588D10B-2B73-4643-8A04-4948F3016AF5}"/>
          </ac:spMkLst>
        </pc:spChg>
        <pc:spChg chg="add mod">
          <ac:chgData name="Kawtar SADIQ" userId="65df04e4-2d23-4bab-afb0-40df8a2c1b9f" providerId="ADAL" clId="{13E48CF6-3C07-4AA7-848A-1E964CBB0D3A}" dt="2022-12-01T16:45:48.374" v="27988"/>
          <ac:spMkLst>
            <pc:docMk/>
            <pc:sldMk cId="256183737" sldId="2147469842"/>
            <ac:spMk id="20" creationId="{585873D2-E69C-47E9-B0E9-17F89E76665A}"/>
          </ac:spMkLst>
        </pc:spChg>
        <pc:spChg chg="add mod">
          <ac:chgData name="Kawtar SADIQ" userId="65df04e4-2d23-4bab-afb0-40df8a2c1b9f" providerId="ADAL" clId="{13E48CF6-3C07-4AA7-848A-1E964CBB0D3A}" dt="2022-12-01T16:45:48.374" v="27988"/>
          <ac:spMkLst>
            <pc:docMk/>
            <pc:sldMk cId="256183737" sldId="2147469842"/>
            <ac:spMk id="21" creationId="{FB8BD24E-68F3-47E2-BBB0-007DDC11A6F7}"/>
          </ac:spMkLst>
        </pc:spChg>
        <pc:spChg chg="add mod">
          <ac:chgData name="Kawtar SADIQ" userId="65df04e4-2d23-4bab-afb0-40df8a2c1b9f" providerId="ADAL" clId="{13E48CF6-3C07-4AA7-848A-1E964CBB0D3A}" dt="2022-12-01T16:45:48.374" v="27988"/>
          <ac:spMkLst>
            <pc:docMk/>
            <pc:sldMk cId="256183737" sldId="2147469842"/>
            <ac:spMk id="22" creationId="{01EE666B-57AE-4DD5-B2A1-A6AE9C923C35}"/>
          </ac:spMkLst>
        </pc:spChg>
        <pc:spChg chg="add mod">
          <ac:chgData name="Kawtar SADIQ" userId="65df04e4-2d23-4bab-afb0-40df8a2c1b9f" providerId="ADAL" clId="{13E48CF6-3C07-4AA7-848A-1E964CBB0D3A}" dt="2022-12-01T16:45:48.374" v="27988"/>
          <ac:spMkLst>
            <pc:docMk/>
            <pc:sldMk cId="256183737" sldId="2147469842"/>
            <ac:spMk id="23" creationId="{3AF78A6C-7609-44F0-9E1F-EFD9817F2CAE}"/>
          </ac:spMkLst>
        </pc:spChg>
        <pc:spChg chg="add mod">
          <ac:chgData name="Kawtar SADIQ" userId="65df04e4-2d23-4bab-afb0-40df8a2c1b9f" providerId="ADAL" clId="{13E48CF6-3C07-4AA7-848A-1E964CBB0D3A}" dt="2022-12-01T16:45:48.374" v="27988"/>
          <ac:spMkLst>
            <pc:docMk/>
            <pc:sldMk cId="256183737" sldId="2147469842"/>
            <ac:spMk id="24" creationId="{18C07132-6D0E-455B-AB4F-325C719C1787}"/>
          </ac:spMkLst>
        </pc:spChg>
        <pc:spChg chg="add mod">
          <ac:chgData name="Kawtar SADIQ" userId="65df04e4-2d23-4bab-afb0-40df8a2c1b9f" providerId="ADAL" clId="{13E48CF6-3C07-4AA7-848A-1E964CBB0D3A}" dt="2022-12-01T16:45:48.374" v="27988"/>
          <ac:spMkLst>
            <pc:docMk/>
            <pc:sldMk cId="256183737" sldId="2147469842"/>
            <ac:spMk id="25" creationId="{3E34EEA3-0435-4C02-B346-3E57F1B7E388}"/>
          </ac:spMkLst>
        </pc:spChg>
        <pc:spChg chg="add mod">
          <ac:chgData name="Kawtar SADIQ" userId="65df04e4-2d23-4bab-afb0-40df8a2c1b9f" providerId="ADAL" clId="{13E48CF6-3C07-4AA7-848A-1E964CBB0D3A}" dt="2022-12-01T16:45:48.374" v="27988"/>
          <ac:spMkLst>
            <pc:docMk/>
            <pc:sldMk cId="256183737" sldId="2147469842"/>
            <ac:spMk id="26" creationId="{F598F6E2-0AA6-473A-B39F-4A1EE7CBAD49}"/>
          </ac:spMkLst>
        </pc:spChg>
        <pc:spChg chg="add mod">
          <ac:chgData name="Kawtar SADIQ" userId="65df04e4-2d23-4bab-afb0-40df8a2c1b9f" providerId="ADAL" clId="{13E48CF6-3C07-4AA7-848A-1E964CBB0D3A}" dt="2022-12-01T16:45:48.374" v="27988"/>
          <ac:spMkLst>
            <pc:docMk/>
            <pc:sldMk cId="256183737" sldId="2147469842"/>
            <ac:spMk id="27" creationId="{3A52366B-DB7A-42C0-8F94-389B5A5CD5A0}"/>
          </ac:spMkLst>
        </pc:spChg>
        <pc:spChg chg="add mod">
          <ac:chgData name="Kawtar SADIQ" userId="65df04e4-2d23-4bab-afb0-40df8a2c1b9f" providerId="ADAL" clId="{13E48CF6-3C07-4AA7-848A-1E964CBB0D3A}" dt="2022-12-01T16:45:48.374" v="27988"/>
          <ac:spMkLst>
            <pc:docMk/>
            <pc:sldMk cId="256183737" sldId="2147469842"/>
            <ac:spMk id="28" creationId="{E9C40719-EF26-4E17-B574-6F13639551A4}"/>
          </ac:spMkLst>
        </pc:spChg>
        <pc:spChg chg="add mod">
          <ac:chgData name="Kawtar SADIQ" userId="65df04e4-2d23-4bab-afb0-40df8a2c1b9f" providerId="ADAL" clId="{13E48CF6-3C07-4AA7-848A-1E964CBB0D3A}" dt="2022-12-01T16:45:48.374" v="27988"/>
          <ac:spMkLst>
            <pc:docMk/>
            <pc:sldMk cId="256183737" sldId="2147469842"/>
            <ac:spMk id="29" creationId="{F7D2F771-AF9A-4E1A-924A-56FA492D644D}"/>
          </ac:spMkLst>
        </pc:spChg>
        <pc:spChg chg="add mod">
          <ac:chgData name="Kawtar SADIQ" userId="65df04e4-2d23-4bab-afb0-40df8a2c1b9f" providerId="ADAL" clId="{13E48CF6-3C07-4AA7-848A-1E964CBB0D3A}" dt="2022-12-01T16:45:48.374" v="27988"/>
          <ac:spMkLst>
            <pc:docMk/>
            <pc:sldMk cId="256183737" sldId="2147469842"/>
            <ac:spMk id="30" creationId="{30C92896-7841-4DDC-8D01-A35B43648075}"/>
          </ac:spMkLst>
        </pc:spChg>
        <pc:spChg chg="add mod">
          <ac:chgData name="Kawtar SADIQ" userId="65df04e4-2d23-4bab-afb0-40df8a2c1b9f" providerId="ADAL" clId="{13E48CF6-3C07-4AA7-848A-1E964CBB0D3A}" dt="2022-12-01T16:45:48.374" v="27988"/>
          <ac:spMkLst>
            <pc:docMk/>
            <pc:sldMk cId="256183737" sldId="2147469842"/>
            <ac:spMk id="31" creationId="{8BF6ED58-BA20-45F4-B01A-1B1E340623F2}"/>
          </ac:spMkLst>
        </pc:spChg>
        <pc:spChg chg="add mod">
          <ac:chgData name="Kawtar SADIQ" userId="65df04e4-2d23-4bab-afb0-40df8a2c1b9f" providerId="ADAL" clId="{13E48CF6-3C07-4AA7-848A-1E964CBB0D3A}" dt="2022-12-01T16:45:48.374" v="27988"/>
          <ac:spMkLst>
            <pc:docMk/>
            <pc:sldMk cId="256183737" sldId="2147469842"/>
            <ac:spMk id="32" creationId="{20F804F6-C4AB-4550-AC91-61C4637A6868}"/>
          </ac:spMkLst>
        </pc:spChg>
        <pc:spChg chg="add mod">
          <ac:chgData name="Kawtar SADIQ" userId="65df04e4-2d23-4bab-afb0-40df8a2c1b9f" providerId="ADAL" clId="{13E48CF6-3C07-4AA7-848A-1E964CBB0D3A}" dt="2022-12-01T16:45:48.374" v="27988"/>
          <ac:spMkLst>
            <pc:docMk/>
            <pc:sldMk cId="256183737" sldId="2147469842"/>
            <ac:spMk id="33" creationId="{0F5FD2C5-EAC7-46D5-A0DF-9125304AC980}"/>
          </ac:spMkLst>
        </pc:spChg>
        <pc:spChg chg="add mod">
          <ac:chgData name="Kawtar SADIQ" userId="65df04e4-2d23-4bab-afb0-40df8a2c1b9f" providerId="ADAL" clId="{13E48CF6-3C07-4AA7-848A-1E964CBB0D3A}" dt="2022-12-01T16:45:48.374" v="27988"/>
          <ac:spMkLst>
            <pc:docMk/>
            <pc:sldMk cId="256183737" sldId="2147469842"/>
            <ac:spMk id="34" creationId="{E7DFD3C6-9D27-4CDD-BA44-80104966D9F0}"/>
          </ac:spMkLst>
        </pc:spChg>
        <pc:spChg chg="add mod">
          <ac:chgData name="Kawtar SADIQ" userId="65df04e4-2d23-4bab-afb0-40df8a2c1b9f" providerId="ADAL" clId="{13E48CF6-3C07-4AA7-848A-1E964CBB0D3A}" dt="2022-12-01T16:45:48.374" v="27988"/>
          <ac:spMkLst>
            <pc:docMk/>
            <pc:sldMk cId="256183737" sldId="2147469842"/>
            <ac:spMk id="35" creationId="{93F657A7-42E5-438A-8370-A0CF4F100FF4}"/>
          </ac:spMkLst>
        </pc:spChg>
        <pc:spChg chg="add mod">
          <ac:chgData name="Kawtar SADIQ" userId="65df04e4-2d23-4bab-afb0-40df8a2c1b9f" providerId="ADAL" clId="{13E48CF6-3C07-4AA7-848A-1E964CBB0D3A}" dt="2022-12-01T16:45:48.374" v="27988"/>
          <ac:spMkLst>
            <pc:docMk/>
            <pc:sldMk cId="256183737" sldId="2147469842"/>
            <ac:spMk id="36" creationId="{B8E6E95C-F4BF-4969-85D9-A582B937E251}"/>
          </ac:spMkLst>
        </pc:spChg>
        <pc:spChg chg="add mod">
          <ac:chgData name="Kawtar SADIQ" userId="65df04e4-2d23-4bab-afb0-40df8a2c1b9f" providerId="ADAL" clId="{13E48CF6-3C07-4AA7-848A-1E964CBB0D3A}" dt="2022-12-01T16:45:48.374" v="27988"/>
          <ac:spMkLst>
            <pc:docMk/>
            <pc:sldMk cId="256183737" sldId="2147469842"/>
            <ac:spMk id="37" creationId="{5BCB47ED-9AEA-4FCE-8C7B-81236609F7FE}"/>
          </ac:spMkLst>
        </pc:spChg>
        <pc:spChg chg="add mod">
          <ac:chgData name="Kawtar SADIQ" userId="65df04e4-2d23-4bab-afb0-40df8a2c1b9f" providerId="ADAL" clId="{13E48CF6-3C07-4AA7-848A-1E964CBB0D3A}" dt="2022-12-01T16:45:48.374" v="27988"/>
          <ac:spMkLst>
            <pc:docMk/>
            <pc:sldMk cId="256183737" sldId="2147469842"/>
            <ac:spMk id="38" creationId="{8F20532A-D9D6-4CFE-8C81-1F4BC76BB824}"/>
          </ac:spMkLst>
        </pc:spChg>
        <pc:spChg chg="add mod">
          <ac:chgData name="Kawtar SADIQ" userId="65df04e4-2d23-4bab-afb0-40df8a2c1b9f" providerId="ADAL" clId="{13E48CF6-3C07-4AA7-848A-1E964CBB0D3A}" dt="2022-12-01T16:45:48.374" v="27988"/>
          <ac:spMkLst>
            <pc:docMk/>
            <pc:sldMk cId="256183737" sldId="2147469842"/>
            <ac:spMk id="39" creationId="{2949C834-F650-4894-85E0-2C164F037325}"/>
          </ac:spMkLst>
        </pc:spChg>
        <pc:spChg chg="add mod">
          <ac:chgData name="Kawtar SADIQ" userId="65df04e4-2d23-4bab-afb0-40df8a2c1b9f" providerId="ADAL" clId="{13E48CF6-3C07-4AA7-848A-1E964CBB0D3A}" dt="2022-12-01T16:45:48.374" v="27988"/>
          <ac:spMkLst>
            <pc:docMk/>
            <pc:sldMk cId="256183737" sldId="2147469842"/>
            <ac:spMk id="41" creationId="{FEC2DBEF-334D-4104-8D93-76EDA1DA8698}"/>
          </ac:spMkLst>
        </pc:spChg>
        <pc:spChg chg="add mod">
          <ac:chgData name="Kawtar SADIQ" userId="65df04e4-2d23-4bab-afb0-40df8a2c1b9f" providerId="ADAL" clId="{13E48CF6-3C07-4AA7-848A-1E964CBB0D3A}" dt="2022-12-01T16:45:48.374" v="27988"/>
          <ac:spMkLst>
            <pc:docMk/>
            <pc:sldMk cId="256183737" sldId="2147469842"/>
            <ac:spMk id="42" creationId="{F2E63386-A027-4A2F-B567-65D151FDC80F}"/>
          </ac:spMkLst>
        </pc:spChg>
        <pc:spChg chg="add mod">
          <ac:chgData name="Kawtar SADIQ" userId="65df04e4-2d23-4bab-afb0-40df8a2c1b9f" providerId="ADAL" clId="{13E48CF6-3C07-4AA7-848A-1E964CBB0D3A}" dt="2022-12-01T16:45:48.374" v="27988"/>
          <ac:spMkLst>
            <pc:docMk/>
            <pc:sldMk cId="256183737" sldId="2147469842"/>
            <ac:spMk id="43" creationId="{3FF8E9D5-DF06-4DDB-9FD5-EA3BF0208BA7}"/>
          </ac:spMkLst>
        </pc:spChg>
        <pc:spChg chg="mod">
          <ac:chgData name="Kawtar SADIQ" userId="65df04e4-2d23-4bab-afb0-40df8a2c1b9f" providerId="ADAL" clId="{13E48CF6-3C07-4AA7-848A-1E964CBB0D3A}" dt="2022-12-01T16:45:48.374" v="27988"/>
          <ac:spMkLst>
            <pc:docMk/>
            <pc:sldMk cId="256183737" sldId="2147469842"/>
            <ac:spMk id="45" creationId="{C433938B-449C-4B1A-ACD3-E5D1FC270349}"/>
          </ac:spMkLst>
        </pc:spChg>
        <pc:spChg chg="mod">
          <ac:chgData name="Kawtar SADIQ" userId="65df04e4-2d23-4bab-afb0-40df8a2c1b9f" providerId="ADAL" clId="{13E48CF6-3C07-4AA7-848A-1E964CBB0D3A}" dt="2022-12-01T16:45:48.374" v="27988"/>
          <ac:spMkLst>
            <pc:docMk/>
            <pc:sldMk cId="256183737" sldId="2147469842"/>
            <ac:spMk id="48" creationId="{92EE6FCC-C525-4B08-9FB3-DF293F941CB3}"/>
          </ac:spMkLst>
        </pc:spChg>
        <pc:spChg chg="mod">
          <ac:chgData name="Kawtar SADIQ" userId="65df04e4-2d23-4bab-afb0-40df8a2c1b9f" providerId="ADAL" clId="{13E48CF6-3C07-4AA7-848A-1E964CBB0D3A}" dt="2022-12-01T16:45:48.374" v="27988"/>
          <ac:spMkLst>
            <pc:docMk/>
            <pc:sldMk cId="256183737" sldId="2147469842"/>
            <ac:spMk id="51" creationId="{51FEA5F7-9D33-4E88-BC13-EBE37C9B7646}"/>
          </ac:spMkLst>
        </pc:spChg>
        <pc:spChg chg="mod">
          <ac:chgData name="Kawtar SADIQ" userId="65df04e4-2d23-4bab-afb0-40df8a2c1b9f" providerId="ADAL" clId="{13E48CF6-3C07-4AA7-848A-1E964CBB0D3A}" dt="2022-12-01T16:45:48.374" v="27988"/>
          <ac:spMkLst>
            <pc:docMk/>
            <pc:sldMk cId="256183737" sldId="2147469842"/>
            <ac:spMk id="54" creationId="{DB132E10-A2A3-4A5C-81C1-A00749014396}"/>
          </ac:spMkLst>
        </pc:spChg>
        <pc:spChg chg="mod">
          <ac:chgData name="Kawtar SADIQ" userId="65df04e4-2d23-4bab-afb0-40df8a2c1b9f" providerId="ADAL" clId="{13E48CF6-3C07-4AA7-848A-1E964CBB0D3A}" dt="2022-12-01T16:45:48.374" v="27988"/>
          <ac:spMkLst>
            <pc:docMk/>
            <pc:sldMk cId="256183737" sldId="2147469842"/>
            <ac:spMk id="57" creationId="{E6377E4C-0F66-4A23-BE02-13E45EE6558C}"/>
          </ac:spMkLst>
        </pc:spChg>
        <pc:spChg chg="mod">
          <ac:chgData name="Kawtar SADIQ" userId="65df04e4-2d23-4bab-afb0-40df8a2c1b9f" providerId="ADAL" clId="{13E48CF6-3C07-4AA7-848A-1E964CBB0D3A}" dt="2022-12-01T16:45:48.374" v="27988"/>
          <ac:spMkLst>
            <pc:docMk/>
            <pc:sldMk cId="256183737" sldId="2147469842"/>
            <ac:spMk id="60" creationId="{52870E2B-FED0-40DE-9B8D-AB1DCF8A83FA}"/>
          </ac:spMkLst>
        </pc:spChg>
        <pc:spChg chg="mod">
          <ac:chgData name="Kawtar SADIQ" userId="65df04e4-2d23-4bab-afb0-40df8a2c1b9f" providerId="ADAL" clId="{13E48CF6-3C07-4AA7-848A-1E964CBB0D3A}" dt="2022-12-01T16:45:48.374" v="27988"/>
          <ac:spMkLst>
            <pc:docMk/>
            <pc:sldMk cId="256183737" sldId="2147469842"/>
            <ac:spMk id="63" creationId="{4AF527D8-51B0-4287-92FC-15FA38C18E66}"/>
          </ac:spMkLst>
        </pc:spChg>
        <pc:spChg chg="mod">
          <ac:chgData name="Kawtar SADIQ" userId="65df04e4-2d23-4bab-afb0-40df8a2c1b9f" providerId="ADAL" clId="{13E48CF6-3C07-4AA7-848A-1E964CBB0D3A}" dt="2022-12-01T16:45:48.374" v="27988"/>
          <ac:spMkLst>
            <pc:docMk/>
            <pc:sldMk cId="256183737" sldId="2147469842"/>
            <ac:spMk id="66" creationId="{0E64FA81-F01E-4C80-93E1-4CE2D19BAF1E}"/>
          </ac:spMkLst>
        </pc:spChg>
        <pc:spChg chg="mod">
          <ac:chgData name="Kawtar SADIQ" userId="65df04e4-2d23-4bab-afb0-40df8a2c1b9f" providerId="ADAL" clId="{13E48CF6-3C07-4AA7-848A-1E964CBB0D3A}" dt="2022-12-01T16:45:48.374" v="27988"/>
          <ac:spMkLst>
            <pc:docMk/>
            <pc:sldMk cId="256183737" sldId="2147469842"/>
            <ac:spMk id="69" creationId="{102B3A01-0387-430D-8B03-0064B3ED77F9}"/>
          </ac:spMkLst>
        </pc:spChg>
        <pc:spChg chg="mod">
          <ac:chgData name="Kawtar SADIQ" userId="65df04e4-2d23-4bab-afb0-40df8a2c1b9f" providerId="ADAL" clId="{13E48CF6-3C07-4AA7-848A-1E964CBB0D3A}" dt="2022-12-01T16:45:48.374" v="27988"/>
          <ac:spMkLst>
            <pc:docMk/>
            <pc:sldMk cId="256183737" sldId="2147469842"/>
            <ac:spMk id="72" creationId="{4F3F0C46-5629-4650-A3CF-87CC9B35957B}"/>
          </ac:spMkLst>
        </pc:spChg>
        <pc:spChg chg="mod">
          <ac:chgData name="Kawtar SADIQ" userId="65df04e4-2d23-4bab-afb0-40df8a2c1b9f" providerId="ADAL" clId="{13E48CF6-3C07-4AA7-848A-1E964CBB0D3A}" dt="2022-12-01T16:45:48.374" v="27988"/>
          <ac:spMkLst>
            <pc:docMk/>
            <pc:sldMk cId="256183737" sldId="2147469842"/>
            <ac:spMk id="75" creationId="{95B611E1-22FB-46F6-B4EF-BB127FDE04BD}"/>
          </ac:spMkLst>
        </pc:spChg>
        <pc:spChg chg="mod">
          <ac:chgData name="Kawtar SADIQ" userId="65df04e4-2d23-4bab-afb0-40df8a2c1b9f" providerId="ADAL" clId="{13E48CF6-3C07-4AA7-848A-1E964CBB0D3A}" dt="2022-12-01T16:45:48.374" v="27988"/>
          <ac:spMkLst>
            <pc:docMk/>
            <pc:sldMk cId="256183737" sldId="2147469842"/>
            <ac:spMk id="78" creationId="{4DA4F0B9-2B02-416D-A652-AE71E0DB9197}"/>
          </ac:spMkLst>
        </pc:spChg>
        <pc:spChg chg="mod">
          <ac:chgData name="Kawtar SADIQ" userId="65df04e4-2d23-4bab-afb0-40df8a2c1b9f" providerId="ADAL" clId="{13E48CF6-3C07-4AA7-848A-1E964CBB0D3A}" dt="2022-12-01T16:45:48.374" v="27988"/>
          <ac:spMkLst>
            <pc:docMk/>
            <pc:sldMk cId="256183737" sldId="2147469842"/>
            <ac:spMk id="81" creationId="{DBD4EC04-9B35-4DD9-838F-31344E9840FE}"/>
          </ac:spMkLst>
        </pc:spChg>
        <pc:spChg chg="mod">
          <ac:chgData name="Kawtar SADIQ" userId="65df04e4-2d23-4bab-afb0-40df8a2c1b9f" providerId="ADAL" clId="{13E48CF6-3C07-4AA7-848A-1E964CBB0D3A}" dt="2022-12-01T16:45:48.374" v="27988"/>
          <ac:spMkLst>
            <pc:docMk/>
            <pc:sldMk cId="256183737" sldId="2147469842"/>
            <ac:spMk id="84" creationId="{0293D8FE-B010-4130-A870-82CCFAC5B856}"/>
          </ac:spMkLst>
        </pc:spChg>
        <pc:spChg chg="mod">
          <ac:chgData name="Kawtar SADIQ" userId="65df04e4-2d23-4bab-afb0-40df8a2c1b9f" providerId="ADAL" clId="{13E48CF6-3C07-4AA7-848A-1E964CBB0D3A}" dt="2022-12-01T16:45:48.374" v="27988"/>
          <ac:spMkLst>
            <pc:docMk/>
            <pc:sldMk cId="256183737" sldId="2147469842"/>
            <ac:spMk id="87" creationId="{6A88BF8C-38EC-4FDF-8B22-A069E8BAAE3E}"/>
          </ac:spMkLst>
        </pc:spChg>
        <pc:spChg chg="mod">
          <ac:chgData name="Kawtar SADIQ" userId="65df04e4-2d23-4bab-afb0-40df8a2c1b9f" providerId="ADAL" clId="{13E48CF6-3C07-4AA7-848A-1E964CBB0D3A}" dt="2022-12-01T16:45:48.374" v="27988"/>
          <ac:spMkLst>
            <pc:docMk/>
            <pc:sldMk cId="256183737" sldId="2147469842"/>
            <ac:spMk id="90" creationId="{D369E06F-F59F-494C-A445-AEC0A434086F}"/>
          </ac:spMkLst>
        </pc:spChg>
        <pc:spChg chg="mod">
          <ac:chgData name="Kawtar SADIQ" userId="65df04e4-2d23-4bab-afb0-40df8a2c1b9f" providerId="ADAL" clId="{13E48CF6-3C07-4AA7-848A-1E964CBB0D3A}" dt="2022-12-01T16:45:48.374" v="27988"/>
          <ac:spMkLst>
            <pc:docMk/>
            <pc:sldMk cId="256183737" sldId="2147469842"/>
            <ac:spMk id="93" creationId="{532BB111-4490-47C6-8B4A-308069119C36}"/>
          </ac:spMkLst>
        </pc:spChg>
        <pc:spChg chg="mod">
          <ac:chgData name="Kawtar SADIQ" userId="65df04e4-2d23-4bab-afb0-40df8a2c1b9f" providerId="ADAL" clId="{13E48CF6-3C07-4AA7-848A-1E964CBB0D3A}" dt="2022-12-01T16:45:48.374" v="27988"/>
          <ac:spMkLst>
            <pc:docMk/>
            <pc:sldMk cId="256183737" sldId="2147469842"/>
            <ac:spMk id="96" creationId="{EA72EB60-AE30-41B8-83F2-85794DF06565}"/>
          </ac:spMkLst>
        </pc:spChg>
        <pc:spChg chg="mod">
          <ac:chgData name="Kawtar SADIQ" userId="65df04e4-2d23-4bab-afb0-40df8a2c1b9f" providerId="ADAL" clId="{13E48CF6-3C07-4AA7-848A-1E964CBB0D3A}" dt="2022-12-01T16:45:48.374" v="27988"/>
          <ac:spMkLst>
            <pc:docMk/>
            <pc:sldMk cId="256183737" sldId="2147469842"/>
            <ac:spMk id="99" creationId="{B3380383-2B9D-43A5-996C-681BE12C93AD}"/>
          </ac:spMkLst>
        </pc:spChg>
        <pc:spChg chg="mod">
          <ac:chgData name="Kawtar SADIQ" userId="65df04e4-2d23-4bab-afb0-40df8a2c1b9f" providerId="ADAL" clId="{13E48CF6-3C07-4AA7-848A-1E964CBB0D3A}" dt="2022-12-01T16:45:48.374" v="27988"/>
          <ac:spMkLst>
            <pc:docMk/>
            <pc:sldMk cId="256183737" sldId="2147469842"/>
            <ac:spMk id="102" creationId="{1F63EC6C-53F7-4AC1-A532-EDBBCE794AC6}"/>
          </ac:spMkLst>
        </pc:spChg>
        <pc:spChg chg="mod">
          <ac:chgData name="Kawtar SADIQ" userId="65df04e4-2d23-4bab-afb0-40df8a2c1b9f" providerId="ADAL" clId="{13E48CF6-3C07-4AA7-848A-1E964CBB0D3A}" dt="2022-12-01T16:45:48.374" v="27988"/>
          <ac:spMkLst>
            <pc:docMk/>
            <pc:sldMk cId="256183737" sldId="2147469842"/>
            <ac:spMk id="105" creationId="{DDF95B06-24BE-4ED4-80BD-6183102BF4EC}"/>
          </ac:spMkLst>
        </pc:spChg>
        <pc:spChg chg="mod">
          <ac:chgData name="Kawtar SADIQ" userId="65df04e4-2d23-4bab-afb0-40df8a2c1b9f" providerId="ADAL" clId="{13E48CF6-3C07-4AA7-848A-1E964CBB0D3A}" dt="2022-12-01T16:45:48.374" v="27988"/>
          <ac:spMkLst>
            <pc:docMk/>
            <pc:sldMk cId="256183737" sldId="2147469842"/>
            <ac:spMk id="108" creationId="{DEC955B6-9A55-48D4-91D7-8F89C144357C}"/>
          </ac:spMkLst>
        </pc:spChg>
        <pc:spChg chg="mod">
          <ac:chgData name="Kawtar SADIQ" userId="65df04e4-2d23-4bab-afb0-40df8a2c1b9f" providerId="ADAL" clId="{13E48CF6-3C07-4AA7-848A-1E964CBB0D3A}" dt="2022-12-01T16:45:48.374" v="27988"/>
          <ac:spMkLst>
            <pc:docMk/>
            <pc:sldMk cId="256183737" sldId="2147469842"/>
            <ac:spMk id="111" creationId="{074DB84F-44A1-47C7-BC3B-AC2BA24BE089}"/>
          </ac:spMkLst>
        </pc:spChg>
        <pc:spChg chg="mod">
          <ac:chgData name="Kawtar SADIQ" userId="65df04e4-2d23-4bab-afb0-40df8a2c1b9f" providerId="ADAL" clId="{13E48CF6-3C07-4AA7-848A-1E964CBB0D3A}" dt="2022-12-01T16:45:48.374" v="27988"/>
          <ac:spMkLst>
            <pc:docMk/>
            <pc:sldMk cId="256183737" sldId="2147469842"/>
            <ac:spMk id="114" creationId="{7E5F462C-85F3-4B72-AE56-B5554C8F6AD3}"/>
          </ac:spMkLst>
        </pc:spChg>
        <pc:spChg chg="mod">
          <ac:chgData name="Kawtar SADIQ" userId="65df04e4-2d23-4bab-afb0-40df8a2c1b9f" providerId="ADAL" clId="{13E48CF6-3C07-4AA7-848A-1E964CBB0D3A}" dt="2022-12-01T16:45:48.374" v="27988"/>
          <ac:spMkLst>
            <pc:docMk/>
            <pc:sldMk cId="256183737" sldId="2147469842"/>
            <ac:spMk id="117" creationId="{9995C492-A159-4B2C-81A0-9D336FCF72B7}"/>
          </ac:spMkLst>
        </pc:spChg>
        <pc:spChg chg="mod">
          <ac:chgData name="Kawtar SADIQ" userId="65df04e4-2d23-4bab-afb0-40df8a2c1b9f" providerId="ADAL" clId="{13E48CF6-3C07-4AA7-848A-1E964CBB0D3A}" dt="2022-12-01T16:45:48.374" v="27988"/>
          <ac:spMkLst>
            <pc:docMk/>
            <pc:sldMk cId="256183737" sldId="2147469842"/>
            <ac:spMk id="120" creationId="{19212FDC-63FE-4731-908A-32173BF15F52}"/>
          </ac:spMkLst>
        </pc:spChg>
        <pc:spChg chg="mod">
          <ac:chgData name="Kawtar SADIQ" userId="65df04e4-2d23-4bab-afb0-40df8a2c1b9f" providerId="ADAL" clId="{13E48CF6-3C07-4AA7-848A-1E964CBB0D3A}" dt="2022-12-01T16:45:48.374" v="27988"/>
          <ac:spMkLst>
            <pc:docMk/>
            <pc:sldMk cId="256183737" sldId="2147469842"/>
            <ac:spMk id="123" creationId="{A306A1DC-E117-4B7C-935A-A362BA22C5B6}"/>
          </ac:spMkLst>
        </pc:spChg>
        <pc:spChg chg="mod">
          <ac:chgData name="Kawtar SADIQ" userId="65df04e4-2d23-4bab-afb0-40df8a2c1b9f" providerId="ADAL" clId="{13E48CF6-3C07-4AA7-848A-1E964CBB0D3A}" dt="2022-12-01T16:45:48.374" v="27988"/>
          <ac:spMkLst>
            <pc:docMk/>
            <pc:sldMk cId="256183737" sldId="2147469842"/>
            <ac:spMk id="126" creationId="{303CC7C7-89ED-4716-A0CB-C2FF1E2A96CF}"/>
          </ac:spMkLst>
        </pc:spChg>
        <pc:spChg chg="mod">
          <ac:chgData name="Kawtar SADIQ" userId="65df04e4-2d23-4bab-afb0-40df8a2c1b9f" providerId="ADAL" clId="{13E48CF6-3C07-4AA7-848A-1E964CBB0D3A}" dt="2022-12-01T16:45:48.374" v="27988"/>
          <ac:spMkLst>
            <pc:docMk/>
            <pc:sldMk cId="256183737" sldId="2147469842"/>
            <ac:spMk id="129" creationId="{EEE9A9C0-3EC3-4391-9048-A503D2C56DBC}"/>
          </ac:spMkLst>
        </pc:spChg>
        <pc:grpChg chg="add mod">
          <ac:chgData name="Kawtar SADIQ" userId="65df04e4-2d23-4bab-afb0-40df8a2c1b9f" providerId="ADAL" clId="{13E48CF6-3C07-4AA7-848A-1E964CBB0D3A}" dt="2022-12-01T16:45:48.374" v="27988"/>
          <ac:grpSpMkLst>
            <pc:docMk/>
            <pc:sldMk cId="256183737" sldId="2147469842"/>
            <ac:grpSpMk id="44" creationId="{1805647F-34EE-4296-BEC0-62949827C9AC}"/>
          </ac:grpSpMkLst>
        </pc:grpChg>
        <pc:grpChg chg="add mod">
          <ac:chgData name="Kawtar SADIQ" userId="65df04e4-2d23-4bab-afb0-40df8a2c1b9f" providerId="ADAL" clId="{13E48CF6-3C07-4AA7-848A-1E964CBB0D3A}" dt="2022-12-01T16:45:48.374" v="27988"/>
          <ac:grpSpMkLst>
            <pc:docMk/>
            <pc:sldMk cId="256183737" sldId="2147469842"/>
            <ac:grpSpMk id="47" creationId="{E8D1D313-4E2F-4BD3-94F3-6B28141C30EC}"/>
          </ac:grpSpMkLst>
        </pc:grpChg>
        <pc:grpChg chg="add mod">
          <ac:chgData name="Kawtar SADIQ" userId="65df04e4-2d23-4bab-afb0-40df8a2c1b9f" providerId="ADAL" clId="{13E48CF6-3C07-4AA7-848A-1E964CBB0D3A}" dt="2022-12-01T16:45:48.374" v="27988"/>
          <ac:grpSpMkLst>
            <pc:docMk/>
            <pc:sldMk cId="256183737" sldId="2147469842"/>
            <ac:grpSpMk id="50" creationId="{82C6B0A6-0236-4EBC-AF18-1A36A870CC8E}"/>
          </ac:grpSpMkLst>
        </pc:grpChg>
        <pc:grpChg chg="add mod">
          <ac:chgData name="Kawtar SADIQ" userId="65df04e4-2d23-4bab-afb0-40df8a2c1b9f" providerId="ADAL" clId="{13E48CF6-3C07-4AA7-848A-1E964CBB0D3A}" dt="2022-12-01T16:45:48.374" v="27988"/>
          <ac:grpSpMkLst>
            <pc:docMk/>
            <pc:sldMk cId="256183737" sldId="2147469842"/>
            <ac:grpSpMk id="53" creationId="{83DDDC27-9049-4A2A-B6B7-A8A2A599652F}"/>
          </ac:grpSpMkLst>
        </pc:grpChg>
        <pc:grpChg chg="add mod">
          <ac:chgData name="Kawtar SADIQ" userId="65df04e4-2d23-4bab-afb0-40df8a2c1b9f" providerId="ADAL" clId="{13E48CF6-3C07-4AA7-848A-1E964CBB0D3A}" dt="2022-12-01T16:45:48.374" v="27988"/>
          <ac:grpSpMkLst>
            <pc:docMk/>
            <pc:sldMk cId="256183737" sldId="2147469842"/>
            <ac:grpSpMk id="56" creationId="{F4E317D4-E36A-4C38-A6D6-060B933F9E37}"/>
          </ac:grpSpMkLst>
        </pc:grpChg>
        <pc:grpChg chg="add mod">
          <ac:chgData name="Kawtar SADIQ" userId="65df04e4-2d23-4bab-afb0-40df8a2c1b9f" providerId="ADAL" clId="{13E48CF6-3C07-4AA7-848A-1E964CBB0D3A}" dt="2022-12-01T16:45:48.374" v="27988"/>
          <ac:grpSpMkLst>
            <pc:docMk/>
            <pc:sldMk cId="256183737" sldId="2147469842"/>
            <ac:grpSpMk id="59" creationId="{36007877-CCC4-4404-91D3-EE9EF5B5B031}"/>
          </ac:grpSpMkLst>
        </pc:grpChg>
        <pc:grpChg chg="add mod">
          <ac:chgData name="Kawtar SADIQ" userId="65df04e4-2d23-4bab-afb0-40df8a2c1b9f" providerId="ADAL" clId="{13E48CF6-3C07-4AA7-848A-1E964CBB0D3A}" dt="2022-12-01T16:45:48.374" v="27988"/>
          <ac:grpSpMkLst>
            <pc:docMk/>
            <pc:sldMk cId="256183737" sldId="2147469842"/>
            <ac:grpSpMk id="62" creationId="{E64CF32D-0C6C-441D-B069-2F58E0A3A471}"/>
          </ac:grpSpMkLst>
        </pc:grpChg>
        <pc:grpChg chg="add mod">
          <ac:chgData name="Kawtar SADIQ" userId="65df04e4-2d23-4bab-afb0-40df8a2c1b9f" providerId="ADAL" clId="{13E48CF6-3C07-4AA7-848A-1E964CBB0D3A}" dt="2022-12-01T16:45:48.374" v="27988"/>
          <ac:grpSpMkLst>
            <pc:docMk/>
            <pc:sldMk cId="256183737" sldId="2147469842"/>
            <ac:grpSpMk id="65" creationId="{349A1D9B-B5FC-450A-80A0-72B57441581E}"/>
          </ac:grpSpMkLst>
        </pc:grpChg>
        <pc:grpChg chg="add mod">
          <ac:chgData name="Kawtar SADIQ" userId="65df04e4-2d23-4bab-afb0-40df8a2c1b9f" providerId="ADAL" clId="{13E48CF6-3C07-4AA7-848A-1E964CBB0D3A}" dt="2022-12-01T16:45:48.374" v="27988"/>
          <ac:grpSpMkLst>
            <pc:docMk/>
            <pc:sldMk cId="256183737" sldId="2147469842"/>
            <ac:grpSpMk id="68" creationId="{4D556DEE-9611-4D14-A17A-5C9D37ECA1A5}"/>
          </ac:grpSpMkLst>
        </pc:grpChg>
        <pc:grpChg chg="add mod">
          <ac:chgData name="Kawtar SADIQ" userId="65df04e4-2d23-4bab-afb0-40df8a2c1b9f" providerId="ADAL" clId="{13E48CF6-3C07-4AA7-848A-1E964CBB0D3A}" dt="2022-12-01T16:45:48.374" v="27988"/>
          <ac:grpSpMkLst>
            <pc:docMk/>
            <pc:sldMk cId="256183737" sldId="2147469842"/>
            <ac:grpSpMk id="71" creationId="{65D73C93-277A-4840-9F2F-BC8E3040BF32}"/>
          </ac:grpSpMkLst>
        </pc:grpChg>
        <pc:grpChg chg="add mod">
          <ac:chgData name="Kawtar SADIQ" userId="65df04e4-2d23-4bab-afb0-40df8a2c1b9f" providerId="ADAL" clId="{13E48CF6-3C07-4AA7-848A-1E964CBB0D3A}" dt="2022-12-01T16:45:48.374" v="27988"/>
          <ac:grpSpMkLst>
            <pc:docMk/>
            <pc:sldMk cId="256183737" sldId="2147469842"/>
            <ac:grpSpMk id="74" creationId="{F1B32CD1-11C1-4C5F-8DA8-954A7BB32D9C}"/>
          </ac:grpSpMkLst>
        </pc:grpChg>
        <pc:grpChg chg="add mod">
          <ac:chgData name="Kawtar SADIQ" userId="65df04e4-2d23-4bab-afb0-40df8a2c1b9f" providerId="ADAL" clId="{13E48CF6-3C07-4AA7-848A-1E964CBB0D3A}" dt="2022-12-01T16:45:48.374" v="27988"/>
          <ac:grpSpMkLst>
            <pc:docMk/>
            <pc:sldMk cId="256183737" sldId="2147469842"/>
            <ac:grpSpMk id="77" creationId="{276C16D8-43C0-423E-92EB-3F4E6273E248}"/>
          </ac:grpSpMkLst>
        </pc:grpChg>
        <pc:grpChg chg="add mod">
          <ac:chgData name="Kawtar SADIQ" userId="65df04e4-2d23-4bab-afb0-40df8a2c1b9f" providerId="ADAL" clId="{13E48CF6-3C07-4AA7-848A-1E964CBB0D3A}" dt="2022-12-01T16:45:48.374" v="27988"/>
          <ac:grpSpMkLst>
            <pc:docMk/>
            <pc:sldMk cId="256183737" sldId="2147469842"/>
            <ac:grpSpMk id="80" creationId="{684EA1B9-193E-45CF-A4F0-05B0BFA20126}"/>
          </ac:grpSpMkLst>
        </pc:grpChg>
        <pc:grpChg chg="add mod">
          <ac:chgData name="Kawtar SADIQ" userId="65df04e4-2d23-4bab-afb0-40df8a2c1b9f" providerId="ADAL" clId="{13E48CF6-3C07-4AA7-848A-1E964CBB0D3A}" dt="2022-12-01T16:45:48.374" v="27988"/>
          <ac:grpSpMkLst>
            <pc:docMk/>
            <pc:sldMk cId="256183737" sldId="2147469842"/>
            <ac:grpSpMk id="83" creationId="{F264D3D5-4EEF-486E-A19B-1F7D44CD2D8F}"/>
          </ac:grpSpMkLst>
        </pc:grpChg>
        <pc:grpChg chg="add mod">
          <ac:chgData name="Kawtar SADIQ" userId="65df04e4-2d23-4bab-afb0-40df8a2c1b9f" providerId="ADAL" clId="{13E48CF6-3C07-4AA7-848A-1E964CBB0D3A}" dt="2022-12-01T16:45:48.374" v="27988"/>
          <ac:grpSpMkLst>
            <pc:docMk/>
            <pc:sldMk cId="256183737" sldId="2147469842"/>
            <ac:grpSpMk id="86" creationId="{7FC6389B-47D1-45A0-9B30-26DD3FB7FBDE}"/>
          </ac:grpSpMkLst>
        </pc:grpChg>
        <pc:grpChg chg="add mod">
          <ac:chgData name="Kawtar SADIQ" userId="65df04e4-2d23-4bab-afb0-40df8a2c1b9f" providerId="ADAL" clId="{13E48CF6-3C07-4AA7-848A-1E964CBB0D3A}" dt="2022-12-01T16:45:48.374" v="27988"/>
          <ac:grpSpMkLst>
            <pc:docMk/>
            <pc:sldMk cId="256183737" sldId="2147469842"/>
            <ac:grpSpMk id="89" creationId="{4D203D6E-7F2B-471D-9492-CFBF6D51FEA7}"/>
          </ac:grpSpMkLst>
        </pc:grpChg>
        <pc:grpChg chg="add mod">
          <ac:chgData name="Kawtar SADIQ" userId="65df04e4-2d23-4bab-afb0-40df8a2c1b9f" providerId="ADAL" clId="{13E48CF6-3C07-4AA7-848A-1E964CBB0D3A}" dt="2022-12-01T16:45:48.374" v="27988"/>
          <ac:grpSpMkLst>
            <pc:docMk/>
            <pc:sldMk cId="256183737" sldId="2147469842"/>
            <ac:grpSpMk id="92" creationId="{7D6782D8-AEEC-4E70-B4C1-6FF198CF13F5}"/>
          </ac:grpSpMkLst>
        </pc:grpChg>
        <pc:grpChg chg="add mod">
          <ac:chgData name="Kawtar SADIQ" userId="65df04e4-2d23-4bab-afb0-40df8a2c1b9f" providerId="ADAL" clId="{13E48CF6-3C07-4AA7-848A-1E964CBB0D3A}" dt="2022-12-01T16:45:48.374" v="27988"/>
          <ac:grpSpMkLst>
            <pc:docMk/>
            <pc:sldMk cId="256183737" sldId="2147469842"/>
            <ac:grpSpMk id="95" creationId="{7EC84177-F317-49D2-A52E-1FCAD052FF4B}"/>
          </ac:grpSpMkLst>
        </pc:grpChg>
        <pc:grpChg chg="add mod">
          <ac:chgData name="Kawtar SADIQ" userId="65df04e4-2d23-4bab-afb0-40df8a2c1b9f" providerId="ADAL" clId="{13E48CF6-3C07-4AA7-848A-1E964CBB0D3A}" dt="2022-12-01T16:45:48.374" v="27988"/>
          <ac:grpSpMkLst>
            <pc:docMk/>
            <pc:sldMk cId="256183737" sldId="2147469842"/>
            <ac:grpSpMk id="98" creationId="{A89195BC-0411-44CC-BC84-689A1CD8473B}"/>
          </ac:grpSpMkLst>
        </pc:grpChg>
        <pc:grpChg chg="add mod">
          <ac:chgData name="Kawtar SADIQ" userId="65df04e4-2d23-4bab-afb0-40df8a2c1b9f" providerId="ADAL" clId="{13E48CF6-3C07-4AA7-848A-1E964CBB0D3A}" dt="2022-12-01T16:45:48.374" v="27988"/>
          <ac:grpSpMkLst>
            <pc:docMk/>
            <pc:sldMk cId="256183737" sldId="2147469842"/>
            <ac:grpSpMk id="101" creationId="{D4B0C3E5-BDDB-4BD4-BCC1-BE30FEF7B4FC}"/>
          </ac:grpSpMkLst>
        </pc:grpChg>
        <pc:grpChg chg="add mod">
          <ac:chgData name="Kawtar SADIQ" userId="65df04e4-2d23-4bab-afb0-40df8a2c1b9f" providerId="ADAL" clId="{13E48CF6-3C07-4AA7-848A-1E964CBB0D3A}" dt="2022-12-01T16:45:48.374" v="27988"/>
          <ac:grpSpMkLst>
            <pc:docMk/>
            <pc:sldMk cId="256183737" sldId="2147469842"/>
            <ac:grpSpMk id="104" creationId="{0DAB7793-E0AB-4EB6-BE83-D9A2B9E68B83}"/>
          </ac:grpSpMkLst>
        </pc:grpChg>
        <pc:grpChg chg="add mod">
          <ac:chgData name="Kawtar SADIQ" userId="65df04e4-2d23-4bab-afb0-40df8a2c1b9f" providerId="ADAL" clId="{13E48CF6-3C07-4AA7-848A-1E964CBB0D3A}" dt="2022-12-01T16:45:48.374" v="27988"/>
          <ac:grpSpMkLst>
            <pc:docMk/>
            <pc:sldMk cId="256183737" sldId="2147469842"/>
            <ac:grpSpMk id="107" creationId="{FEA0791F-E929-4FAA-8606-53E3B553BC09}"/>
          </ac:grpSpMkLst>
        </pc:grpChg>
        <pc:grpChg chg="add mod">
          <ac:chgData name="Kawtar SADIQ" userId="65df04e4-2d23-4bab-afb0-40df8a2c1b9f" providerId="ADAL" clId="{13E48CF6-3C07-4AA7-848A-1E964CBB0D3A}" dt="2022-12-01T16:45:48.374" v="27988"/>
          <ac:grpSpMkLst>
            <pc:docMk/>
            <pc:sldMk cId="256183737" sldId="2147469842"/>
            <ac:grpSpMk id="110" creationId="{4479AB5B-C764-4178-9129-74793E1C01DB}"/>
          </ac:grpSpMkLst>
        </pc:grpChg>
        <pc:grpChg chg="add mod">
          <ac:chgData name="Kawtar SADIQ" userId="65df04e4-2d23-4bab-afb0-40df8a2c1b9f" providerId="ADAL" clId="{13E48CF6-3C07-4AA7-848A-1E964CBB0D3A}" dt="2022-12-01T16:45:48.374" v="27988"/>
          <ac:grpSpMkLst>
            <pc:docMk/>
            <pc:sldMk cId="256183737" sldId="2147469842"/>
            <ac:grpSpMk id="113" creationId="{867AA10A-DA39-45B6-9FD3-68B070BEDD3D}"/>
          </ac:grpSpMkLst>
        </pc:grpChg>
        <pc:grpChg chg="add mod">
          <ac:chgData name="Kawtar SADIQ" userId="65df04e4-2d23-4bab-afb0-40df8a2c1b9f" providerId="ADAL" clId="{13E48CF6-3C07-4AA7-848A-1E964CBB0D3A}" dt="2022-12-01T16:45:48.374" v="27988"/>
          <ac:grpSpMkLst>
            <pc:docMk/>
            <pc:sldMk cId="256183737" sldId="2147469842"/>
            <ac:grpSpMk id="116" creationId="{61CB0173-7F91-40F2-8C9C-69B18FAA92CE}"/>
          </ac:grpSpMkLst>
        </pc:grpChg>
        <pc:grpChg chg="add mod">
          <ac:chgData name="Kawtar SADIQ" userId="65df04e4-2d23-4bab-afb0-40df8a2c1b9f" providerId="ADAL" clId="{13E48CF6-3C07-4AA7-848A-1E964CBB0D3A}" dt="2022-12-01T16:45:48.374" v="27988"/>
          <ac:grpSpMkLst>
            <pc:docMk/>
            <pc:sldMk cId="256183737" sldId="2147469842"/>
            <ac:grpSpMk id="119" creationId="{6B6D550F-DB90-46FF-96BE-AFF37C9DBD9C}"/>
          </ac:grpSpMkLst>
        </pc:grpChg>
        <pc:grpChg chg="add mod">
          <ac:chgData name="Kawtar SADIQ" userId="65df04e4-2d23-4bab-afb0-40df8a2c1b9f" providerId="ADAL" clId="{13E48CF6-3C07-4AA7-848A-1E964CBB0D3A}" dt="2022-12-01T16:45:48.374" v="27988"/>
          <ac:grpSpMkLst>
            <pc:docMk/>
            <pc:sldMk cId="256183737" sldId="2147469842"/>
            <ac:grpSpMk id="122" creationId="{6027727A-0EC5-4B1F-B7D3-CD5D0634FE67}"/>
          </ac:grpSpMkLst>
        </pc:grpChg>
        <pc:grpChg chg="add mod">
          <ac:chgData name="Kawtar SADIQ" userId="65df04e4-2d23-4bab-afb0-40df8a2c1b9f" providerId="ADAL" clId="{13E48CF6-3C07-4AA7-848A-1E964CBB0D3A}" dt="2022-12-01T16:45:48.374" v="27988"/>
          <ac:grpSpMkLst>
            <pc:docMk/>
            <pc:sldMk cId="256183737" sldId="2147469842"/>
            <ac:grpSpMk id="125" creationId="{ACF28D39-8C16-40C2-938B-6B7D2572C984}"/>
          </ac:grpSpMkLst>
        </pc:grpChg>
        <pc:grpChg chg="add mod">
          <ac:chgData name="Kawtar SADIQ" userId="65df04e4-2d23-4bab-afb0-40df8a2c1b9f" providerId="ADAL" clId="{13E48CF6-3C07-4AA7-848A-1E964CBB0D3A}" dt="2022-12-01T16:45:48.374" v="27988"/>
          <ac:grpSpMkLst>
            <pc:docMk/>
            <pc:sldMk cId="256183737" sldId="2147469842"/>
            <ac:grpSpMk id="128" creationId="{4766119F-C9E0-4189-9FF7-1D1E0D1AF0A1}"/>
          </ac:grpSpMkLst>
        </pc:grpChg>
        <pc:graphicFrameChg chg="add mod">
          <ac:chgData name="Kawtar SADIQ" userId="65df04e4-2d23-4bab-afb0-40df8a2c1b9f" providerId="ADAL" clId="{13E48CF6-3C07-4AA7-848A-1E964CBB0D3A}" dt="2022-12-01T16:45:48.374" v="27988"/>
          <ac:graphicFrameMkLst>
            <pc:docMk/>
            <pc:sldMk cId="256183737" sldId="2147469842"/>
            <ac:graphicFrameMk id="4" creationId="{437AB2C6-1962-48D7-BBBD-E467214EDE31}"/>
          </ac:graphicFrameMkLst>
        </pc:graphicFrameChg>
        <pc:picChg chg="add mod">
          <ac:chgData name="Kawtar SADIQ" userId="65df04e4-2d23-4bab-afb0-40df8a2c1b9f" providerId="ADAL" clId="{13E48CF6-3C07-4AA7-848A-1E964CBB0D3A}" dt="2022-12-01T16:45:48.374" v="27988"/>
          <ac:picMkLst>
            <pc:docMk/>
            <pc:sldMk cId="256183737" sldId="2147469842"/>
            <ac:picMk id="40" creationId="{BF480D82-0343-43F8-AC60-5AA75DCB1255}"/>
          </ac:picMkLst>
        </pc:picChg>
        <pc:picChg chg="mod">
          <ac:chgData name="Kawtar SADIQ" userId="65df04e4-2d23-4bab-afb0-40df8a2c1b9f" providerId="ADAL" clId="{13E48CF6-3C07-4AA7-848A-1E964CBB0D3A}" dt="2022-12-01T16:45:48.374" v="27988"/>
          <ac:picMkLst>
            <pc:docMk/>
            <pc:sldMk cId="256183737" sldId="2147469842"/>
            <ac:picMk id="46" creationId="{2E842877-7468-4B3E-A53B-FD88C40BEA3E}"/>
          </ac:picMkLst>
        </pc:picChg>
        <pc:picChg chg="mod">
          <ac:chgData name="Kawtar SADIQ" userId="65df04e4-2d23-4bab-afb0-40df8a2c1b9f" providerId="ADAL" clId="{13E48CF6-3C07-4AA7-848A-1E964CBB0D3A}" dt="2022-12-01T16:45:48.374" v="27988"/>
          <ac:picMkLst>
            <pc:docMk/>
            <pc:sldMk cId="256183737" sldId="2147469842"/>
            <ac:picMk id="49" creationId="{AB350121-1427-4DCD-9939-9A1E9EA5A94A}"/>
          </ac:picMkLst>
        </pc:picChg>
        <pc:picChg chg="mod">
          <ac:chgData name="Kawtar SADIQ" userId="65df04e4-2d23-4bab-afb0-40df8a2c1b9f" providerId="ADAL" clId="{13E48CF6-3C07-4AA7-848A-1E964CBB0D3A}" dt="2022-12-01T16:45:48.374" v="27988"/>
          <ac:picMkLst>
            <pc:docMk/>
            <pc:sldMk cId="256183737" sldId="2147469842"/>
            <ac:picMk id="52" creationId="{0C43D20A-F395-4DCE-9E1E-DE480D404ACA}"/>
          </ac:picMkLst>
        </pc:picChg>
        <pc:picChg chg="mod">
          <ac:chgData name="Kawtar SADIQ" userId="65df04e4-2d23-4bab-afb0-40df8a2c1b9f" providerId="ADAL" clId="{13E48CF6-3C07-4AA7-848A-1E964CBB0D3A}" dt="2022-12-01T16:45:48.374" v="27988"/>
          <ac:picMkLst>
            <pc:docMk/>
            <pc:sldMk cId="256183737" sldId="2147469842"/>
            <ac:picMk id="55" creationId="{29BFCDB4-54C7-46B9-8F37-952F21BB51B1}"/>
          </ac:picMkLst>
        </pc:picChg>
        <pc:picChg chg="mod">
          <ac:chgData name="Kawtar SADIQ" userId="65df04e4-2d23-4bab-afb0-40df8a2c1b9f" providerId="ADAL" clId="{13E48CF6-3C07-4AA7-848A-1E964CBB0D3A}" dt="2022-12-01T16:45:48.374" v="27988"/>
          <ac:picMkLst>
            <pc:docMk/>
            <pc:sldMk cId="256183737" sldId="2147469842"/>
            <ac:picMk id="58" creationId="{9B450B9E-DD16-48EF-AB66-25326666230C}"/>
          </ac:picMkLst>
        </pc:picChg>
        <pc:picChg chg="mod">
          <ac:chgData name="Kawtar SADIQ" userId="65df04e4-2d23-4bab-afb0-40df8a2c1b9f" providerId="ADAL" clId="{13E48CF6-3C07-4AA7-848A-1E964CBB0D3A}" dt="2022-12-01T16:45:48.374" v="27988"/>
          <ac:picMkLst>
            <pc:docMk/>
            <pc:sldMk cId="256183737" sldId="2147469842"/>
            <ac:picMk id="61" creationId="{F1BD3529-C058-401E-8638-878FD5846313}"/>
          </ac:picMkLst>
        </pc:picChg>
        <pc:picChg chg="mod">
          <ac:chgData name="Kawtar SADIQ" userId="65df04e4-2d23-4bab-afb0-40df8a2c1b9f" providerId="ADAL" clId="{13E48CF6-3C07-4AA7-848A-1E964CBB0D3A}" dt="2022-12-01T16:45:48.374" v="27988"/>
          <ac:picMkLst>
            <pc:docMk/>
            <pc:sldMk cId="256183737" sldId="2147469842"/>
            <ac:picMk id="64" creationId="{786D4561-93F4-4C2F-9845-6BE53AD800D3}"/>
          </ac:picMkLst>
        </pc:picChg>
        <pc:picChg chg="mod">
          <ac:chgData name="Kawtar SADIQ" userId="65df04e4-2d23-4bab-afb0-40df8a2c1b9f" providerId="ADAL" clId="{13E48CF6-3C07-4AA7-848A-1E964CBB0D3A}" dt="2022-12-01T16:45:48.374" v="27988"/>
          <ac:picMkLst>
            <pc:docMk/>
            <pc:sldMk cId="256183737" sldId="2147469842"/>
            <ac:picMk id="67" creationId="{E80C2926-F275-4975-9A7E-15D045D079CE}"/>
          </ac:picMkLst>
        </pc:picChg>
        <pc:picChg chg="mod">
          <ac:chgData name="Kawtar SADIQ" userId="65df04e4-2d23-4bab-afb0-40df8a2c1b9f" providerId="ADAL" clId="{13E48CF6-3C07-4AA7-848A-1E964CBB0D3A}" dt="2022-12-01T16:45:48.374" v="27988"/>
          <ac:picMkLst>
            <pc:docMk/>
            <pc:sldMk cId="256183737" sldId="2147469842"/>
            <ac:picMk id="70" creationId="{7E371A7E-AAF3-40EF-89D7-A9F87327B790}"/>
          </ac:picMkLst>
        </pc:picChg>
        <pc:picChg chg="mod">
          <ac:chgData name="Kawtar SADIQ" userId="65df04e4-2d23-4bab-afb0-40df8a2c1b9f" providerId="ADAL" clId="{13E48CF6-3C07-4AA7-848A-1E964CBB0D3A}" dt="2022-12-01T16:45:48.374" v="27988"/>
          <ac:picMkLst>
            <pc:docMk/>
            <pc:sldMk cId="256183737" sldId="2147469842"/>
            <ac:picMk id="73" creationId="{C0AC1C32-2655-4D7D-A306-D95DAEB55420}"/>
          </ac:picMkLst>
        </pc:picChg>
        <pc:picChg chg="mod">
          <ac:chgData name="Kawtar SADIQ" userId="65df04e4-2d23-4bab-afb0-40df8a2c1b9f" providerId="ADAL" clId="{13E48CF6-3C07-4AA7-848A-1E964CBB0D3A}" dt="2022-12-01T16:45:48.374" v="27988"/>
          <ac:picMkLst>
            <pc:docMk/>
            <pc:sldMk cId="256183737" sldId="2147469842"/>
            <ac:picMk id="76" creationId="{E2A140EF-C4F3-423C-A7A0-53EB1EB139EE}"/>
          </ac:picMkLst>
        </pc:picChg>
        <pc:picChg chg="mod">
          <ac:chgData name="Kawtar SADIQ" userId="65df04e4-2d23-4bab-afb0-40df8a2c1b9f" providerId="ADAL" clId="{13E48CF6-3C07-4AA7-848A-1E964CBB0D3A}" dt="2022-12-01T16:45:48.374" v="27988"/>
          <ac:picMkLst>
            <pc:docMk/>
            <pc:sldMk cId="256183737" sldId="2147469842"/>
            <ac:picMk id="79" creationId="{B5B96F8B-969F-42C6-BF20-9BFE6B086F77}"/>
          </ac:picMkLst>
        </pc:picChg>
        <pc:picChg chg="mod">
          <ac:chgData name="Kawtar SADIQ" userId="65df04e4-2d23-4bab-afb0-40df8a2c1b9f" providerId="ADAL" clId="{13E48CF6-3C07-4AA7-848A-1E964CBB0D3A}" dt="2022-12-01T16:45:48.374" v="27988"/>
          <ac:picMkLst>
            <pc:docMk/>
            <pc:sldMk cId="256183737" sldId="2147469842"/>
            <ac:picMk id="82" creationId="{BE3FD906-613A-487F-BD6D-8E49469AE21C}"/>
          </ac:picMkLst>
        </pc:picChg>
        <pc:picChg chg="mod">
          <ac:chgData name="Kawtar SADIQ" userId="65df04e4-2d23-4bab-afb0-40df8a2c1b9f" providerId="ADAL" clId="{13E48CF6-3C07-4AA7-848A-1E964CBB0D3A}" dt="2022-12-01T16:45:48.374" v="27988"/>
          <ac:picMkLst>
            <pc:docMk/>
            <pc:sldMk cId="256183737" sldId="2147469842"/>
            <ac:picMk id="85" creationId="{FDFB1045-F58E-4452-AF8B-F9C66ABC6DB6}"/>
          </ac:picMkLst>
        </pc:picChg>
        <pc:picChg chg="mod">
          <ac:chgData name="Kawtar SADIQ" userId="65df04e4-2d23-4bab-afb0-40df8a2c1b9f" providerId="ADAL" clId="{13E48CF6-3C07-4AA7-848A-1E964CBB0D3A}" dt="2022-12-01T16:45:48.374" v="27988"/>
          <ac:picMkLst>
            <pc:docMk/>
            <pc:sldMk cId="256183737" sldId="2147469842"/>
            <ac:picMk id="88" creationId="{BFE61839-E815-4919-B100-A1751B943F2D}"/>
          </ac:picMkLst>
        </pc:picChg>
        <pc:picChg chg="mod">
          <ac:chgData name="Kawtar SADIQ" userId="65df04e4-2d23-4bab-afb0-40df8a2c1b9f" providerId="ADAL" clId="{13E48CF6-3C07-4AA7-848A-1E964CBB0D3A}" dt="2022-12-01T16:45:48.374" v="27988"/>
          <ac:picMkLst>
            <pc:docMk/>
            <pc:sldMk cId="256183737" sldId="2147469842"/>
            <ac:picMk id="91" creationId="{A82A91E5-1327-47FC-8C41-C496E26C917B}"/>
          </ac:picMkLst>
        </pc:picChg>
        <pc:picChg chg="mod">
          <ac:chgData name="Kawtar SADIQ" userId="65df04e4-2d23-4bab-afb0-40df8a2c1b9f" providerId="ADAL" clId="{13E48CF6-3C07-4AA7-848A-1E964CBB0D3A}" dt="2022-12-01T16:45:48.374" v="27988"/>
          <ac:picMkLst>
            <pc:docMk/>
            <pc:sldMk cId="256183737" sldId="2147469842"/>
            <ac:picMk id="94" creationId="{4D7E9836-C0BA-4602-9562-E32112B76523}"/>
          </ac:picMkLst>
        </pc:picChg>
        <pc:picChg chg="mod">
          <ac:chgData name="Kawtar SADIQ" userId="65df04e4-2d23-4bab-afb0-40df8a2c1b9f" providerId="ADAL" clId="{13E48CF6-3C07-4AA7-848A-1E964CBB0D3A}" dt="2022-12-01T16:45:48.374" v="27988"/>
          <ac:picMkLst>
            <pc:docMk/>
            <pc:sldMk cId="256183737" sldId="2147469842"/>
            <ac:picMk id="97" creationId="{69174DCD-E416-470D-892D-A9F7A1A92E5F}"/>
          </ac:picMkLst>
        </pc:picChg>
        <pc:picChg chg="mod">
          <ac:chgData name="Kawtar SADIQ" userId="65df04e4-2d23-4bab-afb0-40df8a2c1b9f" providerId="ADAL" clId="{13E48CF6-3C07-4AA7-848A-1E964CBB0D3A}" dt="2022-12-01T16:45:48.374" v="27988"/>
          <ac:picMkLst>
            <pc:docMk/>
            <pc:sldMk cId="256183737" sldId="2147469842"/>
            <ac:picMk id="100" creationId="{4A3862CF-75E9-41F5-8B28-7D51918A684C}"/>
          </ac:picMkLst>
        </pc:picChg>
        <pc:picChg chg="mod">
          <ac:chgData name="Kawtar SADIQ" userId="65df04e4-2d23-4bab-afb0-40df8a2c1b9f" providerId="ADAL" clId="{13E48CF6-3C07-4AA7-848A-1E964CBB0D3A}" dt="2022-12-01T16:45:48.374" v="27988"/>
          <ac:picMkLst>
            <pc:docMk/>
            <pc:sldMk cId="256183737" sldId="2147469842"/>
            <ac:picMk id="103" creationId="{8BB42B2B-D984-4AB9-B22B-B99BF74CE76A}"/>
          </ac:picMkLst>
        </pc:picChg>
        <pc:picChg chg="mod">
          <ac:chgData name="Kawtar SADIQ" userId="65df04e4-2d23-4bab-afb0-40df8a2c1b9f" providerId="ADAL" clId="{13E48CF6-3C07-4AA7-848A-1E964CBB0D3A}" dt="2022-12-01T16:45:48.374" v="27988"/>
          <ac:picMkLst>
            <pc:docMk/>
            <pc:sldMk cId="256183737" sldId="2147469842"/>
            <ac:picMk id="106" creationId="{1BF5E471-43A9-4F5E-A02C-D5505212F5F2}"/>
          </ac:picMkLst>
        </pc:picChg>
        <pc:picChg chg="mod">
          <ac:chgData name="Kawtar SADIQ" userId="65df04e4-2d23-4bab-afb0-40df8a2c1b9f" providerId="ADAL" clId="{13E48CF6-3C07-4AA7-848A-1E964CBB0D3A}" dt="2022-12-01T16:45:48.374" v="27988"/>
          <ac:picMkLst>
            <pc:docMk/>
            <pc:sldMk cId="256183737" sldId="2147469842"/>
            <ac:picMk id="109" creationId="{D4EB84E5-E3E5-4A4F-8426-A0BDC858ECC1}"/>
          </ac:picMkLst>
        </pc:picChg>
        <pc:picChg chg="mod">
          <ac:chgData name="Kawtar SADIQ" userId="65df04e4-2d23-4bab-afb0-40df8a2c1b9f" providerId="ADAL" clId="{13E48CF6-3C07-4AA7-848A-1E964CBB0D3A}" dt="2022-12-01T16:45:48.374" v="27988"/>
          <ac:picMkLst>
            <pc:docMk/>
            <pc:sldMk cId="256183737" sldId="2147469842"/>
            <ac:picMk id="112" creationId="{D1E47FD9-F99F-4769-A366-F1C5EDAB4E39}"/>
          </ac:picMkLst>
        </pc:picChg>
        <pc:picChg chg="mod">
          <ac:chgData name="Kawtar SADIQ" userId="65df04e4-2d23-4bab-afb0-40df8a2c1b9f" providerId="ADAL" clId="{13E48CF6-3C07-4AA7-848A-1E964CBB0D3A}" dt="2022-12-01T16:45:48.374" v="27988"/>
          <ac:picMkLst>
            <pc:docMk/>
            <pc:sldMk cId="256183737" sldId="2147469842"/>
            <ac:picMk id="115" creationId="{45DB6B3A-9676-47A6-96C7-F403F0309FA2}"/>
          </ac:picMkLst>
        </pc:picChg>
        <pc:picChg chg="mod">
          <ac:chgData name="Kawtar SADIQ" userId="65df04e4-2d23-4bab-afb0-40df8a2c1b9f" providerId="ADAL" clId="{13E48CF6-3C07-4AA7-848A-1E964CBB0D3A}" dt="2022-12-01T16:45:48.374" v="27988"/>
          <ac:picMkLst>
            <pc:docMk/>
            <pc:sldMk cId="256183737" sldId="2147469842"/>
            <ac:picMk id="118" creationId="{15596087-3D5E-4DDD-86A9-4D1AEDC92B14}"/>
          </ac:picMkLst>
        </pc:picChg>
        <pc:picChg chg="mod">
          <ac:chgData name="Kawtar SADIQ" userId="65df04e4-2d23-4bab-afb0-40df8a2c1b9f" providerId="ADAL" clId="{13E48CF6-3C07-4AA7-848A-1E964CBB0D3A}" dt="2022-12-01T16:45:48.374" v="27988"/>
          <ac:picMkLst>
            <pc:docMk/>
            <pc:sldMk cId="256183737" sldId="2147469842"/>
            <ac:picMk id="121" creationId="{0F95DBB3-A6E3-46FE-A8E5-36B51653A7AC}"/>
          </ac:picMkLst>
        </pc:picChg>
        <pc:picChg chg="mod">
          <ac:chgData name="Kawtar SADIQ" userId="65df04e4-2d23-4bab-afb0-40df8a2c1b9f" providerId="ADAL" clId="{13E48CF6-3C07-4AA7-848A-1E964CBB0D3A}" dt="2022-12-01T16:45:48.374" v="27988"/>
          <ac:picMkLst>
            <pc:docMk/>
            <pc:sldMk cId="256183737" sldId="2147469842"/>
            <ac:picMk id="124" creationId="{8BC7DDB8-052E-45CF-A58E-6E5E64732887}"/>
          </ac:picMkLst>
        </pc:picChg>
        <pc:picChg chg="mod">
          <ac:chgData name="Kawtar SADIQ" userId="65df04e4-2d23-4bab-afb0-40df8a2c1b9f" providerId="ADAL" clId="{13E48CF6-3C07-4AA7-848A-1E964CBB0D3A}" dt="2022-12-01T16:45:48.374" v="27988"/>
          <ac:picMkLst>
            <pc:docMk/>
            <pc:sldMk cId="256183737" sldId="2147469842"/>
            <ac:picMk id="127" creationId="{BD9290F6-FA47-4E93-A2C7-6BA99E80DFD3}"/>
          </ac:picMkLst>
        </pc:picChg>
        <pc:picChg chg="mod">
          <ac:chgData name="Kawtar SADIQ" userId="65df04e4-2d23-4bab-afb0-40df8a2c1b9f" providerId="ADAL" clId="{13E48CF6-3C07-4AA7-848A-1E964CBB0D3A}" dt="2022-12-01T16:45:48.374" v="27988"/>
          <ac:picMkLst>
            <pc:docMk/>
            <pc:sldMk cId="256183737" sldId="2147469842"/>
            <ac:picMk id="130" creationId="{E4403740-8B2A-4BC1-AA4E-4064CE761EF6}"/>
          </ac:picMkLst>
        </pc:picChg>
      </pc:sldChg>
      <pc:sldChg chg="modSp add">
        <pc:chgData name="Kawtar SADIQ" userId="65df04e4-2d23-4bab-afb0-40df8a2c1b9f" providerId="ADAL" clId="{13E48CF6-3C07-4AA7-848A-1E964CBB0D3A}" dt="2022-12-01T17:02:21.633" v="28042"/>
        <pc:sldMkLst>
          <pc:docMk/>
          <pc:sldMk cId="1055855095" sldId="2147469843"/>
        </pc:sldMkLst>
        <pc:graphicFrameChg chg="mod">
          <ac:chgData name="Kawtar SADIQ" userId="65df04e4-2d23-4bab-afb0-40df8a2c1b9f" providerId="ADAL" clId="{13E48CF6-3C07-4AA7-848A-1E964CBB0D3A}" dt="2022-12-01T17:02:21.633" v="28042"/>
          <ac:graphicFrameMkLst>
            <pc:docMk/>
            <pc:sldMk cId="1055855095" sldId="2147469843"/>
            <ac:graphicFrameMk id="5" creationId="{E247BD5F-6119-4BE9-9391-766AF3CC0E43}"/>
          </ac:graphicFrameMkLst>
        </pc:graphicFrameChg>
      </pc:sldChg>
      <pc:sldChg chg="add">
        <pc:chgData name="Kawtar SADIQ" userId="65df04e4-2d23-4bab-afb0-40df8a2c1b9f" providerId="ADAL" clId="{13E48CF6-3C07-4AA7-848A-1E964CBB0D3A}" dt="2022-12-01T16:46:53.853" v="27992"/>
        <pc:sldMkLst>
          <pc:docMk/>
          <pc:sldMk cId="1066070080" sldId="2147469844"/>
        </pc:sldMkLst>
      </pc:sldChg>
      <pc:sldChg chg="addSp delSp modSp new mod ord">
        <pc:chgData name="Kawtar SADIQ" userId="65df04e4-2d23-4bab-afb0-40df8a2c1b9f" providerId="ADAL" clId="{13E48CF6-3C07-4AA7-848A-1E964CBB0D3A}" dt="2022-12-01T16:47:22.153" v="27997"/>
        <pc:sldMkLst>
          <pc:docMk/>
          <pc:sldMk cId="2349224761" sldId="2147469845"/>
        </pc:sldMkLst>
        <pc:spChg chg="del">
          <ac:chgData name="Kawtar SADIQ" userId="65df04e4-2d23-4bab-afb0-40df8a2c1b9f" providerId="ADAL" clId="{13E48CF6-3C07-4AA7-848A-1E964CBB0D3A}" dt="2022-12-01T16:47:14.983" v="27996" actId="478"/>
          <ac:spMkLst>
            <pc:docMk/>
            <pc:sldMk cId="2349224761" sldId="2147469845"/>
            <ac:spMk id="2" creationId="{CB1A4D72-4B2D-4D77-80F7-B23AE76D8712}"/>
          </ac:spMkLst>
        </pc:spChg>
        <pc:spChg chg="del">
          <ac:chgData name="Kawtar SADIQ" userId="65df04e4-2d23-4bab-afb0-40df8a2c1b9f" providerId="ADAL" clId="{13E48CF6-3C07-4AA7-848A-1E964CBB0D3A}" dt="2022-12-01T16:47:14.983" v="27996" actId="478"/>
          <ac:spMkLst>
            <pc:docMk/>
            <pc:sldMk cId="2349224761" sldId="2147469845"/>
            <ac:spMk id="3" creationId="{8C68337E-DF9E-4A12-914D-F8CB5DBC251C}"/>
          </ac:spMkLst>
        </pc:spChg>
        <pc:spChg chg="add mod">
          <ac:chgData name="Kawtar SADIQ" userId="65df04e4-2d23-4bab-afb0-40df8a2c1b9f" providerId="ADAL" clId="{13E48CF6-3C07-4AA7-848A-1E964CBB0D3A}" dt="2022-12-01T16:47:22.153" v="27997"/>
          <ac:spMkLst>
            <pc:docMk/>
            <pc:sldMk cId="2349224761" sldId="2147469845"/>
            <ac:spMk id="4" creationId="{E961020F-B019-4CFA-88B6-1392BB07711E}"/>
          </ac:spMkLst>
        </pc:spChg>
        <pc:spChg chg="add mod">
          <ac:chgData name="Kawtar SADIQ" userId="65df04e4-2d23-4bab-afb0-40df8a2c1b9f" providerId="ADAL" clId="{13E48CF6-3C07-4AA7-848A-1E964CBB0D3A}" dt="2022-12-01T16:47:22.153" v="27997"/>
          <ac:spMkLst>
            <pc:docMk/>
            <pc:sldMk cId="2349224761" sldId="2147469845"/>
            <ac:spMk id="7" creationId="{D30CA1E8-0A7D-4339-802D-13902F618754}"/>
          </ac:spMkLst>
        </pc:spChg>
        <pc:spChg chg="add mod">
          <ac:chgData name="Kawtar SADIQ" userId="65df04e4-2d23-4bab-afb0-40df8a2c1b9f" providerId="ADAL" clId="{13E48CF6-3C07-4AA7-848A-1E964CBB0D3A}" dt="2022-12-01T16:47:22.153" v="27997"/>
          <ac:spMkLst>
            <pc:docMk/>
            <pc:sldMk cId="2349224761" sldId="2147469845"/>
            <ac:spMk id="8" creationId="{6BF6319F-A86D-4FFA-B03B-9DF04A898F65}"/>
          </ac:spMkLst>
        </pc:spChg>
        <pc:spChg chg="add mod">
          <ac:chgData name="Kawtar SADIQ" userId="65df04e4-2d23-4bab-afb0-40df8a2c1b9f" providerId="ADAL" clId="{13E48CF6-3C07-4AA7-848A-1E964CBB0D3A}" dt="2022-12-01T16:47:22.153" v="27997"/>
          <ac:spMkLst>
            <pc:docMk/>
            <pc:sldMk cId="2349224761" sldId="2147469845"/>
            <ac:spMk id="9" creationId="{8454200C-05D1-4219-B261-9BB93F55D6F7}"/>
          </ac:spMkLst>
        </pc:spChg>
        <pc:spChg chg="mod">
          <ac:chgData name="Kawtar SADIQ" userId="65df04e4-2d23-4bab-afb0-40df8a2c1b9f" providerId="ADAL" clId="{13E48CF6-3C07-4AA7-848A-1E964CBB0D3A}" dt="2022-12-01T16:47:22.153" v="27997"/>
          <ac:spMkLst>
            <pc:docMk/>
            <pc:sldMk cId="2349224761" sldId="2147469845"/>
            <ac:spMk id="11" creationId="{737CCFED-9BB4-4B79-8190-DE1A5545310A}"/>
          </ac:spMkLst>
        </pc:spChg>
        <pc:spChg chg="mod">
          <ac:chgData name="Kawtar SADIQ" userId="65df04e4-2d23-4bab-afb0-40df8a2c1b9f" providerId="ADAL" clId="{13E48CF6-3C07-4AA7-848A-1E964CBB0D3A}" dt="2022-12-01T16:47:22.153" v="27997"/>
          <ac:spMkLst>
            <pc:docMk/>
            <pc:sldMk cId="2349224761" sldId="2147469845"/>
            <ac:spMk id="12" creationId="{9E3178BA-CA54-4FEC-84D2-E476232D0552}"/>
          </ac:spMkLst>
        </pc:spChg>
        <pc:spChg chg="add mod">
          <ac:chgData name="Kawtar SADIQ" userId="65df04e4-2d23-4bab-afb0-40df8a2c1b9f" providerId="ADAL" clId="{13E48CF6-3C07-4AA7-848A-1E964CBB0D3A}" dt="2022-12-01T16:47:22.153" v="27997"/>
          <ac:spMkLst>
            <pc:docMk/>
            <pc:sldMk cId="2349224761" sldId="2147469845"/>
            <ac:spMk id="13" creationId="{90D707E7-CCFB-4FBC-B254-620C78137018}"/>
          </ac:spMkLst>
        </pc:spChg>
        <pc:spChg chg="mod">
          <ac:chgData name="Kawtar SADIQ" userId="65df04e4-2d23-4bab-afb0-40df8a2c1b9f" providerId="ADAL" clId="{13E48CF6-3C07-4AA7-848A-1E964CBB0D3A}" dt="2022-12-01T16:47:22.153" v="27997"/>
          <ac:spMkLst>
            <pc:docMk/>
            <pc:sldMk cId="2349224761" sldId="2147469845"/>
            <ac:spMk id="15" creationId="{5C639351-26AC-4FC9-BF87-C2ABCE42404C}"/>
          </ac:spMkLst>
        </pc:spChg>
        <pc:spChg chg="mod">
          <ac:chgData name="Kawtar SADIQ" userId="65df04e4-2d23-4bab-afb0-40df8a2c1b9f" providerId="ADAL" clId="{13E48CF6-3C07-4AA7-848A-1E964CBB0D3A}" dt="2022-12-01T16:47:22.153" v="27997"/>
          <ac:spMkLst>
            <pc:docMk/>
            <pc:sldMk cId="2349224761" sldId="2147469845"/>
            <ac:spMk id="16" creationId="{A4A281C4-F221-48E1-AEEB-C70EC6A79C14}"/>
          </ac:spMkLst>
        </pc:spChg>
        <pc:spChg chg="add mod">
          <ac:chgData name="Kawtar SADIQ" userId="65df04e4-2d23-4bab-afb0-40df8a2c1b9f" providerId="ADAL" clId="{13E48CF6-3C07-4AA7-848A-1E964CBB0D3A}" dt="2022-12-01T16:47:22.153" v="27997"/>
          <ac:spMkLst>
            <pc:docMk/>
            <pc:sldMk cId="2349224761" sldId="2147469845"/>
            <ac:spMk id="17" creationId="{02EE047A-F46C-492E-A128-C15E22D8E8A3}"/>
          </ac:spMkLst>
        </pc:spChg>
        <pc:spChg chg="add mod">
          <ac:chgData name="Kawtar SADIQ" userId="65df04e4-2d23-4bab-afb0-40df8a2c1b9f" providerId="ADAL" clId="{13E48CF6-3C07-4AA7-848A-1E964CBB0D3A}" dt="2022-12-01T16:47:22.153" v="27997"/>
          <ac:spMkLst>
            <pc:docMk/>
            <pc:sldMk cId="2349224761" sldId="2147469845"/>
            <ac:spMk id="18" creationId="{64ABA65F-41D1-4D23-AFEA-5D5B212FE688}"/>
          </ac:spMkLst>
        </pc:spChg>
        <pc:spChg chg="add mod">
          <ac:chgData name="Kawtar SADIQ" userId="65df04e4-2d23-4bab-afb0-40df8a2c1b9f" providerId="ADAL" clId="{13E48CF6-3C07-4AA7-848A-1E964CBB0D3A}" dt="2022-12-01T16:47:22.153" v="27997"/>
          <ac:spMkLst>
            <pc:docMk/>
            <pc:sldMk cId="2349224761" sldId="2147469845"/>
            <ac:spMk id="19" creationId="{3A48ECA0-700C-4D00-81B5-2CFADDB559C4}"/>
          </ac:spMkLst>
        </pc:spChg>
        <pc:spChg chg="add mod">
          <ac:chgData name="Kawtar SADIQ" userId="65df04e4-2d23-4bab-afb0-40df8a2c1b9f" providerId="ADAL" clId="{13E48CF6-3C07-4AA7-848A-1E964CBB0D3A}" dt="2022-12-01T16:47:22.153" v="27997"/>
          <ac:spMkLst>
            <pc:docMk/>
            <pc:sldMk cId="2349224761" sldId="2147469845"/>
            <ac:spMk id="20" creationId="{21F3AA35-D0BA-446C-AE7B-9FA36FB7B846}"/>
          </ac:spMkLst>
        </pc:spChg>
        <pc:spChg chg="add mod">
          <ac:chgData name="Kawtar SADIQ" userId="65df04e4-2d23-4bab-afb0-40df8a2c1b9f" providerId="ADAL" clId="{13E48CF6-3C07-4AA7-848A-1E964CBB0D3A}" dt="2022-12-01T16:47:22.153" v="27997"/>
          <ac:spMkLst>
            <pc:docMk/>
            <pc:sldMk cId="2349224761" sldId="2147469845"/>
            <ac:spMk id="21" creationId="{6650B905-7FEB-48C7-ABE2-F33C8D432CE4}"/>
          </ac:spMkLst>
        </pc:spChg>
        <pc:spChg chg="add mod">
          <ac:chgData name="Kawtar SADIQ" userId="65df04e4-2d23-4bab-afb0-40df8a2c1b9f" providerId="ADAL" clId="{13E48CF6-3C07-4AA7-848A-1E964CBB0D3A}" dt="2022-12-01T16:47:22.153" v="27997"/>
          <ac:spMkLst>
            <pc:docMk/>
            <pc:sldMk cId="2349224761" sldId="2147469845"/>
            <ac:spMk id="22" creationId="{660714C9-2479-44C7-8EE1-573B7498ED38}"/>
          </ac:spMkLst>
        </pc:spChg>
        <pc:spChg chg="add mod">
          <ac:chgData name="Kawtar SADIQ" userId="65df04e4-2d23-4bab-afb0-40df8a2c1b9f" providerId="ADAL" clId="{13E48CF6-3C07-4AA7-848A-1E964CBB0D3A}" dt="2022-12-01T16:47:22.153" v="27997"/>
          <ac:spMkLst>
            <pc:docMk/>
            <pc:sldMk cId="2349224761" sldId="2147469845"/>
            <ac:spMk id="23" creationId="{B0BFE83B-233E-4B96-86BB-7A74A577AE94}"/>
          </ac:spMkLst>
        </pc:spChg>
        <pc:spChg chg="add mod">
          <ac:chgData name="Kawtar SADIQ" userId="65df04e4-2d23-4bab-afb0-40df8a2c1b9f" providerId="ADAL" clId="{13E48CF6-3C07-4AA7-848A-1E964CBB0D3A}" dt="2022-12-01T16:47:22.153" v="27997"/>
          <ac:spMkLst>
            <pc:docMk/>
            <pc:sldMk cId="2349224761" sldId="2147469845"/>
            <ac:spMk id="24" creationId="{930AF536-152B-431C-A384-0D4E6670FA76}"/>
          </ac:spMkLst>
        </pc:spChg>
        <pc:spChg chg="add mod">
          <ac:chgData name="Kawtar SADIQ" userId="65df04e4-2d23-4bab-afb0-40df8a2c1b9f" providerId="ADAL" clId="{13E48CF6-3C07-4AA7-848A-1E964CBB0D3A}" dt="2022-12-01T16:47:22.153" v="27997"/>
          <ac:spMkLst>
            <pc:docMk/>
            <pc:sldMk cId="2349224761" sldId="2147469845"/>
            <ac:spMk id="25" creationId="{46BA9B2D-61C3-4911-9418-8E4E3BCB5A05}"/>
          </ac:spMkLst>
        </pc:spChg>
        <pc:spChg chg="add mod">
          <ac:chgData name="Kawtar SADIQ" userId="65df04e4-2d23-4bab-afb0-40df8a2c1b9f" providerId="ADAL" clId="{13E48CF6-3C07-4AA7-848A-1E964CBB0D3A}" dt="2022-12-01T16:47:22.153" v="27997"/>
          <ac:spMkLst>
            <pc:docMk/>
            <pc:sldMk cId="2349224761" sldId="2147469845"/>
            <ac:spMk id="26" creationId="{7CD1F26D-B4B3-44FC-8BDC-10B832B48C01}"/>
          </ac:spMkLst>
        </pc:spChg>
        <pc:spChg chg="add mod">
          <ac:chgData name="Kawtar SADIQ" userId="65df04e4-2d23-4bab-afb0-40df8a2c1b9f" providerId="ADAL" clId="{13E48CF6-3C07-4AA7-848A-1E964CBB0D3A}" dt="2022-12-01T16:47:22.153" v="27997"/>
          <ac:spMkLst>
            <pc:docMk/>
            <pc:sldMk cId="2349224761" sldId="2147469845"/>
            <ac:spMk id="27" creationId="{82E71C3D-2A37-4072-9442-976D7776E09D}"/>
          </ac:spMkLst>
        </pc:spChg>
        <pc:spChg chg="add mod">
          <ac:chgData name="Kawtar SADIQ" userId="65df04e4-2d23-4bab-afb0-40df8a2c1b9f" providerId="ADAL" clId="{13E48CF6-3C07-4AA7-848A-1E964CBB0D3A}" dt="2022-12-01T16:47:22.153" v="27997"/>
          <ac:spMkLst>
            <pc:docMk/>
            <pc:sldMk cId="2349224761" sldId="2147469845"/>
            <ac:spMk id="28" creationId="{D1992363-A09B-4A45-B87A-0CA0F765A0A0}"/>
          </ac:spMkLst>
        </pc:spChg>
        <pc:spChg chg="add mod">
          <ac:chgData name="Kawtar SADIQ" userId="65df04e4-2d23-4bab-afb0-40df8a2c1b9f" providerId="ADAL" clId="{13E48CF6-3C07-4AA7-848A-1E964CBB0D3A}" dt="2022-12-01T16:47:22.153" v="27997"/>
          <ac:spMkLst>
            <pc:docMk/>
            <pc:sldMk cId="2349224761" sldId="2147469845"/>
            <ac:spMk id="29" creationId="{8F8D0E98-86BD-4423-9CA3-0864AAF11311}"/>
          </ac:spMkLst>
        </pc:spChg>
        <pc:spChg chg="add mod">
          <ac:chgData name="Kawtar SADIQ" userId="65df04e4-2d23-4bab-afb0-40df8a2c1b9f" providerId="ADAL" clId="{13E48CF6-3C07-4AA7-848A-1E964CBB0D3A}" dt="2022-12-01T16:47:22.153" v="27997"/>
          <ac:spMkLst>
            <pc:docMk/>
            <pc:sldMk cId="2349224761" sldId="2147469845"/>
            <ac:spMk id="30" creationId="{A5FD0C91-C79D-4F99-8C4F-B132F35073CF}"/>
          </ac:spMkLst>
        </pc:spChg>
        <pc:spChg chg="add mod">
          <ac:chgData name="Kawtar SADIQ" userId="65df04e4-2d23-4bab-afb0-40df8a2c1b9f" providerId="ADAL" clId="{13E48CF6-3C07-4AA7-848A-1E964CBB0D3A}" dt="2022-12-01T16:47:22.153" v="27997"/>
          <ac:spMkLst>
            <pc:docMk/>
            <pc:sldMk cId="2349224761" sldId="2147469845"/>
            <ac:spMk id="31" creationId="{3B8A59B1-14DB-4FEE-9498-31A7823A97D8}"/>
          </ac:spMkLst>
        </pc:spChg>
        <pc:spChg chg="add mod">
          <ac:chgData name="Kawtar SADIQ" userId="65df04e4-2d23-4bab-afb0-40df8a2c1b9f" providerId="ADAL" clId="{13E48CF6-3C07-4AA7-848A-1E964CBB0D3A}" dt="2022-12-01T16:47:22.153" v="27997"/>
          <ac:spMkLst>
            <pc:docMk/>
            <pc:sldMk cId="2349224761" sldId="2147469845"/>
            <ac:spMk id="37" creationId="{F084ABC9-A8F5-4DE7-8FAC-B533496B765F}"/>
          </ac:spMkLst>
        </pc:spChg>
        <pc:spChg chg="add mod">
          <ac:chgData name="Kawtar SADIQ" userId="65df04e4-2d23-4bab-afb0-40df8a2c1b9f" providerId="ADAL" clId="{13E48CF6-3C07-4AA7-848A-1E964CBB0D3A}" dt="2022-12-01T16:47:22.153" v="27997"/>
          <ac:spMkLst>
            <pc:docMk/>
            <pc:sldMk cId="2349224761" sldId="2147469845"/>
            <ac:spMk id="38" creationId="{4EC5A964-6511-4F5C-B94D-9D33E32AE997}"/>
          </ac:spMkLst>
        </pc:spChg>
        <pc:spChg chg="add mod">
          <ac:chgData name="Kawtar SADIQ" userId="65df04e4-2d23-4bab-afb0-40df8a2c1b9f" providerId="ADAL" clId="{13E48CF6-3C07-4AA7-848A-1E964CBB0D3A}" dt="2022-12-01T16:47:22.153" v="27997"/>
          <ac:spMkLst>
            <pc:docMk/>
            <pc:sldMk cId="2349224761" sldId="2147469845"/>
            <ac:spMk id="39" creationId="{A6B059F5-7A8E-46F8-9092-7DC2E5C2C4A6}"/>
          </ac:spMkLst>
        </pc:spChg>
        <pc:spChg chg="add mod">
          <ac:chgData name="Kawtar SADIQ" userId="65df04e4-2d23-4bab-afb0-40df8a2c1b9f" providerId="ADAL" clId="{13E48CF6-3C07-4AA7-848A-1E964CBB0D3A}" dt="2022-12-01T16:47:22.153" v="27997"/>
          <ac:spMkLst>
            <pc:docMk/>
            <pc:sldMk cId="2349224761" sldId="2147469845"/>
            <ac:spMk id="40" creationId="{6CBD86E2-00CE-4D94-9943-72D2652159FE}"/>
          </ac:spMkLst>
        </pc:spChg>
        <pc:spChg chg="mod">
          <ac:chgData name="Kawtar SADIQ" userId="65df04e4-2d23-4bab-afb0-40df8a2c1b9f" providerId="ADAL" clId="{13E48CF6-3C07-4AA7-848A-1E964CBB0D3A}" dt="2022-12-01T16:47:22.153" v="27997"/>
          <ac:spMkLst>
            <pc:docMk/>
            <pc:sldMk cId="2349224761" sldId="2147469845"/>
            <ac:spMk id="45" creationId="{9C0AC6C1-2584-48DF-9A87-9E4825383860}"/>
          </ac:spMkLst>
        </pc:spChg>
        <pc:spChg chg="mod">
          <ac:chgData name="Kawtar SADIQ" userId="65df04e4-2d23-4bab-afb0-40df8a2c1b9f" providerId="ADAL" clId="{13E48CF6-3C07-4AA7-848A-1E964CBB0D3A}" dt="2022-12-01T16:47:22.153" v="27997"/>
          <ac:spMkLst>
            <pc:docMk/>
            <pc:sldMk cId="2349224761" sldId="2147469845"/>
            <ac:spMk id="48" creationId="{7F459190-6724-4F15-A7D8-72941F2C6462}"/>
          </ac:spMkLst>
        </pc:spChg>
        <pc:spChg chg="add mod">
          <ac:chgData name="Kawtar SADIQ" userId="65df04e4-2d23-4bab-afb0-40df8a2c1b9f" providerId="ADAL" clId="{13E48CF6-3C07-4AA7-848A-1E964CBB0D3A}" dt="2022-12-01T16:47:22.153" v="27997"/>
          <ac:spMkLst>
            <pc:docMk/>
            <pc:sldMk cId="2349224761" sldId="2147469845"/>
            <ac:spMk id="50" creationId="{DE6944EE-E7CA-4598-9D26-58AB4B7A3D60}"/>
          </ac:spMkLst>
        </pc:spChg>
        <pc:spChg chg="mod">
          <ac:chgData name="Kawtar SADIQ" userId="65df04e4-2d23-4bab-afb0-40df8a2c1b9f" providerId="ADAL" clId="{13E48CF6-3C07-4AA7-848A-1E964CBB0D3A}" dt="2022-12-01T16:47:22.153" v="27997"/>
          <ac:spMkLst>
            <pc:docMk/>
            <pc:sldMk cId="2349224761" sldId="2147469845"/>
            <ac:spMk id="52" creationId="{3473B68B-10C7-4285-864A-CA11A672AEED}"/>
          </ac:spMkLst>
        </pc:spChg>
        <pc:grpChg chg="add mod">
          <ac:chgData name="Kawtar SADIQ" userId="65df04e4-2d23-4bab-afb0-40df8a2c1b9f" providerId="ADAL" clId="{13E48CF6-3C07-4AA7-848A-1E964CBB0D3A}" dt="2022-12-01T16:47:22.153" v="27997"/>
          <ac:grpSpMkLst>
            <pc:docMk/>
            <pc:sldMk cId="2349224761" sldId="2147469845"/>
            <ac:grpSpMk id="10" creationId="{31F21674-FD71-49DA-A04D-4605720BEEA5}"/>
          </ac:grpSpMkLst>
        </pc:grpChg>
        <pc:grpChg chg="add mod">
          <ac:chgData name="Kawtar SADIQ" userId="65df04e4-2d23-4bab-afb0-40df8a2c1b9f" providerId="ADAL" clId="{13E48CF6-3C07-4AA7-848A-1E964CBB0D3A}" dt="2022-12-01T16:47:22.153" v="27997"/>
          <ac:grpSpMkLst>
            <pc:docMk/>
            <pc:sldMk cId="2349224761" sldId="2147469845"/>
            <ac:grpSpMk id="14" creationId="{96993205-FEED-463F-B67E-0D7FBD2A2616}"/>
          </ac:grpSpMkLst>
        </pc:grpChg>
        <pc:grpChg chg="add mod">
          <ac:chgData name="Kawtar SADIQ" userId="65df04e4-2d23-4bab-afb0-40df8a2c1b9f" providerId="ADAL" clId="{13E48CF6-3C07-4AA7-848A-1E964CBB0D3A}" dt="2022-12-01T16:47:22.153" v="27997"/>
          <ac:grpSpMkLst>
            <pc:docMk/>
            <pc:sldMk cId="2349224761" sldId="2147469845"/>
            <ac:grpSpMk id="44" creationId="{7D434585-6312-4143-A243-FE917CCF3867}"/>
          </ac:grpSpMkLst>
        </pc:grpChg>
        <pc:grpChg chg="add mod">
          <ac:chgData name="Kawtar SADIQ" userId="65df04e4-2d23-4bab-afb0-40df8a2c1b9f" providerId="ADAL" clId="{13E48CF6-3C07-4AA7-848A-1E964CBB0D3A}" dt="2022-12-01T16:47:22.153" v="27997"/>
          <ac:grpSpMkLst>
            <pc:docMk/>
            <pc:sldMk cId="2349224761" sldId="2147469845"/>
            <ac:grpSpMk id="47" creationId="{14769D57-725D-4ACE-A99C-32277B0495CB}"/>
          </ac:grpSpMkLst>
        </pc:grpChg>
        <pc:grpChg chg="add mod">
          <ac:chgData name="Kawtar SADIQ" userId="65df04e4-2d23-4bab-afb0-40df8a2c1b9f" providerId="ADAL" clId="{13E48CF6-3C07-4AA7-848A-1E964CBB0D3A}" dt="2022-12-01T16:47:22.153" v="27997"/>
          <ac:grpSpMkLst>
            <pc:docMk/>
            <pc:sldMk cId="2349224761" sldId="2147469845"/>
            <ac:grpSpMk id="51" creationId="{D627FB12-1DEF-4EAA-8E4E-89B5D00D45C8}"/>
          </ac:grpSpMkLst>
        </pc:grpChg>
        <pc:picChg chg="add mod">
          <ac:chgData name="Kawtar SADIQ" userId="65df04e4-2d23-4bab-afb0-40df8a2c1b9f" providerId="ADAL" clId="{13E48CF6-3C07-4AA7-848A-1E964CBB0D3A}" dt="2022-12-01T16:47:22.153" v="27997"/>
          <ac:picMkLst>
            <pc:docMk/>
            <pc:sldMk cId="2349224761" sldId="2147469845"/>
            <ac:picMk id="32" creationId="{9E3244F3-B81A-4BBC-8A12-A468D18024D5}"/>
          </ac:picMkLst>
        </pc:picChg>
        <pc:picChg chg="add mod">
          <ac:chgData name="Kawtar SADIQ" userId="65df04e4-2d23-4bab-afb0-40df8a2c1b9f" providerId="ADAL" clId="{13E48CF6-3C07-4AA7-848A-1E964CBB0D3A}" dt="2022-12-01T16:47:22.153" v="27997"/>
          <ac:picMkLst>
            <pc:docMk/>
            <pc:sldMk cId="2349224761" sldId="2147469845"/>
            <ac:picMk id="33" creationId="{D00C25A1-F932-4766-9C71-AB8A305E664B}"/>
          </ac:picMkLst>
        </pc:picChg>
        <pc:picChg chg="add mod">
          <ac:chgData name="Kawtar SADIQ" userId="65df04e4-2d23-4bab-afb0-40df8a2c1b9f" providerId="ADAL" clId="{13E48CF6-3C07-4AA7-848A-1E964CBB0D3A}" dt="2022-12-01T16:47:22.153" v="27997"/>
          <ac:picMkLst>
            <pc:docMk/>
            <pc:sldMk cId="2349224761" sldId="2147469845"/>
            <ac:picMk id="34" creationId="{03DF447B-4216-459A-B221-365A0608245A}"/>
          </ac:picMkLst>
        </pc:picChg>
        <pc:picChg chg="add mod">
          <ac:chgData name="Kawtar SADIQ" userId="65df04e4-2d23-4bab-afb0-40df8a2c1b9f" providerId="ADAL" clId="{13E48CF6-3C07-4AA7-848A-1E964CBB0D3A}" dt="2022-12-01T16:47:22.153" v="27997"/>
          <ac:picMkLst>
            <pc:docMk/>
            <pc:sldMk cId="2349224761" sldId="2147469845"/>
            <ac:picMk id="35" creationId="{6759FE82-B308-48B0-9E75-8C776859FDF3}"/>
          </ac:picMkLst>
        </pc:picChg>
        <pc:picChg chg="add mod">
          <ac:chgData name="Kawtar SADIQ" userId="65df04e4-2d23-4bab-afb0-40df8a2c1b9f" providerId="ADAL" clId="{13E48CF6-3C07-4AA7-848A-1E964CBB0D3A}" dt="2022-12-01T16:47:22.153" v="27997"/>
          <ac:picMkLst>
            <pc:docMk/>
            <pc:sldMk cId="2349224761" sldId="2147469845"/>
            <ac:picMk id="36" creationId="{9027A6AC-19E9-4D68-BF40-C09A4A8762F3}"/>
          </ac:picMkLst>
        </pc:picChg>
        <pc:picChg chg="mod">
          <ac:chgData name="Kawtar SADIQ" userId="65df04e4-2d23-4bab-afb0-40df8a2c1b9f" providerId="ADAL" clId="{13E48CF6-3C07-4AA7-848A-1E964CBB0D3A}" dt="2022-12-01T16:47:22.153" v="27997"/>
          <ac:picMkLst>
            <pc:docMk/>
            <pc:sldMk cId="2349224761" sldId="2147469845"/>
            <ac:picMk id="46" creationId="{C5F2D079-EA61-434F-AF73-BDF022BDC9DE}"/>
          </ac:picMkLst>
        </pc:picChg>
        <pc:picChg chg="mod">
          <ac:chgData name="Kawtar SADIQ" userId="65df04e4-2d23-4bab-afb0-40df8a2c1b9f" providerId="ADAL" clId="{13E48CF6-3C07-4AA7-848A-1E964CBB0D3A}" dt="2022-12-01T16:47:22.153" v="27997"/>
          <ac:picMkLst>
            <pc:docMk/>
            <pc:sldMk cId="2349224761" sldId="2147469845"/>
            <ac:picMk id="49" creationId="{4CE69908-51A6-4920-BD64-4DC864470008}"/>
          </ac:picMkLst>
        </pc:picChg>
        <pc:picChg chg="mod">
          <ac:chgData name="Kawtar SADIQ" userId="65df04e4-2d23-4bab-afb0-40df8a2c1b9f" providerId="ADAL" clId="{13E48CF6-3C07-4AA7-848A-1E964CBB0D3A}" dt="2022-12-01T16:47:22.153" v="27997"/>
          <ac:picMkLst>
            <pc:docMk/>
            <pc:sldMk cId="2349224761" sldId="2147469845"/>
            <ac:picMk id="53" creationId="{B9BF334E-0474-446D-BC0F-FC06A9FDC118}"/>
          </ac:picMkLst>
        </pc:picChg>
        <pc:picChg chg="add mod">
          <ac:chgData name="Kawtar SADIQ" userId="65df04e4-2d23-4bab-afb0-40df8a2c1b9f" providerId="ADAL" clId="{13E48CF6-3C07-4AA7-848A-1E964CBB0D3A}" dt="2022-12-01T16:47:22.153" v="27997"/>
          <ac:picMkLst>
            <pc:docMk/>
            <pc:sldMk cId="2349224761" sldId="2147469845"/>
            <ac:picMk id="54" creationId="{4B6F618E-889E-4E71-9D22-765A335C6343}"/>
          </ac:picMkLst>
        </pc:picChg>
        <pc:cxnChg chg="add mod">
          <ac:chgData name="Kawtar SADIQ" userId="65df04e4-2d23-4bab-afb0-40df8a2c1b9f" providerId="ADAL" clId="{13E48CF6-3C07-4AA7-848A-1E964CBB0D3A}" dt="2022-12-01T16:47:22.153" v="27997"/>
          <ac:cxnSpMkLst>
            <pc:docMk/>
            <pc:sldMk cId="2349224761" sldId="2147469845"/>
            <ac:cxnSpMk id="5" creationId="{2F408235-B2C2-432D-B3BB-4A32E937DB51}"/>
          </ac:cxnSpMkLst>
        </pc:cxnChg>
        <pc:cxnChg chg="add mod">
          <ac:chgData name="Kawtar SADIQ" userId="65df04e4-2d23-4bab-afb0-40df8a2c1b9f" providerId="ADAL" clId="{13E48CF6-3C07-4AA7-848A-1E964CBB0D3A}" dt="2022-12-01T16:47:22.153" v="27997"/>
          <ac:cxnSpMkLst>
            <pc:docMk/>
            <pc:sldMk cId="2349224761" sldId="2147469845"/>
            <ac:cxnSpMk id="6" creationId="{3B7593AF-DF66-49E9-8D44-94E01EFBCD5E}"/>
          </ac:cxnSpMkLst>
        </pc:cxnChg>
        <pc:cxnChg chg="add mod">
          <ac:chgData name="Kawtar SADIQ" userId="65df04e4-2d23-4bab-afb0-40df8a2c1b9f" providerId="ADAL" clId="{13E48CF6-3C07-4AA7-848A-1E964CBB0D3A}" dt="2022-12-01T16:47:22.153" v="27997"/>
          <ac:cxnSpMkLst>
            <pc:docMk/>
            <pc:sldMk cId="2349224761" sldId="2147469845"/>
            <ac:cxnSpMk id="41" creationId="{1B5816FA-7A2D-4FE6-9190-31B84ACB9362}"/>
          </ac:cxnSpMkLst>
        </pc:cxnChg>
        <pc:cxnChg chg="add mod">
          <ac:chgData name="Kawtar SADIQ" userId="65df04e4-2d23-4bab-afb0-40df8a2c1b9f" providerId="ADAL" clId="{13E48CF6-3C07-4AA7-848A-1E964CBB0D3A}" dt="2022-12-01T16:47:22.153" v="27997"/>
          <ac:cxnSpMkLst>
            <pc:docMk/>
            <pc:sldMk cId="2349224761" sldId="2147469845"/>
            <ac:cxnSpMk id="42" creationId="{455C69B2-690D-4634-8894-D7B09C35F373}"/>
          </ac:cxnSpMkLst>
        </pc:cxnChg>
        <pc:cxnChg chg="add mod">
          <ac:chgData name="Kawtar SADIQ" userId="65df04e4-2d23-4bab-afb0-40df8a2c1b9f" providerId="ADAL" clId="{13E48CF6-3C07-4AA7-848A-1E964CBB0D3A}" dt="2022-12-01T16:47:22.153" v="27997"/>
          <ac:cxnSpMkLst>
            <pc:docMk/>
            <pc:sldMk cId="2349224761" sldId="2147469845"/>
            <ac:cxnSpMk id="43" creationId="{F8F54D2B-1055-4C86-9B6B-764D6FCE43E3}"/>
          </ac:cxnSpMkLst>
        </pc:cxnChg>
      </pc:sldChg>
      <pc:sldChg chg="addSp delSp modSp new mod">
        <pc:chgData name="Kawtar SADIQ" userId="65df04e4-2d23-4bab-afb0-40df8a2c1b9f" providerId="ADAL" clId="{13E48CF6-3C07-4AA7-848A-1E964CBB0D3A}" dt="2022-12-01T16:47:38.923" v="28001"/>
        <pc:sldMkLst>
          <pc:docMk/>
          <pc:sldMk cId="2177027126" sldId="2147469846"/>
        </pc:sldMkLst>
        <pc:spChg chg="del">
          <ac:chgData name="Kawtar SADIQ" userId="65df04e4-2d23-4bab-afb0-40df8a2c1b9f" providerId="ADAL" clId="{13E48CF6-3C07-4AA7-848A-1E964CBB0D3A}" dt="2022-12-01T16:47:31.498" v="28000" actId="478"/>
          <ac:spMkLst>
            <pc:docMk/>
            <pc:sldMk cId="2177027126" sldId="2147469846"/>
            <ac:spMk id="2" creationId="{0003DDF5-6F69-4494-A1D9-868964C25F52}"/>
          </ac:spMkLst>
        </pc:spChg>
        <pc:spChg chg="del">
          <ac:chgData name="Kawtar SADIQ" userId="65df04e4-2d23-4bab-afb0-40df8a2c1b9f" providerId="ADAL" clId="{13E48CF6-3C07-4AA7-848A-1E964CBB0D3A}" dt="2022-12-01T16:47:31.498" v="28000" actId="478"/>
          <ac:spMkLst>
            <pc:docMk/>
            <pc:sldMk cId="2177027126" sldId="2147469846"/>
            <ac:spMk id="3" creationId="{4BFC0D57-6D7F-456A-81AD-E7D20302D245}"/>
          </ac:spMkLst>
        </pc:spChg>
        <pc:spChg chg="add mod">
          <ac:chgData name="Kawtar SADIQ" userId="65df04e4-2d23-4bab-afb0-40df8a2c1b9f" providerId="ADAL" clId="{13E48CF6-3C07-4AA7-848A-1E964CBB0D3A}" dt="2022-12-01T16:47:38.923" v="28001"/>
          <ac:spMkLst>
            <pc:docMk/>
            <pc:sldMk cId="2177027126" sldId="2147469846"/>
            <ac:spMk id="4" creationId="{F8D69483-BF13-4A13-BCB4-504F85820AE0}"/>
          </ac:spMkLst>
        </pc:spChg>
        <pc:spChg chg="mod">
          <ac:chgData name="Kawtar SADIQ" userId="65df04e4-2d23-4bab-afb0-40df8a2c1b9f" providerId="ADAL" clId="{13E48CF6-3C07-4AA7-848A-1E964CBB0D3A}" dt="2022-12-01T16:47:38.923" v="28001"/>
          <ac:spMkLst>
            <pc:docMk/>
            <pc:sldMk cId="2177027126" sldId="2147469846"/>
            <ac:spMk id="6" creationId="{8458E8C2-678A-47FD-BE4F-8DC32FE05234}"/>
          </ac:spMkLst>
        </pc:spChg>
        <pc:spChg chg="mod">
          <ac:chgData name="Kawtar SADIQ" userId="65df04e4-2d23-4bab-afb0-40df8a2c1b9f" providerId="ADAL" clId="{13E48CF6-3C07-4AA7-848A-1E964CBB0D3A}" dt="2022-12-01T16:47:38.923" v="28001"/>
          <ac:spMkLst>
            <pc:docMk/>
            <pc:sldMk cId="2177027126" sldId="2147469846"/>
            <ac:spMk id="7" creationId="{57D2253A-6D10-4080-A257-6BEC063099F4}"/>
          </ac:spMkLst>
        </pc:spChg>
        <pc:spChg chg="mod">
          <ac:chgData name="Kawtar SADIQ" userId="65df04e4-2d23-4bab-afb0-40df8a2c1b9f" providerId="ADAL" clId="{13E48CF6-3C07-4AA7-848A-1E964CBB0D3A}" dt="2022-12-01T16:47:38.923" v="28001"/>
          <ac:spMkLst>
            <pc:docMk/>
            <pc:sldMk cId="2177027126" sldId="2147469846"/>
            <ac:spMk id="17" creationId="{E4B6D3CA-0038-4842-A6FB-DC24EDE9B054}"/>
          </ac:spMkLst>
        </pc:spChg>
        <pc:spChg chg="mod">
          <ac:chgData name="Kawtar SADIQ" userId="65df04e4-2d23-4bab-afb0-40df8a2c1b9f" providerId="ADAL" clId="{13E48CF6-3C07-4AA7-848A-1E964CBB0D3A}" dt="2022-12-01T16:47:38.923" v="28001"/>
          <ac:spMkLst>
            <pc:docMk/>
            <pc:sldMk cId="2177027126" sldId="2147469846"/>
            <ac:spMk id="19" creationId="{D6FC3D2D-9040-47B8-AFF2-2BD22353652E}"/>
          </ac:spMkLst>
        </pc:spChg>
        <pc:spChg chg="mod">
          <ac:chgData name="Kawtar SADIQ" userId="65df04e4-2d23-4bab-afb0-40df8a2c1b9f" providerId="ADAL" clId="{13E48CF6-3C07-4AA7-848A-1E964CBB0D3A}" dt="2022-12-01T16:47:38.923" v="28001"/>
          <ac:spMkLst>
            <pc:docMk/>
            <pc:sldMk cId="2177027126" sldId="2147469846"/>
            <ac:spMk id="20" creationId="{58EB2173-F349-4A29-9EF5-58FCC8D485CD}"/>
          </ac:spMkLst>
        </pc:spChg>
        <pc:spChg chg="mod">
          <ac:chgData name="Kawtar SADIQ" userId="65df04e4-2d23-4bab-afb0-40df8a2c1b9f" providerId="ADAL" clId="{13E48CF6-3C07-4AA7-848A-1E964CBB0D3A}" dt="2022-12-01T16:47:38.923" v="28001"/>
          <ac:spMkLst>
            <pc:docMk/>
            <pc:sldMk cId="2177027126" sldId="2147469846"/>
            <ac:spMk id="21" creationId="{943EFB1D-A4C3-4195-B795-531E35093698}"/>
          </ac:spMkLst>
        </pc:spChg>
        <pc:spChg chg="mod">
          <ac:chgData name="Kawtar SADIQ" userId="65df04e4-2d23-4bab-afb0-40df8a2c1b9f" providerId="ADAL" clId="{13E48CF6-3C07-4AA7-848A-1E964CBB0D3A}" dt="2022-12-01T16:47:38.923" v="28001"/>
          <ac:spMkLst>
            <pc:docMk/>
            <pc:sldMk cId="2177027126" sldId="2147469846"/>
            <ac:spMk id="23" creationId="{B0436508-1A44-4A76-8ADD-21E78A9903A5}"/>
          </ac:spMkLst>
        </pc:spChg>
        <pc:spChg chg="mod">
          <ac:chgData name="Kawtar SADIQ" userId="65df04e4-2d23-4bab-afb0-40df8a2c1b9f" providerId="ADAL" clId="{13E48CF6-3C07-4AA7-848A-1E964CBB0D3A}" dt="2022-12-01T16:47:38.923" v="28001"/>
          <ac:spMkLst>
            <pc:docMk/>
            <pc:sldMk cId="2177027126" sldId="2147469846"/>
            <ac:spMk id="25" creationId="{61C0F32B-29C6-4C35-86B2-D31E990A22DF}"/>
          </ac:spMkLst>
        </pc:spChg>
        <pc:spChg chg="mod">
          <ac:chgData name="Kawtar SADIQ" userId="65df04e4-2d23-4bab-afb0-40df8a2c1b9f" providerId="ADAL" clId="{13E48CF6-3C07-4AA7-848A-1E964CBB0D3A}" dt="2022-12-01T16:47:38.923" v="28001"/>
          <ac:spMkLst>
            <pc:docMk/>
            <pc:sldMk cId="2177027126" sldId="2147469846"/>
            <ac:spMk id="27" creationId="{EB9DE83A-F8CC-476B-A291-A01350DDD4AB}"/>
          </ac:spMkLst>
        </pc:spChg>
        <pc:spChg chg="mod">
          <ac:chgData name="Kawtar SADIQ" userId="65df04e4-2d23-4bab-afb0-40df8a2c1b9f" providerId="ADAL" clId="{13E48CF6-3C07-4AA7-848A-1E964CBB0D3A}" dt="2022-12-01T16:47:38.923" v="28001"/>
          <ac:spMkLst>
            <pc:docMk/>
            <pc:sldMk cId="2177027126" sldId="2147469846"/>
            <ac:spMk id="28" creationId="{A2C38873-7158-4886-BA46-91A3F3DED582}"/>
          </ac:spMkLst>
        </pc:spChg>
        <pc:spChg chg="mod">
          <ac:chgData name="Kawtar SADIQ" userId="65df04e4-2d23-4bab-afb0-40df8a2c1b9f" providerId="ADAL" clId="{13E48CF6-3C07-4AA7-848A-1E964CBB0D3A}" dt="2022-12-01T16:47:38.923" v="28001"/>
          <ac:spMkLst>
            <pc:docMk/>
            <pc:sldMk cId="2177027126" sldId="2147469846"/>
            <ac:spMk id="31" creationId="{5D487299-4DEC-499D-9C84-2834CD7B808A}"/>
          </ac:spMkLst>
        </pc:spChg>
        <pc:spChg chg="mod">
          <ac:chgData name="Kawtar SADIQ" userId="65df04e4-2d23-4bab-afb0-40df8a2c1b9f" providerId="ADAL" clId="{13E48CF6-3C07-4AA7-848A-1E964CBB0D3A}" dt="2022-12-01T16:47:38.923" v="28001"/>
          <ac:spMkLst>
            <pc:docMk/>
            <pc:sldMk cId="2177027126" sldId="2147469846"/>
            <ac:spMk id="32" creationId="{942988C5-AAE5-418C-9ABF-4CAEDDF56C61}"/>
          </ac:spMkLst>
        </pc:spChg>
        <pc:spChg chg="mod">
          <ac:chgData name="Kawtar SADIQ" userId="65df04e4-2d23-4bab-afb0-40df8a2c1b9f" providerId="ADAL" clId="{13E48CF6-3C07-4AA7-848A-1E964CBB0D3A}" dt="2022-12-01T16:47:38.923" v="28001"/>
          <ac:spMkLst>
            <pc:docMk/>
            <pc:sldMk cId="2177027126" sldId="2147469846"/>
            <ac:spMk id="33" creationId="{50568822-6E28-4991-9933-CD83F47B2FA5}"/>
          </ac:spMkLst>
        </pc:spChg>
        <pc:spChg chg="mod">
          <ac:chgData name="Kawtar SADIQ" userId="65df04e4-2d23-4bab-afb0-40df8a2c1b9f" providerId="ADAL" clId="{13E48CF6-3C07-4AA7-848A-1E964CBB0D3A}" dt="2022-12-01T16:47:38.923" v="28001"/>
          <ac:spMkLst>
            <pc:docMk/>
            <pc:sldMk cId="2177027126" sldId="2147469846"/>
            <ac:spMk id="35" creationId="{53336770-4554-4181-8FEF-08721658580E}"/>
          </ac:spMkLst>
        </pc:spChg>
        <pc:spChg chg="mod">
          <ac:chgData name="Kawtar SADIQ" userId="65df04e4-2d23-4bab-afb0-40df8a2c1b9f" providerId="ADAL" clId="{13E48CF6-3C07-4AA7-848A-1E964CBB0D3A}" dt="2022-12-01T16:47:38.923" v="28001"/>
          <ac:spMkLst>
            <pc:docMk/>
            <pc:sldMk cId="2177027126" sldId="2147469846"/>
            <ac:spMk id="36" creationId="{72DB086F-74E9-4D8C-B2A9-78950A652A03}"/>
          </ac:spMkLst>
        </pc:spChg>
        <pc:spChg chg="mod">
          <ac:chgData name="Kawtar SADIQ" userId="65df04e4-2d23-4bab-afb0-40df8a2c1b9f" providerId="ADAL" clId="{13E48CF6-3C07-4AA7-848A-1E964CBB0D3A}" dt="2022-12-01T16:47:38.923" v="28001"/>
          <ac:spMkLst>
            <pc:docMk/>
            <pc:sldMk cId="2177027126" sldId="2147469846"/>
            <ac:spMk id="37" creationId="{E0F9E1C8-8DB4-4DCE-9478-D3533DA21E59}"/>
          </ac:spMkLst>
        </pc:spChg>
        <pc:spChg chg="mod">
          <ac:chgData name="Kawtar SADIQ" userId="65df04e4-2d23-4bab-afb0-40df8a2c1b9f" providerId="ADAL" clId="{13E48CF6-3C07-4AA7-848A-1E964CBB0D3A}" dt="2022-12-01T16:47:38.923" v="28001"/>
          <ac:spMkLst>
            <pc:docMk/>
            <pc:sldMk cId="2177027126" sldId="2147469846"/>
            <ac:spMk id="38" creationId="{8FC14D66-7786-4BE5-847B-23B3CE3BEE88}"/>
          </ac:spMkLst>
        </pc:spChg>
        <pc:spChg chg="mod">
          <ac:chgData name="Kawtar SADIQ" userId="65df04e4-2d23-4bab-afb0-40df8a2c1b9f" providerId="ADAL" clId="{13E48CF6-3C07-4AA7-848A-1E964CBB0D3A}" dt="2022-12-01T16:47:38.923" v="28001"/>
          <ac:spMkLst>
            <pc:docMk/>
            <pc:sldMk cId="2177027126" sldId="2147469846"/>
            <ac:spMk id="39" creationId="{4CEBAC41-8E7A-4477-9830-771EA8DDE012}"/>
          </ac:spMkLst>
        </pc:spChg>
        <pc:spChg chg="mod">
          <ac:chgData name="Kawtar SADIQ" userId="65df04e4-2d23-4bab-afb0-40df8a2c1b9f" providerId="ADAL" clId="{13E48CF6-3C07-4AA7-848A-1E964CBB0D3A}" dt="2022-12-01T16:47:38.923" v="28001"/>
          <ac:spMkLst>
            <pc:docMk/>
            <pc:sldMk cId="2177027126" sldId="2147469846"/>
            <ac:spMk id="40" creationId="{140C0E54-E445-453D-A0A3-BFA4F9D80329}"/>
          </ac:spMkLst>
        </pc:spChg>
        <pc:spChg chg="mod">
          <ac:chgData name="Kawtar SADIQ" userId="65df04e4-2d23-4bab-afb0-40df8a2c1b9f" providerId="ADAL" clId="{13E48CF6-3C07-4AA7-848A-1E964CBB0D3A}" dt="2022-12-01T16:47:38.923" v="28001"/>
          <ac:spMkLst>
            <pc:docMk/>
            <pc:sldMk cId="2177027126" sldId="2147469846"/>
            <ac:spMk id="41" creationId="{1856FDF6-CAD8-4AE2-A197-0A1A93812FAC}"/>
          </ac:spMkLst>
        </pc:spChg>
        <pc:spChg chg="mod">
          <ac:chgData name="Kawtar SADIQ" userId="65df04e4-2d23-4bab-afb0-40df8a2c1b9f" providerId="ADAL" clId="{13E48CF6-3C07-4AA7-848A-1E964CBB0D3A}" dt="2022-12-01T16:47:38.923" v="28001"/>
          <ac:spMkLst>
            <pc:docMk/>
            <pc:sldMk cId="2177027126" sldId="2147469846"/>
            <ac:spMk id="42" creationId="{F158D516-2B93-4ED8-ADD6-82141E2DB6E8}"/>
          </ac:spMkLst>
        </pc:spChg>
        <pc:spChg chg="mod">
          <ac:chgData name="Kawtar SADIQ" userId="65df04e4-2d23-4bab-afb0-40df8a2c1b9f" providerId="ADAL" clId="{13E48CF6-3C07-4AA7-848A-1E964CBB0D3A}" dt="2022-12-01T16:47:38.923" v="28001"/>
          <ac:spMkLst>
            <pc:docMk/>
            <pc:sldMk cId="2177027126" sldId="2147469846"/>
            <ac:spMk id="43" creationId="{53D4D2D0-6B90-4E6B-B36C-9B6423B634F9}"/>
          </ac:spMkLst>
        </pc:spChg>
        <pc:spChg chg="mod">
          <ac:chgData name="Kawtar SADIQ" userId="65df04e4-2d23-4bab-afb0-40df8a2c1b9f" providerId="ADAL" clId="{13E48CF6-3C07-4AA7-848A-1E964CBB0D3A}" dt="2022-12-01T16:47:38.923" v="28001"/>
          <ac:spMkLst>
            <pc:docMk/>
            <pc:sldMk cId="2177027126" sldId="2147469846"/>
            <ac:spMk id="44" creationId="{4AFC0806-ED23-49E5-BE04-CBEFE6F3312B}"/>
          </ac:spMkLst>
        </pc:spChg>
        <pc:spChg chg="add mod">
          <ac:chgData name="Kawtar SADIQ" userId="65df04e4-2d23-4bab-afb0-40df8a2c1b9f" providerId="ADAL" clId="{13E48CF6-3C07-4AA7-848A-1E964CBB0D3A}" dt="2022-12-01T16:47:38.923" v="28001"/>
          <ac:spMkLst>
            <pc:docMk/>
            <pc:sldMk cId="2177027126" sldId="2147469846"/>
            <ac:spMk id="45" creationId="{25BDA04B-E9EA-4570-B226-14BAB4ACCF58}"/>
          </ac:spMkLst>
        </pc:spChg>
        <pc:spChg chg="add mod">
          <ac:chgData name="Kawtar SADIQ" userId="65df04e4-2d23-4bab-afb0-40df8a2c1b9f" providerId="ADAL" clId="{13E48CF6-3C07-4AA7-848A-1E964CBB0D3A}" dt="2022-12-01T16:47:38.923" v="28001"/>
          <ac:spMkLst>
            <pc:docMk/>
            <pc:sldMk cId="2177027126" sldId="2147469846"/>
            <ac:spMk id="46" creationId="{3C52DF25-EB0E-45DA-A580-A12463735449}"/>
          </ac:spMkLst>
        </pc:spChg>
        <pc:grpChg chg="add mod">
          <ac:chgData name="Kawtar SADIQ" userId="65df04e4-2d23-4bab-afb0-40df8a2c1b9f" providerId="ADAL" clId="{13E48CF6-3C07-4AA7-848A-1E964CBB0D3A}" dt="2022-12-01T16:47:38.923" v="28001"/>
          <ac:grpSpMkLst>
            <pc:docMk/>
            <pc:sldMk cId="2177027126" sldId="2147469846"/>
            <ac:grpSpMk id="5" creationId="{7D9DA91B-086C-4C66-97C5-48099E25B874}"/>
          </ac:grpSpMkLst>
        </pc:grpChg>
        <pc:grpChg chg="add mod">
          <ac:chgData name="Kawtar SADIQ" userId="65df04e4-2d23-4bab-afb0-40df8a2c1b9f" providerId="ADAL" clId="{13E48CF6-3C07-4AA7-848A-1E964CBB0D3A}" dt="2022-12-01T16:47:38.923" v="28001"/>
          <ac:grpSpMkLst>
            <pc:docMk/>
            <pc:sldMk cId="2177027126" sldId="2147469846"/>
            <ac:grpSpMk id="18" creationId="{5547CA02-10E4-481C-A093-7654F6628123}"/>
          </ac:grpSpMkLst>
        </pc:grpChg>
        <pc:grpChg chg="add mod">
          <ac:chgData name="Kawtar SADIQ" userId="65df04e4-2d23-4bab-afb0-40df8a2c1b9f" providerId="ADAL" clId="{13E48CF6-3C07-4AA7-848A-1E964CBB0D3A}" dt="2022-12-01T16:47:38.923" v="28001"/>
          <ac:grpSpMkLst>
            <pc:docMk/>
            <pc:sldMk cId="2177027126" sldId="2147469846"/>
            <ac:grpSpMk id="22" creationId="{381FCCE4-CEE2-4973-90FF-DF2A8613C5DB}"/>
          </ac:grpSpMkLst>
        </pc:grpChg>
        <pc:grpChg chg="add mod">
          <ac:chgData name="Kawtar SADIQ" userId="65df04e4-2d23-4bab-afb0-40df8a2c1b9f" providerId="ADAL" clId="{13E48CF6-3C07-4AA7-848A-1E964CBB0D3A}" dt="2022-12-01T16:47:38.923" v="28001"/>
          <ac:grpSpMkLst>
            <pc:docMk/>
            <pc:sldMk cId="2177027126" sldId="2147469846"/>
            <ac:grpSpMk id="34" creationId="{87962200-559D-438A-B956-44DB4DEA9DEE}"/>
          </ac:grpSpMkLst>
        </pc:grpChg>
        <pc:picChg chg="mod">
          <ac:chgData name="Kawtar SADIQ" userId="65df04e4-2d23-4bab-afb0-40df8a2c1b9f" providerId="ADAL" clId="{13E48CF6-3C07-4AA7-848A-1E964CBB0D3A}" dt="2022-12-01T16:47:38.923" v="28001"/>
          <ac:picMkLst>
            <pc:docMk/>
            <pc:sldMk cId="2177027126" sldId="2147469846"/>
            <ac:picMk id="8" creationId="{8C53F81B-73D1-4C50-B9F9-DB31D3BB2BFC}"/>
          </ac:picMkLst>
        </pc:picChg>
        <pc:picChg chg="mod">
          <ac:chgData name="Kawtar SADIQ" userId="65df04e4-2d23-4bab-afb0-40df8a2c1b9f" providerId="ADAL" clId="{13E48CF6-3C07-4AA7-848A-1E964CBB0D3A}" dt="2022-12-01T16:47:38.923" v="28001"/>
          <ac:picMkLst>
            <pc:docMk/>
            <pc:sldMk cId="2177027126" sldId="2147469846"/>
            <ac:picMk id="9" creationId="{380D953B-43CA-434D-A284-B9E84EB792A5}"/>
          </ac:picMkLst>
        </pc:picChg>
        <pc:picChg chg="mod">
          <ac:chgData name="Kawtar SADIQ" userId="65df04e4-2d23-4bab-afb0-40df8a2c1b9f" providerId="ADAL" clId="{13E48CF6-3C07-4AA7-848A-1E964CBB0D3A}" dt="2022-12-01T16:47:38.923" v="28001"/>
          <ac:picMkLst>
            <pc:docMk/>
            <pc:sldMk cId="2177027126" sldId="2147469846"/>
            <ac:picMk id="10" creationId="{1EAB8AAE-1BEB-42B5-AF46-64BF6DA08901}"/>
          </ac:picMkLst>
        </pc:picChg>
        <pc:picChg chg="mod">
          <ac:chgData name="Kawtar SADIQ" userId="65df04e4-2d23-4bab-afb0-40df8a2c1b9f" providerId="ADAL" clId="{13E48CF6-3C07-4AA7-848A-1E964CBB0D3A}" dt="2022-12-01T16:47:38.923" v="28001"/>
          <ac:picMkLst>
            <pc:docMk/>
            <pc:sldMk cId="2177027126" sldId="2147469846"/>
            <ac:picMk id="11" creationId="{40910A62-C3C2-4B9C-9CE8-8EE335A305FE}"/>
          </ac:picMkLst>
        </pc:picChg>
        <pc:picChg chg="mod">
          <ac:chgData name="Kawtar SADIQ" userId="65df04e4-2d23-4bab-afb0-40df8a2c1b9f" providerId="ADAL" clId="{13E48CF6-3C07-4AA7-848A-1E964CBB0D3A}" dt="2022-12-01T16:47:38.923" v="28001"/>
          <ac:picMkLst>
            <pc:docMk/>
            <pc:sldMk cId="2177027126" sldId="2147469846"/>
            <ac:picMk id="12" creationId="{E0CE918C-4B5E-48D7-81EC-C1CF60A4E369}"/>
          </ac:picMkLst>
        </pc:picChg>
        <pc:picChg chg="mod">
          <ac:chgData name="Kawtar SADIQ" userId="65df04e4-2d23-4bab-afb0-40df8a2c1b9f" providerId="ADAL" clId="{13E48CF6-3C07-4AA7-848A-1E964CBB0D3A}" dt="2022-12-01T16:47:38.923" v="28001"/>
          <ac:picMkLst>
            <pc:docMk/>
            <pc:sldMk cId="2177027126" sldId="2147469846"/>
            <ac:picMk id="13" creationId="{D891A72B-D52A-4201-A47D-34E6375C22D6}"/>
          </ac:picMkLst>
        </pc:picChg>
        <pc:picChg chg="mod">
          <ac:chgData name="Kawtar SADIQ" userId="65df04e4-2d23-4bab-afb0-40df8a2c1b9f" providerId="ADAL" clId="{13E48CF6-3C07-4AA7-848A-1E964CBB0D3A}" dt="2022-12-01T16:47:38.923" v="28001"/>
          <ac:picMkLst>
            <pc:docMk/>
            <pc:sldMk cId="2177027126" sldId="2147469846"/>
            <ac:picMk id="14" creationId="{03C5987C-09AB-4192-9D6E-D91001166F84}"/>
          </ac:picMkLst>
        </pc:picChg>
        <pc:picChg chg="mod">
          <ac:chgData name="Kawtar SADIQ" userId="65df04e4-2d23-4bab-afb0-40df8a2c1b9f" providerId="ADAL" clId="{13E48CF6-3C07-4AA7-848A-1E964CBB0D3A}" dt="2022-12-01T16:47:38.923" v="28001"/>
          <ac:picMkLst>
            <pc:docMk/>
            <pc:sldMk cId="2177027126" sldId="2147469846"/>
            <ac:picMk id="24" creationId="{01E36A52-65AF-4A4F-AF76-D71E93912AEC}"/>
          </ac:picMkLst>
        </pc:picChg>
        <pc:picChg chg="mod">
          <ac:chgData name="Kawtar SADIQ" userId="65df04e4-2d23-4bab-afb0-40df8a2c1b9f" providerId="ADAL" clId="{13E48CF6-3C07-4AA7-848A-1E964CBB0D3A}" dt="2022-12-01T16:47:38.923" v="28001"/>
          <ac:picMkLst>
            <pc:docMk/>
            <pc:sldMk cId="2177027126" sldId="2147469846"/>
            <ac:picMk id="29" creationId="{0321BCF8-7FB4-4606-BFA4-504B3D363238}"/>
          </ac:picMkLst>
        </pc:picChg>
        <pc:picChg chg="mod">
          <ac:chgData name="Kawtar SADIQ" userId="65df04e4-2d23-4bab-afb0-40df8a2c1b9f" providerId="ADAL" clId="{13E48CF6-3C07-4AA7-848A-1E964CBB0D3A}" dt="2022-12-01T16:47:38.923" v="28001"/>
          <ac:picMkLst>
            <pc:docMk/>
            <pc:sldMk cId="2177027126" sldId="2147469846"/>
            <ac:picMk id="30" creationId="{434BAF4A-F87F-44F1-AAC9-8F65463EADCA}"/>
          </ac:picMkLst>
        </pc:picChg>
        <pc:cxnChg chg="mod">
          <ac:chgData name="Kawtar SADIQ" userId="65df04e4-2d23-4bab-afb0-40df8a2c1b9f" providerId="ADAL" clId="{13E48CF6-3C07-4AA7-848A-1E964CBB0D3A}" dt="2022-12-01T16:47:38.923" v="28001"/>
          <ac:cxnSpMkLst>
            <pc:docMk/>
            <pc:sldMk cId="2177027126" sldId="2147469846"/>
            <ac:cxnSpMk id="15" creationId="{2AF9F76E-0878-41C1-8E93-CC2E0A1A4EBF}"/>
          </ac:cxnSpMkLst>
        </pc:cxnChg>
        <pc:cxnChg chg="mod">
          <ac:chgData name="Kawtar SADIQ" userId="65df04e4-2d23-4bab-afb0-40df8a2c1b9f" providerId="ADAL" clId="{13E48CF6-3C07-4AA7-848A-1E964CBB0D3A}" dt="2022-12-01T16:47:38.923" v="28001"/>
          <ac:cxnSpMkLst>
            <pc:docMk/>
            <pc:sldMk cId="2177027126" sldId="2147469846"/>
            <ac:cxnSpMk id="16" creationId="{89876CFA-0CA7-4F8B-B72F-8FEA3CAEE7D9}"/>
          </ac:cxnSpMkLst>
        </pc:cxnChg>
        <pc:cxnChg chg="mod">
          <ac:chgData name="Kawtar SADIQ" userId="65df04e4-2d23-4bab-afb0-40df8a2c1b9f" providerId="ADAL" clId="{13E48CF6-3C07-4AA7-848A-1E964CBB0D3A}" dt="2022-12-01T16:47:38.923" v="28001"/>
          <ac:cxnSpMkLst>
            <pc:docMk/>
            <pc:sldMk cId="2177027126" sldId="2147469846"/>
            <ac:cxnSpMk id="26" creationId="{41C1B509-B1E4-4A8E-965A-601C389068F7}"/>
          </ac:cxnSpMkLst>
        </pc:cxnChg>
      </pc:sldChg>
      <pc:sldChg chg="addSp delSp modSp new mod">
        <pc:chgData name="Kawtar SADIQ" userId="65df04e4-2d23-4bab-afb0-40df8a2c1b9f" providerId="ADAL" clId="{13E48CF6-3C07-4AA7-848A-1E964CBB0D3A}" dt="2022-12-01T16:47:56.883" v="28005"/>
        <pc:sldMkLst>
          <pc:docMk/>
          <pc:sldMk cId="3206833290" sldId="2147469847"/>
        </pc:sldMkLst>
        <pc:spChg chg="del">
          <ac:chgData name="Kawtar SADIQ" userId="65df04e4-2d23-4bab-afb0-40df8a2c1b9f" providerId="ADAL" clId="{13E48CF6-3C07-4AA7-848A-1E964CBB0D3A}" dt="2022-12-01T16:47:48.903" v="28004" actId="478"/>
          <ac:spMkLst>
            <pc:docMk/>
            <pc:sldMk cId="3206833290" sldId="2147469847"/>
            <ac:spMk id="2" creationId="{E3852EAE-639C-4232-B0B8-048AE763D205}"/>
          </ac:spMkLst>
        </pc:spChg>
        <pc:spChg chg="del">
          <ac:chgData name="Kawtar SADIQ" userId="65df04e4-2d23-4bab-afb0-40df8a2c1b9f" providerId="ADAL" clId="{13E48CF6-3C07-4AA7-848A-1E964CBB0D3A}" dt="2022-12-01T16:47:48.903" v="28004" actId="478"/>
          <ac:spMkLst>
            <pc:docMk/>
            <pc:sldMk cId="3206833290" sldId="2147469847"/>
            <ac:spMk id="3" creationId="{31C7F444-D9A7-4658-B171-C69C391D26FE}"/>
          </ac:spMkLst>
        </pc:spChg>
        <pc:spChg chg="add mod">
          <ac:chgData name="Kawtar SADIQ" userId="65df04e4-2d23-4bab-afb0-40df8a2c1b9f" providerId="ADAL" clId="{13E48CF6-3C07-4AA7-848A-1E964CBB0D3A}" dt="2022-12-01T16:47:56.883" v="28005"/>
          <ac:spMkLst>
            <pc:docMk/>
            <pc:sldMk cId="3206833290" sldId="2147469847"/>
            <ac:spMk id="4" creationId="{F0B81B3F-7775-4024-8F0A-107F2A5A3BA9}"/>
          </ac:spMkLst>
        </pc:spChg>
        <pc:spChg chg="add mod">
          <ac:chgData name="Kawtar SADIQ" userId="65df04e4-2d23-4bab-afb0-40df8a2c1b9f" providerId="ADAL" clId="{13E48CF6-3C07-4AA7-848A-1E964CBB0D3A}" dt="2022-12-01T16:47:56.883" v="28005"/>
          <ac:spMkLst>
            <pc:docMk/>
            <pc:sldMk cId="3206833290" sldId="2147469847"/>
            <ac:spMk id="5" creationId="{8E968FC0-FF68-4892-8F5F-926025A76217}"/>
          </ac:spMkLst>
        </pc:spChg>
        <pc:spChg chg="add mod">
          <ac:chgData name="Kawtar SADIQ" userId="65df04e4-2d23-4bab-afb0-40df8a2c1b9f" providerId="ADAL" clId="{13E48CF6-3C07-4AA7-848A-1E964CBB0D3A}" dt="2022-12-01T16:47:56.883" v="28005"/>
          <ac:spMkLst>
            <pc:docMk/>
            <pc:sldMk cId="3206833290" sldId="2147469847"/>
            <ac:spMk id="6" creationId="{30C895A3-0663-4BB3-B80A-BEBA38C38DC2}"/>
          </ac:spMkLst>
        </pc:spChg>
        <pc:spChg chg="add mod">
          <ac:chgData name="Kawtar SADIQ" userId="65df04e4-2d23-4bab-afb0-40df8a2c1b9f" providerId="ADAL" clId="{13E48CF6-3C07-4AA7-848A-1E964CBB0D3A}" dt="2022-12-01T16:47:56.883" v="28005"/>
          <ac:spMkLst>
            <pc:docMk/>
            <pc:sldMk cId="3206833290" sldId="2147469847"/>
            <ac:spMk id="7" creationId="{D5E80BFD-CDA0-4A5B-A3BB-E71091CF8118}"/>
          </ac:spMkLst>
        </pc:spChg>
        <pc:spChg chg="add mod">
          <ac:chgData name="Kawtar SADIQ" userId="65df04e4-2d23-4bab-afb0-40df8a2c1b9f" providerId="ADAL" clId="{13E48CF6-3C07-4AA7-848A-1E964CBB0D3A}" dt="2022-12-01T16:47:56.883" v="28005"/>
          <ac:spMkLst>
            <pc:docMk/>
            <pc:sldMk cId="3206833290" sldId="2147469847"/>
            <ac:spMk id="8" creationId="{4389C3E0-8916-46DD-9B77-557414079C54}"/>
          </ac:spMkLst>
        </pc:spChg>
        <pc:spChg chg="add mod">
          <ac:chgData name="Kawtar SADIQ" userId="65df04e4-2d23-4bab-afb0-40df8a2c1b9f" providerId="ADAL" clId="{13E48CF6-3C07-4AA7-848A-1E964CBB0D3A}" dt="2022-12-01T16:47:56.883" v="28005"/>
          <ac:spMkLst>
            <pc:docMk/>
            <pc:sldMk cId="3206833290" sldId="2147469847"/>
            <ac:spMk id="9" creationId="{33C1B878-4AAB-43D0-BE63-DCB851CF4C4F}"/>
          </ac:spMkLst>
        </pc:spChg>
        <pc:spChg chg="add mod">
          <ac:chgData name="Kawtar SADIQ" userId="65df04e4-2d23-4bab-afb0-40df8a2c1b9f" providerId="ADAL" clId="{13E48CF6-3C07-4AA7-848A-1E964CBB0D3A}" dt="2022-12-01T16:47:56.883" v="28005"/>
          <ac:spMkLst>
            <pc:docMk/>
            <pc:sldMk cId="3206833290" sldId="2147469847"/>
            <ac:spMk id="10" creationId="{623CC003-72EF-45E1-8466-A29C5B670BEF}"/>
          </ac:spMkLst>
        </pc:spChg>
        <pc:spChg chg="add mod">
          <ac:chgData name="Kawtar SADIQ" userId="65df04e4-2d23-4bab-afb0-40df8a2c1b9f" providerId="ADAL" clId="{13E48CF6-3C07-4AA7-848A-1E964CBB0D3A}" dt="2022-12-01T16:47:56.883" v="28005"/>
          <ac:spMkLst>
            <pc:docMk/>
            <pc:sldMk cId="3206833290" sldId="2147469847"/>
            <ac:spMk id="11" creationId="{333A7C18-09DE-4D91-A043-DCFE32A384FE}"/>
          </ac:spMkLst>
        </pc:spChg>
        <pc:spChg chg="add mod">
          <ac:chgData name="Kawtar SADIQ" userId="65df04e4-2d23-4bab-afb0-40df8a2c1b9f" providerId="ADAL" clId="{13E48CF6-3C07-4AA7-848A-1E964CBB0D3A}" dt="2022-12-01T16:47:56.883" v="28005"/>
          <ac:spMkLst>
            <pc:docMk/>
            <pc:sldMk cId="3206833290" sldId="2147469847"/>
            <ac:spMk id="12" creationId="{F5AFAA17-9DD6-46C0-B096-D63C4161A035}"/>
          </ac:spMkLst>
        </pc:spChg>
        <pc:spChg chg="add mod">
          <ac:chgData name="Kawtar SADIQ" userId="65df04e4-2d23-4bab-afb0-40df8a2c1b9f" providerId="ADAL" clId="{13E48CF6-3C07-4AA7-848A-1E964CBB0D3A}" dt="2022-12-01T16:47:56.883" v="28005"/>
          <ac:spMkLst>
            <pc:docMk/>
            <pc:sldMk cId="3206833290" sldId="2147469847"/>
            <ac:spMk id="13" creationId="{04CC02C6-2022-496A-8A23-B1E7882D6E72}"/>
          </ac:spMkLst>
        </pc:spChg>
        <pc:spChg chg="add mod">
          <ac:chgData name="Kawtar SADIQ" userId="65df04e4-2d23-4bab-afb0-40df8a2c1b9f" providerId="ADAL" clId="{13E48CF6-3C07-4AA7-848A-1E964CBB0D3A}" dt="2022-12-01T16:47:56.883" v="28005"/>
          <ac:spMkLst>
            <pc:docMk/>
            <pc:sldMk cId="3206833290" sldId="2147469847"/>
            <ac:spMk id="14" creationId="{D2514561-62DE-468C-82CE-CD646F14F0AB}"/>
          </ac:spMkLst>
        </pc:spChg>
        <pc:spChg chg="add mod">
          <ac:chgData name="Kawtar SADIQ" userId="65df04e4-2d23-4bab-afb0-40df8a2c1b9f" providerId="ADAL" clId="{13E48CF6-3C07-4AA7-848A-1E964CBB0D3A}" dt="2022-12-01T16:47:56.883" v="28005"/>
          <ac:spMkLst>
            <pc:docMk/>
            <pc:sldMk cId="3206833290" sldId="2147469847"/>
            <ac:spMk id="15" creationId="{F2A19346-7D7C-43E1-BEEB-2302845427DA}"/>
          </ac:spMkLst>
        </pc:spChg>
        <pc:spChg chg="add mod">
          <ac:chgData name="Kawtar SADIQ" userId="65df04e4-2d23-4bab-afb0-40df8a2c1b9f" providerId="ADAL" clId="{13E48CF6-3C07-4AA7-848A-1E964CBB0D3A}" dt="2022-12-01T16:47:56.883" v="28005"/>
          <ac:spMkLst>
            <pc:docMk/>
            <pc:sldMk cId="3206833290" sldId="2147469847"/>
            <ac:spMk id="16" creationId="{2B2938E4-AA25-41B1-8E93-4B1D5ECA5BE6}"/>
          </ac:spMkLst>
        </pc:spChg>
        <pc:spChg chg="add mod">
          <ac:chgData name="Kawtar SADIQ" userId="65df04e4-2d23-4bab-afb0-40df8a2c1b9f" providerId="ADAL" clId="{13E48CF6-3C07-4AA7-848A-1E964CBB0D3A}" dt="2022-12-01T16:47:56.883" v="28005"/>
          <ac:spMkLst>
            <pc:docMk/>
            <pc:sldMk cId="3206833290" sldId="2147469847"/>
            <ac:spMk id="17" creationId="{7802BF8B-B55B-4512-8E34-36DEEFE9EAE0}"/>
          </ac:spMkLst>
        </pc:spChg>
        <pc:spChg chg="add mod">
          <ac:chgData name="Kawtar SADIQ" userId="65df04e4-2d23-4bab-afb0-40df8a2c1b9f" providerId="ADAL" clId="{13E48CF6-3C07-4AA7-848A-1E964CBB0D3A}" dt="2022-12-01T16:47:56.883" v="28005"/>
          <ac:spMkLst>
            <pc:docMk/>
            <pc:sldMk cId="3206833290" sldId="2147469847"/>
            <ac:spMk id="18" creationId="{01036686-40E3-4A77-8B68-0CC7012A566E}"/>
          </ac:spMkLst>
        </pc:spChg>
        <pc:spChg chg="add mod">
          <ac:chgData name="Kawtar SADIQ" userId="65df04e4-2d23-4bab-afb0-40df8a2c1b9f" providerId="ADAL" clId="{13E48CF6-3C07-4AA7-848A-1E964CBB0D3A}" dt="2022-12-01T16:47:56.883" v="28005"/>
          <ac:spMkLst>
            <pc:docMk/>
            <pc:sldMk cId="3206833290" sldId="2147469847"/>
            <ac:spMk id="19" creationId="{9DE897CF-6C24-4563-A0D3-EA925F47B660}"/>
          </ac:spMkLst>
        </pc:spChg>
        <pc:spChg chg="add mod">
          <ac:chgData name="Kawtar SADIQ" userId="65df04e4-2d23-4bab-afb0-40df8a2c1b9f" providerId="ADAL" clId="{13E48CF6-3C07-4AA7-848A-1E964CBB0D3A}" dt="2022-12-01T16:47:56.883" v="28005"/>
          <ac:spMkLst>
            <pc:docMk/>
            <pc:sldMk cId="3206833290" sldId="2147469847"/>
            <ac:spMk id="20" creationId="{889A8222-9D75-4FB2-83D2-30404032EC79}"/>
          </ac:spMkLst>
        </pc:spChg>
        <pc:spChg chg="add mod">
          <ac:chgData name="Kawtar SADIQ" userId="65df04e4-2d23-4bab-afb0-40df8a2c1b9f" providerId="ADAL" clId="{13E48CF6-3C07-4AA7-848A-1E964CBB0D3A}" dt="2022-12-01T16:47:56.883" v="28005"/>
          <ac:spMkLst>
            <pc:docMk/>
            <pc:sldMk cId="3206833290" sldId="2147469847"/>
            <ac:spMk id="21" creationId="{7FEB7DB1-212C-4BC1-A32B-BC41AFADBD04}"/>
          </ac:spMkLst>
        </pc:spChg>
        <pc:spChg chg="add mod">
          <ac:chgData name="Kawtar SADIQ" userId="65df04e4-2d23-4bab-afb0-40df8a2c1b9f" providerId="ADAL" clId="{13E48CF6-3C07-4AA7-848A-1E964CBB0D3A}" dt="2022-12-01T16:47:56.883" v="28005"/>
          <ac:spMkLst>
            <pc:docMk/>
            <pc:sldMk cId="3206833290" sldId="2147469847"/>
            <ac:spMk id="22" creationId="{219229D9-4934-4A88-80B3-ED7AA1924C0F}"/>
          </ac:spMkLst>
        </pc:spChg>
        <pc:spChg chg="add mod">
          <ac:chgData name="Kawtar SADIQ" userId="65df04e4-2d23-4bab-afb0-40df8a2c1b9f" providerId="ADAL" clId="{13E48CF6-3C07-4AA7-848A-1E964CBB0D3A}" dt="2022-12-01T16:47:56.883" v="28005"/>
          <ac:spMkLst>
            <pc:docMk/>
            <pc:sldMk cId="3206833290" sldId="2147469847"/>
            <ac:spMk id="23" creationId="{B877810C-B411-4967-BF5E-467BA96335E7}"/>
          </ac:spMkLst>
        </pc:spChg>
        <pc:spChg chg="add mod">
          <ac:chgData name="Kawtar SADIQ" userId="65df04e4-2d23-4bab-afb0-40df8a2c1b9f" providerId="ADAL" clId="{13E48CF6-3C07-4AA7-848A-1E964CBB0D3A}" dt="2022-12-01T16:47:56.883" v="28005"/>
          <ac:spMkLst>
            <pc:docMk/>
            <pc:sldMk cId="3206833290" sldId="2147469847"/>
            <ac:spMk id="24" creationId="{A2653AE6-134E-4F1A-84D7-4C9C11DA7D0F}"/>
          </ac:spMkLst>
        </pc:spChg>
        <pc:spChg chg="add mod">
          <ac:chgData name="Kawtar SADIQ" userId="65df04e4-2d23-4bab-afb0-40df8a2c1b9f" providerId="ADAL" clId="{13E48CF6-3C07-4AA7-848A-1E964CBB0D3A}" dt="2022-12-01T16:47:56.883" v="28005"/>
          <ac:spMkLst>
            <pc:docMk/>
            <pc:sldMk cId="3206833290" sldId="2147469847"/>
            <ac:spMk id="25" creationId="{A0EE45D6-2894-4386-8B76-6496043592EE}"/>
          </ac:spMkLst>
        </pc:spChg>
        <pc:spChg chg="add mod">
          <ac:chgData name="Kawtar SADIQ" userId="65df04e4-2d23-4bab-afb0-40df8a2c1b9f" providerId="ADAL" clId="{13E48CF6-3C07-4AA7-848A-1E964CBB0D3A}" dt="2022-12-01T16:47:56.883" v="28005"/>
          <ac:spMkLst>
            <pc:docMk/>
            <pc:sldMk cId="3206833290" sldId="2147469847"/>
            <ac:spMk id="26" creationId="{836FABA7-40FF-47FB-BF1B-96BFF918AEE6}"/>
          </ac:spMkLst>
        </pc:spChg>
        <pc:spChg chg="add mod">
          <ac:chgData name="Kawtar SADIQ" userId="65df04e4-2d23-4bab-afb0-40df8a2c1b9f" providerId="ADAL" clId="{13E48CF6-3C07-4AA7-848A-1E964CBB0D3A}" dt="2022-12-01T16:47:56.883" v="28005"/>
          <ac:spMkLst>
            <pc:docMk/>
            <pc:sldMk cId="3206833290" sldId="2147469847"/>
            <ac:spMk id="27" creationId="{A4C1E5C6-BB2B-47E5-9BC4-7AC11300FE2A}"/>
          </ac:spMkLst>
        </pc:spChg>
        <pc:spChg chg="add mod">
          <ac:chgData name="Kawtar SADIQ" userId="65df04e4-2d23-4bab-afb0-40df8a2c1b9f" providerId="ADAL" clId="{13E48CF6-3C07-4AA7-848A-1E964CBB0D3A}" dt="2022-12-01T16:47:56.883" v="28005"/>
          <ac:spMkLst>
            <pc:docMk/>
            <pc:sldMk cId="3206833290" sldId="2147469847"/>
            <ac:spMk id="28" creationId="{56320E5B-BCEB-4A56-8472-EA21B117AB87}"/>
          </ac:spMkLst>
        </pc:spChg>
        <pc:spChg chg="add mod">
          <ac:chgData name="Kawtar SADIQ" userId="65df04e4-2d23-4bab-afb0-40df8a2c1b9f" providerId="ADAL" clId="{13E48CF6-3C07-4AA7-848A-1E964CBB0D3A}" dt="2022-12-01T16:47:56.883" v="28005"/>
          <ac:spMkLst>
            <pc:docMk/>
            <pc:sldMk cId="3206833290" sldId="2147469847"/>
            <ac:spMk id="29" creationId="{475AFC35-BBD2-4182-A97A-D9E9B190C667}"/>
          </ac:spMkLst>
        </pc:spChg>
        <pc:spChg chg="add mod">
          <ac:chgData name="Kawtar SADIQ" userId="65df04e4-2d23-4bab-afb0-40df8a2c1b9f" providerId="ADAL" clId="{13E48CF6-3C07-4AA7-848A-1E964CBB0D3A}" dt="2022-12-01T16:47:56.883" v="28005"/>
          <ac:spMkLst>
            <pc:docMk/>
            <pc:sldMk cId="3206833290" sldId="2147469847"/>
            <ac:spMk id="30" creationId="{3FA979D4-A5F0-4139-87DE-D8704BDD3789}"/>
          </ac:spMkLst>
        </pc:spChg>
        <pc:spChg chg="add mod">
          <ac:chgData name="Kawtar SADIQ" userId="65df04e4-2d23-4bab-afb0-40df8a2c1b9f" providerId="ADAL" clId="{13E48CF6-3C07-4AA7-848A-1E964CBB0D3A}" dt="2022-12-01T16:47:56.883" v="28005"/>
          <ac:spMkLst>
            <pc:docMk/>
            <pc:sldMk cId="3206833290" sldId="2147469847"/>
            <ac:spMk id="31" creationId="{442C8FE6-56FD-4088-9A93-D370CA264E7E}"/>
          </ac:spMkLst>
        </pc:spChg>
        <pc:spChg chg="add mod">
          <ac:chgData name="Kawtar SADIQ" userId="65df04e4-2d23-4bab-afb0-40df8a2c1b9f" providerId="ADAL" clId="{13E48CF6-3C07-4AA7-848A-1E964CBB0D3A}" dt="2022-12-01T16:47:56.883" v="28005"/>
          <ac:spMkLst>
            <pc:docMk/>
            <pc:sldMk cId="3206833290" sldId="2147469847"/>
            <ac:spMk id="32" creationId="{9688672A-DBA5-4E45-8956-B157DE33F546}"/>
          </ac:spMkLst>
        </pc:spChg>
        <pc:spChg chg="add mod">
          <ac:chgData name="Kawtar SADIQ" userId="65df04e4-2d23-4bab-afb0-40df8a2c1b9f" providerId="ADAL" clId="{13E48CF6-3C07-4AA7-848A-1E964CBB0D3A}" dt="2022-12-01T16:47:56.883" v="28005"/>
          <ac:spMkLst>
            <pc:docMk/>
            <pc:sldMk cId="3206833290" sldId="2147469847"/>
            <ac:spMk id="33" creationId="{ACD83E29-A268-4D12-AA23-664A740CBF63}"/>
          </ac:spMkLst>
        </pc:spChg>
        <pc:spChg chg="add mod">
          <ac:chgData name="Kawtar SADIQ" userId="65df04e4-2d23-4bab-afb0-40df8a2c1b9f" providerId="ADAL" clId="{13E48CF6-3C07-4AA7-848A-1E964CBB0D3A}" dt="2022-12-01T16:47:56.883" v="28005"/>
          <ac:spMkLst>
            <pc:docMk/>
            <pc:sldMk cId="3206833290" sldId="2147469847"/>
            <ac:spMk id="34" creationId="{C2562594-082F-431B-B08D-BCAF52C96018}"/>
          </ac:spMkLst>
        </pc:spChg>
        <pc:spChg chg="add mod">
          <ac:chgData name="Kawtar SADIQ" userId="65df04e4-2d23-4bab-afb0-40df8a2c1b9f" providerId="ADAL" clId="{13E48CF6-3C07-4AA7-848A-1E964CBB0D3A}" dt="2022-12-01T16:47:56.883" v="28005"/>
          <ac:spMkLst>
            <pc:docMk/>
            <pc:sldMk cId="3206833290" sldId="2147469847"/>
            <ac:spMk id="35" creationId="{5E8E6CF1-2F09-4005-9997-D2D2E0F9FD20}"/>
          </ac:spMkLst>
        </pc:spChg>
        <pc:spChg chg="add mod">
          <ac:chgData name="Kawtar SADIQ" userId="65df04e4-2d23-4bab-afb0-40df8a2c1b9f" providerId="ADAL" clId="{13E48CF6-3C07-4AA7-848A-1E964CBB0D3A}" dt="2022-12-01T16:47:56.883" v="28005"/>
          <ac:spMkLst>
            <pc:docMk/>
            <pc:sldMk cId="3206833290" sldId="2147469847"/>
            <ac:spMk id="36" creationId="{5008067E-9334-4AC1-B543-0695A2B680C4}"/>
          </ac:spMkLst>
        </pc:spChg>
        <pc:spChg chg="add mod">
          <ac:chgData name="Kawtar SADIQ" userId="65df04e4-2d23-4bab-afb0-40df8a2c1b9f" providerId="ADAL" clId="{13E48CF6-3C07-4AA7-848A-1E964CBB0D3A}" dt="2022-12-01T16:47:56.883" v="28005"/>
          <ac:spMkLst>
            <pc:docMk/>
            <pc:sldMk cId="3206833290" sldId="2147469847"/>
            <ac:spMk id="37" creationId="{7B67361E-21D0-42CA-8901-A51B75F707A0}"/>
          </ac:spMkLst>
        </pc:spChg>
        <pc:spChg chg="add mod">
          <ac:chgData name="Kawtar SADIQ" userId="65df04e4-2d23-4bab-afb0-40df8a2c1b9f" providerId="ADAL" clId="{13E48CF6-3C07-4AA7-848A-1E964CBB0D3A}" dt="2022-12-01T16:47:56.883" v="28005"/>
          <ac:spMkLst>
            <pc:docMk/>
            <pc:sldMk cId="3206833290" sldId="2147469847"/>
            <ac:spMk id="38" creationId="{26573CBD-FA66-425B-95A8-425CC149383C}"/>
          </ac:spMkLst>
        </pc:spChg>
        <pc:spChg chg="add mod">
          <ac:chgData name="Kawtar SADIQ" userId="65df04e4-2d23-4bab-afb0-40df8a2c1b9f" providerId="ADAL" clId="{13E48CF6-3C07-4AA7-848A-1E964CBB0D3A}" dt="2022-12-01T16:47:56.883" v="28005"/>
          <ac:spMkLst>
            <pc:docMk/>
            <pc:sldMk cId="3206833290" sldId="2147469847"/>
            <ac:spMk id="39" creationId="{C27174DD-9297-43E0-BFBD-86063A682FC4}"/>
          </ac:spMkLst>
        </pc:spChg>
        <pc:spChg chg="add mod">
          <ac:chgData name="Kawtar SADIQ" userId="65df04e4-2d23-4bab-afb0-40df8a2c1b9f" providerId="ADAL" clId="{13E48CF6-3C07-4AA7-848A-1E964CBB0D3A}" dt="2022-12-01T16:47:56.883" v="28005"/>
          <ac:spMkLst>
            <pc:docMk/>
            <pc:sldMk cId="3206833290" sldId="2147469847"/>
            <ac:spMk id="40" creationId="{388BE75C-C248-4FE9-AE80-00C467564807}"/>
          </ac:spMkLst>
        </pc:spChg>
        <pc:spChg chg="add mod">
          <ac:chgData name="Kawtar SADIQ" userId="65df04e4-2d23-4bab-afb0-40df8a2c1b9f" providerId="ADAL" clId="{13E48CF6-3C07-4AA7-848A-1E964CBB0D3A}" dt="2022-12-01T16:47:56.883" v="28005"/>
          <ac:spMkLst>
            <pc:docMk/>
            <pc:sldMk cId="3206833290" sldId="2147469847"/>
            <ac:spMk id="41" creationId="{70F5006D-3D09-49D0-B1D7-3351C09F00F5}"/>
          </ac:spMkLst>
        </pc:spChg>
        <pc:spChg chg="add mod">
          <ac:chgData name="Kawtar SADIQ" userId="65df04e4-2d23-4bab-afb0-40df8a2c1b9f" providerId="ADAL" clId="{13E48CF6-3C07-4AA7-848A-1E964CBB0D3A}" dt="2022-12-01T16:47:56.883" v="28005"/>
          <ac:spMkLst>
            <pc:docMk/>
            <pc:sldMk cId="3206833290" sldId="2147469847"/>
            <ac:spMk id="45" creationId="{595D6B1E-AF62-4965-BDC4-A7104A2BD026}"/>
          </ac:spMkLst>
        </pc:spChg>
        <pc:spChg chg="add mod">
          <ac:chgData name="Kawtar SADIQ" userId="65df04e4-2d23-4bab-afb0-40df8a2c1b9f" providerId="ADAL" clId="{13E48CF6-3C07-4AA7-848A-1E964CBB0D3A}" dt="2022-12-01T16:47:56.883" v="28005"/>
          <ac:spMkLst>
            <pc:docMk/>
            <pc:sldMk cId="3206833290" sldId="2147469847"/>
            <ac:spMk id="46" creationId="{70BB0E29-66BF-4FFD-A4F8-0B56ACF8BC66}"/>
          </ac:spMkLst>
        </pc:spChg>
        <pc:spChg chg="add mod">
          <ac:chgData name="Kawtar SADIQ" userId="65df04e4-2d23-4bab-afb0-40df8a2c1b9f" providerId="ADAL" clId="{13E48CF6-3C07-4AA7-848A-1E964CBB0D3A}" dt="2022-12-01T16:47:56.883" v="28005"/>
          <ac:spMkLst>
            <pc:docMk/>
            <pc:sldMk cId="3206833290" sldId="2147469847"/>
            <ac:spMk id="47" creationId="{0828F46E-9D71-49B3-A4D5-3C0FEC935ACF}"/>
          </ac:spMkLst>
        </pc:spChg>
        <pc:spChg chg="add mod">
          <ac:chgData name="Kawtar SADIQ" userId="65df04e4-2d23-4bab-afb0-40df8a2c1b9f" providerId="ADAL" clId="{13E48CF6-3C07-4AA7-848A-1E964CBB0D3A}" dt="2022-12-01T16:47:56.883" v="28005"/>
          <ac:spMkLst>
            <pc:docMk/>
            <pc:sldMk cId="3206833290" sldId="2147469847"/>
            <ac:spMk id="48" creationId="{9C75FBD6-DD11-42C8-A5E9-1175B42A9673}"/>
          </ac:spMkLst>
        </pc:spChg>
        <pc:spChg chg="add mod">
          <ac:chgData name="Kawtar SADIQ" userId="65df04e4-2d23-4bab-afb0-40df8a2c1b9f" providerId="ADAL" clId="{13E48CF6-3C07-4AA7-848A-1E964CBB0D3A}" dt="2022-12-01T16:47:56.883" v="28005"/>
          <ac:spMkLst>
            <pc:docMk/>
            <pc:sldMk cId="3206833290" sldId="2147469847"/>
            <ac:spMk id="49" creationId="{476F7919-DE50-49BA-B7C0-6A8B0A3493B5}"/>
          </ac:spMkLst>
        </pc:spChg>
        <pc:cxnChg chg="add mod">
          <ac:chgData name="Kawtar SADIQ" userId="65df04e4-2d23-4bab-afb0-40df8a2c1b9f" providerId="ADAL" clId="{13E48CF6-3C07-4AA7-848A-1E964CBB0D3A}" dt="2022-12-01T16:47:56.883" v="28005"/>
          <ac:cxnSpMkLst>
            <pc:docMk/>
            <pc:sldMk cId="3206833290" sldId="2147469847"/>
            <ac:cxnSpMk id="42" creationId="{97753ADD-28D6-4B43-88A5-85A1F97E84AA}"/>
          </ac:cxnSpMkLst>
        </pc:cxnChg>
        <pc:cxnChg chg="add mod">
          <ac:chgData name="Kawtar SADIQ" userId="65df04e4-2d23-4bab-afb0-40df8a2c1b9f" providerId="ADAL" clId="{13E48CF6-3C07-4AA7-848A-1E964CBB0D3A}" dt="2022-12-01T16:47:56.883" v="28005"/>
          <ac:cxnSpMkLst>
            <pc:docMk/>
            <pc:sldMk cId="3206833290" sldId="2147469847"/>
            <ac:cxnSpMk id="43" creationId="{16314247-ED83-413B-BEA3-A056548D9EEA}"/>
          </ac:cxnSpMkLst>
        </pc:cxnChg>
        <pc:cxnChg chg="add mod">
          <ac:chgData name="Kawtar SADIQ" userId="65df04e4-2d23-4bab-afb0-40df8a2c1b9f" providerId="ADAL" clId="{13E48CF6-3C07-4AA7-848A-1E964CBB0D3A}" dt="2022-12-01T16:47:56.883" v="28005"/>
          <ac:cxnSpMkLst>
            <pc:docMk/>
            <pc:sldMk cId="3206833290" sldId="2147469847"/>
            <ac:cxnSpMk id="44" creationId="{E62EC1A3-8EE5-4454-B6D3-92228CE89181}"/>
          </ac:cxnSpMkLst>
        </pc:cxnChg>
      </pc:sldChg>
      <pc:sldChg chg="addSp delSp modSp new mod">
        <pc:chgData name="Kawtar SADIQ" userId="65df04e4-2d23-4bab-afb0-40df8a2c1b9f" providerId="ADAL" clId="{13E48CF6-3C07-4AA7-848A-1E964CBB0D3A}" dt="2022-12-01T16:48:09.263" v="28009"/>
        <pc:sldMkLst>
          <pc:docMk/>
          <pc:sldMk cId="249224192" sldId="2147469848"/>
        </pc:sldMkLst>
        <pc:spChg chg="del">
          <ac:chgData name="Kawtar SADIQ" userId="65df04e4-2d23-4bab-afb0-40df8a2c1b9f" providerId="ADAL" clId="{13E48CF6-3C07-4AA7-848A-1E964CBB0D3A}" dt="2022-12-01T16:48:03.773" v="28008" actId="478"/>
          <ac:spMkLst>
            <pc:docMk/>
            <pc:sldMk cId="249224192" sldId="2147469848"/>
            <ac:spMk id="2" creationId="{74CF04BC-F1AB-4DEF-92E5-ECFB282A3023}"/>
          </ac:spMkLst>
        </pc:spChg>
        <pc:spChg chg="del">
          <ac:chgData name="Kawtar SADIQ" userId="65df04e4-2d23-4bab-afb0-40df8a2c1b9f" providerId="ADAL" clId="{13E48CF6-3C07-4AA7-848A-1E964CBB0D3A}" dt="2022-12-01T16:48:03.773" v="28008" actId="478"/>
          <ac:spMkLst>
            <pc:docMk/>
            <pc:sldMk cId="249224192" sldId="2147469848"/>
            <ac:spMk id="3" creationId="{72C7D365-95E0-4C46-9663-50DCF3713F7B}"/>
          </ac:spMkLst>
        </pc:spChg>
        <pc:spChg chg="add mod">
          <ac:chgData name="Kawtar SADIQ" userId="65df04e4-2d23-4bab-afb0-40df8a2c1b9f" providerId="ADAL" clId="{13E48CF6-3C07-4AA7-848A-1E964CBB0D3A}" dt="2022-12-01T16:48:09.263" v="28009"/>
          <ac:spMkLst>
            <pc:docMk/>
            <pc:sldMk cId="249224192" sldId="2147469848"/>
            <ac:spMk id="4" creationId="{DC94281C-C64E-4F6D-B566-F4EC7643EB14}"/>
          </ac:spMkLst>
        </pc:spChg>
        <pc:spChg chg="add mod">
          <ac:chgData name="Kawtar SADIQ" userId="65df04e4-2d23-4bab-afb0-40df8a2c1b9f" providerId="ADAL" clId="{13E48CF6-3C07-4AA7-848A-1E964CBB0D3A}" dt="2022-12-01T16:48:09.263" v="28009"/>
          <ac:spMkLst>
            <pc:docMk/>
            <pc:sldMk cId="249224192" sldId="2147469848"/>
            <ac:spMk id="5" creationId="{47D7D7FB-D2CE-47EB-99C9-761CD7AA6E3F}"/>
          </ac:spMkLst>
        </pc:spChg>
        <pc:spChg chg="add mod">
          <ac:chgData name="Kawtar SADIQ" userId="65df04e4-2d23-4bab-afb0-40df8a2c1b9f" providerId="ADAL" clId="{13E48CF6-3C07-4AA7-848A-1E964CBB0D3A}" dt="2022-12-01T16:48:09.263" v="28009"/>
          <ac:spMkLst>
            <pc:docMk/>
            <pc:sldMk cId="249224192" sldId="2147469848"/>
            <ac:spMk id="6" creationId="{FB73A648-A5EC-4345-BCF5-CDA515F230A1}"/>
          </ac:spMkLst>
        </pc:spChg>
        <pc:spChg chg="add mod">
          <ac:chgData name="Kawtar SADIQ" userId="65df04e4-2d23-4bab-afb0-40df8a2c1b9f" providerId="ADAL" clId="{13E48CF6-3C07-4AA7-848A-1E964CBB0D3A}" dt="2022-12-01T16:48:09.263" v="28009"/>
          <ac:spMkLst>
            <pc:docMk/>
            <pc:sldMk cId="249224192" sldId="2147469848"/>
            <ac:spMk id="7" creationId="{81B011E9-8FA6-457B-A720-9E317B98D2E7}"/>
          </ac:spMkLst>
        </pc:spChg>
        <pc:spChg chg="add mod">
          <ac:chgData name="Kawtar SADIQ" userId="65df04e4-2d23-4bab-afb0-40df8a2c1b9f" providerId="ADAL" clId="{13E48CF6-3C07-4AA7-848A-1E964CBB0D3A}" dt="2022-12-01T16:48:09.263" v="28009"/>
          <ac:spMkLst>
            <pc:docMk/>
            <pc:sldMk cId="249224192" sldId="2147469848"/>
            <ac:spMk id="8" creationId="{953DB62E-9607-422A-ABC6-536378A331B7}"/>
          </ac:spMkLst>
        </pc:spChg>
        <pc:spChg chg="add mod">
          <ac:chgData name="Kawtar SADIQ" userId="65df04e4-2d23-4bab-afb0-40df8a2c1b9f" providerId="ADAL" clId="{13E48CF6-3C07-4AA7-848A-1E964CBB0D3A}" dt="2022-12-01T16:48:09.263" v="28009"/>
          <ac:spMkLst>
            <pc:docMk/>
            <pc:sldMk cId="249224192" sldId="2147469848"/>
            <ac:spMk id="9" creationId="{10F152BA-2056-416E-9F00-D75105348D6E}"/>
          </ac:spMkLst>
        </pc:spChg>
        <pc:spChg chg="add mod">
          <ac:chgData name="Kawtar SADIQ" userId="65df04e4-2d23-4bab-afb0-40df8a2c1b9f" providerId="ADAL" clId="{13E48CF6-3C07-4AA7-848A-1E964CBB0D3A}" dt="2022-12-01T16:48:09.263" v="28009"/>
          <ac:spMkLst>
            <pc:docMk/>
            <pc:sldMk cId="249224192" sldId="2147469848"/>
            <ac:spMk id="10" creationId="{ACAB3DD1-F717-4A31-9BBD-4EFADBCFC58D}"/>
          </ac:spMkLst>
        </pc:spChg>
        <pc:spChg chg="add mod">
          <ac:chgData name="Kawtar SADIQ" userId="65df04e4-2d23-4bab-afb0-40df8a2c1b9f" providerId="ADAL" clId="{13E48CF6-3C07-4AA7-848A-1E964CBB0D3A}" dt="2022-12-01T16:48:09.263" v="28009"/>
          <ac:spMkLst>
            <pc:docMk/>
            <pc:sldMk cId="249224192" sldId="2147469848"/>
            <ac:spMk id="11" creationId="{90E6C192-1AD9-4303-B165-D492483711FF}"/>
          </ac:spMkLst>
        </pc:spChg>
        <pc:spChg chg="add mod">
          <ac:chgData name="Kawtar SADIQ" userId="65df04e4-2d23-4bab-afb0-40df8a2c1b9f" providerId="ADAL" clId="{13E48CF6-3C07-4AA7-848A-1E964CBB0D3A}" dt="2022-12-01T16:48:09.263" v="28009"/>
          <ac:spMkLst>
            <pc:docMk/>
            <pc:sldMk cId="249224192" sldId="2147469848"/>
            <ac:spMk id="12" creationId="{D7078519-B7FB-4F09-A51C-A5979AA74A4A}"/>
          </ac:spMkLst>
        </pc:spChg>
        <pc:spChg chg="add mod">
          <ac:chgData name="Kawtar SADIQ" userId="65df04e4-2d23-4bab-afb0-40df8a2c1b9f" providerId="ADAL" clId="{13E48CF6-3C07-4AA7-848A-1E964CBB0D3A}" dt="2022-12-01T16:48:09.263" v="28009"/>
          <ac:spMkLst>
            <pc:docMk/>
            <pc:sldMk cId="249224192" sldId="2147469848"/>
            <ac:spMk id="13" creationId="{E08BE409-4974-460D-BCBE-34EEAB24B561}"/>
          </ac:spMkLst>
        </pc:spChg>
        <pc:spChg chg="add mod">
          <ac:chgData name="Kawtar SADIQ" userId="65df04e4-2d23-4bab-afb0-40df8a2c1b9f" providerId="ADAL" clId="{13E48CF6-3C07-4AA7-848A-1E964CBB0D3A}" dt="2022-12-01T16:48:09.263" v="28009"/>
          <ac:spMkLst>
            <pc:docMk/>
            <pc:sldMk cId="249224192" sldId="2147469848"/>
            <ac:spMk id="14" creationId="{937A7C45-FF9F-430C-BF8A-C25D3295616D}"/>
          </ac:spMkLst>
        </pc:spChg>
        <pc:spChg chg="add mod">
          <ac:chgData name="Kawtar SADIQ" userId="65df04e4-2d23-4bab-afb0-40df8a2c1b9f" providerId="ADAL" clId="{13E48CF6-3C07-4AA7-848A-1E964CBB0D3A}" dt="2022-12-01T16:48:09.263" v="28009"/>
          <ac:spMkLst>
            <pc:docMk/>
            <pc:sldMk cId="249224192" sldId="2147469848"/>
            <ac:spMk id="15" creationId="{90E366E6-0E77-4D29-8050-95674AC7F278}"/>
          </ac:spMkLst>
        </pc:spChg>
        <pc:spChg chg="add mod">
          <ac:chgData name="Kawtar SADIQ" userId="65df04e4-2d23-4bab-afb0-40df8a2c1b9f" providerId="ADAL" clId="{13E48CF6-3C07-4AA7-848A-1E964CBB0D3A}" dt="2022-12-01T16:48:09.263" v="28009"/>
          <ac:spMkLst>
            <pc:docMk/>
            <pc:sldMk cId="249224192" sldId="2147469848"/>
            <ac:spMk id="16" creationId="{03C12868-5AE7-4A7F-A911-635F641C235B}"/>
          </ac:spMkLst>
        </pc:spChg>
        <pc:spChg chg="add mod">
          <ac:chgData name="Kawtar SADIQ" userId="65df04e4-2d23-4bab-afb0-40df8a2c1b9f" providerId="ADAL" clId="{13E48CF6-3C07-4AA7-848A-1E964CBB0D3A}" dt="2022-12-01T16:48:09.263" v="28009"/>
          <ac:spMkLst>
            <pc:docMk/>
            <pc:sldMk cId="249224192" sldId="2147469848"/>
            <ac:spMk id="17" creationId="{8574C0E1-A2D5-4481-813F-CCC22696B1AF}"/>
          </ac:spMkLst>
        </pc:spChg>
        <pc:spChg chg="add mod">
          <ac:chgData name="Kawtar SADIQ" userId="65df04e4-2d23-4bab-afb0-40df8a2c1b9f" providerId="ADAL" clId="{13E48CF6-3C07-4AA7-848A-1E964CBB0D3A}" dt="2022-12-01T16:48:09.263" v="28009"/>
          <ac:spMkLst>
            <pc:docMk/>
            <pc:sldMk cId="249224192" sldId="2147469848"/>
            <ac:spMk id="18" creationId="{588B5D28-F625-45E5-BD85-BAA6D2F57B0A}"/>
          </ac:spMkLst>
        </pc:spChg>
        <pc:spChg chg="add mod">
          <ac:chgData name="Kawtar SADIQ" userId="65df04e4-2d23-4bab-afb0-40df8a2c1b9f" providerId="ADAL" clId="{13E48CF6-3C07-4AA7-848A-1E964CBB0D3A}" dt="2022-12-01T16:48:09.263" v="28009"/>
          <ac:spMkLst>
            <pc:docMk/>
            <pc:sldMk cId="249224192" sldId="2147469848"/>
            <ac:spMk id="19" creationId="{8832D2E3-A24B-4D38-B00B-2A43C391DCB3}"/>
          </ac:spMkLst>
        </pc:spChg>
        <pc:spChg chg="add mod">
          <ac:chgData name="Kawtar SADIQ" userId="65df04e4-2d23-4bab-afb0-40df8a2c1b9f" providerId="ADAL" clId="{13E48CF6-3C07-4AA7-848A-1E964CBB0D3A}" dt="2022-12-01T16:48:09.263" v="28009"/>
          <ac:spMkLst>
            <pc:docMk/>
            <pc:sldMk cId="249224192" sldId="2147469848"/>
            <ac:spMk id="20" creationId="{6CB49614-FB25-49EA-B49B-DE66643C092B}"/>
          </ac:spMkLst>
        </pc:spChg>
        <pc:spChg chg="add mod">
          <ac:chgData name="Kawtar SADIQ" userId="65df04e4-2d23-4bab-afb0-40df8a2c1b9f" providerId="ADAL" clId="{13E48CF6-3C07-4AA7-848A-1E964CBB0D3A}" dt="2022-12-01T16:48:09.263" v="28009"/>
          <ac:spMkLst>
            <pc:docMk/>
            <pc:sldMk cId="249224192" sldId="2147469848"/>
            <ac:spMk id="21" creationId="{8DB43B1D-70AB-43EE-BB75-E6DDD04200A0}"/>
          </ac:spMkLst>
        </pc:spChg>
        <pc:spChg chg="add mod">
          <ac:chgData name="Kawtar SADIQ" userId="65df04e4-2d23-4bab-afb0-40df8a2c1b9f" providerId="ADAL" clId="{13E48CF6-3C07-4AA7-848A-1E964CBB0D3A}" dt="2022-12-01T16:48:09.263" v="28009"/>
          <ac:spMkLst>
            <pc:docMk/>
            <pc:sldMk cId="249224192" sldId="2147469848"/>
            <ac:spMk id="22" creationId="{74CAD8F7-0065-48CF-AAED-F8E2CCDCF9CD}"/>
          </ac:spMkLst>
        </pc:spChg>
        <pc:spChg chg="add mod">
          <ac:chgData name="Kawtar SADIQ" userId="65df04e4-2d23-4bab-afb0-40df8a2c1b9f" providerId="ADAL" clId="{13E48CF6-3C07-4AA7-848A-1E964CBB0D3A}" dt="2022-12-01T16:48:09.263" v="28009"/>
          <ac:spMkLst>
            <pc:docMk/>
            <pc:sldMk cId="249224192" sldId="2147469848"/>
            <ac:spMk id="23" creationId="{7A34A958-E1A9-4866-9ED2-074DAF86DE23}"/>
          </ac:spMkLst>
        </pc:spChg>
        <pc:spChg chg="add mod">
          <ac:chgData name="Kawtar SADIQ" userId="65df04e4-2d23-4bab-afb0-40df8a2c1b9f" providerId="ADAL" clId="{13E48CF6-3C07-4AA7-848A-1E964CBB0D3A}" dt="2022-12-01T16:48:09.263" v="28009"/>
          <ac:spMkLst>
            <pc:docMk/>
            <pc:sldMk cId="249224192" sldId="2147469848"/>
            <ac:spMk id="29" creationId="{880E3527-DBFA-4D9D-A0FD-8157367E62FB}"/>
          </ac:spMkLst>
        </pc:spChg>
        <pc:spChg chg="add mod">
          <ac:chgData name="Kawtar SADIQ" userId="65df04e4-2d23-4bab-afb0-40df8a2c1b9f" providerId="ADAL" clId="{13E48CF6-3C07-4AA7-848A-1E964CBB0D3A}" dt="2022-12-01T16:48:09.263" v="28009"/>
          <ac:spMkLst>
            <pc:docMk/>
            <pc:sldMk cId="249224192" sldId="2147469848"/>
            <ac:spMk id="30" creationId="{1FDDBF61-6C96-4C6C-8058-1224A44E0844}"/>
          </ac:spMkLst>
        </pc:spChg>
        <pc:spChg chg="add mod">
          <ac:chgData name="Kawtar SADIQ" userId="65df04e4-2d23-4bab-afb0-40df8a2c1b9f" providerId="ADAL" clId="{13E48CF6-3C07-4AA7-848A-1E964CBB0D3A}" dt="2022-12-01T16:48:09.263" v="28009"/>
          <ac:spMkLst>
            <pc:docMk/>
            <pc:sldMk cId="249224192" sldId="2147469848"/>
            <ac:spMk id="31" creationId="{0BC43D4B-6D0B-4FC5-8C87-A1B33C962120}"/>
          </ac:spMkLst>
        </pc:spChg>
        <pc:spChg chg="add mod">
          <ac:chgData name="Kawtar SADIQ" userId="65df04e4-2d23-4bab-afb0-40df8a2c1b9f" providerId="ADAL" clId="{13E48CF6-3C07-4AA7-848A-1E964CBB0D3A}" dt="2022-12-01T16:48:09.263" v="28009"/>
          <ac:spMkLst>
            <pc:docMk/>
            <pc:sldMk cId="249224192" sldId="2147469848"/>
            <ac:spMk id="32" creationId="{7E2984CC-B65C-4FA4-9420-2DED4FB22023}"/>
          </ac:spMkLst>
        </pc:spChg>
        <pc:spChg chg="add mod">
          <ac:chgData name="Kawtar SADIQ" userId="65df04e4-2d23-4bab-afb0-40df8a2c1b9f" providerId="ADAL" clId="{13E48CF6-3C07-4AA7-848A-1E964CBB0D3A}" dt="2022-12-01T16:48:09.263" v="28009"/>
          <ac:spMkLst>
            <pc:docMk/>
            <pc:sldMk cId="249224192" sldId="2147469848"/>
            <ac:spMk id="33" creationId="{46C61960-C061-41A6-8D07-979F3CE82DBE}"/>
          </ac:spMkLst>
        </pc:spChg>
        <pc:spChg chg="add mod">
          <ac:chgData name="Kawtar SADIQ" userId="65df04e4-2d23-4bab-afb0-40df8a2c1b9f" providerId="ADAL" clId="{13E48CF6-3C07-4AA7-848A-1E964CBB0D3A}" dt="2022-12-01T16:48:09.263" v="28009"/>
          <ac:spMkLst>
            <pc:docMk/>
            <pc:sldMk cId="249224192" sldId="2147469848"/>
            <ac:spMk id="34" creationId="{BD182FC3-79AF-46F3-BC08-3C2234EE09C0}"/>
          </ac:spMkLst>
        </pc:spChg>
        <pc:cxnChg chg="add mod">
          <ac:chgData name="Kawtar SADIQ" userId="65df04e4-2d23-4bab-afb0-40df8a2c1b9f" providerId="ADAL" clId="{13E48CF6-3C07-4AA7-848A-1E964CBB0D3A}" dt="2022-12-01T16:48:09.263" v="28009"/>
          <ac:cxnSpMkLst>
            <pc:docMk/>
            <pc:sldMk cId="249224192" sldId="2147469848"/>
            <ac:cxnSpMk id="24" creationId="{06742C79-CEB4-464E-8A39-49C1EAD23268}"/>
          </ac:cxnSpMkLst>
        </pc:cxnChg>
        <pc:cxnChg chg="add mod">
          <ac:chgData name="Kawtar SADIQ" userId="65df04e4-2d23-4bab-afb0-40df8a2c1b9f" providerId="ADAL" clId="{13E48CF6-3C07-4AA7-848A-1E964CBB0D3A}" dt="2022-12-01T16:48:09.263" v="28009"/>
          <ac:cxnSpMkLst>
            <pc:docMk/>
            <pc:sldMk cId="249224192" sldId="2147469848"/>
            <ac:cxnSpMk id="25" creationId="{53123356-F383-49D7-A51E-9CB46EB89FD7}"/>
          </ac:cxnSpMkLst>
        </pc:cxnChg>
        <pc:cxnChg chg="add mod">
          <ac:chgData name="Kawtar SADIQ" userId="65df04e4-2d23-4bab-afb0-40df8a2c1b9f" providerId="ADAL" clId="{13E48CF6-3C07-4AA7-848A-1E964CBB0D3A}" dt="2022-12-01T16:48:09.263" v="28009"/>
          <ac:cxnSpMkLst>
            <pc:docMk/>
            <pc:sldMk cId="249224192" sldId="2147469848"/>
            <ac:cxnSpMk id="26" creationId="{0C7495C4-5179-4C53-BD0F-DE3A0D7CDA27}"/>
          </ac:cxnSpMkLst>
        </pc:cxnChg>
        <pc:cxnChg chg="add mod">
          <ac:chgData name="Kawtar SADIQ" userId="65df04e4-2d23-4bab-afb0-40df8a2c1b9f" providerId="ADAL" clId="{13E48CF6-3C07-4AA7-848A-1E964CBB0D3A}" dt="2022-12-01T16:48:09.263" v="28009"/>
          <ac:cxnSpMkLst>
            <pc:docMk/>
            <pc:sldMk cId="249224192" sldId="2147469848"/>
            <ac:cxnSpMk id="27" creationId="{3E4D241B-6B05-4D10-8569-57D947B44B1B}"/>
          </ac:cxnSpMkLst>
        </pc:cxnChg>
        <pc:cxnChg chg="add mod">
          <ac:chgData name="Kawtar SADIQ" userId="65df04e4-2d23-4bab-afb0-40df8a2c1b9f" providerId="ADAL" clId="{13E48CF6-3C07-4AA7-848A-1E964CBB0D3A}" dt="2022-12-01T16:48:09.263" v="28009"/>
          <ac:cxnSpMkLst>
            <pc:docMk/>
            <pc:sldMk cId="249224192" sldId="2147469848"/>
            <ac:cxnSpMk id="28" creationId="{F2B3D011-9906-4A5E-82B5-DE2C1C5886B5}"/>
          </ac:cxnSpMkLst>
        </pc:cxnChg>
      </pc:sldChg>
      <pc:sldChg chg="addSp delSp modSp new mod">
        <pc:chgData name="Kawtar SADIQ" userId="65df04e4-2d23-4bab-afb0-40df8a2c1b9f" providerId="ADAL" clId="{13E48CF6-3C07-4AA7-848A-1E964CBB0D3A}" dt="2022-12-01T16:48:25.372" v="28013"/>
        <pc:sldMkLst>
          <pc:docMk/>
          <pc:sldMk cId="682740835" sldId="2147469849"/>
        </pc:sldMkLst>
        <pc:spChg chg="del">
          <ac:chgData name="Kawtar SADIQ" userId="65df04e4-2d23-4bab-afb0-40df8a2c1b9f" providerId="ADAL" clId="{13E48CF6-3C07-4AA7-848A-1E964CBB0D3A}" dt="2022-12-01T16:48:17.313" v="28012" actId="478"/>
          <ac:spMkLst>
            <pc:docMk/>
            <pc:sldMk cId="682740835" sldId="2147469849"/>
            <ac:spMk id="2" creationId="{D7812C79-001B-404D-8F3A-6BEDDDCE17B3}"/>
          </ac:spMkLst>
        </pc:spChg>
        <pc:spChg chg="del">
          <ac:chgData name="Kawtar SADIQ" userId="65df04e4-2d23-4bab-afb0-40df8a2c1b9f" providerId="ADAL" clId="{13E48CF6-3C07-4AA7-848A-1E964CBB0D3A}" dt="2022-12-01T16:48:17.313" v="28012" actId="478"/>
          <ac:spMkLst>
            <pc:docMk/>
            <pc:sldMk cId="682740835" sldId="2147469849"/>
            <ac:spMk id="3" creationId="{47660945-B232-4875-9956-BAC6DC175181}"/>
          </ac:spMkLst>
        </pc:spChg>
        <pc:spChg chg="add mod">
          <ac:chgData name="Kawtar SADIQ" userId="65df04e4-2d23-4bab-afb0-40df8a2c1b9f" providerId="ADAL" clId="{13E48CF6-3C07-4AA7-848A-1E964CBB0D3A}" dt="2022-12-01T16:48:25.372" v="28013"/>
          <ac:spMkLst>
            <pc:docMk/>
            <pc:sldMk cId="682740835" sldId="2147469849"/>
            <ac:spMk id="4" creationId="{B1098017-C1B5-4337-B142-034CA24FA637}"/>
          </ac:spMkLst>
        </pc:spChg>
        <pc:spChg chg="add mod">
          <ac:chgData name="Kawtar SADIQ" userId="65df04e4-2d23-4bab-afb0-40df8a2c1b9f" providerId="ADAL" clId="{13E48CF6-3C07-4AA7-848A-1E964CBB0D3A}" dt="2022-12-01T16:48:25.372" v="28013"/>
          <ac:spMkLst>
            <pc:docMk/>
            <pc:sldMk cId="682740835" sldId="2147469849"/>
            <ac:spMk id="5" creationId="{A6246A8B-3B32-4182-A632-C664E6D5E1B8}"/>
          </ac:spMkLst>
        </pc:spChg>
        <pc:spChg chg="mod">
          <ac:chgData name="Kawtar SADIQ" userId="65df04e4-2d23-4bab-afb0-40df8a2c1b9f" providerId="ADAL" clId="{13E48CF6-3C07-4AA7-848A-1E964CBB0D3A}" dt="2022-12-01T16:48:25.372" v="28013"/>
          <ac:spMkLst>
            <pc:docMk/>
            <pc:sldMk cId="682740835" sldId="2147469849"/>
            <ac:spMk id="8" creationId="{D8FBFC5B-BDDA-4446-AAB3-1F73B0888E59}"/>
          </ac:spMkLst>
        </pc:spChg>
        <pc:grpChg chg="add mod">
          <ac:chgData name="Kawtar SADIQ" userId="65df04e4-2d23-4bab-afb0-40df8a2c1b9f" providerId="ADAL" clId="{13E48CF6-3C07-4AA7-848A-1E964CBB0D3A}" dt="2022-12-01T16:48:25.372" v="28013"/>
          <ac:grpSpMkLst>
            <pc:docMk/>
            <pc:sldMk cId="682740835" sldId="2147469849"/>
            <ac:grpSpMk id="6" creationId="{155438AB-73A9-4F7D-AA19-E8EA09DD72D0}"/>
          </ac:grpSpMkLst>
        </pc:grpChg>
        <pc:picChg chg="mod">
          <ac:chgData name="Kawtar SADIQ" userId="65df04e4-2d23-4bab-afb0-40df8a2c1b9f" providerId="ADAL" clId="{13E48CF6-3C07-4AA7-848A-1E964CBB0D3A}" dt="2022-12-01T16:48:25.372" v="28013"/>
          <ac:picMkLst>
            <pc:docMk/>
            <pc:sldMk cId="682740835" sldId="2147469849"/>
            <ac:picMk id="7" creationId="{54A2B124-E524-4236-913F-06E7003EC73F}"/>
          </ac:picMkLst>
        </pc:picChg>
      </pc:sldChg>
      <pc:sldChg chg="addSp delSp modSp new mod">
        <pc:chgData name="Kawtar SADIQ" userId="65df04e4-2d23-4bab-afb0-40df8a2c1b9f" providerId="ADAL" clId="{13E48CF6-3C07-4AA7-848A-1E964CBB0D3A}" dt="2022-12-01T16:48:38.013" v="28017"/>
        <pc:sldMkLst>
          <pc:docMk/>
          <pc:sldMk cId="2143200636" sldId="2147469850"/>
        </pc:sldMkLst>
        <pc:spChg chg="del">
          <ac:chgData name="Kawtar SADIQ" userId="65df04e4-2d23-4bab-afb0-40df8a2c1b9f" providerId="ADAL" clId="{13E48CF6-3C07-4AA7-848A-1E964CBB0D3A}" dt="2022-12-01T16:48:32.612" v="28016" actId="478"/>
          <ac:spMkLst>
            <pc:docMk/>
            <pc:sldMk cId="2143200636" sldId="2147469850"/>
            <ac:spMk id="2" creationId="{6783D7DA-5CDA-40B4-AD3D-F878763885B3}"/>
          </ac:spMkLst>
        </pc:spChg>
        <pc:spChg chg="del">
          <ac:chgData name="Kawtar SADIQ" userId="65df04e4-2d23-4bab-afb0-40df8a2c1b9f" providerId="ADAL" clId="{13E48CF6-3C07-4AA7-848A-1E964CBB0D3A}" dt="2022-12-01T16:48:32.612" v="28016" actId="478"/>
          <ac:spMkLst>
            <pc:docMk/>
            <pc:sldMk cId="2143200636" sldId="2147469850"/>
            <ac:spMk id="3" creationId="{234B3A0A-0D8E-4246-9A95-3041EC41C0DD}"/>
          </ac:spMkLst>
        </pc:spChg>
        <pc:spChg chg="add mod">
          <ac:chgData name="Kawtar SADIQ" userId="65df04e4-2d23-4bab-afb0-40df8a2c1b9f" providerId="ADAL" clId="{13E48CF6-3C07-4AA7-848A-1E964CBB0D3A}" dt="2022-12-01T16:48:38.013" v="28017"/>
          <ac:spMkLst>
            <pc:docMk/>
            <pc:sldMk cId="2143200636" sldId="2147469850"/>
            <ac:spMk id="4" creationId="{0F29E35D-CE37-4E10-AA26-AB8FD2DFD79F}"/>
          </ac:spMkLst>
        </pc:spChg>
        <pc:spChg chg="add mod">
          <ac:chgData name="Kawtar SADIQ" userId="65df04e4-2d23-4bab-afb0-40df8a2c1b9f" providerId="ADAL" clId="{13E48CF6-3C07-4AA7-848A-1E964CBB0D3A}" dt="2022-12-01T16:48:38.013" v="28017"/>
          <ac:spMkLst>
            <pc:docMk/>
            <pc:sldMk cId="2143200636" sldId="2147469850"/>
            <ac:spMk id="5" creationId="{C25412A6-90B3-4333-97D6-BA6AB082AF47}"/>
          </ac:spMkLst>
        </pc:spChg>
        <pc:spChg chg="mod">
          <ac:chgData name="Kawtar SADIQ" userId="65df04e4-2d23-4bab-afb0-40df8a2c1b9f" providerId="ADAL" clId="{13E48CF6-3C07-4AA7-848A-1E964CBB0D3A}" dt="2022-12-01T16:48:38.013" v="28017"/>
          <ac:spMkLst>
            <pc:docMk/>
            <pc:sldMk cId="2143200636" sldId="2147469850"/>
            <ac:spMk id="7" creationId="{54A64EF1-528D-43FF-9C1E-027E12B3DB38}"/>
          </ac:spMkLst>
        </pc:spChg>
        <pc:spChg chg="mod">
          <ac:chgData name="Kawtar SADIQ" userId="65df04e4-2d23-4bab-afb0-40df8a2c1b9f" providerId="ADAL" clId="{13E48CF6-3C07-4AA7-848A-1E964CBB0D3A}" dt="2022-12-01T16:48:38.013" v="28017"/>
          <ac:spMkLst>
            <pc:docMk/>
            <pc:sldMk cId="2143200636" sldId="2147469850"/>
            <ac:spMk id="8" creationId="{22E535F3-8323-42A9-8036-53F5C9B68E83}"/>
          </ac:spMkLst>
        </pc:spChg>
        <pc:spChg chg="mod">
          <ac:chgData name="Kawtar SADIQ" userId="65df04e4-2d23-4bab-afb0-40df8a2c1b9f" providerId="ADAL" clId="{13E48CF6-3C07-4AA7-848A-1E964CBB0D3A}" dt="2022-12-01T16:48:38.013" v="28017"/>
          <ac:spMkLst>
            <pc:docMk/>
            <pc:sldMk cId="2143200636" sldId="2147469850"/>
            <ac:spMk id="11" creationId="{EA103D2B-9125-4974-B03C-77369AF263C2}"/>
          </ac:spMkLst>
        </pc:spChg>
        <pc:spChg chg="mod">
          <ac:chgData name="Kawtar SADIQ" userId="65df04e4-2d23-4bab-afb0-40df8a2c1b9f" providerId="ADAL" clId="{13E48CF6-3C07-4AA7-848A-1E964CBB0D3A}" dt="2022-12-01T16:48:38.013" v="28017"/>
          <ac:spMkLst>
            <pc:docMk/>
            <pc:sldMk cId="2143200636" sldId="2147469850"/>
            <ac:spMk id="12" creationId="{DC6D9384-9DAE-483C-9F97-7FB3565B0783}"/>
          </ac:spMkLst>
        </pc:spChg>
        <pc:spChg chg="mod">
          <ac:chgData name="Kawtar SADIQ" userId="65df04e4-2d23-4bab-afb0-40df8a2c1b9f" providerId="ADAL" clId="{13E48CF6-3C07-4AA7-848A-1E964CBB0D3A}" dt="2022-12-01T16:48:38.013" v="28017"/>
          <ac:spMkLst>
            <pc:docMk/>
            <pc:sldMk cId="2143200636" sldId="2147469850"/>
            <ac:spMk id="15" creationId="{78C01B40-18C3-422B-8630-54513107BD6E}"/>
          </ac:spMkLst>
        </pc:spChg>
        <pc:spChg chg="mod">
          <ac:chgData name="Kawtar SADIQ" userId="65df04e4-2d23-4bab-afb0-40df8a2c1b9f" providerId="ADAL" clId="{13E48CF6-3C07-4AA7-848A-1E964CBB0D3A}" dt="2022-12-01T16:48:38.013" v="28017"/>
          <ac:spMkLst>
            <pc:docMk/>
            <pc:sldMk cId="2143200636" sldId="2147469850"/>
            <ac:spMk id="16" creationId="{F4D9690B-F9CE-48F5-82D1-41F55833CE3E}"/>
          </ac:spMkLst>
        </pc:spChg>
        <pc:spChg chg="mod">
          <ac:chgData name="Kawtar SADIQ" userId="65df04e4-2d23-4bab-afb0-40df8a2c1b9f" providerId="ADAL" clId="{13E48CF6-3C07-4AA7-848A-1E964CBB0D3A}" dt="2022-12-01T16:48:38.013" v="28017"/>
          <ac:spMkLst>
            <pc:docMk/>
            <pc:sldMk cId="2143200636" sldId="2147469850"/>
            <ac:spMk id="17" creationId="{9E63AFD1-540F-44FA-A534-4C66DC1DEE8A}"/>
          </ac:spMkLst>
        </pc:spChg>
        <pc:spChg chg="mod">
          <ac:chgData name="Kawtar SADIQ" userId="65df04e4-2d23-4bab-afb0-40df8a2c1b9f" providerId="ADAL" clId="{13E48CF6-3C07-4AA7-848A-1E964CBB0D3A}" dt="2022-12-01T16:48:38.013" v="28017"/>
          <ac:spMkLst>
            <pc:docMk/>
            <pc:sldMk cId="2143200636" sldId="2147469850"/>
            <ac:spMk id="19" creationId="{AA073E7A-C148-428C-A073-78FEBDFBA575}"/>
          </ac:spMkLst>
        </pc:spChg>
        <pc:spChg chg="mod">
          <ac:chgData name="Kawtar SADIQ" userId="65df04e4-2d23-4bab-afb0-40df8a2c1b9f" providerId="ADAL" clId="{13E48CF6-3C07-4AA7-848A-1E964CBB0D3A}" dt="2022-12-01T16:48:38.013" v="28017"/>
          <ac:spMkLst>
            <pc:docMk/>
            <pc:sldMk cId="2143200636" sldId="2147469850"/>
            <ac:spMk id="20" creationId="{0D794845-7383-4510-892A-04AE6318F62A}"/>
          </ac:spMkLst>
        </pc:spChg>
        <pc:spChg chg="mod">
          <ac:chgData name="Kawtar SADIQ" userId="65df04e4-2d23-4bab-afb0-40df8a2c1b9f" providerId="ADAL" clId="{13E48CF6-3C07-4AA7-848A-1E964CBB0D3A}" dt="2022-12-01T16:48:38.013" v="28017"/>
          <ac:spMkLst>
            <pc:docMk/>
            <pc:sldMk cId="2143200636" sldId="2147469850"/>
            <ac:spMk id="22" creationId="{EE30500B-E82D-4397-B62F-9B63AA8F636B}"/>
          </ac:spMkLst>
        </pc:spChg>
        <pc:spChg chg="mod">
          <ac:chgData name="Kawtar SADIQ" userId="65df04e4-2d23-4bab-afb0-40df8a2c1b9f" providerId="ADAL" clId="{13E48CF6-3C07-4AA7-848A-1E964CBB0D3A}" dt="2022-12-01T16:48:38.013" v="28017"/>
          <ac:spMkLst>
            <pc:docMk/>
            <pc:sldMk cId="2143200636" sldId="2147469850"/>
            <ac:spMk id="23" creationId="{01692666-99C4-429A-99ED-0F382E9A58B9}"/>
          </ac:spMkLst>
        </pc:spChg>
        <pc:spChg chg="mod">
          <ac:chgData name="Kawtar SADIQ" userId="65df04e4-2d23-4bab-afb0-40df8a2c1b9f" providerId="ADAL" clId="{13E48CF6-3C07-4AA7-848A-1E964CBB0D3A}" dt="2022-12-01T16:48:38.013" v="28017"/>
          <ac:spMkLst>
            <pc:docMk/>
            <pc:sldMk cId="2143200636" sldId="2147469850"/>
            <ac:spMk id="24" creationId="{866B6C2C-F0B6-4A3C-9420-D3032E92CF3D}"/>
          </ac:spMkLst>
        </pc:spChg>
        <pc:spChg chg="mod">
          <ac:chgData name="Kawtar SADIQ" userId="65df04e4-2d23-4bab-afb0-40df8a2c1b9f" providerId="ADAL" clId="{13E48CF6-3C07-4AA7-848A-1E964CBB0D3A}" dt="2022-12-01T16:48:38.013" v="28017"/>
          <ac:spMkLst>
            <pc:docMk/>
            <pc:sldMk cId="2143200636" sldId="2147469850"/>
            <ac:spMk id="25" creationId="{32B0B5EC-FD66-4E9E-B607-62287E51A336}"/>
          </ac:spMkLst>
        </pc:spChg>
        <pc:spChg chg="mod">
          <ac:chgData name="Kawtar SADIQ" userId="65df04e4-2d23-4bab-afb0-40df8a2c1b9f" providerId="ADAL" clId="{13E48CF6-3C07-4AA7-848A-1E964CBB0D3A}" dt="2022-12-01T16:48:38.013" v="28017"/>
          <ac:spMkLst>
            <pc:docMk/>
            <pc:sldMk cId="2143200636" sldId="2147469850"/>
            <ac:spMk id="26" creationId="{3160881A-E291-4BC2-86C8-FC5333502247}"/>
          </ac:spMkLst>
        </pc:spChg>
        <pc:spChg chg="mod">
          <ac:chgData name="Kawtar SADIQ" userId="65df04e4-2d23-4bab-afb0-40df8a2c1b9f" providerId="ADAL" clId="{13E48CF6-3C07-4AA7-848A-1E964CBB0D3A}" dt="2022-12-01T16:48:38.013" v="28017"/>
          <ac:spMkLst>
            <pc:docMk/>
            <pc:sldMk cId="2143200636" sldId="2147469850"/>
            <ac:spMk id="27" creationId="{35F04857-15CD-4DB7-B8A3-C011C363196E}"/>
          </ac:spMkLst>
        </pc:spChg>
        <pc:spChg chg="mod">
          <ac:chgData name="Kawtar SADIQ" userId="65df04e4-2d23-4bab-afb0-40df8a2c1b9f" providerId="ADAL" clId="{13E48CF6-3C07-4AA7-848A-1E964CBB0D3A}" dt="2022-12-01T16:48:38.013" v="28017"/>
          <ac:spMkLst>
            <pc:docMk/>
            <pc:sldMk cId="2143200636" sldId="2147469850"/>
            <ac:spMk id="28" creationId="{2D10251F-8E15-452F-A778-939A57EC6019}"/>
          </ac:spMkLst>
        </pc:spChg>
        <pc:grpChg chg="add mod">
          <ac:chgData name="Kawtar SADIQ" userId="65df04e4-2d23-4bab-afb0-40df8a2c1b9f" providerId="ADAL" clId="{13E48CF6-3C07-4AA7-848A-1E964CBB0D3A}" dt="2022-12-01T16:48:38.013" v="28017"/>
          <ac:grpSpMkLst>
            <pc:docMk/>
            <pc:sldMk cId="2143200636" sldId="2147469850"/>
            <ac:grpSpMk id="6" creationId="{0E241D75-65D9-4A08-9F29-8D50FD8C385E}"/>
          </ac:grpSpMkLst>
        </pc:grpChg>
        <pc:grpChg chg="add mod">
          <ac:chgData name="Kawtar SADIQ" userId="65df04e4-2d23-4bab-afb0-40df8a2c1b9f" providerId="ADAL" clId="{13E48CF6-3C07-4AA7-848A-1E964CBB0D3A}" dt="2022-12-01T16:48:38.013" v="28017"/>
          <ac:grpSpMkLst>
            <pc:docMk/>
            <pc:sldMk cId="2143200636" sldId="2147469850"/>
            <ac:grpSpMk id="10" creationId="{7D549850-75B5-4232-AC12-20E4C276187B}"/>
          </ac:grpSpMkLst>
        </pc:grpChg>
        <pc:grpChg chg="add mod">
          <ac:chgData name="Kawtar SADIQ" userId="65df04e4-2d23-4bab-afb0-40df8a2c1b9f" providerId="ADAL" clId="{13E48CF6-3C07-4AA7-848A-1E964CBB0D3A}" dt="2022-12-01T16:48:38.013" v="28017"/>
          <ac:grpSpMkLst>
            <pc:docMk/>
            <pc:sldMk cId="2143200636" sldId="2147469850"/>
            <ac:grpSpMk id="14" creationId="{C77621F5-EA7C-46B5-AA49-665B0C17B1CA}"/>
          </ac:grpSpMkLst>
        </pc:grpChg>
        <pc:grpChg chg="add mod">
          <ac:chgData name="Kawtar SADIQ" userId="65df04e4-2d23-4bab-afb0-40df8a2c1b9f" providerId="ADAL" clId="{13E48CF6-3C07-4AA7-848A-1E964CBB0D3A}" dt="2022-12-01T16:48:38.013" v="28017"/>
          <ac:grpSpMkLst>
            <pc:docMk/>
            <pc:sldMk cId="2143200636" sldId="2147469850"/>
            <ac:grpSpMk id="18" creationId="{218C49E7-1C7F-44E3-A2AB-DB339A9C283E}"/>
          </ac:grpSpMkLst>
        </pc:grpChg>
        <pc:grpChg chg="mod">
          <ac:chgData name="Kawtar SADIQ" userId="65df04e4-2d23-4bab-afb0-40df8a2c1b9f" providerId="ADAL" clId="{13E48CF6-3C07-4AA7-848A-1E964CBB0D3A}" dt="2022-12-01T16:48:38.013" v="28017"/>
          <ac:grpSpMkLst>
            <pc:docMk/>
            <pc:sldMk cId="2143200636" sldId="2147469850"/>
            <ac:grpSpMk id="21" creationId="{855F7425-5F7B-41DB-BB39-1D10E13E3F78}"/>
          </ac:grpSpMkLst>
        </pc:grpChg>
        <pc:picChg chg="mod">
          <ac:chgData name="Kawtar SADIQ" userId="65df04e4-2d23-4bab-afb0-40df8a2c1b9f" providerId="ADAL" clId="{13E48CF6-3C07-4AA7-848A-1E964CBB0D3A}" dt="2022-12-01T16:48:38.013" v="28017"/>
          <ac:picMkLst>
            <pc:docMk/>
            <pc:sldMk cId="2143200636" sldId="2147469850"/>
            <ac:picMk id="9" creationId="{4BFA9A9B-F647-4FE6-8DF2-2F2EB6D75195}"/>
          </ac:picMkLst>
        </pc:picChg>
        <pc:picChg chg="mod">
          <ac:chgData name="Kawtar SADIQ" userId="65df04e4-2d23-4bab-afb0-40df8a2c1b9f" providerId="ADAL" clId="{13E48CF6-3C07-4AA7-848A-1E964CBB0D3A}" dt="2022-12-01T16:48:38.013" v="28017"/>
          <ac:picMkLst>
            <pc:docMk/>
            <pc:sldMk cId="2143200636" sldId="2147469850"/>
            <ac:picMk id="13" creationId="{DF9F4941-ED3B-42FB-B7FE-43C82BCE2370}"/>
          </ac:picMkLst>
        </pc:picChg>
      </pc:sldChg>
      <pc:sldChg chg="modSp new mod">
        <pc:chgData name="Kawtar SADIQ" userId="65df04e4-2d23-4bab-afb0-40df8a2c1b9f" providerId="ADAL" clId="{13E48CF6-3C07-4AA7-848A-1E964CBB0D3A}" dt="2022-12-01T16:53:14.483" v="28022"/>
        <pc:sldMkLst>
          <pc:docMk/>
          <pc:sldMk cId="1656768796" sldId="2147469851"/>
        </pc:sldMkLst>
        <pc:spChg chg="mod">
          <ac:chgData name="Kawtar SADIQ" userId="65df04e4-2d23-4bab-afb0-40df8a2c1b9f" providerId="ADAL" clId="{13E48CF6-3C07-4AA7-848A-1E964CBB0D3A}" dt="2022-12-01T16:53:14.483" v="28022"/>
          <ac:spMkLst>
            <pc:docMk/>
            <pc:sldMk cId="1656768796" sldId="2147469851"/>
            <ac:spMk id="2" creationId="{3C5E6956-A15D-4B0C-879A-780E301A6FD2}"/>
          </ac:spMkLst>
        </pc:spChg>
      </pc:sldChg>
      <pc:sldChg chg="modSp new mod">
        <pc:chgData name="Kawtar SADIQ" userId="65df04e4-2d23-4bab-afb0-40df8a2c1b9f" providerId="ADAL" clId="{13E48CF6-3C07-4AA7-848A-1E964CBB0D3A}" dt="2022-12-01T16:53:30.043" v="28025"/>
        <pc:sldMkLst>
          <pc:docMk/>
          <pc:sldMk cId="1493195702" sldId="2147469852"/>
        </pc:sldMkLst>
        <pc:spChg chg="mod">
          <ac:chgData name="Kawtar SADIQ" userId="65df04e4-2d23-4bab-afb0-40df8a2c1b9f" providerId="ADAL" clId="{13E48CF6-3C07-4AA7-848A-1E964CBB0D3A}" dt="2022-12-01T16:53:30.043" v="28025"/>
          <ac:spMkLst>
            <pc:docMk/>
            <pc:sldMk cId="1493195702" sldId="2147469852"/>
            <ac:spMk id="2" creationId="{70056A8C-CCF4-4D35-9A21-FB77BD6A6015}"/>
          </ac:spMkLst>
        </pc:spChg>
      </pc:sldChg>
      <pc:sldChg chg="modSp new mod">
        <pc:chgData name="Kawtar SADIQ" userId="65df04e4-2d23-4bab-afb0-40df8a2c1b9f" providerId="ADAL" clId="{13E48CF6-3C07-4AA7-848A-1E964CBB0D3A}" dt="2022-12-01T16:53:45.093" v="28028"/>
        <pc:sldMkLst>
          <pc:docMk/>
          <pc:sldMk cId="1530490193" sldId="2147469853"/>
        </pc:sldMkLst>
        <pc:spChg chg="mod">
          <ac:chgData name="Kawtar SADIQ" userId="65df04e4-2d23-4bab-afb0-40df8a2c1b9f" providerId="ADAL" clId="{13E48CF6-3C07-4AA7-848A-1E964CBB0D3A}" dt="2022-12-01T16:53:45.093" v="28028"/>
          <ac:spMkLst>
            <pc:docMk/>
            <pc:sldMk cId="1530490193" sldId="2147469853"/>
            <ac:spMk id="2" creationId="{8B11578C-937E-4A6D-A238-B6343824B177}"/>
          </ac:spMkLst>
        </pc:spChg>
      </pc:sldChg>
      <pc:sldChg chg="modSp new mod">
        <pc:chgData name="Kawtar SADIQ" userId="65df04e4-2d23-4bab-afb0-40df8a2c1b9f" providerId="ADAL" clId="{13E48CF6-3C07-4AA7-848A-1E964CBB0D3A}" dt="2022-12-01T16:53:59.723" v="28031"/>
        <pc:sldMkLst>
          <pc:docMk/>
          <pc:sldMk cId="3285757694" sldId="2147469854"/>
        </pc:sldMkLst>
        <pc:spChg chg="mod">
          <ac:chgData name="Kawtar SADIQ" userId="65df04e4-2d23-4bab-afb0-40df8a2c1b9f" providerId="ADAL" clId="{13E48CF6-3C07-4AA7-848A-1E964CBB0D3A}" dt="2022-12-01T16:53:59.723" v="28031"/>
          <ac:spMkLst>
            <pc:docMk/>
            <pc:sldMk cId="3285757694" sldId="2147469854"/>
            <ac:spMk id="2" creationId="{142B1088-688A-452F-94B2-20EF983708AC}"/>
          </ac:spMkLst>
        </pc:spChg>
      </pc:sldChg>
      <pc:sldChg chg="modSp new mod">
        <pc:chgData name="Kawtar SADIQ" userId="65df04e4-2d23-4bab-afb0-40df8a2c1b9f" providerId="ADAL" clId="{13E48CF6-3C07-4AA7-848A-1E964CBB0D3A}" dt="2022-12-01T16:54:14.433" v="28034"/>
        <pc:sldMkLst>
          <pc:docMk/>
          <pc:sldMk cId="3332747128" sldId="2147469855"/>
        </pc:sldMkLst>
        <pc:spChg chg="mod">
          <ac:chgData name="Kawtar SADIQ" userId="65df04e4-2d23-4bab-afb0-40df8a2c1b9f" providerId="ADAL" clId="{13E48CF6-3C07-4AA7-848A-1E964CBB0D3A}" dt="2022-12-01T16:54:14.433" v="28034"/>
          <ac:spMkLst>
            <pc:docMk/>
            <pc:sldMk cId="3332747128" sldId="2147469855"/>
            <ac:spMk id="2" creationId="{33911ADD-A47B-4BE9-AD2D-683459AD13C3}"/>
          </ac:spMkLst>
        </pc:spChg>
      </pc:sldChg>
      <pc:sldChg chg="modSp new mod">
        <pc:chgData name="Kawtar SADIQ" userId="65df04e4-2d23-4bab-afb0-40df8a2c1b9f" providerId="ADAL" clId="{13E48CF6-3C07-4AA7-848A-1E964CBB0D3A}" dt="2022-12-01T16:54:27.022" v="28037"/>
        <pc:sldMkLst>
          <pc:docMk/>
          <pc:sldMk cId="524880113" sldId="2147469856"/>
        </pc:sldMkLst>
        <pc:spChg chg="mod">
          <ac:chgData name="Kawtar SADIQ" userId="65df04e4-2d23-4bab-afb0-40df8a2c1b9f" providerId="ADAL" clId="{13E48CF6-3C07-4AA7-848A-1E964CBB0D3A}" dt="2022-12-01T16:54:27.022" v="28037"/>
          <ac:spMkLst>
            <pc:docMk/>
            <pc:sldMk cId="524880113" sldId="2147469856"/>
            <ac:spMk id="2" creationId="{6F2E6D00-8047-4760-9239-06C0A3B71ECE}"/>
          </ac:spMkLst>
        </pc:spChg>
      </pc:sldChg>
      <pc:sldChg chg="modSp new mod">
        <pc:chgData name="Kawtar SADIQ" userId="65df04e4-2d23-4bab-afb0-40df8a2c1b9f" providerId="ADAL" clId="{13E48CF6-3C07-4AA7-848A-1E964CBB0D3A}" dt="2022-12-01T18:23:19.525" v="28049"/>
        <pc:sldMkLst>
          <pc:docMk/>
          <pc:sldMk cId="1496974739" sldId="2147469857"/>
        </pc:sldMkLst>
        <pc:spChg chg="mod">
          <ac:chgData name="Kawtar SADIQ" userId="65df04e4-2d23-4bab-afb0-40df8a2c1b9f" providerId="ADAL" clId="{13E48CF6-3C07-4AA7-848A-1E964CBB0D3A}" dt="2022-12-01T18:23:19.525" v="28049"/>
          <ac:spMkLst>
            <pc:docMk/>
            <pc:sldMk cId="1496974739" sldId="2147469857"/>
            <ac:spMk id="2" creationId="{53C2F3D6-FA92-49E0-8F75-E1DE728FFEED}"/>
          </ac:spMkLst>
        </pc:spChg>
      </pc:sldChg>
      <pc:sldChg chg="add del">
        <pc:chgData name="Kawtar SADIQ" userId="65df04e4-2d23-4bab-afb0-40df8a2c1b9f" providerId="ADAL" clId="{13E48CF6-3C07-4AA7-848A-1E964CBB0D3A}" dt="2022-12-01T18:30:07.087" v="28103" actId="47"/>
        <pc:sldMkLst>
          <pc:docMk/>
          <pc:sldMk cId="530589121" sldId="2147469858"/>
        </pc:sldMkLst>
      </pc:sldChg>
      <pc:sldChg chg="add">
        <pc:chgData name="Kawtar SADIQ" userId="65df04e4-2d23-4bab-afb0-40df8a2c1b9f" providerId="ADAL" clId="{13E48CF6-3C07-4AA7-848A-1E964CBB0D3A}" dt="2022-12-01T18:30:12.528" v="28107"/>
        <pc:sldMkLst>
          <pc:docMk/>
          <pc:sldMk cId="3144378083" sldId="2147469858"/>
        </pc:sldMkLst>
      </pc:sldChg>
      <pc:sldMasterChg chg="addSp delSp modSp mod delSldLayout modSldLayout">
        <pc:chgData name="Kawtar SADIQ" userId="65df04e4-2d23-4bab-afb0-40df8a2c1b9f" providerId="ADAL" clId="{13E48CF6-3C07-4AA7-848A-1E964CBB0D3A}" dt="2022-12-01T17:41:08.633" v="28045"/>
        <pc:sldMasterMkLst>
          <pc:docMk/>
          <pc:sldMasterMk cId="0" sldId="2147483648"/>
        </pc:sldMasterMkLst>
        <pc:spChg chg="add mod ord modVis">
          <ac:chgData name="Kawtar SADIQ" userId="65df04e4-2d23-4bab-afb0-40df8a2c1b9f" providerId="ADAL" clId="{13E48CF6-3C07-4AA7-848A-1E964CBB0D3A}" dt="2022-12-01T13:19:41.858" v="27798"/>
          <ac:spMkLst>
            <pc:docMk/>
            <pc:sldMasterMk cId="0" sldId="2147483648"/>
            <ac:spMk id="2" creationId="{039DA0FA-971A-4CC9-BC93-CE5405F89364}"/>
          </ac:spMkLst>
        </pc:spChg>
        <pc:spChg chg="add del mod ord modVis">
          <ac:chgData name="Kawtar SADIQ" userId="65df04e4-2d23-4bab-afb0-40df8a2c1b9f" providerId="ADAL" clId="{13E48CF6-3C07-4AA7-848A-1E964CBB0D3A}" dt="2022-12-01T08:04:21.193" v="24548" actId="478"/>
          <ac:spMkLst>
            <pc:docMk/>
            <pc:sldMasterMk cId="0" sldId="2147483648"/>
            <ac:spMk id="2" creationId="{904AE2A6-CB54-4CAE-98DD-F93F26FCE358}"/>
          </ac:spMkLst>
        </pc:spChg>
        <pc:spChg chg="add del mod ord modVis">
          <ac:chgData name="Kawtar SADIQ" userId="65df04e4-2d23-4bab-afb0-40df8a2c1b9f" providerId="ADAL" clId="{13E48CF6-3C07-4AA7-848A-1E964CBB0D3A}" dt="2022-12-01T13:19:22.790" v="27767" actId="478"/>
          <ac:spMkLst>
            <pc:docMk/>
            <pc:sldMasterMk cId="0" sldId="2147483648"/>
            <ac:spMk id="3" creationId="{12AB31AA-2D20-4E08-998E-F944EE827852}"/>
          </ac:spMkLst>
        </pc:spChg>
        <pc:sldLayoutChg chg="modSp mod">
          <pc:chgData name="Kawtar SADIQ" userId="65df04e4-2d23-4bab-afb0-40df8a2c1b9f" providerId="ADAL" clId="{13E48CF6-3C07-4AA7-848A-1E964CBB0D3A}" dt="2022-12-01T17:41:01.014" v="28044" actId="14100"/>
          <pc:sldLayoutMkLst>
            <pc:docMk/>
            <pc:sldMasterMk cId="0" sldId="2147483648"/>
            <pc:sldLayoutMk cId="1647409443" sldId="2147483709"/>
          </pc:sldLayoutMkLst>
          <pc:spChg chg="mod">
            <ac:chgData name="Kawtar SADIQ" userId="65df04e4-2d23-4bab-afb0-40df8a2c1b9f" providerId="ADAL" clId="{13E48CF6-3C07-4AA7-848A-1E964CBB0D3A}" dt="2022-12-01T17:41:01.014" v="28044" actId="14100"/>
            <ac:spMkLst>
              <pc:docMk/>
              <pc:sldMasterMk cId="0" sldId="2147483648"/>
              <pc:sldLayoutMk cId="1647409443" sldId="2147483709"/>
              <ac:spMk id="20" creationId="{89836314-192C-2C46-9D6B-0859522374E6}"/>
            </ac:spMkLst>
          </pc:spChg>
        </pc:sldLayoutChg>
        <pc:sldLayoutChg chg="addSp delSp mod">
          <pc:chgData name="Kawtar SADIQ" userId="65df04e4-2d23-4bab-afb0-40df8a2c1b9f" providerId="ADAL" clId="{13E48CF6-3C07-4AA7-848A-1E964CBB0D3A}" dt="2022-11-30T17:25:32.722" v="21556" actId="478"/>
          <pc:sldLayoutMkLst>
            <pc:docMk/>
            <pc:sldMasterMk cId="0" sldId="2147483648"/>
            <pc:sldLayoutMk cId="3332995177" sldId="2147483711"/>
          </pc:sldLayoutMkLst>
          <pc:spChg chg="add del">
            <ac:chgData name="Kawtar SADIQ" userId="65df04e4-2d23-4bab-afb0-40df8a2c1b9f" providerId="ADAL" clId="{13E48CF6-3C07-4AA7-848A-1E964CBB0D3A}" dt="2022-11-30T17:25:32.722" v="21556" actId="478"/>
            <ac:spMkLst>
              <pc:docMk/>
              <pc:sldMasterMk cId="0" sldId="2147483648"/>
              <pc:sldLayoutMk cId="3332995177" sldId="2147483711"/>
              <ac:spMk id="4" creationId="{0D32D8FB-3829-A347-ACC6-3EDA816F0A9B}"/>
            </ac:spMkLst>
          </pc:spChg>
        </pc:sldLayoutChg>
        <pc:sldLayoutChg chg="modSp mod">
          <pc:chgData name="Kawtar SADIQ" userId="65df04e4-2d23-4bab-afb0-40df8a2c1b9f" providerId="ADAL" clId="{13E48CF6-3C07-4AA7-848A-1E964CBB0D3A}" dt="2022-12-01T07:53:43.748" v="24547" actId="1076"/>
          <pc:sldLayoutMkLst>
            <pc:docMk/>
            <pc:sldMasterMk cId="0" sldId="2147483648"/>
            <pc:sldLayoutMk cId="446159417" sldId="2147483712"/>
          </pc:sldLayoutMkLst>
          <pc:spChg chg="mod">
            <ac:chgData name="Kawtar SADIQ" userId="65df04e4-2d23-4bab-afb0-40df8a2c1b9f" providerId="ADAL" clId="{13E48CF6-3C07-4AA7-848A-1E964CBB0D3A}" dt="2022-12-01T07:53:43.748" v="24547" actId="1076"/>
            <ac:spMkLst>
              <pc:docMk/>
              <pc:sldMasterMk cId="0" sldId="2147483648"/>
              <pc:sldLayoutMk cId="446159417" sldId="2147483712"/>
              <ac:spMk id="4" creationId="{344AF0B7-651B-1849-9734-94EFCA074FAF}"/>
            </ac:spMkLst>
          </pc:spChg>
        </pc:sldLayoutChg>
        <pc:sldLayoutChg chg="modSp mod">
          <pc:chgData name="Kawtar SADIQ" userId="65df04e4-2d23-4bab-afb0-40df8a2c1b9f" providerId="ADAL" clId="{13E48CF6-3C07-4AA7-848A-1E964CBB0D3A}" dt="2022-11-30T17:30:29.714" v="21560" actId="1076"/>
          <pc:sldLayoutMkLst>
            <pc:docMk/>
            <pc:sldMasterMk cId="0" sldId="2147483648"/>
            <pc:sldLayoutMk cId="1435038891" sldId="2147483733"/>
          </pc:sldLayoutMkLst>
          <pc:spChg chg="mod">
            <ac:chgData name="Kawtar SADIQ" userId="65df04e4-2d23-4bab-afb0-40df8a2c1b9f" providerId="ADAL" clId="{13E48CF6-3C07-4AA7-848A-1E964CBB0D3A}" dt="2022-11-30T17:30:29.714" v="21560" actId="1076"/>
            <ac:spMkLst>
              <pc:docMk/>
              <pc:sldMasterMk cId="0" sldId="2147483648"/>
              <pc:sldLayoutMk cId="1435038891" sldId="2147483733"/>
              <ac:spMk id="10" creationId="{32CC3FDA-4634-684B-A9D8-DDA0B62AE797}"/>
            </ac:spMkLst>
          </pc:spChg>
        </pc:sldLayoutChg>
        <pc:sldLayoutChg chg="modSp mod">
          <pc:chgData name="Kawtar SADIQ" userId="65df04e4-2d23-4bab-afb0-40df8a2c1b9f" providerId="ADAL" clId="{13E48CF6-3C07-4AA7-848A-1E964CBB0D3A}" dt="2022-12-01T15:28:03.671" v="27863"/>
          <pc:sldLayoutMkLst>
            <pc:docMk/>
            <pc:sldMasterMk cId="0" sldId="2147483648"/>
            <pc:sldLayoutMk cId="1803300988" sldId="2147483776"/>
          </pc:sldLayoutMkLst>
          <pc:spChg chg="mod">
            <ac:chgData name="Kawtar SADIQ" userId="65df04e4-2d23-4bab-afb0-40df8a2c1b9f" providerId="ADAL" clId="{13E48CF6-3C07-4AA7-848A-1E964CBB0D3A}" dt="2022-12-01T15:28:03.671" v="27863"/>
            <ac:spMkLst>
              <pc:docMk/>
              <pc:sldMasterMk cId="0" sldId="2147483648"/>
              <pc:sldLayoutMk cId="1803300988" sldId="2147483776"/>
              <ac:spMk id="10" creationId="{C52D0CE1-3F5A-4C11-B369-C430804B0B5C}"/>
            </ac:spMkLst>
          </pc:spChg>
        </pc:sldLayoutChg>
        <pc:sldLayoutChg chg="modSp mod">
          <pc:chgData name="Kawtar SADIQ" userId="65df04e4-2d23-4bab-afb0-40df8a2c1b9f" providerId="ADAL" clId="{13E48CF6-3C07-4AA7-848A-1E964CBB0D3A}" dt="2022-12-01T17:41:08.633" v="28045"/>
          <pc:sldLayoutMkLst>
            <pc:docMk/>
            <pc:sldMasterMk cId="0" sldId="2147483648"/>
            <pc:sldLayoutMk cId="1948887253" sldId="2147483777"/>
          </pc:sldLayoutMkLst>
          <pc:spChg chg="mod">
            <ac:chgData name="Kawtar SADIQ" userId="65df04e4-2d23-4bab-afb0-40df8a2c1b9f" providerId="ADAL" clId="{13E48CF6-3C07-4AA7-848A-1E964CBB0D3A}" dt="2022-12-01T15:16:27.555" v="27860" actId="1076"/>
            <ac:spMkLst>
              <pc:docMk/>
              <pc:sldMasterMk cId="0" sldId="2147483648"/>
              <pc:sldLayoutMk cId="1948887253" sldId="2147483777"/>
              <ac:spMk id="7" creationId="{7557CE5B-8A6C-4017-A599-2338743E2DBC}"/>
            </ac:spMkLst>
          </pc:spChg>
          <pc:spChg chg="mod">
            <ac:chgData name="Kawtar SADIQ" userId="65df04e4-2d23-4bab-afb0-40df8a2c1b9f" providerId="ADAL" clId="{13E48CF6-3C07-4AA7-848A-1E964CBB0D3A}" dt="2022-12-01T17:41:08.633" v="28045"/>
            <ac:spMkLst>
              <pc:docMk/>
              <pc:sldMasterMk cId="0" sldId="2147483648"/>
              <pc:sldLayoutMk cId="1948887253" sldId="2147483777"/>
              <ac:spMk id="11" creationId="{F424FEAE-DC74-494B-86DA-2ED3C7298774}"/>
            </ac:spMkLst>
          </pc:spChg>
        </pc:sldLayoutChg>
        <pc:sldLayoutChg chg="modSp del mod">
          <pc:chgData name="Kawtar SADIQ" userId="65df04e4-2d23-4bab-afb0-40df8a2c1b9f" providerId="ADAL" clId="{13E48CF6-3C07-4AA7-848A-1E964CBB0D3A}" dt="2022-12-01T14:13:16.649" v="27859" actId="47"/>
          <pc:sldLayoutMkLst>
            <pc:docMk/>
            <pc:sldMasterMk cId="0" sldId="2147483648"/>
            <pc:sldLayoutMk cId="1063805509" sldId="2147483830"/>
          </pc:sldLayoutMkLst>
          <pc:spChg chg="mod">
            <ac:chgData name="Kawtar SADIQ" userId="65df04e4-2d23-4bab-afb0-40df8a2c1b9f" providerId="ADAL" clId="{13E48CF6-3C07-4AA7-848A-1E964CBB0D3A}" dt="2022-11-30T17:29:13.170" v="21558" actId="1076"/>
            <ac:spMkLst>
              <pc:docMk/>
              <pc:sldMasterMk cId="0" sldId="2147483648"/>
              <pc:sldLayoutMk cId="1063805509" sldId="2147483830"/>
              <ac:spMk id="16" creationId="{767603E4-F1B9-F44A-AE4E-AAEF9BDCB291}"/>
            </ac:spMkLst>
          </pc:spChg>
        </pc:sldLayoutChg>
        <pc:sldLayoutChg chg="del">
          <pc:chgData name="Kawtar SADIQ" userId="65df04e4-2d23-4bab-afb0-40df8a2c1b9f" providerId="ADAL" clId="{13E48CF6-3C07-4AA7-848A-1E964CBB0D3A}" dt="2022-11-28T15:51:00.504" v="3807" actId="47"/>
          <pc:sldLayoutMkLst>
            <pc:docMk/>
            <pc:sldMasterMk cId="0" sldId="2147483648"/>
            <pc:sldLayoutMk cId="1164550573" sldId="2147483830"/>
          </pc:sldLayoutMkLst>
        </pc:sldLayoutChg>
        <pc:sldLayoutChg chg="del">
          <pc:chgData name="Kawtar SADIQ" userId="65df04e4-2d23-4bab-afb0-40df8a2c1b9f" providerId="ADAL" clId="{13E48CF6-3C07-4AA7-848A-1E964CBB0D3A}" dt="2022-11-30T15:48:06.538" v="20985" actId="47"/>
          <pc:sldLayoutMkLst>
            <pc:docMk/>
            <pc:sldMasterMk cId="0" sldId="2147483648"/>
            <pc:sldLayoutMk cId="2991341594" sldId="2147483831"/>
          </pc:sldLayoutMkLst>
        </pc:sldLayoutChg>
        <pc:sldLayoutChg chg="del">
          <pc:chgData name="Kawtar SADIQ" userId="65df04e4-2d23-4bab-afb0-40df8a2c1b9f" providerId="ADAL" clId="{13E48CF6-3C07-4AA7-848A-1E964CBB0D3A}" dt="2022-11-30T16:11:39.039" v="21212" actId="47"/>
          <pc:sldLayoutMkLst>
            <pc:docMk/>
            <pc:sldMasterMk cId="0" sldId="2147483648"/>
            <pc:sldLayoutMk cId="4063048380" sldId="2147483847"/>
          </pc:sldLayoutMkLst>
        </pc:sldLayoutChg>
      </pc:sldMasterChg>
      <pc:sldMasterChg chg="addSp modSp mod delSldLayout">
        <pc:chgData name="Kawtar SADIQ" userId="65df04e4-2d23-4bab-afb0-40df8a2c1b9f" providerId="ADAL" clId="{13E48CF6-3C07-4AA7-848A-1E964CBB0D3A}" dt="2022-11-30T17:22:31.089" v="21545"/>
        <pc:sldMasterMkLst>
          <pc:docMk/>
          <pc:sldMasterMk cId="4160485293" sldId="2147483832"/>
        </pc:sldMasterMkLst>
        <pc:spChg chg="add mod ord modVis">
          <ac:chgData name="Kawtar SADIQ" userId="65df04e4-2d23-4bab-afb0-40df8a2c1b9f" providerId="ADAL" clId="{13E48CF6-3C07-4AA7-848A-1E964CBB0D3A}" dt="2022-11-30T17:22:31.089" v="21545"/>
          <ac:spMkLst>
            <pc:docMk/>
            <pc:sldMasterMk cId="4160485293" sldId="2147483832"/>
            <ac:spMk id="3" creationId="{AC90F010-4F1B-40D5-B105-A80E243DE5FF}"/>
          </ac:spMkLst>
        </pc:spChg>
        <pc:sldLayoutChg chg="del">
          <pc:chgData name="Kawtar SADIQ" userId="65df04e4-2d23-4bab-afb0-40df8a2c1b9f" providerId="ADAL" clId="{13E48CF6-3C07-4AA7-848A-1E964CBB0D3A}" dt="2022-11-30T15:49:15.394" v="20998" actId="47"/>
          <pc:sldLayoutMkLst>
            <pc:docMk/>
            <pc:sldMasterMk cId="4160485293" sldId="2147483832"/>
            <pc:sldLayoutMk cId="2319786568" sldId="2147483847"/>
          </pc:sldLayoutMkLst>
        </pc:sldLayoutChg>
      </pc:sldMasterChg>
      <pc:sldMasterChg chg="addSp modSp new mod addSldLayout">
        <pc:chgData name="Kawtar SADIQ" userId="65df04e4-2d23-4bab-afb0-40df8a2c1b9f" providerId="ADAL" clId="{13E48CF6-3C07-4AA7-848A-1E964CBB0D3A}" dt="2022-12-01T16:32:56.535" v="27930"/>
        <pc:sldMasterMkLst>
          <pc:docMk/>
          <pc:sldMasterMk cId="2538154825" sldId="2147483847"/>
        </pc:sldMasterMkLst>
        <pc:spChg chg="add mod ord modVis">
          <ac:chgData name="Kawtar SADIQ" userId="65df04e4-2d23-4bab-afb0-40df8a2c1b9f" providerId="ADAL" clId="{13E48CF6-3C07-4AA7-848A-1E964CBB0D3A}" dt="2022-12-01T16:32:56.535" v="27930"/>
          <ac:spMkLst>
            <pc:docMk/>
            <pc:sldMasterMk cId="2538154825" sldId="2147483847"/>
            <ac:spMk id="7" creationId="{946BB17B-1F41-4091-BF94-2F9EDF176932}"/>
          </ac:spMkLst>
        </pc:spChg>
        <pc:sldLayoutChg chg="new replId">
          <pc:chgData name="Kawtar SADIQ" userId="65df04e4-2d23-4bab-afb0-40df8a2c1b9f" providerId="ADAL" clId="{13E48CF6-3C07-4AA7-848A-1E964CBB0D3A}" dt="2022-12-01T16:24:02.027" v="27887" actId="6938"/>
          <pc:sldLayoutMkLst>
            <pc:docMk/>
            <pc:sldMasterMk cId="2538154825" sldId="2147483847"/>
            <pc:sldLayoutMk cId="917742688" sldId="2147483848"/>
          </pc:sldLayoutMkLst>
        </pc:sldLayoutChg>
        <pc:sldLayoutChg chg="new replId">
          <pc:chgData name="Kawtar SADIQ" userId="65df04e4-2d23-4bab-afb0-40df8a2c1b9f" providerId="ADAL" clId="{13E48CF6-3C07-4AA7-848A-1E964CBB0D3A}" dt="2022-12-01T16:24:02.027" v="27887" actId="6938"/>
          <pc:sldLayoutMkLst>
            <pc:docMk/>
            <pc:sldMasterMk cId="2538154825" sldId="2147483847"/>
            <pc:sldLayoutMk cId="2742360020" sldId="2147483849"/>
          </pc:sldLayoutMkLst>
        </pc:sldLayoutChg>
        <pc:sldLayoutChg chg="new replId">
          <pc:chgData name="Kawtar SADIQ" userId="65df04e4-2d23-4bab-afb0-40df8a2c1b9f" providerId="ADAL" clId="{13E48CF6-3C07-4AA7-848A-1E964CBB0D3A}" dt="2022-12-01T16:24:02.027" v="27887" actId="6938"/>
          <pc:sldLayoutMkLst>
            <pc:docMk/>
            <pc:sldMasterMk cId="2538154825" sldId="2147483847"/>
            <pc:sldLayoutMk cId="3108249710" sldId="2147483850"/>
          </pc:sldLayoutMkLst>
        </pc:sldLayoutChg>
        <pc:sldLayoutChg chg="new replId">
          <pc:chgData name="Kawtar SADIQ" userId="65df04e4-2d23-4bab-afb0-40df8a2c1b9f" providerId="ADAL" clId="{13E48CF6-3C07-4AA7-848A-1E964CBB0D3A}" dt="2022-12-01T16:24:02.027" v="27887" actId="6938"/>
          <pc:sldLayoutMkLst>
            <pc:docMk/>
            <pc:sldMasterMk cId="2538154825" sldId="2147483847"/>
            <pc:sldLayoutMk cId="3998445543" sldId="2147483851"/>
          </pc:sldLayoutMkLst>
        </pc:sldLayoutChg>
        <pc:sldLayoutChg chg="new replId">
          <pc:chgData name="Kawtar SADIQ" userId="65df04e4-2d23-4bab-afb0-40df8a2c1b9f" providerId="ADAL" clId="{13E48CF6-3C07-4AA7-848A-1E964CBB0D3A}" dt="2022-12-01T16:24:02.027" v="27887" actId="6938"/>
          <pc:sldLayoutMkLst>
            <pc:docMk/>
            <pc:sldMasterMk cId="2538154825" sldId="2147483847"/>
            <pc:sldLayoutMk cId="158202831" sldId="2147483852"/>
          </pc:sldLayoutMkLst>
        </pc:sldLayoutChg>
        <pc:sldLayoutChg chg="new replId">
          <pc:chgData name="Kawtar SADIQ" userId="65df04e4-2d23-4bab-afb0-40df8a2c1b9f" providerId="ADAL" clId="{13E48CF6-3C07-4AA7-848A-1E964CBB0D3A}" dt="2022-12-01T16:24:02.027" v="27887" actId="6938"/>
          <pc:sldLayoutMkLst>
            <pc:docMk/>
            <pc:sldMasterMk cId="2538154825" sldId="2147483847"/>
            <pc:sldLayoutMk cId="2601864829" sldId="2147483853"/>
          </pc:sldLayoutMkLst>
        </pc:sldLayoutChg>
        <pc:sldLayoutChg chg="new replId">
          <pc:chgData name="Kawtar SADIQ" userId="65df04e4-2d23-4bab-afb0-40df8a2c1b9f" providerId="ADAL" clId="{13E48CF6-3C07-4AA7-848A-1E964CBB0D3A}" dt="2022-12-01T16:24:02.027" v="27887" actId="6938"/>
          <pc:sldLayoutMkLst>
            <pc:docMk/>
            <pc:sldMasterMk cId="2538154825" sldId="2147483847"/>
            <pc:sldLayoutMk cId="3894462918" sldId="2147483854"/>
          </pc:sldLayoutMkLst>
        </pc:sldLayoutChg>
        <pc:sldLayoutChg chg="new replId">
          <pc:chgData name="Kawtar SADIQ" userId="65df04e4-2d23-4bab-afb0-40df8a2c1b9f" providerId="ADAL" clId="{13E48CF6-3C07-4AA7-848A-1E964CBB0D3A}" dt="2022-12-01T16:24:02.027" v="27887" actId="6938"/>
          <pc:sldLayoutMkLst>
            <pc:docMk/>
            <pc:sldMasterMk cId="2538154825" sldId="2147483847"/>
            <pc:sldLayoutMk cId="2741384911" sldId="2147483855"/>
          </pc:sldLayoutMkLst>
        </pc:sldLayoutChg>
        <pc:sldLayoutChg chg="new replId">
          <pc:chgData name="Kawtar SADIQ" userId="65df04e4-2d23-4bab-afb0-40df8a2c1b9f" providerId="ADAL" clId="{13E48CF6-3C07-4AA7-848A-1E964CBB0D3A}" dt="2022-12-01T16:24:02.027" v="27887" actId="6938"/>
          <pc:sldLayoutMkLst>
            <pc:docMk/>
            <pc:sldMasterMk cId="2538154825" sldId="2147483847"/>
            <pc:sldLayoutMk cId="867544758" sldId="2147483856"/>
          </pc:sldLayoutMkLst>
        </pc:sldLayoutChg>
        <pc:sldLayoutChg chg="new replId">
          <pc:chgData name="Kawtar SADIQ" userId="65df04e4-2d23-4bab-afb0-40df8a2c1b9f" providerId="ADAL" clId="{13E48CF6-3C07-4AA7-848A-1E964CBB0D3A}" dt="2022-12-01T16:24:02.027" v="27887" actId="6938"/>
          <pc:sldLayoutMkLst>
            <pc:docMk/>
            <pc:sldMasterMk cId="2538154825" sldId="2147483847"/>
            <pc:sldLayoutMk cId="2368976306" sldId="2147483857"/>
          </pc:sldLayoutMkLst>
        </pc:sldLayoutChg>
        <pc:sldLayoutChg chg="new replId">
          <pc:chgData name="Kawtar SADIQ" userId="65df04e4-2d23-4bab-afb0-40df8a2c1b9f" providerId="ADAL" clId="{13E48CF6-3C07-4AA7-848A-1E964CBB0D3A}" dt="2022-12-01T16:24:02.027" v="27887" actId="6938"/>
          <pc:sldLayoutMkLst>
            <pc:docMk/>
            <pc:sldMasterMk cId="2538154825" sldId="2147483847"/>
            <pc:sldLayoutMk cId="2592525023" sldId="2147483858"/>
          </pc:sldLayoutMkLst>
        </pc:sldLayoutChg>
      </pc:sldMasterChg>
    </pc:docChg>
  </pc:docChgLst>
  <pc:docChgLst>
    <pc:chgData name="Kawtar SADIQ" userId="S::kawtar.sadiq@talan.com::65df04e4-2d23-4bab-afb0-40df8a2c1b9f" providerId="AD" clId="Web-{AD6C5F94-9BA2-303A-FDB6-55AD00819E67}"/>
    <pc:docChg chg="modSld">
      <pc:chgData name="Kawtar SADIQ" userId="S::kawtar.sadiq@talan.com::65df04e4-2d23-4bab-afb0-40df8a2c1b9f" providerId="AD" clId="Web-{AD6C5F94-9BA2-303A-FDB6-55AD00819E67}" dt="2022-11-21T15:21:56.606" v="10" actId="20577"/>
      <pc:docMkLst>
        <pc:docMk/>
      </pc:docMkLst>
      <pc:sldChg chg="modSp">
        <pc:chgData name="Kawtar SADIQ" userId="S::kawtar.sadiq@talan.com::65df04e4-2d23-4bab-afb0-40df8a2c1b9f" providerId="AD" clId="Web-{AD6C5F94-9BA2-303A-FDB6-55AD00819E67}" dt="2022-11-21T15:21:56.606" v="10" actId="20577"/>
        <pc:sldMkLst>
          <pc:docMk/>
          <pc:sldMk cId="1680199837" sldId="2076138123"/>
        </pc:sldMkLst>
        <pc:spChg chg="mod">
          <ac:chgData name="Kawtar SADIQ" userId="S::kawtar.sadiq@talan.com::65df04e4-2d23-4bab-afb0-40df8a2c1b9f" providerId="AD" clId="Web-{AD6C5F94-9BA2-303A-FDB6-55AD00819E67}" dt="2022-11-21T15:20:39.480" v="1" actId="20577"/>
          <ac:spMkLst>
            <pc:docMk/>
            <pc:sldMk cId="1680199837" sldId="2076138123"/>
            <ac:spMk id="8" creationId="{6BEF1DB4-3010-4B52-B506-B20A3BEEAC9C}"/>
          </ac:spMkLst>
        </pc:spChg>
        <pc:spChg chg="mod">
          <ac:chgData name="Kawtar SADIQ" userId="S::kawtar.sadiq@talan.com::65df04e4-2d23-4bab-afb0-40df8a2c1b9f" providerId="AD" clId="Web-{AD6C5F94-9BA2-303A-FDB6-55AD00819E67}" dt="2022-11-21T15:21:56.606" v="10" actId="20577"/>
          <ac:spMkLst>
            <pc:docMk/>
            <pc:sldMk cId="1680199837" sldId="2076138123"/>
            <ac:spMk id="10" creationId="{4A78AF75-ED30-44EE-B8D5-D2B7AD6294A7}"/>
          </ac:spMkLst>
        </pc:spChg>
        <pc:spChg chg="mod">
          <ac:chgData name="Kawtar SADIQ" userId="S::kawtar.sadiq@talan.com::65df04e4-2d23-4bab-afb0-40df8a2c1b9f" providerId="AD" clId="Web-{AD6C5F94-9BA2-303A-FDB6-55AD00819E67}" dt="2022-11-21T15:20:48.184" v="3" actId="20577"/>
          <ac:spMkLst>
            <pc:docMk/>
            <pc:sldMk cId="1680199837" sldId="2076138123"/>
            <ac:spMk id="12" creationId="{186599DA-E58F-4091-8823-72D7CE9841DA}"/>
          </ac:spMkLst>
        </pc:spChg>
        <pc:spChg chg="mod">
          <ac:chgData name="Kawtar SADIQ" userId="S::kawtar.sadiq@talan.com::65df04e4-2d23-4bab-afb0-40df8a2c1b9f" providerId="AD" clId="Web-{AD6C5F94-9BA2-303A-FDB6-55AD00819E67}" dt="2022-11-21T15:21:04.590" v="8" actId="20577"/>
          <ac:spMkLst>
            <pc:docMk/>
            <pc:sldMk cId="1680199837" sldId="2076138123"/>
            <ac:spMk id="14" creationId="{F6EEEB5A-24F4-42ED-9247-3F40764A4C55}"/>
          </ac:spMkLst>
        </pc:spChg>
      </pc:sldChg>
    </pc:docChg>
  </pc:docChgLst>
  <pc:docChgLst>
    <pc:chgData name="Jean GRANDEMANGE" userId="faf07584-8716-430e-b66d-4ceae2fe8450" providerId="ADAL" clId="{5BA9D65E-4355-43B5-9FAC-0CE2D0775271}"/>
    <pc:docChg chg="undo redo custSel addSld delSld modSld sldOrd modMainMaster addSection delSection modSection">
      <pc:chgData name="Jean GRANDEMANGE" userId="faf07584-8716-430e-b66d-4ceae2fe8450" providerId="ADAL" clId="{5BA9D65E-4355-43B5-9FAC-0CE2D0775271}" dt="2023-01-28T14:30:19.209" v="13945" actId="20577"/>
      <pc:docMkLst>
        <pc:docMk/>
      </pc:docMkLst>
      <pc:sldChg chg="del">
        <pc:chgData name="Jean GRANDEMANGE" userId="faf07584-8716-430e-b66d-4ceae2fe8450" providerId="ADAL" clId="{5BA9D65E-4355-43B5-9FAC-0CE2D0775271}" dt="2023-01-27T11:10:28.933" v="4865" actId="47"/>
        <pc:sldMkLst>
          <pc:docMk/>
          <pc:sldMk cId="0" sldId="262"/>
        </pc:sldMkLst>
      </pc:sldChg>
      <pc:sldChg chg="del">
        <pc:chgData name="Jean GRANDEMANGE" userId="faf07584-8716-430e-b66d-4ceae2fe8450" providerId="ADAL" clId="{5BA9D65E-4355-43B5-9FAC-0CE2D0775271}" dt="2023-01-27T13:52:33.394" v="6719" actId="2696"/>
        <pc:sldMkLst>
          <pc:docMk/>
          <pc:sldMk cId="887608307" sldId="266"/>
        </pc:sldMkLst>
      </pc:sldChg>
      <pc:sldChg chg="add del">
        <pc:chgData name="Jean GRANDEMANGE" userId="faf07584-8716-430e-b66d-4ceae2fe8450" providerId="ADAL" clId="{5BA9D65E-4355-43B5-9FAC-0CE2D0775271}" dt="2023-01-28T13:59:07.661" v="13766" actId="47"/>
        <pc:sldMkLst>
          <pc:docMk/>
          <pc:sldMk cId="2690861181" sldId="266"/>
        </pc:sldMkLst>
      </pc:sldChg>
      <pc:sldChg chg="del">
        <pc:chgData name="Jean GRANDEMANGE" userId="faf07584-8716-430e-b66d-4ceae2fe8450" providerId="ADAL" clId="{5BA9D65E-4355-43B5-9FAC-0CE2D0775271}" dt="2023-01-27T13:52:33.394" v="6719" actId="2696"/>
        <pc:sldMkLst>
          <pc:docMk/>
          <pc:sldMk cId="1296752126" sldId="1441"/>
        </pc:sldMkLst>
      </pc:sldChg>
      <pc:sldChg chg="add del">
        <pc:chgData name="Jean GRANDEMANGE" userId="faf07584-8716-430e-b66d-4ceae2fe8450" providerId="ADAL" clId="{5BA9D65E-4355-43B5-9FAC-0CE2D0775271}" dt="2023-01-28T13:59:07.661" v="13766" actId="47"/>
        <pc:sldMkLst>
          <pc:docMk/>
          <pc:sldMk cId="1986017026" sldId="1441"/>
        </pc:sldMkLst>
      </pc:sldChg>
      <pc:sldChg chg="del">
        <pc:chgData name="Jean GRANDEMANGE" userId="faf07584-8716-430e-b66d-4ceae2fe8450" providerId="ADAL" clId="{5BA9D65E-4355-43B5-9FAC-0CE2D0775271}" dt="2023-01-27T13:52:33.394" v="6719" actId="2696"/>
        <pc:sldMkLst>
          <pc:docMk/>
          <pc:sldMk cId="979364678" sldId="1442"/>
        </pc:sldMkLst>
      </pc:sldChg>
      <pc:sldChg chg="add del">
        <pc:chgData name="Jean GRANDEMANGE" userId="faf07584-8716-430e-b66d-4ceae2fe8450" providerId="ADAL" clId="{5BA9D65E-4355-43B5-9FAC-0CE2D0775271}" dt="2023-01-28T13:59:07.661" v="13766" actId="47"/>
        <pc:sldMkLst>
          <pc:docMk/>
          <pc:sldMk cId="1046856479" sldId="1442"/>
        </pc:sldMkLst>
      </pc:sldChg>
      <pc:sldChg chg="delSp modSp add del setBg">
        <pc:chgData name="Jean GRANDEMANGE" userId="faf07584-8716-430e-b66d-4ceae2fe8450" providerId="ADAL" clId="{5BA9D65E-4355-43B5-9FAC-0CE2D0775271}" dt="2023-01-27T15:11:33.633" v="8194" actId="2696"/>
        <pc:sldMkLst>
          <pc:docMk/>
          <pc:sldMk cId="349656339" sldId="2076137167"/>
        </pc:sldMkLst>
        <pc:spChg chg="del mod">
          <ac:chgData name="Jean GRANDEMANGE" userId="faf07584-8716-430e-b66d-4ceae2fe8450" providerId="ADAL" clId="{5BA9D65E-4355-43B5-9FAC-0CE2D0775271}" dt="2023-01-27T15:11:25.666" v="8193"/>
          <ac:spMkLst>
            <pc:docMk/>
            <pc:sldMk cId="349656339" sldId="2076137167"/>
            <ac:spMk id="2" creationId="{D3130276-BF9F-58B8-3382-EA3D3BEFF955}"/>
          </ac:spMkLst>
        </pc:spChg>
      </pc:sldChg>
      <pc:sldChg chg="delSp modSp add mod modClrScheme chgLayout">
        <pc:chgData name="Jean GRANDEMANGE" userId="faf07584-8716-430e-b66d-4ceae2fe8450" providerId="ADAL" clId="{5BA9D65E-4355-43B5-9FAC-0CE2D0775271}" dt="2023-01-27T15:12:52.238" v="8243" actId="5793"/>
        <pc:sldMkLst>
          <pc:docMk/>
          <pc:sldMk cId="1441563078" sldId="2076137167"/>
        </pc:sldMkLst>
        <pc:spChg chg="del">
          <ac:chgData name="Jean GRANDEMANGE" userId="faf07584-8716-430e-b66d-4ceae2fe8450" providerId="ADAL" clId="{5BA9D65E-4355-43B5-9FAC-0CE2D0775271}" dt="2023-01-27T15:11:56.528" v="8196" actId="700"/>
          <ac:spMkLst>
            <pc:docMk/>
            <pc:sldMk cId="1441563078" sldId="2076137167"/>
            <ac:spMk id="2" creationId="{D3130276-BF9F-58B8-3382-EA3D3BEFF955}"/>
          </ac:spMkLst>
        </pc:spChg>
        <pc:spChg chg="mod ord">
          <ac:chgData name="Jean GRANDEMANGE" userId="faf07584-8716-430e-b66d-4ceae2fe8450" providerId="ADAL" clId="{5BA9D65E-4355-43B5-9FAC-0CE2D0775271}" dt="2023-01-27T15:12:05.433" v="8198" actId="14100"/>
          <ac:spMkLst>
            <pc:docMk/>
            <pc:sldMk cId="1441563078" sldId="2076137167"/>
            <ac:spMk id="3" creationId="{DB94F0DE-9D88-2B6B-890E-A7FD3BAEE6F4}"/>
          </ac:spMkLst>
        </pc:spChg>
        <pc:spChg chg="del">
          <ac:chgData name="Jean GRANDEMANGE" userId="faf07584-8716-430e-b66d-4ceae2fe8450" providerId="ADAL" clId="{5BA9D65E-4355-43B5-9FAC-0CE2D0775271}" dt="2023-01-27T15:12:02.408" v="8197" actId="478"/>
          <ac:spMkLst>
            <pc:docMk/>
            <pc:sldMk cId="1441563078" sldId="2076137167"/>
            <ac:spMk id="4" creationId="{EE03AB36-0BD1-D14E-0BE5-D5D893285DAA}"/>
          </ac:spMkLst>
        </pc:spChg>
        <pc:spChg chg="mod ord">
          <ac:chgData name="Jean GRANDEMANGE" userId="faf07584-8716-430e-b66d-4ceae2fe8450" providerId="ADAL" clId="{5BA9D65E-4355-43B5-9FAC-0CE2D0775271}" dt="2023-01-27T15:11:56.528" v="8196" actId="700"/>
          <ac:spMkLst>
            <pc:docMk/>
            <pc:sldMk cId="1441563078" sldId="2076137167"/>
            <ac:spMk id="5" creationId="{B02523CE-15BE-4322-95F6-D243933D6A11}"/>
          </ac:spMkLst>
        </pc:spChg>
        <pc:spChg chg="mod">
          <ac:chgData name="Jean GRANDEMANGE" userId="faf07584-8716-430e-b66d-4ceae2fe8450" providerId="ADAL" clId="{5BA9D65E-4355-43B5-9FAC-0CE2D0775271}" dt="2023-01-27T15:12:52.238" v="8243" actId="5793"/>
          <ac:spMkLst>
            <pc:docMk/>
            <pc:sldMk cId="1441563078" sldId="2076137167"/>
            <ac:spMk id="193" creationId="{C247CA01-01EE-5AD9-4E97-BB351F1976AE}"/>
          </ac:spMkLst>
        </pc:spChg>
        <pc:grpChg chg="mod">
          <ac:chgData name="Jean GRANDEMANGE" userId="faf07584-8716-430e-b66d-4ceae2fe8450" providerId="ADAL" clId="{5BA9D65E-4355-43B5-9FAC-0CE2D0775271}" dt="2023-01-27T15:12:11.111" v="8199" actId="1076"/>
          <ac:grpSpMkLst>
            <pc:docMk/>
            <pc:sldMk cId="1441563078" sldId="2076137167"/>
            <ac:grpSpMk id="7" creationId="{DC7812F0-4656-3D7D-A980-373E199B99D3}"/>
          </ac:grpSpMkLst>
        </pc:grpChg>
        <pc:grpChg chg="mod">
          <ac:chgData name="Jean GRANDEMANGE" userId="faf07584-8716-430e-b66d-4ceae2fe8450" providerId="ADAL" clId="{5BA9D65E-4355-43B5-9FAC-0CE2D0775271}" dt="2023-01-27T15:12:11.111" v="8199" actId="1076"/>
          <ac:grpSpMkLst>
            <pc:docMk/>
            <pc:sldMk cId="1441563078" sldId="2076137167"/>
            <ac:grpSpMk id="209" creationId="{C667BF43-3886-751A-6517-FD9E2CAE4429}"/>
          </ac:grpSpMkLst>
        </pc:grpChg>
        <pc:grpChg chg="mod">
          <ac:chgData name="Jean GRANDEMANGE" userId="faf07584-8716-430e-b66d-4ceae2fe8450" providerId="ADAL" clId="{5BA9D65E-4355-43B5-9FAC-0CE2D0775271}" dt="2023-01-27T15:12:11.111" v="8199" actId="1076"/>
          <ac:grpSpMkLst>
            <pc:docMk/>
            <pc:sldMk cId="1441563078" sldId="2076137167"/>
            <ac:grpSpMk id="217" creationId="{35E6123D-14C0-CD13-F5B0-1FE0A123A122}"/>
          </ac:grpSpMkLst>
        </pc:grpChg>
        <pc:grpChg chg="mod">
          <ac:chgData name="Jean GRANDEMANGE" userId="faf07584-8716-430e-b66d-4ceae2fe8450" providerId="ADAL" clId="{5BA9D65E-4355-43B5-9FAC-0CE2D0775271}" dt="2023-01-27T15:12:11.111" v="8199" actId="1076"/>
          <ac:grpSpMkLst>
            <pc:docMk/>
            <pc:sldMk cId="1441563078" sldId="2076137167"/>
            <ac:grpSpMk id="218" creationId="{96D66B3D-3FEB-1CF3-2E64-AB0767CE4E59}"/>
          </ac:grpSpMkLst>
        </pc:grpChg>
        <pc:grpChg chg="mod">
          <ac:chgData name="Jean GRANDEMANGE" userId="faf07584-8716-430e-b66d-4ceae2fe8450" providerId="ADAL" clId="{5BA9D65E-4355-43B5-9FAC-0CE2D0775271}" dt="2023-01-27T15:12:11.111" v="8199" actId="1076"/>
          <ac:grpSpMkLst>
            <pc:docMk/>
            <pc:sldMk cId="1441563078" sldId="2076137167"/>
            <ac:grpSpMk id="219" creationId="{9EDA65FF-C22B-C991-5AE3-26BAE759BACE}"/>
          </ac:grpSpMkLst>
        </pc:grpChg>
        <pc:grpChg chg="mod">
          <ac:chgData name="Jean GRANDEMANGE" userId="faf07584-8716-430e-b66d-4ceae2fe8450" providerId="ADAL" clId="{5BA9D65E-4355-43B5-9FAC-0CE2D0775271}" dt="2023-01-27T15:12:11.111" v="8199" actId="1076"/>
          <ac:grpSpMkLst>
            <pc:docMk/>
            <pc:sldMk cId="1441563078" sldId="2076137167"/>
            <ac:grpSpMk id="223" creationId="{5B51FCB7-59E6-8A54-CA54-6673107B56A2}"/>
          </ac:grpSpMkLst>
        </pc:grpChg>
      </pc:sldChg>
      <pc:sldChg chg="addSp delSp modSp add mod modClrScheme chgLayout">
        <pc:chgData name="Jean GRANDEMANGE" userId="faf07584-8716-430e-b66d-4ceae2fe8450" providerId="ADAL" clId="{5BA9D65E-4355-43B5-9FAC-0CE2D0775271}" dt="2023-01-27T16:11:39.256" v="8886" actId="20577"/>
        <pc:sldMkLst>
          <pc:docMk/>
          <pc:sldMk cId="1820006873" sldId="2076137168"/>
        </pc:sldMkLst>
        <pc:spChg chg="del">
          <ac:chgData name="Jean GRANDEMANGE" userId="faf07584-8716-430e-b66d-4ceae2fe8450" providerId="ADAL" clId="{5BA9D65E-4355-43B5-9FAC-0CE2D0775271}" dt="2023-01-27T15:11:56.528" v="8196" actId="700"/>
          <ac:spMkLst>
            <pc:docMk/>
            <pc:sldMk cId="1820006873" sldId="2076137168"/>
            <ac:spMk id="2" creationId="{B4F61A1C-4C88-8911-8D40-A2F6AA19E58C}"/>
          </ac:spMkLst>
        </pc:spChg>
        <pc:spChg chg="mod ord">
          <ac:chgData name="Jean GRANDEMANGE" userId="faf07584-8716-430e-b66d-4ceae2fe8450" providerId="ADAL" clId="{5BA9D65E-4355-43B5-9FAC-0CE2D0775271}" dt="2023-01-27T16:11:39.256" v="8886" actId="20577"/>
          <ac:spMkLst>
            <pc:docMk/>
            <pc:sldMk cId="1820006873" sldId="2076137168"/>
            <ac:spMk id="3" creationId="{3C012839-DB0B-D975-399D-90AAA6F9D613}"/>
          </ac:spMkLst>
        </pc:spChg>
        <pc:spChg chg="del">
          <ac:chgData name="Jean GRANDEMANGE" userId="faf07584-8716-430e-b66d-4ceae2fe8450" providerId="ADAL" clId="{5BA9D65E-4355-43B5-9FAC-0CE2D0775271}" dt="2023-01-27T15:32:29.587" v="8727" actId="478"/>
          <ac:spMkLst>
            <pc:docMk/>
            <pc:sldMk cId="1820006873" sldId="2076137168"/>
            <ac:spMk id="4" creationId="{69E8C1C1-3491-9A6F-B12F-A2AC687DD3E0}"/>
          </ac:spMkLst>
        </pc:spChg>
        <pc:spChg chg="add del mod ord">
          <ac:chgData name="Jean GRANDEMANGE" userId="faf07584-8716-430e-b66d-4ceae2fe8450" providerId="ADAL" clId="{5BA9D65E-4355-43B5-9FAC-0CE2D0775271}" dt="2023-01-27T16:10:42.265" v="8795" actId="478"/>
          <ac:spMkLst>
            <pc:docMk/>
            <pc:sldMk cId="1820006873" sldId="2076137168"/>
            <ac:spMk id="7" creationId="{5B3E2C1E-E5DF-89FD-9C46-5F34FEDCB385}"/>
          </ac:spMkLst>
        </pc:spChg>
        <pc:grpChg chg="mod">
          <ac:chgData name="Jean GRANDEMANGE" userId="faf07584-8716-430e-b66d-4ceae2fe8450" providerId="ADAL" clId="{5BA9D65E-4355-43B5-9FAC-0CE2D0775271}" dt="2023-01-27T16:10:39.522" v="8794" actId="1076"/>
          <ac:grpSpMkLst>
            <pc:docMk/>
            <pc:sldMk cId="1820006873" sldId="2076137168"/>
            <ac:grpSpMk id="35" creationId="{3B260352-7013-12A8-C7FB-DF8C839E8E6B}"/>
          </ac:grpSpMkLst>
        </pc:grpChg>
        <pc:picChg chg="mod">
          <ac:chgData name="Jean GRANDEMANGE" userId="faf07584-8716-430e-b66d-4ceae2fe8450" providerId="ADAL" clId="{5BA9D65E-4355-43B5-9FAC-0CE2D0775271}" dt="2023-01-27T16:11:08.708" v="8808" actId="1035"/>
          <ac:picMkLst>
            <pc:docMk/>
            <pc:sldMk cId="1820006873" sldId="2076137168"/>
            <ac:picMk id="5" creationId="{DC19B631-9C0D-6A1C-71A2-F391D8B3DBB5}"/>
          </ac:picMkLst>
        </pc:picChg>
      </pc:sldChg>
      <pc:sldChg chg="modSp add del">
        <pc:chgData name="Jean GRANDEMANGE" userId="faf07584-8716-430e-b66d-4ceae2fe8450" providerId="ADAL" clId="{5BA9D65E-4355-43B5-9FAC-0CE2D0775271}" dt="2023-01-27T15:11:33.633" v="8194" actId="2696"/>
        <pc:sldMkLst>
          <pc:docMk/>
          <pc:sldMk cId="3471988669" sldId="2076137168"/>
        </pc:sldMkLst>
        <pc:spChg chg="mod">
          <ac:chgData name="Jean GRANDEMANGE" userId="faf07584-8716-430e-b66d-4ceae2fe8450" providerId="ADAL" clId="{5BA9D65E-4355-43B5-9FAC-0CE2D0775271}" dt="2023-01-27T15:11:25.666" v="8193"/>
          <ac:spMkLst>
            <pc:docMk/>
            <pc:sldMk cId="3471988669" sldId="2076137168"/>
            <ac:spMk id="2" creationId="{B4F61A1C-4C88-8911-8D40-A2F6AA19E58C}"/>
          </ac:spMkLst>
        </pc:spChg>
      </pc:sldChg>
      <pc:sldChg chg="addSp modSp add mod modClrScheme chgLayout">
        <pc:chgData name="Jean GRANDEMANGE" userId="faf07584-8716-430e-b66d-4ceae2fe8450" providerId="ADAL" clId="{5BA9D65E-4355-43B5-9FAC-0CE2D0775271}" dt="2023-01-28T13:00:10.634" v="11241"/>
        <pc:sldMkLst>
          <pc:docMk/>
          <pc:sldMk cId="3534434500" sldId="2076137187"/>
        </pc:sldMkLst>
        <pc:spChg chg="mod ord">
          <ac:chgData name="Jean GRANDEMANGE" userId="faf07584-8716-430e-b66d-4ceae2fe8450" providerId="ADAL" clId="{5BA9D65E-4355-43B5-9FAC-0CE2D0775271}" dt="2023-01-28T12:55:14.985" v="10899" actId="20577"/>
          <ac:spMkLst>
            <pc:docMk/>
            <pc:sldMk cId="3534434500" sldId="2076137187"/>
            <ac:spMk id="2" creationId="{46F04B99-9B07-47CE-8EF3-B54C1C5C7B2E}"/>
          </ac:spMkLst>
        </pc:spChg>
        <pc:spChg chg="mod ord">
          <ac:chgData name="Jean GRANDEMANGE" userId="faf07584-8716-430e-b66d-4ceae2fe8450" providerId="ADAL" clId="{5BA9D65E-4355-43B5-9FAC-0CE2D0775271}" dt="2023-01-28T12:55:42.953" v="10902" actId="208"/>
          <ac:spMkLst>
            <pc:docMk/>
            <pc:sldMk cId="3534434500" sldId="2076137187"/>
            <ac:spMk id="3" creationId="{4B48BF1A-07AD-439E-B7D7-B84AD7FC5EB6}"/>
          </ac:spMkLst>
        </pc:spChg>
        <pc:spChg chg="add mod ord">
          <ac:chgData name="Jean GRANDEMANGE" userId="faf07584-8716-430e-b66d-4ceae2fe8450" providerId="ADAL" clId="{5BA9D65E-4355-43B5-9FAC-0CE2D0775271}" dt="2023-01-28T12:58:43.105" v="11088" actId="14100"/>
          <ac:spMkLst>
            <pc:docMk/>
            <pc:sldMk cId="3534434500" sldId="2076137187"/>
            <ac:spMk id="4" creationId="{2FB42E69-0295-0199-36B1-6821D42742D0}"/>
          </ac:spMkLst>
        </pc:spChg>
        <pc:graphicFrameChg chg="mod modGraphic">
          <ac:chgData name="Jean GRANDEMANGE" userId="faf07584-8716-430e-b66d-4ceae2fe8450" providerId="ADAL" clId="{5BA9D65E-4355-43B5-9FAC-0CE2D0775271}" dt="2023-01-28T12:58:17.790" v="11079" actId="14100"/>
          <ac:graphicFrameMkLst>
            <pc:docMk/>
            <pc:sldMk cId="3534434500" sldId="2076137187"/>
            <ac:graphicFrameMk id="16" creationId="{ACA727D1-6BF4-4EBB-8786-3C359BF50ED4}"/>
          </ac:graphicFrameMkLst>
        </pc:graphicFrameChg>
        <pc:graphicFrameChg chg="mod modGraphic">
          <ac:chgData name="Jean GRANDEMANGE" userId="faf07584-8716-430e-b66d-4ceae2fe8450" providerId="ADAL" clId="{5BA9D65E-4355-43B5-9FAC-0CE2D0775271}" dt="2023-01-28T13:00:10.634" v="11241"/>
          <ac:graphicFrameMkLst>
            <pc:docMk/>
            <pc:sldMk cId="3534434500" sldId="2076137187"/>
            <ac:graphicFrameMk id="17" creationId="{2671BC23-6AD4-4E14-A26D-9E38094C7F5B}"/>
          </ac:graphicFrameMkLst>
        </pc:graphicFrameChg>
        <pc:picChg chg="mod">
          <ac:chgData name="Jean GRANDEMANGE" userId="faf07584-8716-430e-b66d-4ceae2fe8450" providerId="ADAL" clId="{5BA9D65E-4355-43B5-9FAC-0CE2D0775271}" dt="2023-01-28T12:58:50.221" v="11089" actId="1076"/>
          <ac:picMkLst>
            <pc:docMk/>
            <pc:sldMk cId="3534434500" sldId="2076137187"/>
            <ac:picMk id="5" creationId="{7E45DF64-ABF3-4EB1-9E7E-1C6839AB8E26}"/>
          </ac:picMkLst>
        </pc:picChg>
      </pc:sldChg>
      <pc:sldChg chg="del">
        <pc:chgData name="Jean GRANDEMANGE" userId="faf07584-8716-430e-b66d-4ceae2fe8450" providerId="ADAL" clId="{5BA9D65E-4355-43B5-9FAC-0CE2D0775271}" dt="2023-01-27T13:51:50.829" v="6714" actId="47"/>
        <pc:sldMkLst>
          <pc:docMk/>
          <pc:sldMk cId="1680199837" sldId="2076138123"/>
        </pc:sldMkLst>
      </pc:sldChg>
      <pc:sldChg chg="addSp delSp modSp add mod modClrScheme chgLayout">
        <pc:chgData name="Jean GRANDEMANGE" userId="faf07584-8716-430e-b66d-4ceae2fe8450" providerId="ADAL" clId="{5BA9D65E-4355-43B5-9FAC-0CE2D0775271}" dt="2023-01-28T12:51:08.360" v="10705" actId="404"/>
        <pc:sldMkLst>
          <pc:docMk/>
          <pc:sldMk cId="3024465110" sldId="2142532887"/>
        </pc:sldMkLst>
        <pc:spChg chg="add del mod ord">
          <ac:chgData name="Jean GRANDEMANGE" userId="faf07584-8716-430e-b66d-4ceae2fe8450" providerId="ADAL" clId="{5BA9D65E-4355-43B5-9FAC-0CE2D0775271}" dt="2023-01-28T12:48:22.565" v="10635" actId="478"/>
          <ac:spMkLst>
            <pc:docMk/>
            <pc:sldMk cId="3024465110" sldId="2142532887"/>
            <ac:spMk id="2" creationId="{C0113D1B-15B2-B542-013F-679758E7D712}"/>
          </ac:spMkLst>
        </pc:spChg>
        <pc:spChg chg="mod ord">
          <ac:chgData name="Jean GRANDEMANGE" userId="faf07584-8716-430e-b66d-4ceae2fe8450" providerId="ADAL" clId="{5BA9D65E-4355-43B5-9FAC-0CE2D0775271}" dt="2023-01-28T12:51:08.360" v="10705" actId="404"/>
          <ac:spMkLst>
            <pc:docMk/>
            <pc:sldMk cId="3024465110" sldId="2142532887"/>
            <ac:spMk id="3" creationId="{046A3A6B-6C4A-640D-2117-EECD9B1F6922}"/>
          </ac:spMkLst>
        </pc:spChg>
        <pc:spChg chg="mod">
          <ac:chgData name="Jean GRANDEMANGE" userId="faf07584-8716-430e-b66d-4ceae2fe8450" providerId="ADAL" clId="{5BA9D65E-4355-43B5-9FAC-0CE2D0775271}" dt="2023-01-28T12:49:23.893" v="10671" actId="20577"/>
          <ac:spMkLst>
            <pc:docMk/>
            <pc:sldMk cId="3024465110" sldId="2142532887"/>
            <ac:spMk id="5" creationId="{4C197432-6B82-450B-8D2A-CB2269E3EF82}"/>
          </ac:spMkLst>
        </pc:spChg>
      </pc:sldChg>
      <pc:sldChg chg="addSp delSp modSp add mod modClrScheme chgLayout">
        <pc:chgData name="Jean GRANDEMANGE" userId="faf07584-8716-430e-b66d-4ceae2fe8450" providerId="ADAL" clId="{5BA9D65E-4355-43B5-9FAC-0CE2D0775271}" dt="2023-01-28T12:50:05.936" v="10677" actId="1076"/>
        <pc:sldMkLst>
          <pc:docMk/>
          <pc:sldMk cId="1629102341" sldId="2142532888"/>
        </pc:sldMkLst>
        <pc:spChg chg="add del mod ord">
          <ac:chgData name="Jean GRANDEMANGE" userId="faf07584-8716-430e-b66d-4ceae2fe8450" providerId="ADAL" clId="{5BA9D65E-4355-43B5-9FAC-0CE2D0775271}" dt="2023-01-28T12:49:03.096" v="10636" actId="478"/>
          <ac:spMkLst>
            <pc:docMk/>
            <pc:sldMk cId="1629102341" sldId="2142532888"/>
            <ac:spMk id="3" creationId="{4D75AF46-17E6-A92C-BDB7-BF7778B52FC1}"/>
          </ac:spMkLst>
        </pc:spChg>
        <pc:spChg chg="mod ord">
          <ac:chgData name="Jean GRANDEMANGE" userId="faf07584-8716-430e-b66d-4ceae2fe8450" providerId="ADAL" clId="{5BA9D65E-4355-43B5-9FAC-0CE2D0775271}" dt="2023-01-28T12:48:08.660" v="10633" actId="700"/>
          <ac:spMkLst>
            <pc:docMk/>
            <pc:sldMk cId="1629102341" sldId="2142532888"/>
            <ac:spMk id="4" creationId="{9114C565-46CB-C758-E778-CC1BA408E1B1}"/>
          </ac:spMkLst>
        </pc:spChg>
        <pc:grpChg chg="mod">
          <ac:chgData name="Jean GRANDEMANGE" userId="faf07584-8716-430e-b66d-4ceae2fe8450" providerId="ADAL" clId="{5BA9D65E-4355-43B5-9FAC-0CE2D0775271}" dt="2023-01-28T12:49:55" v="10672" actId="1076"/>
          <ac:grpSpMkLst>
            <pc:docMk/>
            <pc:sldMk cId="1629102341" sldId="2142532888"/>
            <ac:grpSpMk id="15" creationId="{414E3FD9-3839-4F1D-8AEA-FDA4FA268D31}"/>
          </ac:grpSpMkLst>
        </pc:grpChg>
        <pc:picChg chg="mod">
          <ac:chgData name="Jean GRANDEMANGE" userId="faf07584-8716-430e-b66d-4ceae2fe8450" providerId="ADAL" clId="{5BA9D65E-4355-43B5-9FAC-0CE2D0775271}" dt="2023-01-28T12:49:56.797" v="10673" actId="1076"/>
          <ac:picMkLst>
            <pc:docMk/>
            <pc:sldMk cId="1629102341" sldId="2142532888"/>
            <ac:picMk id="37" creationId="{9B04B0B4-9473-67F8-6877-9F861879DD6B}"/>
          </ac:picMkLst>
        </pc:picChg>
        <pc:picChg chg="mod">
          <ac:chgData name="Jean GRANDEMANGE" userId="faf07584-8716-430e-b66d-4ceae2fe8450" providerId="ADAL" clId="{5BA9D65E-4355-43B5-9FAC-0CE2D0775271}" dt="2023-01-28T12:49:58.058" v="10674" actId="1076"/>
          <ac:picMkLst>
            <pc:docMk/>
            <pc:sldMk cId="1629102341" sldId="2142532888"/>
            <ac:picMk id="119" creationId="{72B8D1FD-917B-2394-45E6-0B27E1D5B434}"/>
          </ac:picMkLst>
        </pc:picChg>
        <pc:picChg chg="mod">
          <ac:chgData name="Jean GRANDEMANGE" userId="faf07584-8716-430e-b66d-4ceae2fe8450" providerId="ADAL" clId="{5BA9D65E-4355-43B5-9FAC-0CE2D0775271}" dt="2023-01-28T12:49:55" v="10672" actId="1076"/>
          <ac:picMkLst>
            <pc:docMk/>
            <pc:sldMk cId="1629102341" sldId="2142532888"/>
            <ac:picMk id="124" creationId="{336698BF-B8F6-4CFD-B827-3354B296C4E1}"/>
          </ac:picMkLst>
        </pc:picChg>
        <pc:picChg chg="mod">
          <ac:chgData name="Jean GRANDEMANGE" userId="faf07584-8716-430e-b66d-4ceae2fe8450" providerId="ADAL" clId="{5BA9D65E-4355-43B5-9FAC-0CE2D0775271}" dt="2023-01-28T12:50:05.936" v="10677" actId="1076"/>
          <ac:picMkLst>
            <pc:docMk/>
            <pc:sldMk cId="1629102341" sldId="2142532888"/>
            <ac:picMk id="292" creationId="{99CFAE98-4748-4E13-ABE4-84CF06CCCBA7}"/>
          </ac:picMkLst>
        </pc:picChg>
        <pc:picChg chg="mod">
          <ac:chgData name="Jean GRANDEMANGE" userId="faf07584-8716-430e-b66d-4ceae2fe8450" providerId="ADAL" clId="{5BA9D65E-4355-43B5-9FAC-0CE2D0775271}" dt="2023-01-28T12:50:02.081" v="10676" actId="1076"/>
          <ac:picMkLst>
            <pc:docMk/>
            <pc:sldMk cId="1629102341" sldId="2142532888"/>
            <ac:picMk id="1026" creationId="{8E26C8F2-2297-4BDD-98FC-910101DD5ACC}"/>
          </ac:picMkLst>
        </pc:picChg>
        <pc:picChg chg="mod">
          <ac:chgData name="Jean GRANDEMANGE" userId="faf07584-8716-430e-b66d-4ceae2fe8450" providerId="ADAL" clId="{5BA9D65E-4355-43B5-9FAC-0CE2D0775271}" dt="2023-01-28T12:49:59.572" v="10675" actId="1076"/>
          <ac:picMkLst>
            <pc:docMk/>
            <pc:sldMk cId="1629102341" sldId="2142532888"/>
            <ac:picMk id="58372" creationId="{F795FF15-15D0-4016-96A1-6F4526DA26A5}"/>
          </ac:picMkLst>
        </pc:picChg>
        <pc:picChg chg="mod">
          <ac:chgData name="Jean GRANDEMANGE" userId="faf07584-8716-430e-b66d-4ceae2fe8450" providerId="ADAL" clId="{5BA9D65E-4355-43B5-9FAC-0CE2D0775271}" dt="2023-01-28T12:49:55" v="10672" actId="1076"/>
          <ac:picMkLst>
            <pc:docMk/>
            <pc:sldMk cId="1629102341" sldId="2142532888"/>
            <ac:picMk id="58374" creationId="{7A2F7858-E487-438A-9302-06CB0A61CEDE}"/>
          </ac:picMkLst>
        </pc:picChg>
      </pc:sldChg>
      <pc:sldChg chg="delSp modSp add mod modClrScheme chgLayout">
        <pc:chgData name="Jean GRANDEMANGE" userId="faf07584-8716-430e-b66d-4ceae2fe8450" providerId="ADAL" clId="{5BA9D65E-4355-43B5-9FAC-0CE2D0775271}" dt="2023-01-27T16:14:44.149" v="8895" actId="404"/>
        <pc:sldMkLst>
          <pc:docMk/>
          <pc:sldMk cId="296671653" sldId="2147376733"/>
        </pc:sldMkLst>
        <pc:spChg chg="del">
          <ac:chgData name="Jean GRANDEMANGE" userId="faf07584-8716-430e-b66d-4ceae2fe8450" providerId="ADAL" clId="{5BA9D65E-4355-43B5-9FAC-0CE2D0775271}" dt="2023-01-27T15:11:56.528" v="8196" actId="700"/>
          <ac:spMkLst>
            <pc:docMk/>
            <pc:sldMk cId="296671653" sldId="2147376733"/>
            <ac:spMk id="2" creationId="{B4F61A1C-4C88-8911-8D40-A2F6AA19E58C}"/>
          </ac:spMkLst>
        </pc:spChg>
        <pc:spChg chg="mod ord">
          <ac:chgData name="Jean GRANDEMANGE" userId="faf07584-8716-430e-b66d-4ceae2fe8450" providerId="ADAL" clId="{5BA9D65E-4355-43B5-9FAC-0CE2D0775271}" dt="2023-01-27T15:11:56.528" v="8196" actId="700"/>
          <ac:spMkLst>
            <pc:docMk/>
            <pc:sldMk cId="296671653" sldId="2147376733"/>
            <ac:spMk id="3" creationId="{3C012839-DB0B-D975-399D-90AAA6F9D613}"/>
          </ac:spMkLst>
        </pc:spChg>
        <pc:spChg chg="mod ord">
          <ac:chgData name="Jean GRANDEMANGE" userId="faf07584-8716-430e-b66d-4ceae2fe8450" providerId="ADAL" clId="{5BA9D65E-4355-43B5-9FAC-0CE2D0775271}" dt="2023-01-27T16:14:44.149" v="8895" actId="404"/>
          <ac:spMkLst>
            <pc:docMk/>
            <pc:sldMk cId="296671653" sldId="2147376733"/>
            <ac:spMk id="4" creationId="{CBDB5969-74BB-E55F-31D5-71941E3F5FF8}"/>
          </ac:spMkLst>
        </pc:spChg>
        <pc:spChg chg="del">
          <ac:chgData name="Jean GRANDEMANGE" userId="faf07584-8716-430e-b66d-4ceae2fe8450" providerId="ADAL" clId="{5BA9D65E-4355-43B5-9FAC-0CE2D0775271}" dt="2023-01-27T16:14:21.348" v="8889" actId="478"/>
          <ac:spMkLst>
            <pc:docMk/>
            <pc:sldMk cId="296671653" sldId="2147376733"/>
            <ac:spMk id="10" creationId="{AB0980CD-8391-A868-C528-7F8B2B373309}"/>
          </ac:spMkLst>
        </pc:spChg>
        <pc:picChg chg="mod">
          <ac:chgData name="Jean GRANDEMANGE" userId="faf07584-8716-430e-b66d-4ceae2fe8450" providerId="ADAL" clId="{5BA9D65E-4355-43B5-9FAC-0CE2D0775271}" dt="2023-01-27T16:14:25.283" v="8891" actId="1076"/>
          <ac:picMkLst>
            <pc:docMk/>
            <pc:sldMk cId="296671653" sldId="2147376733"/>
            <ac:picMk id="23" creationId="{19FA94F4-314E-8CEB-E7D5-FA37CF4E9BAC}"/>
          </ac:picMkLst>
        </pc:picChg>
      </pc:sldChg>
      <pc:sldChg chg="modSp add del">
        <pc:chgData name="Jean GRANDEMANGE" userId="faf07584-8716-430e-b66d-4ceae2fe8450" providerId="ADAL" clId="{5BA9D65E-4355-43B5-9FAC-0CE2D0775271}" dt="2023-01-27T15:11:33.633" v="8194" actId="2696"/>
        <pc:sldMkLst>
          <pc:docMk/>
          <pc:sldMk cId="2792917055" sldId="2147376733"/>
        </pc:sldMkLst>
        <pc:spChg chg="mod">
          <ac:chgData name="Jean GRANDEMANGE" userId="faf07584-8716-430e-b66d-4ceae2fe8450" providerId="ADAL" clId="{5BA9D65E-4355-43B5-9FAC-0CE2D0775271}" dt="2023-01-27T15:11:25.666" v="8193"/>
          <ac:spMkLst>
            <pc:docMk/>
            <pc:sldMk cId="2792917055" sldId="2147376733"/>
            <ac:spMk id="2" creationId="{B4F61A1C-4C88-8911-8D40-A2F6AA19E58C}"/>
          </ac:spMkLst>
        </pc:spChg>
      </pc:sldChg>
      <pc:sldChg chg="addSp delSp modSp add mod modClrScheme chgLayout">
        <pc:chgData name="Jean GRANDEMANGE" userId="faf07584-8716-430e-b66d-4ceae2fe8450" providerId="ADAL" clId="{5BA9D65E-4355-43B5-9FAC-0CE2D0775271}" dt="2023-01-27T16:10:12.488" v="8793" actId="1076"/>
        <pc:sldMkLst>
          <pc:docMk/>
          <pc:sldMk cId="2833638216" sldId="2147376740"/>
        </pc:sldMkLst>
        <pc:spChg chg="mod ord">
          <ac:chgData name="Jean GRANDEMANGE" userId="faf07584-8716-430e-b66d-4ceae2fe8450" providerId="ADAL" clId="{5BA9D65E-4355-43B5-9FAC-0CE2D0775271}" dt="2023-01-27T16:09:03.256" v="8783" actId="700"/>
          <ac:spMkLst>
            <pc:docMk/>
            <pc:sldMk cId="2833638216" sldId="2147376740"/>
            <ac:spMk id="3" creationId="{777E0858-0F8F-E0DD-106E-48C4915B1928}"/>
          </ac:spMkLst>
        </pc:spChg>
        <pc:spChg chg="mod ord">
          <ac:chgData name="Jean GRANDEMANGE" userId="faf07584-8716-430e-b66d-4ceae2fe8450" providerId="ADAL" clId="{5BA9D65E-4355-43B5-9FAC-0CE2D0775271}" dt="2023-01-27T16:09:11.790" v="8786" actId="14100"/>
          <ac:spMkLst>
            <pc:docMk/>
            <pc:sldMk cId="2833638216" sldId="2147376740"/>
            <ac:spMk id="4" creationId="{09C0B6CC-E77D-987F-BC62-87740DD32844}"/>
          </ac:spMkLst>
        </pc:spChg>
        <pc:spChg chg="del">
          <ac:chgData name="Jean GRANDEMANGE" userId="faf07584-8716-430e-b66d-4ceae2fe8450" providerId="ADAL" clId="{5BA9D65E-4355-43B5-9FAC-0CE2D0775271}" dt="2023-01-27T16:09:28.904" v="8790" actId="478"/>
          <ac:spMkLst>
            <pc:docMk/>
            <pc:sldMk cId="2833638216" sldId="2147376740"/>
            <ac:spMk id="6" creationId="{4C800193-6D5A-E8DB-6F17-105464F091F5}"/>
          </ac:spMkLst>
        </pc:spChg>
        <pc:spChg chg="mod">
          <ac:chgData name="Jean GRANDEMANGE" userId="faf07584-8716-430e-b66d-4ceae2fe8450" providerId="ADAL" clId="{5BA9D65E-4355-43B5-9FAC-0CE2D0775271}" dt="2023-01-27T16:10:12.488" v="8793" actId="1076"/>
          <ac:spMkLst>
            <pc:docMk/>
            <pc:sldMk cId="2833638216" sldId="2147376740"/>
            <ac:spMk id="9" creationId="{C68FFCD4-B90C-953D-4321-4572DF897035}"/>
          </ac:spMkLst>
        </pc:spChg>
        <pc:spChg chg="mod">
          <ac:chgData name="Jean GRANDEMANGE" userId="faf07584-8716-430e-b66d-4ceae2fe8450" providerId="ADAL" clId="{5BA9D65E-4355-43B5-9FAC-0CE2D0775271}" dt="2023-01-27T16:10:07.736" v="8791" actId="1076"/>
          <ac:spMkLst>
            <pc:docMk/>
            <pc:sldMk cId="2833638216" sldId="2147376740"/>
            <ac:spMk id="37" creationId="{09513387-B74D-00ED-6F8B-B4FC6ADB7092}"/>
          </ac:spMkLst>
        </pc:spChg>
        <pc:spChg chg="mod">
          <ac:chgData name="Jean GRANDEMANGE" userId="faf07584-8716-430e-b66d-4ceae2fe8450" providerId="ADAL" clId="{5BA9D65E-4355-43B5-9FAC-0CE2D0775271}" dt="2023-01-27T16:09:24.099" v="8788" actId="164"/>
          <ac:spMkLst>
            <pc:docMk/>
            <pc:sldMk cId="2833638216" sldId="2147376740"/>
            <ac:spMk id="39" creationId="{6699333A-6E0F-ED71-6B75-CB463E997DCD}"/>
          </ac:spMkLst>
        </pc:spChg>
        <pc:grpChg chg="add mod">
          <ac:chgData name="Jean GRANDEMANGE" userId="faf07584-8716-430e-b66d-4ceae2fe8450" providerId="ADAL" clId="{5BA9D65E-4355-43B5-9FAC-0CE2D0775271}" dt="2023-01-27T16:10:07.736" v="8791" actId="1076"/>
          <ac:grpSpMkLst>
            <pc:docMk/>
            <pc:sldMk cId="2833638216" sldId="2147376740"/>
            <ac:grpSpMk id="2" creationId="{26F77941-9EB5-7C07-B233-A733CA1A7582}"/>
          </ac:grpSpMkLst>
        </pc:grpChg>
        <pc:grpChg chg="mod">
          <ac:chgData name="Jean GRANDEMANGE" userId="faf07584-8716-430e-b66d-4ceae2fe8450" providerId="ADAL" clId="{5BA9D65E-4355-43B5-9FAC-0CE2D0775271}" dt="2023-01-27T16:10:10.361" v="8792" actId="465"/>
          <ac:grpSpMkLst>
            <pc:docMk/>
            <pc:sldMk cId="2833638216" sldId="2147376740"/>
            <ac:grpSpMk id="32" creationId="{2D3180C7-1CC3-2E4E-3617-64BF3383DC27}"/>
          </ac:grpSpMkLst>
        </pc:grpChg>
        <pc:picChg chg="mod">
          <ac:chgData name="Jean GRANDEMANGE" userId="faf07584-8716-430e-b66d-4ceae2fe8450" providerId="ADAL" clId="{5BA9D65E-4355-43B5-9FAC-0CE2D0775271}" dt="2023-01-27T16:09:24.099" v="8788" actId="164"/>
          <ac:picMkLst>
            <pc:docMk/>
            <pc:sldMk cId="2833638216" sldId="2147376740"/>
            <ac:picMk id="42" creationId="{78EF08DB-5B45-776F-D27C-E624F9DCF58C}"/>
          </ac:picMkLst>
        </pc:picChg>
      </pc:sldChg>
      <pc:sldChg chg="addSp delSp modSp add mod modClrScheme chgLayout">
        <pc:chgData name="Jean GRANDEMANGE" userId="faf07584-8716-430e-b66d-4ceae2fe8450" providerId="ADAL" clId="{5BA9D65E-4355-43B5-9FAC-0CE2D0775271}" dt="2023-01-27T16:39:57.100" v="9337" actId="20577"/>
        <pc:sldMkLst>
          <pc:docMk/>
          <pc:sldMk cId="3078606242" sldId="2147376748"/>
        </pc:sldMkLst>
        <pc:spChg chg="del mod">
          <ac:chgData name="Jean GRANDEMANGE" userId="faf07584-8716-430e-b66d-4ceae2fe8450" providerId="ADAL" clId="{5BA9D65E-4355-43B5-9FAC-0CE2D0775271}" dt="2023-01-27T16:17:29.305" v="8897" actId="700"/>
          <ac:spMkLst>
            <pc:docMk/>
            <pc:sldMk cId="3078606242" sldId="2147376748"/>
            <ac:spMk id="2" creationId="{8F443D28-9D82-2AB1-79D3-B8F3A0445DEC}"/>
          </ac:spMkLst>
        </pc:spChg>
        <pc:spChg chg="mod ord">
          <ac:chgData name="Jean GRANDEMANGE" userId="faf07584-8716-430e-b66d-4ceae2fe8450" providerId="ADAL" clId="{5BA9D65E-4355-43B5-9FAC-0CE2D0775271}" dt="2023-01-27T16:39:57.100" v="9337" actId="20577"/>
          <ac:spMkLst>
            <pc:docMk/>
            <pc:sldMk cId="3078606242" sldId="2147376748"/>
            <ac:spMk id="3" creationId="{95204A0D-BADF-DF30-3E2C-B55A2450B951}"/>
          </ac:spMkLst>
        </pc:spChg>
        <pc:spChg chg="add del mod ord">
          <ac:chgData name="Jean GRANDEMANGE" userId="faf07584-8716-430e-b66d-4ceae2fe8450" providerId="ADAL" clId="{5BA9D65E-4355-43B5-9FAC-0CE2D0775271}" dt="2023-01-27T16:27:55.679" v="9008" actId="478"/>
          <ac:spMkLst>
            <pc:docMk/>
            <pc:sldMk cId="3078606242" sldId="2147376748"/>
            <ac:spMk id="4" creationId="{68EA2BED-BD68-C28A-F9CB-5A01F3CDEE9E}"/>
          </ac:spMkLst>
        </pc:spChg>
        <pc:spChg chg="mod">
          <ac:chgData name="Jean GRANDEMANGE" userId="faf07584-8716-430e-b66d-4ceae2fe8450" providerId="ADAL" clId="{5BA9D65E-4355-43B5-9FAC-0CE2D0775271}" dt="2023-01-27T16:18:19.074" v="8938" actId="465"/>
          <ac:spMkLst>
            <pc:docMk/>
            <pc:sldMk cId="3078606242" sldId="2147376748"/>
            <ac:spMk id="5" creationId="{E45015F4-4027-5FD7-8A4D-B041C75533E8}"/>
          </ac:spMkLst>
        </pc:spChg>
        <pc:spChg chg="mod">
          <ac:chgData name="Jean GRANDEMANGE" userId="faf07584-8716-430e-b66d-4ceae2fe8450" providerId="ADAL" clId="{5BA9D65E-4355-43B5-9FAC-0CE2D0775271}" dt="2023-01-27T16:18:07.627" v="8937" actId="1076"/>
          <ac:spMkLst>
            <pc:docMk/>
            <pc:sldMk cId="3078606242" sldId="2147376748"/>
            <ac:spMk id="6" creationId="{D0AB514F-93E6-8BB5-735A-0B0888DCE624}"/>
          </ac:spMkLst>
        </pc:spChg>
        <pc:spChg chg="mod">
          <ac:chgData name="Jean GRANDEMANGE" userId="faf07584-8716-430e-b66d-4ceae2fe8450" providerId="ADAL" clId="{5BA9D65E-4355-43B5-9FAC-0CE2D0775271}" dt="2023-01-27T16:18:07.627" v="8937" actId="1076"/>
          <ac:spMkLst>
            <pc:docMk/>
            <pc:sldMk cId="3078606242" sldId="2147376748"/>
            <ac:spMk id="8" creationId="{C7F6C4BC-7D66-FBA5-C827-E767D1EDC26D}"/>
          </ac:spMkLst>
        </pc:spChg>
        <pc:spChg chg="mod">
          <ac:chgData name="Jean GRANDEMANGE" userId="faf07584-8716-430e-b66d-4ceae2fe8450" providerId="ADAL" clId="{5BA9D65E-4355-43B5-9FAC-0CE2D0775271}" dt="2023-01-27T16:18:19.074" v="8938" actId="465"/>
          <ac:spMkLst>
            <pc:docMk/>
            <pc:sldMk cId="3078606242" sldId="2147376748"/>
            <ac:spMk id="9" creationId="{43B97D45-2D66-1462-5F84-D0D4CF04F74A}"/>
          </ac:spMkLst>
        </pc:spChg>
        <pc:spChg chg="mod">
          <ac:chgData name="Jean GRANDEMANGE" userId="faf07584-8716-430e-b66d-4ceae2fe8450" providerId="ADAL" clId="{5BA9D65E-4355-43B5-9FAC-0CE2D0775271}" dt="2023-01-27T16:18:19.074" v="8938" actId="465"/>
          <ac:spMkLst>
            <pc:docMk/>
            <pc:sldMk cId="3078606242" sldId="2147376748"/>
            <ac:spMk id="11" creationId="{3D4A0A3E-B696-05FD-EB0D-491E0021306E}"/>
          </ac:spMkLst>
        </pc:spChg>
        <pc:spChg chg="mod">
          <ac:chgData name="Jean GRANDEMANGE" userId="faf07584-8716-430e-b66d-4ceae2fe8450" providerId="ADAL" clId="{5BA9D65E-4355-43B5-9FAC-0CE2D0775271}" dt="2023-01-27T16:18:19.074" v="8938" actId="465"/>
          <ac:spMkLst>
            <pc:docMk/>
            <pc:sldMk cId="3078606242" sldId="2147376748"/>
            <ac:spMk id="15" creationId="{4064E4B8-270A-1F90-8769-3AFA9F674F65}"/>
          </ac:spMkLst>
        </pc:spChg>
        <pc:spChg chg="del">
          <ac:chgData name="Jean GRANDEMANGE" userId="faf07584-8716-430e-b66d-4ceae2fe8450" providerId="ADAL" clId="{5BA9D65E-4355-43B5-9FAC-0CE2D0775271}" dt="2023-01-27T16:18:02.523" v="8935" actId="478"/>
          <ac:spMkLst>
            <pc:docMk/>
            <pc:sldMk cId="3078606242" sldId="2147376748"/>
            <ac:spMk id="16" creationId="{65A92261-1823-51C0-D316-501836FAE313}"/>
          </ac:spMkLst>
        </pc:spChg>
        <pc:spChg chg="del">
          <ac:chgData name="Jean GRANDEMANGE" userId="faf07584-8716-430e-b66d-4ceae2fe8450" providerId="ADAL" clId="{5BA9D65E-4355-43B5-9FAC-0CE2D0775271}" dt="2023-01-27T16:17:50.101" v="8933" actId="478"/>
          <ac:spMkLst>
            <pc:docMk/>
            <pc:sldMk cId="3078606242" sldId="2147376748"/>
            <ac:spMk id="17" creationId="{5C7935F4-DC2A-6F68-AABD-C81DF3EC8278}"/>
          </ac:spMkLst>
        </pc:spChg>
        <pc:spChg chg="mod">
          <ac:chgData name="Jean GRANDEMANGE" userId="faf07584-8716-430e-b66d-4ceae2fe8450" providerId="ADAL" clId="{5BA9D65E-4355-43B5-9FAC-0CE2D0775271}" dt="2023-01-27T16:18:07.627" v="8937" actId="1076"/>
          <ac:spMkLst>
            <pc:docMk/>
            <pc:sldMk cId="3078606242" sldId="2147376748"/>
            <ac:spMk id="19" creationId="{8BB820D1-8C2E-0B1E-2EE2-697FC20E5C9B}"/>
          </ac:spMkLst>
        </pc:spChg>
        <pc:spChg chg="del">
          <ac:chgData name="Jean GRANDEMANGE" userId="faf07584-8716-430e-b66d-4ceae2fe8450" providerId="ADAL" clId="{5BA9D65E-4355-43B5-9FAC-0CE2D0775271}" dt="2023-01-27T16:17:46.685" v="8932" actId="478"/>
          <ac:spMkLst>
            <pc:docMk/>
            <pc:sldMk cId="3078606242" sldId="2147376748"/>
            <ac:spMk id="24" creationId="{639136C1-D685-DC23-F1ED-A8D8CE4B7C91}"/>
          </ac:spMkLst>
        </pc:spChg>
        <pc:spChg chg="mod">
          <ac:chgData name="Jean GRANDEMANGE" userId="faf07584-8716-430e-b66d-4ceae2fe8450" providerId="ADAL" clId="{5BA9D65E-4355-43B5-9FAC-0CE2D0775271}" dt="2023-01-27T16:18:25.839" v="8940" actId="1076"/>
          <ac:spMkLst>
            <pc:docMk/>
            <pc:sldMk cId="3078606242" sldId="2147376748"/>
            <ac:spMk id="29" creationId="{9C8B5652-C43A-840B-EC9E-B517A9CB093C}"/>
          </ac:spMkLst>
        </pc:spChg>
        <pc:spChg chg="mod">
          <ac:chgData name="Jean GRANDEMANGE" userId="faf07584-8716-430e-b66d-4ceae2fe8450" providerId="ADAL" clId="{5BA9D65E-4355-43B5-9FAC-0CE2D0775271}" dt="2023-01-27T16:18:25.839" v="8940" actId="1076"/>
          <ac:spMkLst>
            <pc:docMk/>
            <pc:sldMk cId="3078606242" sldId="2147376748"/>
            <ac:spMk id="30" creationId="{BF1E8029-4673-52EE-17CF-510DE848453F}"/>
          </ac:spMkLst>
        </pc:spChg>
        <pc:spChg chg="del">
          <ac:chgData name="Jean GRANDEMANGE" userId="faf07584-8716-430e-b66d-4ceae2fe8450" providerId="ADAL" clId="{5BA9D65E-4355-43B5-9FAC-0CE2D0775271}" dt="2023-01-27T16:18:02.523" v="8935" actId="478"/>
          <ac:spMkLst>
            <pc:docMk/>
            <pc:sldMk cId="3078606242" sldId="2147376748"/>
            <ac:spMk id="31" creationId="{E19382B0-A297-BAD1-E99D-86B0B1874636}"/>
          </ac:spMkLst>
        </pc:spChg>
        <pc:spChg chg="del">
          <ac:chgData name="Jean GRANDEMANGE" userId="faf07584-8716-430e-b66d-4ceae2fe8450" providerId="ADAL" clId="{5BA9D65E-4355-43B5-9FAC-0CE2D0775271}" dt="2023-01-27T16:18:02.523" v="8935" actId="478"/>
          <ac:spMkLst>
            <pc:docMk/>
            <pc:sldMk cId="3078606242" sldId="2147376748"/>
            <ac:spMk id="32" creationId="{DFC3960B-89E6-910F-E9D9-1C0F740C1B36}"/>
          </ac:spMkLst>
        </pc:spChg>
        <pc:spChg chg="mod">
          <ac:chgData name="Jean GRANDEMANGE" userId="faf07584-8716-430e-b66d-4ceae2fe8450" providerId="ADAL" clId="{5BA9D65E-4355-43B5-9FAC-0CE2D0775271}" dt="2023-01-27T16:18:07.627" v="8937" actId="1076"/>
          <ac:spMkLst>
            <pc:docMk/>
            <pc:sldMk cId="3078606242" sldId="2147376748"/>
            <ac:spMk id="33" creationId="{9606DE84-A38D-EB23-8EF4-9767051D3A0F}"/>
          </ac:spMkLst>
        </pc:spChg>
        <pc:spChg chg="mod">
          <ac:chgData name="Jean GRANDEMANGE" userId="faf07584-8716-430e-b66d-4ceae2fe8450" providerId="ADAL" clId="{5BA9D65E-4355-43B5-9FAC-0CE2D0775271}" dt="2023-01-27T16:18:07.627" v="8937" actId="1076"/>
          <ac:spMkLst>
            <pc:docMk/>
            <pc:sldMk cId="3078606242" sldId="2147376748"/>
            <ac:spMk id="34" creationId="{39739104-4F7D-31CF-744B-32639E202C9A}"/>
          </ac:spMkLst>
        </pc:spChg>
        <pc:spChg chg="mod">
          <ac:chgData name="Jean GRANDEMANGE" userId="faf07584-8716-430e-b66d-4ceae2fe8450" providerId="ADAL" clId="{5BA9D65E-4355-43B5-9FAC-0CE2D0775271}" dt="2023-01-27T16:18:23.290" v="8939" actId="1076"/>
          <ac:spMkLst>
            <pc:docMk/>
            <pc:sldMk cId="3078606242" sldId="2147376748"/>
            <ac:spMk id="36" creationId="{95FD4FCF-F2D2-B6F6-0091-FB1222D17802}"/>
          </ac:spMkLst>
        </pc:spChg>
        <pc:spChg chg="mod">
          <ac:chgData name="Jean GRANDEMANGE" userId="faf07584-8716-430e-b66d-4ceae2fe8450" providerId="ADAL" clId="{5BA9D65E-4355-43B5-9FAC-0CE2D0775271}" dt="2023-01-27T16:18:23.290" v="8939" actId="1076"/>
          <ac:spMkLst>
            <pc:docMk/>
            <pc:sldMk cId="3078606242" sldId="2147376748"/>
            <ac:spMk id="37" creationId="{80B06B49-6265-13C8-5AAA-ED957C14E22B}"/>
          </ac:spMkLst>
        </pc:spChg>
        <pc:spChg chg="mod">
          <ac:chgData name="Jean GRANDEMANGE" userId="faf07584-8716-430e-b66d-4ceae2fe8450" providerId="ADAL" clId="{5BA9D65E-4355-43B5-9FAC-0CE2D0775271}" dt="2023-01-27T16:18:28" v="8941" actId="1076"/>
          <ac:spMkLst>
            <pc:docMk/>
            <pc:sldMk cId="3078606242" sldId="2147376748"/>
            <ac:spMk id="41" creationId="{2B79D290-32AE-B9E2-8D6B-D4768FC14141}"/>
          </ac:spMkLst>
        </pc:spChg>
        <pc:spChg chg="mod">
          <ac:chgData name="Jean GRANDEMANGE" userId="faf07584-8716-430e-b66d-4ceae2fe8450" providerId="ADAL" clId="{5BA9D65E-4355-43B5-9FAC-0CE2D0775271}" dt="2023-01-27T16:18:28" v="8941" actId="1076"/>
          <ac:spMkLst>
            <pc:docMk/>
            <pc:sldMk cId="3078606242" sldId="2147376748"/>
            <ac:spMk id="42" creationId="{49E60316-4233-B132-E79B-DA8B5BAF0BA6}"/>
          </ac:spMkLst>
        </pc:spChg>
        <pc:spChg chg="mod">
          <ac:chgData name="Jean GRANDEMANGE" userId="faf07584-8716-430e-b66d-4ceae2fe8450" providerId="ADAL" clId="{5BA9D65E-4355-43B5-9FAC-0CE2D0775271}" dt="2023-01-27T16:18:07.627" v="8937" actId="1076"/>
          <ac:spMkLst>
            <pc:docMk/>
            <pc:sldMk cId="3078606242" sldId="2147376748"/>
            <ac:spMk id="199" creationId="{E0E5AE2C-587F-E119-E60F-2A5A99E892B0}"/>
          </ac:spMkLst>
        </pc:spChg>
      </pc:sldChg>
      <pc:sldChg chg="addSp delSp modSp add mod ord setBg">
        <pc:chgData name="Jean GRANDEMANGE" userId="faf07584-8716-430e-b66d-4ceae2fe8450" providerId="ADAL" clId="{5BA9D65E-4355-43B5-9FAC-0CE2D0775271}" dt="2023-01-28T13:28:43.076" v="11871" actId="20578"/>
        <pc:sldMkLst>
          <pc:docMk/>
          <pc:sldMk cId="3465486402" sldId="2147469770"/>
        </pc:sldMkLst>
        <pc:spChg chg="del">
          <ac:chgData name="Jean GRANDEMANGE" userId="faf07584-8716-430e-b66d-4ceae2fe8450" providerId="ADAL" clId="{5BA9D65E-4355-43B5-9FAC-0CE2D0775271}" dt="2023-01-27T11:01:47.611" v="3960" actId="478"/>
          <ac:spMkLst>
            <pc:docMk/>
            <pc:sldMk cId="3465486402" sldId="2147469770"/>
            <ac:spMk id="2" creationId="{64C46430-2C72-4111-B96A-5837666A60F8}"/>
          </ac:spMkLst>
        </pc:spChg>
        <pc:spChg chg="mod">
          <ac:chgData name="Jean GRANDEMANGE" userId="faf07584-8716-430e-b66d-4ceae2fe8450" providerId="ADAL" clId="{5BA9D65E-4355-43B5-9FAC-0CE2D0775271}" dt="2023-01-27T10:56:49.349" v="3836" actId="20577"/>
          <ac:spMkLst>
            <pc:docMk/>
            <pc:sldMk cId="3465486402" sldId="2147469770"/>
            <ac:spMk id="3" creationId="{6290F247-B1ED-4528-A38B-D7AF0F731819}"/>
          </ac:spMkLst>
        </pc:spChg>
        <pc:spChg chg="add mod">
          <ac:chgData name="Jean GRANDEMANGE" userId="faf07584-8716-430e-b66d-4ceae2fe8450" providerId="ADAL" clId="{5BA9D65E-4355-43B5-9FAC-0CE2D0775271}" dt="2023-01-27T17:07:23.928" v="10236" actId="20577"/>
          <ac:spMkLst>
            <pc:docMk/>
            <pc:sldMk cId="3465486402" sldId="2147469770"/>
            <ac:spMk id="4" creationId="{5C515F64-DD63-74A6-9375-8F338D9F2CDC}"/>
          </ac:spMkLst>
        </pc:spChg>
        <pc:spChg chg="del mod">
          <ac:chgData name="Jean GRANDEMANGE" userId="faf07584-8716-430e-b66d-4ceae2fe8450" providerId="ADAL" clId="{5BA9D65E-4355-43B5-9FAC-0CE2D0775271}" dt="2023-01-27T10:56:37.240" v="3832" actId="478"/>
          <ac:spMkLst>
            <pc:docMk/>
            <pc:sldMk cId="3465486402" sldId="2147469770"/>
            <ac:spMk id="6" creationId="{041DA4FD-77C0-487E-B6B6-864E18DCFA6B}"/>
          </ac:spMkLst>
        </pc:spChg>
        <pc:spChg chg="mod">
          <ac:chgData name="Jean GRANDEMANGE" userId="faf07584-8716-430e-b66d-4ceae2fe8450" providerId="ADAL" clId="{5BA9D65E-4355-43B5-9FAC-0CE2D0775271}" dt="2023-01-27T11:02:13.650" v="3962" actId="1076"/>
          <ac:spMkLst>
            <pc:docMk/>
            <pc:sldMk cId="3465486402" sldId="2147469770"/>
            <ac:spMk id="7" creationId="{D14D8E5C-9C8C-4876-9FC0-4E3011A4B796}"/>
          </ac:spMkLst>
        </pc:spChg>
        <pc:spChg chg="mod">
          <ac:chgData name="Jean GRANDEMANGE" userId="faf07584-8716-430e-b66d-4ceae2fe8450" providerId="ADAL" clId="{5BA9D65E-4355-43B5-9FAC-0CE2D0775271}" dt="2023-01-27T17:07:14.326" v="10230" actId="20577"/>
          <ac:spMkLst>
            <pc:docMk/>
            <pc:sldMk cId="3465486402" sldId="2147469770"/>
            <ac:spMk id="8" creationId="{0163F83C-6956-4A5D-9DB9-84B4E85778F7}"/>
          </ac:spMkLst>
        </pc:spChg>
        <pc:spChg chg="mod">
          <ac:chgData name="Jean GRANDEMANGE" userId="faf07584-8716-430e-b66d-4ceae2fe8450" providerId="ADAL" clId="{5BA9D65E-4355-43B5-9FAC-0CE2D0775271}" dt="2023-01-27T11:02:13.650" v="3962" actId="1076"/>
          <ac:spMkLst>
            <pc:docMk/>
            <pc:sldMk cId="3465486402" sldId="2147469770"/>
            <ac:spMk id="10" creationId="{BF2C48B4-D903-4A9B-B7C1-DAF4EB5C6FAF}"/>
          </ac:spMkLst>
        </pc:spChg>
        <pc:spChg chg="mod">
          <ac:chgData name="Jean GRANDEMANGE" userId="faf07584-8716-430e-b66d-4ceae2fe8450" providerId="ADAL" clId="{5BA9D65E-4355-43B5-9FAC-0CE2D0775271}" dt="2023-01-27T11:02:13.650" v="3962" actId="1076"/>
          <ac:spMkLst>
            <pc:docMk/>
            <pc:sldMk cId="3465486402" sldId="2147469770"/>
            <ac:spMk id="11" creationId="{908F02FE-D370-40BD-94F4-D4748ECB75E4}"/>
          </ac:spMkLst>
        </pc:spChg>
        <pc:spChg chg="mod">
          <ac:chgData name="Jean GRANDEMANGE" userId="faf07584-8716-430e-b66d-4ceae2fe8450" providerId="ADAL" clId="{5BA9D65E-4355-43B5-9FAC-0CE2D0775271}" dt="2023-01-27T11:03:54.496" v="4134" actId="1076"/>
          <ac:spMkLst>
            <pc:docMk/>
            <pc:sldMk cId="3465486402" sldId="2147469770"/>
            <ac:spMk id="12" creationId="{42291071-1313-4E43-A1A3-181CA0892F30}"/>
          </ac:spMkLst>
        </pc:spChg>
        <pc:spChg chg="mod">
          <ac:chgData name="Jean GRANDEMANGE" userId="faf07584-8716-430e-b66d-4ceae2fe8450" providerId="ADAL" clId="{5BA9D65E-4355-43B5-9FAC-0CE2D0775271}" dt="2023-01-27T11:04:00.268" v="4136" actId="1076"/>
          <ac:spMkLst>
            <pc:docMk/>
            <pc:sldMk cId="3465486402" sldId="2147469770"/>
            <ac:spMk id="13" creationId="{9C0A17BD-C1B2-4B2F-B86B-9BF775A83854}"/>
          </ac:spMkLst>
        </pc:spChg>
        <pc:spChg chg="mod">
          <ac:chgData name="Jean GRANDEMANGE" userId="faf07584-8716-430e-b66d-4ceae2fe8450" providerId="ADAL" clId="{5BA9D65E-4355-43B5-9FAC-0CE2D0775271}" dt="2023-01-27T11:04:06.560" v="4138" actId="1076"/>
          <ac:spMkLst>
            <pc:docMk/>
            <pc:sldMk cId="3465486402" sldId="2147469770"/>
            <ac:spMk id="14" creationId="{C83221E7-7704-4353-9D99-E16ABFD2F66B}"/>
          </ac:spMkLst>
        </pc:spChg>
        <pc:spChg chg="mod">
          <ac:chgData name="Jean GRANDEMANGE" userId="faf07584-8716-430e-b66d-4ceae2fe8450" providerId="ADAL" clId="{5BA9D65E-4355-43B5-9FAC-0CE2D0775271}" dt="2023-01-27T11:02:13.650" v="3962" actId="1076"/>
          <ac:spMkLst>
            <pc:docMk/>
            <pc:sldMk cId="3465486402" sldId="2147469770"/>
            <ac:spMk id="20" creationId="{A3F97E6F-CA61-4A48-B341-93FC9C5904BA}"/>
          </ac:spMkLst>
        </pc:spChg>
        <pc:spChg chg="mod">
          <ac:chgData name="Jean GRANDEMANGE" userId="faf07584-8716-430e-b66d-4ceae2fe8450" providerId="ADAL" clId="{5BA9D65E-4355-43B5-9FAC-0CE2D0775271}" dt="2023-01-27T11:02:13.650" v="3962" actId="1076"/>
          <ac:spMkLst>
            <pc:docMk/>
            <pc:sldMk cId="3465486402" sldId="2147469770"/>
            <ac:spMk id="21" creationId="{B769B89A-C1D7-4925-B68F-39DB2DC1D3FD}"/>
          </ac:spMkLst>
        </pc:spChg>
        <pc:spChg chg="mod">
          <ac:chgData name="Jean GRANDEMANGE" userId="faf07584-8716-430e-b66d-4ceae2fe8450" providerId="ADAL" clId="{5BA9D65E-4355-43B5-9FAC-0CE2D0775271}" dt="2023-01-27T11:02:13.650" v="3962" actId="1076"/>
          <ac:spMkLst>
            <pc:docMk/>
            <pc:sldMk cId="3465486402" sldId="2147469770"/>
            <ac:spMk id="22" creationId="{C6C68278-7357-43CE-B9D1-7C31150C4616}"/>
          </ac:spMkLst>
        </pc:spChg>
        <pc:spChg chg="mod">
          <ac:chgData name="Jean GRANDEMANGE" userId="faf07584-8716-430e-b66d-4ceae2fe8450" providerId="ADAL" clId="{5BA9D65E-4355-43B5-9FAC-0CE2D0775271}" dt="2023-01-27T11:02:13.650" v="3962" actId="1076"/>
          <ac:spMkLst>
            <pc:docMk/>
            <pc:sldMk cId="3465486402" sldId="2147469770"/>
            <ac:spMk id="23" creationId="{E04E669E-00EC-4DC2-8591-BA2EC1F23BA2}"/>
          </ac:spMkLst>
        </pc:spChg>
        <pc:spChg chg="mod">
          <ac:chgData name="Jean GRANDEMANGE" userId="faf07584-8716-430e-b66d-4ceae2fe8450" providerId="ADAL" clId="{5BA9D65E-4355-43B5-9FAC-0CE2D0775271}" dt="2023-01-27T11:02:13.650" v="3962" actId="1076"/>
          <ac:spMkLst>
            <pc:docMk/>
            <pc:sldMk cId="3465486402" sldId="2147469770"/>
            <ac:spMk id="24" creationId="{49B49129-B8FE-44A8-AAFF-4230BCDA0E9C}"/>
          </ac:spMkLst>
        </pc:spChg>
        <pc:spChg chg="mod">
          <ac:chgData name="Jean GRANDEMANGE" userId="faf07584-8716-430e-b66d-4ceae2fe8450" providerId="ADAL" clId="{5BA9D65E-4355-43B5-9FAC-0CE2D0775271}" dt="2023-01-27T11:03:28.048" v="4073" actId="20577"/>
          <ac:spMkLst>
            <pc:docMk/>
            <pc:sldMk cId="3465486402" sldId="2147469770"/>
            <ac:spMk id="25" creationId="{51BD3975-2612-485C-876F-D9F753A5BE2A}"/>
          </ac:spMkLst>
        </pc:spChg>
        <pc:spChg chg="mod">
          <ac:chgData name="Jean GRANDEMANGE" userId="faf07584-8716-430e-b66d-4ceae2fe8450" providerId="ADAL" clId="{5BA9D65E-4355-43B5-9FAC-0CE2D0775271}" dt="2023-01-27T17:07:05.656" v="10225" actId="20577"/>
          <ac:spMkLst>
            <pc:docMk/>
            <pc:sldMk cId="3465486402" sldId="2147469770"/>
            <ac:spMk id="26" creationId="{882669B5-A728-43DC-B3B5-42923C69F4A0}"/>
          </ac:spMkLst>
        </pc:spChg>
        <pc:spChg chg="mod">
          <ac:chgData name="Jean GRANDEMANGE" userId="faf07584-8716-430e-b66d-4ceae2fe8450" providerId="ADAL" clId="{5BA9D65E-4355-43B5-9FAC-0CE2D0775271}" dt="2023-01-27T11:02:13.650" v="3962" actId="1076"/>
          <ac:spMkLst>
            <pc:docMk/>
            <pc:sldMk cId="3465486402" sldId="2147469770"/>
            <ac:spMk id="27" creationId="{EEFDF46D-3C64-4220-9F1B-60B77EBA99E4}"/>
          </ac:spMkLst>
        </pc:spChg>
        <pc:spChg chg="mod">
          <ac:chgData name="Jean GRANDEMANGE" userId="faf07584-8716-430e-b66d-4ceae2fe8450" providerId="ADAL" clId="{5BA9D65E-4355-43B5-9FAC-0CE2D0775271}" dt="2023-01-27T11:02:13.650" v="3962" actId="1076"/>
          <ac:spMkLst>
            <pc:docMk/>
            <pc:sldMk cId="3465486402" sldId="2147469770"/>
            <ac:spMk id="28" creationId="{2C00E5A5-A261-4331-B46E-C468CA99C77B}"/>
          </ac:spMkLst>
        </pc:spChg>
        <pc:spChg chg="mod">
          <ac:chgData name="Jean GRANDEMANGE" userId="faf07584-8716-430e-b66d-4ceae2fe8450" providerId="ADAL" clId="{5BA9D65E-4355-43B5-9FAC-0CE2D0775271}" dt="2023-01-27T11:05:56.644" v="4596" actId="20577"/>
          <ac:spMkLst>
            <pc:docMk/>
            <pc:sldMk cId="3465486402" sldId="2147469770"/>
            <ac:spMk id="29" creationId="{9D712442-E734-4D03-816D-D49D1B9FEDDB}"/>
          </ac:spMkLst>
        </pc:spChg>
        <pc:spChg chg="mod">
          <ac:chgData name="Jean GRANDEMANGE" userId="faf07584-8716-430e-b66d-4ceae2fe8450" providerId="ADAL" clId="{5BA9D65E-4355-43B5-9FAC-0CE2D0775271}" dt="2023-01-27T11:02:13.650" v="3962" actId="1076"/>
          <ac:spMkLst>
            <pc:docMk/>
            <pc:sldMk cId="3465486402" sldId="2147469770"/>
            <ac:spMk id="30" creationId="{58F5C73C-6FCD-4682-8D9B-8E733FB704D0}"/>
          </ac:spMkLst>
        </pc:spChg>
        <pc:spChg chg="mod">
          <ac:chgData name="Jean GRANDEMANGE" userId="faf07584-8716-430e-b66d-4ceae2fe8450" providerId="ADAL" clId="{5BA9D65E-4355-43B5-9FAC-0CE2D0775271}" dt="2023-01-27T11:02:13.650" v="3962" actId="1076"/>
          <ac:spMkLst>
            <pc:docMk/>
            <pc:sldMk cId="3465486402" sldId="2147469770"/>
            <ac:spMk id="31" creationId="{1A8FB0DC-84C0-4F8D-AD9E-99D8F7F14DA7}"/>
          </ac:spMkLst>
        </pc:spChg>
        <pc:spChg chg="mod">
          <ac:chgData name="Jean GRANDEMANGE" userId="faf07584-8716-430e-b66d-4ceae2fe8450" providerId="ADAL" clId="{5BA9D65E-4355-43B5-9FAC-0CE2D0775271}" dt="2023-01-27T11:04:03.038" v="4137" actId="14100"/>
          <ac:spMkLst>
            <pc:docMk/>
            <pc:sldMk cId="3465486402" sldId="2147469770"/>
            <ac:spMk id="32" creationId="{841008B7-96A1-47B2-B7F8-7389BB041A2C}"/>
          </ac:spMkLst>
        </pc:spChg>
        <pc:spChg chg="mod">
          <ac:chgData name="Jean GRANDEMANGE" userId="faf07584-8716-430e-b66d-4ceae2fe8450" providerId="ADAL" clId="{5BA9D65E-4355-43B5-9FAC-0CE2D0775271}" dt="2023-01-27T11:02:13.650" v="3962" actId="1076"/>
          <ac:spMkLst>
            <pc:docMk/>
            <pc:sldMk cId="3465486402" sldId="2147469770"/>
            <ac:spMk id="38" creationId="{C8B9F8AA-0383-4ECE-A9EF-93EBC80138A8}"/>
          </ac:spMkLst>
        </pc:spChg>
        <pc:spChg chg="mod">
          <ac:chgData name="Jean GRANDEMANGE" userId="faf07584-8716-430e-b66d-4ceae2fe8450" providerId="ADAL" clId="{5BA9D65E-4355-43B5-9FAC-0CE2D0775271}" dt="2023-01-27T11:02:13.650" v="3962" actId="1076"/>
          <ac:spMkLst>
            <pc:docMk/>
            <pc:sldMk cId="3465486402" sldId="2147469770"/>
            <ac:spMk id="39" creationId="{68418DC3-7A19-415F-80AF-BA34DF75A51B}"/>
          </ac:spMkLst>
        </pc:spChg>
        <pc:spChg chg="mod">
          <ac:chgData name="Jean GRANDEMANGE" userId="faf07584-8716-430e-b66d-4ceae2fe8450" providerId="ADAL" clId="{5BA9D65E-4355-43B5-9FAC-0CE2D0775271}" dt="2023-01-27T11:07:00.447" v="4649" actId="20577"/>
          <ac:spMkLst>
            <pc:docMk/>
            <pc:sldMk cId="3465486402" sldId="2147469770"/>
            <ac:spMk id="40" creationId="{12506B6F-E110-4A70-B7A7-6D8A97CB967F}"/>
          </ac:spMkLst>
        </pc:spChg>
        <pc:spChg chg="del">
          <ac:chgData name="Jean GRANDEMANGE" userId="faf07584-8716-430e-b66d-4ceae2fe8450" providerId="ADAL" clId="{5BA9D65E-4355-43B5-9FAC-0CE2D0775271}" dt="2023-01-27T10:59:49.271" v="3919" actId="478"/>
          <ac:spMkLst>
            <pc:docMk/>
            <pc:sldMk cId="3465486402" sldId="2147469770"/>
            <ac:spMk id="47" creationId="{C18D9E26-83BB-4CA4-A46C-42449754BD5B}"/>
          </ac:spMkLst>
        </pc:spChg>
        <pc:spChg chg="del">
          <ac:chgData name="Jean GRANDEMANGE" userId="faf07584-8716-430e-b66d-4ceae2fe8450" providerId="ADAL" clId="{5BA9D65E-4355-43B5-9FAC-0CE2D0775271}" dt="2023-01-27T10:59:49.271" v="3919" actId="478"/>
          <ac:spMkLst>
            <pc:docMk/>
            <pc:sldMk cId="3465486402" sldId="2147469770"/>
            <ac:spMk id="49" creationId="{A46E304D-3065-496C-B5A1-44A721C3A525}"/>
          </ac:spMkLst>
        </pc:spChg>
        <pc:spChg chg="mod">
          <ac:chgData name="Jean GRANDEMANGE" userId="faf07584-8716-430e-b66d-4ceae2fe8450" providerId="ADAL" clId="{5BA9D65E-4355-43B5-9FAC-0CE2D0775271}" dt="2023-01-27T11:08:59.348" v="4861" actId="20577"/>
          <ac:spMkLst>
            <pc:docMk/>
            <pc:sldMk cId="3465486402" sldId="2147469770"/>
            <ac:spMk id="50" creationId="{9A3B7968-8581-4B4D-ADCE-351971C39D31}"/>
          </ac:spMkLst>
        </pc:spChg>
        <pc:spChg chg="mod">
          <ac:chgData name="Jean GRANDEMANGE" userId="faf07584-8716-430e-b66d-4ceae2fe8450" providerId="ADAL" clId="{5BA9D65E-4355-43B5-9FAC-0CE2D0775271}" dt="2023-01-27T11:04:12.340" v="4140" actId="1076"/>
          <ac:spMkLst>
            <pc:docMk/>
            <pc:sldMk cId="3465486402" sldId="2147469770"/>
            <ac:spMk id="51" creationId="{FD7A43D3-9C95-4BCD-89F2-18FDC012FCD7}"/>
          </ac:spMkLst>
        </pc:spChg>
        <pc:spChg chg="del">
          <ac:chgData name="Jean GRANDEMANGE" userId="faf07584-8716-430e-b66d-4ceae2fe8450" providerId="ADAL" clId="{5BA9D65E-4355-43B5-9FAC-0CE2D0775271}" dt="2023-01-27T11:01:47.611" v="3960" actId="478"/>
          <ac:spMkLst>
            <pc:docMk/>
            <pc:sldMk cId="3465486402" sldId="2147469770"/>
            <ac:spMk id="52" creationId="{F245C24B-ADF4-44DE-859B-E06229B62B62}"/>
          </ac:spMkLst>
        </pc:spChg>
      </pc:sldChg>
      <pc:sldChg chg="addSp delSp modSp mod">
        <pc:chgData name="Jean GRANDEMANGE" userId="faf07584-8716-430e-b66d-4ceae2fe8450" providerId="ADAL" clId="{5BA9D65E-4355-43B5-9FAC-0CE2D0775271}" dt="2023-01-28T13:48:45.935" v="13435" actId="1076"/>
        <pc:sldMkLst>
          <pc:docMk/>
          <pc:sldMk cId="113270668" sldId="2147469773"/>
        </pc:sldMkLst>
        <pc:spChg chg="del">
          <ac:chgData name="Jean GRANDEMANGE" userId="faf07584-8716-430e-b66d-4ceae2fe8450" providerId="ADAL" clId="{5BA9D65E-4355-43B5-9FAC-0CE2D0775271}" dt="2023-01-28T13:05:46.248" v="11250" actId="478"/>
          <ac:spMkLst>
            <pc:docMk/>
            <pc:sldMk cId="113270668" sldId="2147469773"/>
            <ac:spMk id="2" creationId="{67B2A763-09D0-4911-8693-7EA013AC1987}"/>
          </ac:spMkLst>
        </pc:spChg>
        <pc:spChg chg="mod">
          <ac:chgData name="Jean GRANDEMANGE" userId="faf07584-8716-430e-b66d-4ceae2fe8450" providerId="ADAL" clId="{5BA9D65E-4355-43B5-9FAC-0CE2D0775271}" dt="2023-01-28T13:04:28.169" v="11248" actId="20577"/>
          <ac:spMkLst>
            <pc:docMk/>
            <pc:sldMk cId="113270668" sldId="2147469773"/>
            <ac:spMk id="3" creationId="{4CED5CC6-D44D-46CF-87ED-9F93BCBA6175}"/>
          </ac:spMkLst>
        </pc:spChg>
        <pc:spChg chg="add mod">
          <ac:chgData name="Jean GRANDEMANGE" userId="faf07584-8716-430e-b66d-4ceae2fe8450" providerId="ADAL" clId="{5BA9D65E-4355-43B5-9FAC-0CE2D0775271}" dt="2023-01-28T13:48:15.951" v="13351" actId="20577"/>
          <ac:spMkLst>
            <pc:docMk/>
            <pc:sldMk cId="113270668" sldId="2147469773"/>
            <ac:spMk id="4" creationId="{4A508FF4-FB7F-1647-9EC4-35A7CFA8AA2E}"/>
          </ac:spMkLst>
        </pc:spChg>
        <pc:spChg chg="add del mod">
          <ac:chgData name="Jean GRANDEMANGE" userId="faf07584-8716-430e-b66d-4ceae2fe8450" providerId="ADAL" clId="{5BA9D65E-4355-43B5-9FAC-0CE2D0775271}" dt="2023-01-28T13:05:47.248" v="11251" actId="478"/>
          <ac:spMkLst>
            <pc:docMk/>
            <pc:sldMk cId="113270668" sldId="2147469773"/>
            <ac:spMk id="5" creationId="{F8BA0B6E-1F10-BBC4-A06F-7A32D1376784}"/>
          </ac:spMkLst>
        </pc:spChg>
        <pc:spChg chg="del">
          <ac:chgData name="Jean GRANDEMANGE" userId="faf07584-8716-430e-b66d-4ceae2fe8450" providerId="ADAL" clId="{5BA9D65E-4355-43B5-9FAC-0CE2D0775271}" dt="2023-01-28T13:05:46.248" v="11250" actId="478"/>
          <ac:spMkLst>
            <pc:docMk/>
            <pc:sldMk cId="113270668" sldId="2147469773"/>
            <ac:spMk id="6" creationId="{049ABD13-C1CE-4DCE-8DF3-87B1F7A91549}"/>
          </ac:spMkLst>
        </pc:spChg>
        <pc:spChg chg="del">
          <ac:chgData name="Jean GRANDEMANGE" userId="faf07584-8716-430e-b66d-4ceae2fe8450" providerId="ADAL" clId="{5BA9D65E-4355-43B5-9FAC-0CE2D0775271}" dt="2023-01-28T13:05:46.248" v="11250" actId="478"/>
          <ac:spMkLst>
            <pc:docMk/>
            <pc:sldMk cId="113270668" sldId="2147469773"/>
            <ac:spMk id="7" creationId="{C6F1084B-B944-4401-9655-8B14281B5555}"/>
          </ac:spMkLst>
        </pc:spChg>
        <pc:spChg chg="del">
          <ac:chgData name="Jean GRANDEMANGE" userId="faf07584-8716-430e-b66d-4ceae2fe8450" providerId="ADAL" clId="{5BA9D65E-4355-43B5-9FAC-0CE2D0775271}" dt="2023-01-28T13:05:46.248" v="11250" actId="478"/>
          <ac:spMkLst>
            <pc:docMk/>
            <pc:sldMk cId="113270668" sldId="2147469773"/>
            <ac:spMk id="8" creationId="{BA2996C9-20AA-4631-9BE6-FF828FB71BD3}"/>
          </ac:spMkLst>
        </pc:spChg>
        <pc:spChg chg="add mod">
          <ac:chgData name="Jean GRANDEMANGE" userId="faf07584-8716-430e-b66d-4ceae2fe8450" providerId="ADAL" clId="{5BA9D65E-4355-43B5-9FAC-0CE2D0775271}" dt="2023-01-28T13:40:54.122" v="12942" actId="2711"/>
          <ac:spMkLst>
            <pc:docMk/>
            <pc:sldMk cId="113270668" sldId="2147469773"/>
            <ac:spMk id="11" creationId="{1087D3E7-5133-4E33-8A5C-5281C9660DA0}"/>
          </ac:spMkLst>
        </pc:spChg>
        <pc:spChg chg="del">
          <ac:chgData name="Jean GRANDEMANGE" userId="faf07584-8716-430e-b66d-4ceae2fe8450" providerId="ADAL" clId="{5BA9D65E-4355-43B5-9FAC-0CE2D0775271}" dt="2023-01-28T13:05:46.248" v="11250" actId="478"/>
          <ac:spMkLst>
            <pc:docMk/>
            <pc:sldMk cId="113270668" sldId="2147469773"/>
            <ac:spMk id="15" creationId="{10680AF3-550F-4CF6-A6A7-37962D6B0C5B}"/>
          </ac:spMkLst>
        </pc:spChg>
        <pc:spChg chg="del">
          <ac:chgData name="Jean GRANDEMANGE" userId="faf07584-8716-430e-b66d-4ceae2fe8450" providerId="ADAL" clId="{5BA9D65E-4355-43B5-9FAC-0CE2D0775271}" dt="2023-01-28T13:05:46.248" v="11250" actId="478"/>
          <ac:spMkLst>
            <pc:docMk/>
            <pc:sldMk cId="113270668" sldId="2147469773"/>
            <ac:spMk id="16" creationId="{B69F765B-7656-4359-BA30-12164CE65E2C}"/>
          </ac:spMkLst>
        </pc:spChg>
        <pc:spChg chg="del">
          <ac:chgData name="Jean GRANDEMANGE" userId="faf07584-8716-430e-b66d-4ceae2fe8450" providerId="ADAL" clId="{5BA9D65E-4355-43B5-9FAC-0CE2D0775271}" dt="2023-01-28T13:05:46.248" v="11250" actId="478"/>
          <ac:spMkLst>
            <pc:docMk/>
            <pc:sldMk cId="113270668" sldId="2147469773"/>
            <ac:spMk id="17" creationId="{D39F2937-E414-4B24-9776-41666BA21EC5}"/>
          </ac:spMkLst>
        </pc:spChg>
        <pc:spChg chg="del">
          <ac:chgData name="Jean GRANDEMANGE" userId="faf07584-8716-430e-b66d-4ceae2fe8450" providerId="ADAL" clId="{5BA9D65E-4355-43B5-9FAC-0CE2D0775271}" dt="2023-01-28T13:05:48.138" v="11252" actId="478"/>
          <ac:spMkLst>
            <pc:docMk/>
            <pc:sldMk cId="113270668" sldId="2147469773"/>
            <ac:spMk id="19" creationId="{2F1E5F03-F005-468F-8710-5917B72C8C42}"/>
          </ac:spMkLst>
        </pc:spChg>
        <pc:spChg chg="del">
          <ac:chgData name="Jean GRANDEMANGE" userId="faf07584-8716-430e-b66d-4ceae2fe8450" providerId="ADAL" clId="{5BA9D65E-4355-43B5-9FAC-0CE2D0775271}" dt="2023-01-28T13:05:46.248" v="11250" actId="478"/>
          <ac:spMkLst>
            <pc:docMk/>
            <pc:sldMk cId="113270668" sldId="2147469773"/>
            <ac:spMk id="20" creationId="{C7D26A75-7C91-4F53-9857-612DB1FDAC10}"/>
          </ac:spMkLst>
        </pc:spChg>
        <pc:spChg chg="del">
          <ac:chgData name="Jean GRANDEMANGE" userId="faf07584-8716-430e-b66d-4ceae2fe8450" providerId="ADAL" clId="{5BA9D65E-4355-43B5-9FAC-0CE2D0775271}" dt="2023-01-28T13:05:46.248" v="11250" actId="478"/>
          <ac:spMkLst>
            <pc:docMk/>
            <pc:sldMk cId="113270668" sldId="2147469773"/>
            <ac:spMk id="32" creationId="{5456086C-DAC3-481A-9AD4-B0B3867B39E3}"/>
          </ac:spMkLst>
        </pc:spChg>
        <pc:spChg chg="add mod">
          <ac:chgData name="Jean GRANDEMANGE" userId="faf07584-8716-430e-b66d-4ceae2fe8450" providerId="ADAL" clId="{5BA9D65E-4355-43B5-9FAC-0CE2D0775271}" dt="2023-01-28T13:35:20.529" v="12199" actId="1076"/>
          <ac:spMkLst>
            <pc:docMk/>
            <pc:sldMk cId="113270668" sldId="2147469773"/>
            <ac:spMk id="33" creationId="{85789501-4DA0-4DB1-4EB3-50FC19ABE993}"/>
          </ac:spMkLst>
        </pc:spChg>
        <pc:spChg chg="add mod">
          <ac:chgData name="Jean GRANDEMANGE" userId="faf07584-8716-430e-b66d-4ceae2fe8450" providerId="ADAL" clId="{5BA9D65E-4355-43B5-9FAC-0CE2D0775271}" dt="2023-01-28T13:40:54.122" v="12942" actId="2711"/>
          <ac:spMkLst>
            <pc:docMk/>
            <pc:sldMk cId="113270668" sldId="2147469773"/>
            <ac:spMk id="34" creationId="{1F754FDC-34A3-136A-8876-D22BB98269F6}"/>
          </ac:spMkLst>
        </pc:spChg>
        <pc:spChg chg="add mod">
          <ac:chgData name="Jean GRANDEMANGE" userId="faf07584-8716-430e-b66d-4ceae2fe8450" providerId="ADAL" clId="{5BA9D65E-4355-43B5-9FAC-0CE2D0775271}" dt="2023-01-28T13:40:54.122" v="12942" actId="2711"/>
          <ac:spMkLst>
            <pc:docMk/>
            <pc:sldMk cId="113270668" sldId="2147469773"/>
            <ac:spMk id="35" creationId="{3F7F08BA-C537-D0FE-5023-92E0A4AED8B2}"/>
          </ac:spMkLst>
        </pc:spChg>
        <pc:spChg chg="add mod">
          <ac:chgData name="Jean GRANDEMANGE" userId="faf07584-8716-430e-b66d-4ceae2fe8450" providerId="ADAL" clId="{5BA9D65E-4355-43B5-9FAC-0CE2D0775271}" dt="2023-01-28T13:43:25.813" v="13251" actId="20577"/>
          <ac:spMkLst>
            <pc:docMk/>
            <pc:sldMk cId="113270668" sldId="2147469773"/>
            <ac:spMk id="36" creationId="{F94BA09D-C6B6-EA0D-A378-ECB7659B8226}"/>
          </ac:spMkLst>
        </pc:spChg>
        <pc:spChg chg="add mod">
          <ac:chgData name="Jean GRANDEMANGE" userId="faf07584-8716-430e-b66d-4ceae2fe8450" providerId="ADAL" clId="{5BA9D65E-4355-43B5-9FAC-0CE2D0775271}" dt="2023-01-28T13:40:54.122" v="12942" actId="2711"/>
          <ac:spMkLst>
            <pc:docMk/>
            <pc:sldMk cId="113270668" sldId="2147469773"/>
            <ac:spMk id="37" creationId="{E28C1A70-9077-CF2C-3651-5076FF2C92F3}"/>
          </ac:spMkLst>
        </pc:spChg>
        <pc:spChg chg="add del mod">
          <ac:chgData name="Jean GRANDEMANGE" userId="faf07584-8716-430e-b66d-4ceae2fe8450" providerId="ADAL" clId="{5BA9D65E-4355-43B5-9FAC-0CE2D0775271}" dt="2023-01-28T13:33:54.063" v="12025" actId="478"/>
          <ac:spMkLst>
            <pc:docMk/>
            <pc:sldMk cId="113270668" sldId="2147469773"/>
            <ac:spMk id="39" creationId="{92E85C79-3A96-68BA-0439-26F0CBFF507E}"/>
          </ac:spMkLst>
        </pc:spChg>
        <pc:spChg chg="add mod">
          <ac:chgData name="Jean GRANDEMANGE" userId="faf07584-8716-430e-b66d-4ceae2fe8450" providerId="ADAL" clId="{5BA9D65E-4355-43B5-9FAC-0CE2D0775271}" dt="2023-01-28T13:34:59.776" v="12191" actId="571"/>
          <ac:spMkLst>
            <pc:docMk/>
            <pc:sldMk cId="113270668" sldId="2147469773"/>
            <ac:spMk id="41" creationId="{2E72FEFA-2BFE-0C1C-4BC1-AB2929E76DA3}"/>
          </ac:spMkLst>
        </pc:spChg>
        <pc:spChg chg="add mod">
          <ac:chgData name="Jean GRANDEMANGE" userId="faf07584-8716-430e-b66d-4ceae2fe8450" providerId="ADAL" clId="{5BA9D65E-4355-43B5-9FAC-0CE2D0775271}" dt="2023-01-28T13:34:59.776" v="12191" actId="571"/>
          <ac:spMkLst>
            <pc:docMk/>
            <pc:sldMk cId="113270668" sldId="2147469773"/>
            <ac:spMk id="42" creationId="{FF3B305A-5295-1304-2EE9-5DC424FE7B14}"/>
          </ac:spMkLst>
        </pc:spChg>
        <pc:spChg chg="add mod">
          <ac:chgData name="Jean GRANDEMANGE" userId="faf07584-8716-430e-b66d-4ceae2fe8450" providerId="ADAL" clId="{5BA9D65E-4355-43B5-9FAC-0CE2D0775271}" dt="2023-01-28T13:40:54.122" v="12942" actId="2711"/>
          <ac:spMkLst>
            <pc:docMk/>
            <pc:sldMk cId="113270668" sldId="2147469773"/>
            <ac:spMk id="43" creationId="{DCC73E06-F84D-029F-1756-1416A5299963}"/>
          </ac:spMkLst>
        </pc:spChg>
        <pc:spChg chg="add mod">
          <ac:chgData name="Jean GRANDEMANGE" userId="faf07584-8716-430e-b66d-4ceae2fe8450" providerId="ADAL" clId="{5BA9D65E-4355-43B5-9FAC-0CE2D0775271}" dt="2023-01-28T13:48:45.935" v="13435" actId="1076"/>
          <ac:spMkLst>
            <pc:docMk/>
            <pc:sldMk cId="113270668" sldId="2147469773"/>
            <ac:spMk id="45" creationId="{6EE062D4-9560-F6FD-E59F-C6963B517773}"/>
          </ac:spMkLst>
        </pc:spChg>
        <pc:spChg chg="add mod">
          <ac:chgData name="Jean GRANDEMANGE" userId="faf07584-8716-430e-b66d-4ceae2fe8450" providerId="ADAL" clId="{5BA9D65E-4355-43B5-9FAC-0CE2D0775271}" dt="2023-01-28T13:48:43.294" v="13434" actId="1076"/>
          <ac:spMkLst>
            <pc:docMk/>
            <pc:sldMk cId="113270668" sldId="2147469773"/>
            <ac:spMk id="46" creationId="{53A39866-44D9-47E1-526F-29E47ECE6E78}"/>
          </ac:spMkLst>
        </pc:spChg>
        <pc:spChg chg="del">
          <ac:chgData name="Jean GRANDEMANGE" userId="faf07584-8716-430e-b66d-4ceae2fe8450" providerId="ADAL" clId="{5BA9D65E-4355-43B5-9FAC-0CE2D0775271}" dt="2023-01-28T13:05:46.248" v="11250" actId="478"/>
          <ac:spMkLst>
            <pc:docMk/>
            <pc:sldMk cId="113270668" sldId="2147469773"/>
            <ac:spMk id="57" creationId="{967628B8-3039-4288-ABA5-06FA43290D3C}"/>
          </ac:spMkLst>
        </pc:spChg>
        <pc:spChg chg="del">
          <ac:chgData name="Jean GRANDEMANGE" userId="faf07584-8716-430e-b66d-4ceae2fe8450" providerId="ADAL" clId="{5BA9D65E-4355-43B5-9FAC-0CE2D0775271}" dt="2023-01-28T13:05:46.248" v="11250" actId="478"/>
          <ac:spMkLst>
            <pc:docMk/>
            <pc:sldMk cId="113270668" sldId="2147469773"/>
            <ac:spMk id="60" creationId="{FED5C693-11AD-4F9A-8314-149425D532E0}"/>
          </ac:spMkLst>
        </pc:spChg>
        <pc:spChg chg="del">
          <ac:chgData name="Jean GRANDEMANGE" userId="faf07584-8716-430e-b66d-4ceae2fe8450" providerId="ADAL" clId="{5BA9D65E-4355-43B5-9FAC-0CE2D0775271}" dt="2023-01-28T13:05:46.248" v="11250" actId="478"/>
          <ac:spMkLst>
            <pc:docMk/>
            <pc:sldMk cId="113270668" sldId="2147469773"/>
            <ac:spMk id="116" creationId="{B5A68752-DC80-412A-982F-9EE3EF96710B}"/>
          </ac:spMkLst>
        </pc:spChg>
        <pc:spChg chg="del">
          <ac:chgData name="Jean GRANDEMANGE" userId="faf07584-8716-430e-b66d-4ceae2fe8450" providerId="ADAL" clId="{5BA9D65E-4355-43B5-9FAC-0CE2D0775271}" dt="2023-01-28T13:05:46.248" v="11250" actId="478"/>
          <ac:spMkLst>
            <pc:docMk/>
            <pc:sldMk cId="113270668" sldId="2147469773"/>
            <ac:spMk id="117" creationId="{9B0F3428-263D-4970-9E02-D697D6B78CD6}"/>
          </ac:spMkLst>
        </pc:spChg>
        <pc:spChg chg="del">
          <ac:chgData name="Jean GRANDEMANGE" userId="faf07584-8716-430e-b66d-4ceae2fe8450" providerId="ADAL" clId="{5BA9D65E-4355-43B5-9FAC-0CE2D0775271}" dt="2023-01-28T13:05:46.248" v="11250" actId="478"/>
          <ac:spMkLst>
            <pc:docMk/>
            <pc:sldMk cId="113270668" sldId="2147469773"/>
            <ac:spMk id="126" creationId="{D6788877-DAC0-4DF9-8209-84D26B7DBDA3}"/>
          </ac:spMkLst>
        </pc:spChg>
        <pc:spChg chg="del">
          <ac:chgData name="Jean GRANDEMANGE" userId="faf07584-8716-430e-b66d-4ceae2fe8450" providerId="ADAL" clId="{5BA9D65E-4355-43B5-9FAC-0CE2D0775271}" dt="2023-01-28T13:05:46.248" v="11250" actId="478"/>
          <ac:spMkLst>
            <pc:docMk/>
            <pc:sldMk cId="113270668" sldId="2147469773"/>
            <ac:spMk id="131" creationId="{01120264-DFCA-4C4F-8644-1030AF6A1F44}"/>
          </ac:spMkLst>
        </pc:spChg>
        <pc:grpChg chg="del">
          <ac:chgData name="Jean GRANDEMANGE" userId="faf07584-8716-430e-b66d-4ceae2fe8450" providerId="ADAL" clId="{5BA9D65E-4355-43B5-9FAC-0CE2D0775271}" dt="2023-01-28T13:05:46.248" v="11250" actId="478"/>
          <ac:grpSpMkLst>
            <pc:docMk/>
            <pc:sldMk cId="113270668" sldId="2147469773"/>
            <ac:grpSpMk id="22" creationId="{211AC9E3-BC30-409C-B971-29F2D19E9610}"/>
          </ac:grpSpMkLst>
        </pc:grpChg>
        <pc:grpChg chg="del">
          <ac:chgData name="Jean GRANDEMANGE" userId="faf07584-8716-430e-b66d-4ceae2fe8450" providerId="ADAL" clId="{5BA9D65E-4355-43B5-9FAC-0CE2D0775271}" dt="2023-01-28T13:05:46.248" v="11250" actId="478"/>
          <ac:grpSpMkLst>
            <pc:docMk/>
            <pc:sldMk cId="113270668" sldId="2147469773"/>
            <ac:grpSpMk id="75" creationId="{E08E3649-6390-4EDB-A99D-626F3CD63D50}"/>
          </ac:grpSpMkLst>
        </pc:grpChg>
        <pc:picChg chg="del">
          <ac:chgData name="Jean GRANDEMANGE" userId="faf07584-8716-430e-b66d-4ceae2fe8450" providerId="ADAL" clId="{5BA9D65E-4355-43B5-9FAC-0CE2D0775271}" dt="2023-01-28T13:05:46.248" v="11250" actId="478"/>
          <ac:picMkLst>
            <pc:docMk/>
            <pc:sldMk cId="113270668" sldId="2147469773"/>
            <ac:picMk id="9" creationId="{4FA01671-079B-4521-9315-A0442A3E7FB9}"/>
          </ac:picMkLst>
        </pc:picChg>
        <pc:picChg chg="del">
          <ac:chgData name="Jean GRANDEMANGE" userId="faf07584-8716-430e-b66d-4ceae2fe8450" providerId="ADAL" clId="{5BA9D65E-4355-43B5-9FAC-0CE2D0775271}" dt="2023-01-28T13:05:46.248" v="11250" actId="478"/>
          <ac:picMkLst>
            <pc:docMk/>
            <pc:sldMk cId="113270668" sldId="2147469773"/>
            <ac:picMk id="10" creationId="{9DCA7D60-5E6E-42E6-B1C5-04D8C9F2FB52}"/>
          </ac:picMkLst>
        </pc:picChg>
        <pc:picChg chg="add mod">
          <ac:chgData name="Jean GRANDEMANGE" userId="faf07584-8716-430e-b66d-4ceae2fe8450" providerId="ADAL" clId="{5BA9D65E-4355-43B5-9FAC-0CE2D0775271}" dt="2023-01-28T13:14:24.506" v="11792" actId="1076"/>
          <ac:picMkLst>
            <pc:docMk/>
            <pc:sldMk cId="113270668" sldId="2147469773"/>
            <ac:picMk id="12" creationId="{80797EBA-905B-AD00-82A5-E6E972D99C1F}"/>
          </ac:picMkLst>
        </pc:picChg>
        <pc:picChg chg="del">
          <ac:chgData name="Jean GRANDEMANGE" userId="faf07584-8716-430e-b66d-4ceae2fe8450" providerId="ADAL" clId="{5BA9D65E-4355-43B5-9FAC-0CE2D0775271}" dt="2023-01-28T13:05:46.248" v="11250" actId="478"/>
          <ac:picMkLst>
            <pc:docMk/>
            <pc:sldMk cId="113270668" sldId="2147469773"/>
            <ac:picMk id="13" creationId="{C57B84FB-9419-4818-9FD7-A65AFF21D480}"/>
          </ac:picMkLst>
        </pc:picChg>
        <pc:picChg chg="del">
          <ac:chgData name="Jean GRANDEMANGE" userId="faf07584-8716-430e-b66d-4ceae2fe8450" providerId="ADAL" clId="{5BA9D65E-4355-43B5-9FAC-0CE2D0775271}" dt="2023-01-28T13:05:46.248" v="11250" actId="478"/>
          <ac:picMkLst>
            <pc:docMk/>
            <pc:sldMk cId="113270668" sldId="2147469773"/>
            <ac:picMk id="14" creationId="{39C52BF5-AD92-4ACC-96BE-48ACCC578005}"/>
          </ac:picMkLst>
        </pc:picChg>
        <pc:picChg chg="del">
          <ac:chgData name="Jean GRANDEMANGE" userId="faf07584-8716-430e-b66d-4ceae2fe8450" providerId="ADAL" clId="{5BA9D65E-4355-43B5-9FAC-0CE2D0775271}" dt="2023-01-28T13:05:46.248" v="11250" actId="478"/>
          <ac:picMkLst>
            <pc:docMk/>
            <pc:sldMk cId="113270668" sldId="2147469773"/>
            <ac:picMk id="21" creationId="{BC0EFC8D-7278-4FC1-94E2-6CEA7BF558FE}"/>
          </ac:picMkLst>
        </pc:picChg>
        <pc:picChg chg="add del mod">
          <ac:chgData name="Jean GRANDEMANGE" userId="faf07584-8716-430e-b66d-4ceae2fe8450" providerId="ADAL" clId="{5BA9D65E-4355-43B5-9FAC-0CE2D0775271}" dt="2023-01-28T13:32:51.510" v="11975" actId="478"/>
          <ac:picMkLst>
            <pc:docMk/>
            <pc:sldMk cId="113270668" sldId="2147469773"/>
            <ac:picMk id="38" creationId="{A42385C7-3DF9-A4F2-BFA1-45CBF3CD39B2}"/>
          </ac:picMkLst>
        </pc:picChg>
        <pc:picChg chg="add mod">
          <ac:chgData name="Jean GRANDEMANGE" userId="faf07584-8716-430e-b66d-4ceae2fe8450" providerId="ADAL" clId="{5BA9D65E-4355-43B5-9FAC-0CE2D0775271}" dt="2023-01-28T13:35:54.377" v="12268" actId="1076"/>
          <ac:picMkLst>
            <pc:docMk/>
            <pc:sldMk cId="113270668" sldId="2147469773"/>
            <ac:picMk id="40" creationId="{7861D2A3-931D-79A4-6E88-05F408ED2C85}"/>
          </ac:picMkLst>
        </pc:picChg>
        <pc:picChg chg="add mod">
          <ac:chgData name="Jean GRANDEMANGE" userId="faf07584-8716-430e-b66d-4ceae2fe8450" providerId="ADAL" clId="{5BA9D65E-4355-43B5-9FAC-0CE2D0775271}" dt="2023-01-28T13:35:55.867" v="12269" actId="1076"/>
          <ac:picMkLst>
            <pc:docMk/>
            <pc:sldMk cId="113270668" sldId="2147469773"/>
            <ac:picMk id="44" creationId="{C7B8B215-1038-E358-7297-B602E3613656}"/>
          </ac:picMkLst>
        </pc:picChg>
        <pc:picChg chg="del">
          <ac:chgData name="Jean GRANDEMANGE" userId="faf07584-8716-430e-b66d-4ceae2fe8450" providerId="ADAL" clId="{5BA9D65E-4355-43B5-9FAC-0CE2D0775271}" dt="2023-01-28T13:05:46.248" v="11250" actId="478"/>
          <ac:picMkLst>
            <pc:docMk/>
            <pc:sldMk cId="113270668" sldId="2147469773"/>
            <ac:picMk id="52" creationId="{784BD7BB-6012-473C-B356-FFEDD914C3A6}"/>
          </ac:picMkLst>
        </pc:picChg>
        <pc:picChg chg="del">
          <ac:chgData name="Jean GRANDEMANGE" userId="faf07584-8716-430e-b66d-4ceae2fe8450" providerId="ADAL" clId="{5BA9D65E-4355-43B5-9FAC-0CE2D0775271}" dt="2023-01-28T13:05:46.248" v="11250" actId="478"/>
          <ac:picMkLst>
            <pc:docMk/>
            <pc:sldMk cId="113270668" sldId="2147469773"/>
            <ac:picMk id="53" creationId="{C74D0DC7-E814-4B9B-A341-8D73299D89A1}"/>
          </ac:picMkLst>
        </pc:picChg>
        <pc:picChg chg="del">
          <ac:chgData name="Jean GRANDEMANGE" userId="faf07584-8716-430e-b66d-4ceae2fe8450" providerId="ADAL" clId="{5BA9D65E-4355-43B5-9FAC-0CE2D0775271}" dt="2023-01-28T13:05:46.248" v="11250" actId="478"/>
          <ac:picMkLst>
            <pc:docMk/>
            <pc:sldMk cId="113270668" sldId="2147469773"/>
            <ac:picMk id="54" creationId="{2BD30CE7-33E3-49F6-9BF2-49C5C2AD5A53}"/>
          </ac:picMkLst>
        </pc:picChg>
        <pc:picChg chg="del">
          <ac:chgData name="Jean GRANDEMANGE" userId="faf07584-8716-430e-b66d-4ceae2fe8450" providerId="ADAL" clId="{5BA9D65E-4355-43B5-9FAC-0CE2D0775271}" dt="2023-01-28T13:05:46.248" v="11250" actId="478"/>
          <ac:picMkLst>
            <pc:docMk/>
            <pc:sldMk cId="113270668" sldId="2147469773"/>
            <ac:picMk id="55" creationId="{A9F62180-C33C-4FD7-8064-197B5FAB9C45}"/>
          </ac:picMkLst>
        </pc:picChg>
        <pc:picChg chg="del">
          <ac:chgData name="Jean GRANDEMANGE" userId="faf07584-8716-430e-b66d-4ceae2fe8450" providerId="ADAL" clId="{5BA9D65E-4355-43B5-9FAC-0CE2D0775271}" dt="2023-01-28T13:05:46.248" v="11250" actId="478"/>
          <ac:picMkLst>
            <pc:docMk/>
            <pc:sldMk cId="113270668" sldId="2147469773"/>
            <ac:picMk id="58" creationId="{223633B3-780C-45E0-B911-F7900E0F1D8A}"/>
          </ac:picMkLst>
        </pc:picChg>
        <pc:picChg chg="del">
          <ac:chgData name="Jean GRANDEMANGE" userId="faf07584-8716-430e-b66d-4ceae2fe8450" providerId="ADAL" clId="{5BA9D65E-4355-43B5-9FAC-0CE2D0775271}" dt="2023-01-28T13:05:46.248" v="11250" actId="478"/>
          <ac:picMkLst>
            <pc:docMk/>
            <pc:sldMk cId="113270668" sldId="2147469773"/>
            <ac:picMk id="124" creationId="{2F10272C-80FF-4E47-A971-2C81513B337E}"/>
          </ac:picMkLst>
        </pc:picChg>
        <pc:picChg chg="del">
          <ac:chgData name="Jean GRANDEMANGE" userId="faf07584-8716-430e-b66d-4ceae2fe8450" providerId="ADAL" clId="{5BA9D65E-4355-43B5-9FAC-0CE2D0775271}" dt="2023-01-28T13:05:46.248" v="11250" actId="478"/>
          <ac:picMkLst>
            <pc:docMk/>
            <pc:sldMk cId="113270668" sldId="2147469773"/>
            <ac:picMk id="135" creationId="{7F6C4B6B-5120-4F57-AC63-00E73D0E18B1}"/>
          </ac:picMkLst>
        </pc:picChg>
        <pc:picChg chg="del">
          <ac:chgData name="Jean GRANDEMANGE" userId="faf07584-8716-430e-b66d-4ceae2fe8450" providerId="ADAL" clId="{5BA9D65E-4355-43B5-9FAC-0CE2D0775271}" dt="2023-01-28T13:05:46.248" v="11250" actId="478"/>
          <ac:picMkLst>
            <pc:docMk/>
            <pc:sldMk cId="113270668" sldId="2147469773"/>
            <ac:picMk id="136" creationId="{FE458C2A-E36B-466A-A9E4-21A64F347CDC}"/>
          </ac:picMkLst>
        </pc:picChg>
        <pc:picChg chg="del">
          <ac:chgData name="Jean GRANDEMANGE" userId="faf07584-8716-430e-b66d-4ceae2fe8450" providerId="ADAL" clId="{5BA9D65E-4355-43B5-9FAC-0CE2D0775271}" dt="2023-01-28T13:05:46.248" v="11250" actId="478"/>
          <ac:picMkLst>
            <pc:docMk/>
            <pc:sldMk cId="113270668" sldId="2147469773"/>
            <ac:picMk id="137" creationId="{A4352815-D6DB-4C3C-A772-AB31823F8378}"/>
          </ac:picMkLst>
        </pc:picChg>
        <pc:picChg chg="del">
          <ac:chgData name="Jean GRANDEMANGE" userId="faf07584-8716-430e-b66d-4ceae2fe8450" providerId="ADAL" clId="{5BA9D65E-4355-43B5-9FAC-0CE2D0775271}" dt="2023-01-28T13:05:46.248" v="11250" actId="478"/>
          <ac:picMkLst>
            <pc:docMk/>
            <pc:sldMk cId="113270668" sldId="2147469773"/>
            <ac:picMk id="140" creationId="{81F02449-67C0-481B-B373-607104ECA1A5}"/>
          </ac:picMkLst>
        </pc:picChg>
        <pc:cxnChg chg="del">
          <ac:chgData name="Jean GRANDEMANGE" userId="faf07584-8716-430e-b66d-4ceae2fe8450" providerId="ADAL" clId="{5BA9D65E-4355-43B5-9FAC-0CE2D0775271}" dt="2023-01-28T13:05:46.248" v="11250" actId="478"/>
          <ac:cxnSpMkLst>
            <pc:docMk/>
            <pc:sldMk cId="113270668" sldId="2147469773"/>
            <ac:cxnSpMk id="18" creationId="{D6FAE3F3-2EDC-4E2E-BF82-236D21D5AAB9}"/>
          </ac:cxnSpMkLst>
        </pc:cxnChg>
        <pc:cxnChg chg="del">
          <ac:chgData name="Jean GRANDEMANGE" userId="faf07584-8716-430e-b66d-4ceae2fe8450" providerId="ADAL" clId="{5BA9D65E-4355-43B5-9FAC-0CE2D0775271}" dt="2023-01-28T13:05:46.248" v="11250" actId="478"/>
          <ac:cxnSpMkLst>
            <pc:docMk/>
            <pc:sldMk cId="113270668" sldId="2147469773"/>
            <ac:cxnSpMk id="121" creationId="{E13A4D47-77FD-4BFD-B330-C110FAA1A1FC}"/>
          </ac:cxnSpMkLst>
        </pc:cxnChg>
      </pc:sldChg>
      <pc:sldChg chg="addSp modSp add mod">
        <pc:chgData name="Jean GRANDEMANGE" userId="faf07584-8716-430e-b66d-4ceae2fe8450" providerId="ADAL" clId="{5BA9D65E-4355-43B5-9FAC-0CE2D0775271}" dt="2023-01-27T14:58:11.287" v="7869" actId="20577"/>
        <pc:sldMkLst>
          <pc:docMk/>
          <pc:sldMk cId="1458308701" sldId="2147469776"/>
        </pc:sldMkLst>
        <pc:spChg chg="mod">
          <ac:chgData name="Jean GRANDEMANGE" userId="faf07584-8716-430e-b66d-4ceae2fe8450" providerId="ADAL" clId="{5BA9D65E-4355-43B5-9FAC-0CE2D0775271}" dt="2023-01-27T14:55:04.001" v="7801" actId="20577"/>
          <ac:spMkLst>
            <pc:docMk/>
            <pc:sldMk cId="1458308701" sldId="2147469776"/>
            <ac:spMk id="2" creationId="{E11BF5BD-75C4-4E77-9598-7225EFF82CC5}"/>
          </ac:spMkLst>
        </pc:spChg>
        <pc:spChg chg="mod">
          <ac:chgData name="Jean GRANDEMANGE" userId="faf07584-8716-430e-b66d-4ceae2fe8450" providerId="ADAL" clId="{5BA9D65E-4355-43B5-9FAC-0CE2D0775271}" dt="2023-01-27T14:57:10.408" v="7852" actId="20577"/>
          <ac:spMkLst>
            <pc:docMk/>
            <pc:sldMk cId="1458308701" sldId="2147469776"/>
            <ac:spMk id="4" creationId="{DFE4ECB6-193A-41CD-8C1D-5A9AA8C9E006}"/>
          </ac:spMkLst>
        </pc:spChg>
        <pc:spChg chg="mod">
          <ac:chgData name="Jean GRANDEMANGE" userId="faf07584-8716-430e-b66d-4ceae2fe8450" providerId="ADAL" clId="{5BA9D65E-4355-43B5-9FAC-0CE2D0775271}" dt="2023-01-27T14:57:35.851" v="7863" actId="20577"/>
          <ac:spMkLst>
            <pc:docMk/>
            <pc:sldMk cId="1458308701" sldId="2147469776"/>
            <ac:spMk id="13" creationId="{E22D3A68-8C63-4250-BAEB-59D55544985D}"/>
          </ac:spMkLst>
        </pc:spChg>
        <pc:spChg chg="mod">
          <ac:chgData name="Jean GRANDEMANGE" userId="faf07584-8716-430e-b66d-4ceae2fe8450" providerId="ADAL" clId="{5BA9D65E-4355-43B5-9FAC-0CE2D0775271}" dt="2023-01-27T14:57:48.413" v="7865" actId="14100"/>
          <ac:spMkLst>
            <pc:docMk/>
            <pc:sldMk cId="1458308701" sldId="2147469776"/>
            <ac:spMk id="17" creationId="{081C14F2-F0CF-453C-B5E6-3AB28B427042}"/>
          </ac:spMkLst>
        </pc:spChg>
        <pc:spChg chg="mod">
          <ac:chgData name="Jean GRANDEMANGE" userId="faf07584-8716-430e-b66d-4ceae2fe8450" providerId="ADAL" clId="{5BA9D65E-4355-43B5-9FAC-0CE2D0775271}" dt="2023-01-27T14:57:53.008" v="7866" actId="14100"/>
          <ac:spMkLst>
            <pc:docMk/>
            <pc:sldMk cId="1458308701" sldId="2147469776"/>
            <ac:spMk id="18" creationId="{BDCB2577-DAD6-BF9E-8070-A450A0CD0FED}"/>
          </ac:spMkLst>
        </pc:spChg>
        <pc:spChg chg="add mod">
          <ac:chgData name="Jean GRANDEMANGE" userId="faf07584-8716-430e-b66d-4ceae2fe8450" providerId="ADAL" clId="{5BA9D65E-4355-43B5-9FAC-0CE2D0775271}" dt="2023-01-27T14:56:19.616" v="7835" actId="208"/>
          <ac:spMkLst>
            <pc:docMk/>
            <pc:sldMk cId="1458308701" sldId="2147469776"/>
            <ac:spMk id="19" creationId="{B12A667E-79F8-2F12-DAEB-0F51C7A469BB}"/>
          </ac:spMkLst>
        </pc:spChg>
        <pc:spChg chg="add mod">
          <ac:chgData name="Jean GRANDEMANGE" userId="faf07584-8716-430e-b66d-4ceae2fe8450" providerId="ADAL" clId="{5BA9D65E-4355-43B5-9FAC-0CE2D0775271}" dt="2023-01-27T14:56:19.616" v="7835" actId="208"/>
          <ac:spMkLst>
            <pc:docMk/>
            <pc:sldMk cId="1458308701" sldId="2147469776"/>
            <ac:spMk id="91" creationId="{164C9651-59C9-1004-F279-21925BD2A6F9}"/>
          </ac:spMkLst>
        </pc:spChg>
        <pc:spChg chg="add mod">
          <ac:chgData name="Jean GRANDEMANGE" userId="faf07584-8716-430e-b66d-4ceae2fe8450" providerId="ADAL" clId="{5BA9D65E-4355-43B5-9FAC-0CE2D0775271}" dt="2023-01-27T14:56:32.898" v="7843" actId="20577"/>
          <ac:spMkLst>
            <pc:docMk/>
            <pc:sldMk cId="1458308701" sldId="2147469776"/>
            <ac:spMk id="92" creationId="{4B285140-F531-08B9-9017-F9FEA0F14BB2}"/>
          </ac:spMkLst>
        </pc:spChg>
        <pc:spChg chg="add mod">
          <ac:chgData name="Jean GRANDEMANGE" userId="faf07584-8716-430e-b66d-4ceae2fe8450" providerId="ADAL" clId="{5BA9D65E-4355-43B5-9FAC-0CE2D0775271}" dt="2023-01-27T14:58:11.287" v="7869" actId="20577"/>
          <ac:spMkLst>
            <pc:docMk/>
            <pc:sldMk cId="1458308701" sldId="2147469776"/>
            <ac:spMk id="93" creationId="{E7113763-4E72-3DEB-C4DD-2488141A07EE}"/>
          </ac:spMkLst>
        </pc:spChg>
      </pc:sldChg>
      <pc:sldChg chg="delSp modSp mod ord">
        <pc:chgData name="Jean GRANDEMANGE" userId="faf07584-8716-430e-b66d-4ceae2fe8450" providerId="ADAL" clId="{5BA9D65E-4355-43B5-9FAC-0CE2D0775271}" dt="2023-01-28T13:28:43.076" v="11871" actId="20578"/>
        <pc:sldMkLst>
          <pc:docMk/>
          <pc:sldMk cId="1985396647" sldId="2147469798"/>
        </pc:sldMkLst>
        <pc:spChg chg="mod">
          <ac:chgData name="Jean GRANDEMANGE" userId="faf07584-8716-430e-b66d-4ceae2fe8450" providerId="ADAL" clId="{5BA9D65E-4355-43B5-9FAC-0CE2D0775271}" dt="2023-01-27T09:59:47.468" v="254" actId="20577"/>
          <ac:spMkLst>
            <pc:docMk/>
            <pc:sldMk cId="1985396647" sldId="2147469798"/>
            <ac:spMk id="3" creationId="{B7B8BDEB-56F6-F5C3-44DC-5AB868A6F40A}"/>
          </ac:spMkLst>
        </pc:spChg>
        <pc:spChg chg="mod">
          <ac:chgData name="Jean GRANDEMANGE" userId="faf07584-8716-430e-b66d-4ceae2fe8450" providerId="ADAL" clId="{5BA9D65E-4355-43B5-9FAC-0CE2D0775271}" dt="2023-01-27T10:05:57.106" v="574" actId="1076"/>
          <ac:spMkLst>
            <pc:docMk/>
            <pc:sldMk cId="1985396647" sldId="2147469798"/>
            <ac:spMk id="4" creationId="{B38E534A-4BFA-B041-C1BB-3E2E2E141A43}"/>
          </ac:spMkLst>
        </pc:spChg>
        <pc:spChg chg="del mod">
          <ac:chgData name="Jean GRANDEMANGE" userId="faf07584-8716-430e-b66d-4ceae2fe8450" providerId="ADAL" clId="{5BA9D65E-4355-43B5-9FAC-0CE2D0775271}" dt="2023-01-27T09:49:04.846" v="84" actId="478"/>
          <ac:spMkLst>
            <pc:docMk/>
            <pc:sldMk cId="1985396647" sldId="2147469798"/>
            <ac:spMk id="5" creationId="{9B14029A-59F9-4BD1-8104-FBE03EBF56C1}"/>
          </ac:spMkLst>
        </pc:spChg>
        <pc:spChg chg="mod">
          <ac:chgData name="Jean GRANDEMANGE" userId="faf07584-8716-430e-b66d-4ceae2fe8450" providerId="ADAL" clId="{5BA9D65E-4355-43B5-9FAC-0CE2D0775271}" dt="2023-01-27T10:01:28.244" v="322" actId="5793"/>
          <ac:spMkLst>
            <pc:docMk/>
            <pc:sldMk cId="1985396647" sldId="2147469798"/>
            <ac:spMk id="6" creationId="{EF35A969-8E72-F9E2-E4DF-353E6BF5883F}"/>
          </ac:spMkLst>
        </pc:spChg>
      </pc:sldChg>
      <pc:sldChg chg="addSp delSp modSp mod ord">
        <pc:chgData name="Jean GRANDEMANGE" userId="faf07584-8716-430e-b66d-4ceae2fe8450" providerId="ADAL" clId="{5BA9D65E-4355-43B5-9FAC-0CE2D0775271}" dt="2023-01-28T13:28:43.076" v="11871" actId="20578"/>
        <pc:sldMkLst>
          <pc:docMk/>
          <pc:sldMk cId="2540188229" sldId="2147469802"/>
        </pc:sldMkLst>
        <pc:spChg chg="mod">
          <ac:chgData name="Jean GRANDEMANGE" userId="faf07584-8716-430e-b66d-4ceae2fe8450" providerId="ADAL" clId="{5BA9D65E-4355-43B5-9FAC-0CE2D0775271}" dt="2023-01-27T10:25:22.072" v="1139" actId="5793"/>
          <ac:spMkLst>
            <pc:docMk/>
            <pc:sldMk cId="2540188229" sldId="2147469802"/>
            <ac:spMk id="2" creationId="{CA762840-70F9-4081-AEF7-418B9580EB34}"/>
          </ac:spMkLst>
        </pc:spChg>
        <pc:spChg chg="mod">
          <ac:chgData name="Jean GRANDEMANGE" userId="faf07584-8716-430e-b66d-4ceae2fe8450" providerId="ADAL" clId="{5BA9D65E-4355-43B5-9FAC-0CE2D0775271}" dt="2023-01-27T10:11:10.715" v="926" actId="20577"/>
          <ac:spMkLst>
            <pc:docMk/>
            <pc:sldMk cId="2540188229" sldId="2147469802"/>
            <ac:spMk id="3" creationId="{30BA9AC5-F339-4DAA-A784-D309B75F50DB}"/>
          </ac:spMkLst>
        </pc:spChg>
        <pc:spChg chg="add mod">
          <ac:chgData name="Jean GRANDEMANGE" userId="faf07584-8716-430e-b66d-4ceae2fe8450" providerId="ADAL" clId="{5BA9D65E-4355-43B5-9FAC-0CE2D0775271}" dt="2023-01-27T10:49:22.177" v="3270" actId="14100"/>
          <ac:spMkLst>
            <pc:docMk/>
            <pc:sldMk cId="2540188229" sldId="2147469802"/>
            <ac:spMk id="4" creationId="{5AC8F9AB-B38E-2146-05EF-868FA1A12B27}"/>
          </ac:spMkLst>
        </pc:spChg>
        <pc:spChg chg="mod">
          <ac:chgData name="Jean GRANDEMANGE" userId="faf07584-8716-430e-b66d-4ceae2fe8450" providerId="ADAL" clId="{5BA9D65E-4355-43B5-9FAC-0CE2D0775271}" dt="2023-01-27T10:42:38.198" v="3076" actId="948"/>
          <ac:spMkLst>
            <pc:docMk/>
            <pc:sldMk cId="2540188229" sldId="2147469802"/>
            <ac:spMk id="9" creationId="{2342DBF4-B0D8-349F-BB0C-4A99E54A1A22}"/>
          </ac:spMkLst>
        </pc:spChg>
        <pc:spChg chg="mod">
          <ac:chgData name="Jean GRANDEMANGE" userId="faf07584-8716-430e-b66d-4ceae2fe8450" providerId="ADAL" clId="{5BA9D65E-4355-43B5-9FAC-0CE2D0775271}" dt="2023-01-27T10:42:59.736" v="3083" actId="207"/>
          <ac:spMkLst>
            <pc:docMk/>
            <pc:sldMk cId="2540188229" sldId="2147469802"/>
            <ac:spMk id="10" creationId="{61DA5142-B73D-6E24-63BD-188165FA0EC0}"/>
          </ac:spMkLst>
        </pc:spChg>
        <pc:spChg chg="del">
          <ac:chgData name="Jean GRANDEMANGE" userId="faf07584-8716-430e-b66d-4ceae2fe8450" providerId="ADAL" clId="{5BA9D65E-4355-43B5-9FAC-0CE2D0775271}" dt="2023-01-27T10:30:50.105" v="1762" actId="478"/>
          <ac:spMkLst>
            <pc:docMk/>
            <pc:sldMk cId="2540188229" sldId="2147469802"/>
            <ac:spMk id="15" creationId="{9BF86833-3204-4342-A5D5-61FEA7F88E0A}"/>
          </ac:spMkLst>
        </pc:spChg>
        <pc:spChg chg="mod">
          <ac:chgData name="Jean GRANDEMANGE" userId="faf07584-8716-430e-b66d-4ceae2fe8450" providerId="ADAL" clId="{5BA9D65E-4355-43B5-9FAC-0CE2D0775271}" dt="2023-01-27T10:08:02.348" v="675" actId="207"/>
          <ac:spMkLst>
            <pc:docMk/>
            <pc:sldMk cId="2540188229" sldId="2147469802"/>
            <ac:spMk id="23" creationId="{477CE869-1A01-432B-9761-9FB9C01E390C}"/>
          </ac:spMkLst>
        </pc:spChg>
        <pc:spChg chg="mod">
          <ac:chgData name="Jean GRANDEMANGE" userId="faf07584-8716-430e-b66d-4ceae2fe8450" providerId="ADAL" clId="{5BA9D65E-4355-43B5-9FAC-0CE2D0775271}" dt="2023-01-27T10:08:09.922" v="680" actId="208"/>
          <ac:spMkLst>
            <pc:docMk/>
            <pc:sldMk cId="2540188229" sldId="2147469802"/>
            <ac:spMk id="24" creationId="{83F4D58F-4301-4B67-B378-85409ED3C403}"/>
          </ac:spMkLst>
        </pc:spChg>
        <pc:spChg chg="mod">
          <ac:chgData name="Jean GRANDEMANGE" userId="faf07584-8716-430e-b66d-4ceae2fe8450" providerId="ADAL" clId="{5BA9D65E-4355-43B5-9FAC-0CE2D0775271}" dt="2023-01-27T10:41:20.417" v="2990" actId="207"/>
          <ac:spMkLst>
            <pc:docMk/>
            <pc:sldMk cId="2540188229" sldId="2147469802"/>
            <ac:spMk id="27" creationId="{642FD0AA-E6FE-416E-BC1C-783754C4FAEC}"/>
          </ac:spMkLst>
        </pc:spChg>
        <pc:spChg chg="mod">
          <ac:chgData name="Jean GRANDEMANGE" userId="faf07584-8716-430e-b66d-4ceae2fe8450" providerId="ADAL" clId="{5BA9D65E-4355-43B5-9FAC-0CE2D0775271}" dt="2023-01-27T10:41:24.919" v="2991" actId="208"/>
          <ac:spMkLst>
            <pc:docMk/>
            <pc:sldMk cId="2540188229" sldId="2147469802"/>
            <ac:spMk id="28" creationId="{50C5B3CF-3A4F-42B6-8018-47EFF163D4E0}"/>
          </ac:spMkLst>
        </pc:spChg>
        <pc:spChg chg="mod">
          <ac:chgData name="Jean GRANDEMANGE" userId="faf07584-8716-430e-b66d-4ceae2fe8450" providerId="ADAL" clId="{5BA9D65E-4355-43B5-9FAC-0CE2D0775271}" dt="2023-01-27T10:41:17.177" v="2988" actId="207"/>
          <ac:spMkLst>
            <pc:docMk/>
            <pc:sldMk cId="2540188229" sldId="2147469802"/>
            <ac:spMk id="29" creationId="{E554D552-6F40-40A0-8C19-CEC1B2AAE5DD}"/>
          </ac:spMkLst>
        </pc:spChg>
        <pc:spChg chg="mod">
          <ac:chgData name="Jean GRANDEMANGE" userId="faf07584-8716-430e-b66d-4ceae2fe8450" providerId="ADAL" clId="{5BA9D65E-4355-43B5-9FAC-0CE2D0775271}" dt="2023-01-27T10:44:54.759" v="3213" actId="207"/>
          <ac:spMkLst>
            <pc:docMk/>
            <pc:sldMk cId="2540188229" sldId="2147469802"/>
            <ac:spMk id="31" creationId="{ED15B70B-6A6D-4AF1-A556-8F7F4196A78E}"/>
          </ac:spMkLst>
        </pc:spChg>
        <pc:spChg chg="del mod">
          <ac:chgData name="Jean GRANDEMANGE" userId="faf07584-8716-430e-b66d-4ceae2fe8450" providerId="ADAL" clId="{5BA9D65E-4355-43B5-9FAC-0CE2D0775271}" dt="2023-01-27T10:07:05.642" v="622" actId="478"/>
          <ac:spMkLst>
            <pc:docMk/>
            <pc:sldMk cId="2540188229" sldId="2147469802"/>
            <ac:spMk id="32" creationId="{506B86BA-488F-4965-9BBC-234F96E2E658}"/>
          </ac:spMkLst>
        </pc:spChg>
        <pc:spChg chg="mod">
          <ac:chgData name="Jean GRANDEMANGE" userId="faf07584-8716-430e-b66d-4ceae2fe8450" providerId="ADAL" clId="{5BA9D65E-4355-43B5-9FAC-0CE2D0775271}" dt="2023-01-27T10:41:13.306" v="2987" actId="207"/>
          <ac:spMkLst>
            <pc:docMk/>
            <pc:sldMk cId="2540188229" sldId="2147469802"/>
            <ac:spMk id="35" creationId="{F4DC386E-A717-46E3-B1B5-36AF2E473127}"/>
          </ac:spMkLst>
        </pc:spChg>
        <pc:spChg chg="mod">
          <ac:chgData name="Jean GRANDEMANGE" userId="faf07584-8716-430e-b66d-4ceae2fe8450" providerId="ADAL" clId="{5BA9D65E-4355-43B5-9FAC-0CE2D0775271}" dt="2023-01-27T10:08:37.547" v="717" actId="207"/>
          <ac:spMkLst>
            <pc:docMk/>
            <pc:sldMk cId="2540188229" sldId="2147469802"/>
            <ac:spMk id="43" creationId="{1C919372-D37C-4F14-B5E1-38C8BE742F8A}"/>
          </ac:spMkLst>
        </pc:spChg>
        <pc:spChg chg="mod">
          <ac:chgData name="Jean GRANDEMANGE" userId="faf07584-8716-430e-b66d-4ceae2fe8450" providerId="ADAL" clId="{5BA9D65E-4355-43B5-9FAC-0CE2D0775271}" dt="2023-01-27T10:40:56.923" v="2983" actId="20577"/>
          <ac:spMkLst>
            <pc:docMk/>
            <pc:sldMk cId="2540188229" sldId="2147469802"/>
            <ac:spMk id="44" creationId="{31505B93-018D-4BEA-AFC9-64EF852EAF81}"/>
          </ac:spMkLst>
        </pc:spChg>
        <pc:spChg chg="mod">
          <ac:chgData name="Jean GRANDEMANGE" userId="faf07584-8716-430e-b66d-4ceae2fe8450" providerId="ADAL" clId="{5BA9D65E-4355-43B5-9FAC-0CE2D0775271}" dt="2023-01-27T10:43:09.037" v="3087" actId="20577"/>
          <ac:spMkLst>
            <pc:docMk/>
            <pc:sldMk cId="2540188229" sldId="2147469802"/>
            <ac:spMk id="52" creationId="{F8977E9A-A487-43C8-B3E5-E09DD144464D}"/>
          </ac:spMkLst>
        </pc:spChg>
        <pc:grpChg chg="add mod ord">
          <ac:chgData name="Jean GRANDEMANGE" userId="faf07584-8716-430e-b66d-4ceae2fe8450" providerId="ADAL" clId="{5BA9D65E-4355-43B5-9FAC-0CE2D0775271}" dt="2023-01-27T10:42:54.785" v="3081" actId="1076"/>
          <ac:grpSpMkLst>
            <pc:docMk/>
            <pc:sldMk cId="2540188229" sldId="2147469802"/>
            <ac:grpSpMk id="8" creationId="{2B7B3B6F-9BD5-E0FD-FEF7-12ABC3CBE6DE}"/>
          </ac:grpSpMkLst>
        </pc:grpChg>
        <pc:grpChg chg="del">
          <ac:chgData name="Jean GRANDEMANGE" userId="faf07584-8716-430e-b66d-4ceae2fe8450" providerId="ADAL" clId="{5BA9D65E-4355-43B5-9FAC-0CE2D0775271}" dt="2023-01-27T10:30:50.105" v="1762" actId="478"/>
          <ac:grpSpMkLst>
            <pc:docMk/>
            <pc:sldMk cId="2540188229" sldId="2147469802"/>
            <ac:grpSpMk id="14" creationId="{E9AAEAB1-68C9-4F7E-B451-0E171C7784F3}"/>
          </ac:grpSpMkLst>
        </pc:grpChg>
        <pc:grpChg chg="mod">
          <ac:chgData name="Jean GRANDEMANGE" userId="faf07584-8716-430e-b66d-4ceae2fe8450" providerId="ADAL" clId="{5BA9D65E-4355-43B5-9FAC-0CE2D0775271}" dt="2023-01-27T10:41:42.778" v="2995" actId="14100"/>
          <ac:grpSpMkLst>
            <pc:docMk/>
            <pc:sldMk cId="2540188229" sldId="2147469802"/>
            <ac:grpSpMk id="41" creationId="{1ABD6FA5-BDD0-4310-8B99-B3DFC6FEA444}"/>
          </ac:grpSpMkLst>
        </pc:grpChg>
      </pc:sldChg>
      <pc:sldChg chg="addSp delSp modSp add mod ord">
        <pc:chgData name="Jean GRANDEMANGE" userId="faf07584-8716-430e-b66d-4ceae2fe8450" providerId="ADAL" clId="{5BA9D65E-4355-43B5-9FAC-0CE2D0775271}" dt="2023-01-28T13:28:43.076" v="11871" actId="20578"/>
        <pc:sldMkLst>
          <pc:docMk/>
          <pc:sldMk cId="41662455" sldId="2147469804"/>
        </pc:sldMkLst>
        <pc:spChg chg="mod">
          <ac:chgData name="Jean GRANDEMANGE" userId="faf07584-8716-430e-b66d-4ceae2fe8450" providerId="ADAL" clId="{5BA9D65E-4355-43B5-9FAC-0CE2D0775271}" dt="2023-01-27T10:56:43.828" v="3834" actId="20577"/>
          <ac:spMkLst>
            <pc:docMk/>
            <pc:sldMk cId="41662455" sldId="2147469804"/>
            <ac:spMk id="3" creationId="{49E04204-AE45-4668-AAC4-25EFEE7BD311}"/>
          </ac:spMkLst>
        </pc:spChg>
        <pc:spChg chg="mod">
          <ac:chgData name="Jean GRANDEMANGE" userId="faf07584-8716-430e-b66d-4ceae2fe8450" providerId="ADAL" clId="{5BA9D65E-4355-43B5-9FAC-0CE2D0775271}" dt="2023-01-27T10:50:45.624" v="3336" actId="20577"/>
          <ac:spMkLst>
            <pc:docMk/>
            <pc:sldMk cId="41662455" sldId="2147469804"/>
            <ac:spMk id="11" creationId="{8159CABA-9735-4133-82FC-81C28BB0336F}"/>
          </ac:spMkLst>
        </pc:spChg>
        <pc:spChg chg="mod">
          <ac:chgData name="Jean GRANDEMANGE" userId="faf07584-8716-430e-b66d-4ceae2fe8450" providerId="ADAL" clId="{5BA9D65E-4355-43B5-9FAC-0CE2D0775271}" dt="2023-01-27T10:50:31.214" v="3298" actId="1076"/>
          <ac:spMkLst>
            <pc:docMk/>
            <pc:sldMk cId="41662455" sldId="2147469804"/>
            <ac:spMk id="16" creationId="{7541CBD0-325B-4294-8AF4-D726AC34B380}"/>
          </ac:spMkLst>
        </pc:spChg>
        <pc:spChg chg="mod">
          <ac:chgData name="Jean GRANDEMANGE" userId="faf07584-8716-430e-b66d-4ceae2fe8450" providerId="ADAL" clId="{5BA9D65E-4355-43B5-9FAC-0CE2D0775271}" dt="2023-01-27T10:54:09.428" v="3513" actId="14100"/>
          <ac:spMkLst>
            <pc:docMk/>
            <pc:sldMk cId="41662455" sldId="2147469804"/>
            <ac:spMk id="17" creationId="{4D63FED0-E0B3-479A-81F0-33323B7319B8}"/>
          </ac:spMkLst>
        </pc:spChg>
        <pc:spChg chg="mod">
          <ac:chgData name="Jean GRANDEMANGE" userId="faf07584-8716-430e-b66d-4ceae2fe8450" providerId="ADAL" clId="{5BA9D65E-4355-43B5-9FAC-0CE2D0775271}" dt="2023-01-27T10:54:33.165" v="3541" actId="12"/>
          <ac:spMkLst>
            <pc:docMk/>
            <pc:sldMk cId="41662455" sldId="2147469804"/>
            <ac:spMk id="18" creationId="{EA39920B-A700-47FE-9EDF-B36F1EF4A762}"/>
          </ac:spMkLst>
        </pc:spChg>
        <pc:spChg chg="mod">
          <ac:chgData name="Jean GRANDEMANGE" userId="faf07584-8716-430e-b66d-4ceae2fe8450" providerId="ADAL" clId="{5BA9D65E-4355-43B5-9FAC-0CE2D0775271}" dt="2023-01-27T10:56:06.971" v="3829" actId="20577"/>
          <ac:spMkLst>
            <pc:docMk/>
            <pc:sldMk cId="41662455" sldId="2147469804"/>
            <ac:spMk id="19" creationId="{7D75C2EF-6907-4662-B03B-A2432E874B7A}"/>
          </ac:spMkLst>
        </pc:spChg>
        <pc:spChg chg="mod">
          <ac:chgData name="Jean GRANDEMANGE" userId="faf07584-8716-430e-b66d-4ceae2fe8450" providerId="ADAL" clId="{5BA9D65E-4355-43B5-9FAC-0CE2D0775271}" dt="2023-01-27T10:56:11.349" v="3830" actId="1076"/>
          <ac:spMkLst>
            <pc:docMk/>
            <pc:sldMk cId="41662455" sldId="2147469804"/>
            <ac:spMk id="20" creationId="{13D1B09E-2F79-402D-A8DD-25C8D1B0DC6A}"/>
          </ac:spMkLst>
        </pc:spChg>
        <pc:picChg chg="add mod">
          <ac:chgData name="Jean GRANDEMANGE" userId="faf07584-8716-430e-b66d-4ceae2fe8450" providerId="ADAL" clId="{5BA9D65E-4355-43B5-9FAC-0CE2D0775271}" dt="2023-01-27T10:54:11.306" v="3514" actId="1076"/>
          <ac:picMkLst>
            <pc:docMk/>
            <pc:sldMk cId="41662455" sldId="2147469804"/>
            <ac:picMk id="4" creationId="{1EAEE416-3627-08B7-2D34-29B31C0CCA58}"/>
          </ac:picMkLst>
        </pc:picChg>
        <pc:picChg chg="del">
          <ac:chgData name="Jean GRANDEMANGE" userId="faf07584-8716-430e-b66d-4ceae2fe8450" providerId="ADAL" clId="{5BA9D65E-4355-43B5-9FAC-0CE2D0775271}" dt="2023-01-27T10:50:47.585" v="3337" actId="478"/>
          <ac:picMkLst>
            <pc:docMk/>
            <pc:sldMk cId="41662455" sldId="2147469804"/>
            <ac:picMk id="12" creationId="{5CB53CA2-D3E3-49A9-AFCF-E827E1568E65}"/>
          </ac:picMkLst>
        </pc:picChg>
      </pc:sldChg>
      <pc:sldChg chg="addSp delSp modSp mod">
        <pc:chgData name="Jean GRANDEMANGE" userId="faf07584-8716-430e-b66d-4ceae2fe8450" providerId="ADAL" clId="{5BA9D65E-4355-43B5-9FAC-0CE2D0775271}" dt="2023-01-28T13:31:06.236" v="11896" actId="20577"/>
        <pc:sldMkLst>
          <pc:docMk/>
          <pc:sldMk cId="1301648618" sldId="2147469831"/>
        </pc:sldMkLst>
        <pc:spChg chg="add del mod">
          <ac:chgData name="Jean GRANDEMANGE" userId="faf07584-8716-430e-b66d-4ceae2fe8450" providerId="ADAL" clId="{5BA9D65E-4355-43B5-9FAC-0CE2D0775271}" dt="2023-01-27T09:39:11.216" v="72" actId="478"/>
          <ac:spMkLst>
            <pc:docMk/>
            <pc:sldMk cId="1301648618" sldId="2147469831"/>
            <ac:spMk id="2" creationId="{304F217E-2338-BF7E-FAFD-93A40C325593}"/>
          </ac:spMkLst>
        </pc:spChg>
        <pc:spChg chg="mod">
          <ac:chgData name="Jean GRANDEMANGE" userId="faf07584-8716-430e-b66d-4ceae2fe8450" providerId="ADAL" clId="{5BA9D65E-4355-43B5-9FAC-0CE2D0775271}" dt="2023-01-28T13:28:47.095" v="11876" actId="14100"/>
          <ac:spMkLst>
            <pc:docMk/>
            <pc:sldMk cId="1301648618" sldId="2147469831"/>
            <ac:spMk id="7" creationId="{8FFDA8EC-8B79-4111-9A54-1FBA6FF78689}"/>
          </ac:spMkLst>
        </pc:spChg>
        <pc:spChg chg="mod">
          <ac:chgData name="Jean GRANDEMANGE" userId="faf07584-8716-430e-b66d-4ceae2fe8450" providerId="ADAL" clId="{5BA9D65E-4355-43B5-9FAC-0CE2D0775271}" dt="2023-01-28T13:28:47.095" v="11876" actId="14100"/>
          <ac:spMkLst>
            <pc:docMk/>
            <pc:sldMk cId="1301648618" sldId="2147469831"/>
            <ac:spMk id="8" creationId="{7EE3A62C-16BD-4386-A32F-A24CCFC7199D}"/>
          </ac:spMkLst>
        </pc:spChg>
        <pc:spChg chg="mod">
          <ac:chgData name="Jean GRANDEMANGE" userId="faf07584-8716-430e-b66d-4ceae2fe8450" providerId="ADAL" clId="{5BA9D65E-4355-43B5-9FAC-0CE2D0775271}" dt="2023-01-28T13:31:06.236" v="11896" actId="20577"/>
          <ac:spMkLst>
            <pc:docMk/>
            <pc:sldMk cId="1301648618" sldId="2147469831"/>
            <ac:spMk id="9" creationId="{BD6433EC-D9EB-4716-B094-2038D14B5EE7}"/>
          </ac:spMkLst>
        </pc:spChg>
      </pc:sldChg>
      <pc:sldChg chg="addSp delSp modSp mod">
        <pc:chgData name="Jean GRANDEMANGE" userId="faf07584-8716-430e-b66d-4ceae2fe8450" providerId="ADAL" clId="{5BA9D65E-4355-43B5-9FAC-0CE2D0775271}" dt="2023-01-27T17:06:40.036" v="10204" actId="20577"/>
        <pc:sldMkLst>
          <pc:docMk/>
          <pc:sldMk cId="3405077761" sldId="2147469832"/>
        </pc:sldMkLst>
        <pc:spChg chg="add mod">
          <ac:chgData name="Jean GRANDEMANGE" userId="faf07584-8716-430e-b66d-4ceae2fe8450" providerId="ADAL" clId="{5BA9D65E-4355-43B5-9FAC-0CE2D0775271}" dt="2023-01-27T13:44:37.455" v="6503" actId="2711"/>
          <ac:spMkLst>
            <pc:docMk/>
            <pc:sldMk cId="3405077761" sldId="2147469832"/>
            <ac:spMk id="2" creationId="{F0CE8759-A0A9-DE24-0A80-BC3FD4659A95}"/>
          </ac:spMkLst>
        </pc:spChg>
        <pc:spChg chg="mod">
          <ac:chgData name="Jean GRANDEMANGE" userId="faf07584-8716-430e-b66d-4ceae2fe8450" providerId="ADAL" clId="{5BA9D65E-4355-43B5-9FAC-0CE2D0775271}" dt="2023-01-27T13:28:08.751" v="4866" actId="1076"/>
          <ac:spMkLst>
            <pc:docMk/>
            <pc:sldMk cId="3405077761" sldId="2147469832"/>
            <ac:spMk id="5" creationId="{5D688AB2-7A9C-4E94-9F96-0D15CEC7E0F1}"/>
          </ac:spMkLst>
        </pc:spChg>
        <pc:spChg chg="del">
          <ac:chgData name="Jean GRANDEMANGE" userId="faf07584-8716-430e-b66d-4ceae2fe8450" providerId="ADAL" clId="{5BA9D65E-4355-43B5-9FAC-0CE2D0775271}" dt="2023-01-27T13:40:26.850" v="6383" actId="478"/>
          <ac:spMkLst>
            <pc:docMk/>
            <pc:sldMk cId="3405077761" sldId="2147469832"/>
            <ac:spMk id="6" creationId="{04A49824-ABED-44CE-9CFE-F2DB93BED5F1}"/>
          </ac:spMkLst>
        </pc:spChg>
        <pc:spChg chg="mod">
          <ac:chgData name="Jean GRANDEMANGE" userId="faf07584-8716-430e-b66d-4ceae2fe8450" providerId="ADAL" clId="{5BA9D65E-4355-43B5-9FAC-0CE2D0775271}" dt="2023-01-27T13:55:05.357" v="6793" actId="1076"/>
          <ac:spMkLst>
            <pc:docMk/>
            <pc:sldMk cId="3405077761" sldId="2147469832"/>
            <ac:spMk id="7" creationId="{E6CA2F7B-269F-4CD4-A2BE-DE0E7902B462}"/>
          </ac:spMkLst>
        </pc:spChg>
        <pc:spChg chg="mod">
          <ac:chgData name="Jean GRANDEMANGE" userId="faf07584-8716-430e-b66d-4ceae2fe8450" providerId="ADAL" clId="{5BA9D65E-4355-43B5-9FAC-0CE2D0775271}" dt="2023-01-27T13:55:05.357" v="6793" actId="1076"/>
          <ac:spMkLst>
            <pc:docMk/>
            <pc:sldMk cId="3405077761" sldId="2147469832"/>
            <ac:spMk id="8" creationId="{D8BADCE5-4985-4488-B097-095E619995F7}"/>
          </ac:spMkLst>
        </pc:spChg>
        <pc:spChg chg="mod">
          <ac:chgData name="Jean GRANDEMANGE" userId="faf07584-8716-430e-b66d-4ceae2fe8450" providerId="ADAL" clId="{5BA9D65E-4355-43B5-9FAC-0CE2D0775271}" dt="2023-01-27T13:55:05.357" v="6793" actId="1076"/>
          <ac:spMkLst>
            <pc:docMk/>
            <pc:sldMk cId="3405077761" sldId="2147469832"/>
            <ac:spMk id="9" creationId="{E2894613-6823-4990-AAE1-01A4C3216607}"/>
          </ac:spMkLst>
        </pc:spChg>
        <pc:spChg chg="mod">
          <ac:chgData name="Jean GRANDEMANGE" userId="faf07584-8716-430e-b66d-4ceae2fe8450" providerId="ADAL" clId="{5BA9D65E-4355-43B5-9FAC-0CE2D0775271}" dt="2023-01-27T13:55:05.357" v="6793" actId="1076"/>
          <ac:spMkLst>
            <pc:docMk/>
            <pc:sldMk cId="3405077761" sldId="2147469832"/>
            <ac:spMk id="10" creationId="{ABB5AB67-381A-437D-B638-9C67FAEA8134}"/>
          </ac:spMkLst>
        </pc:spChg>
        <pc:spChg chg="mod">
          <ac:chgData name="Jean GRANDEMANGE" userId="faf07584-8716-430e-b66d-4ceae2fe8450" providerId="ADAL" clId="{5BA9D65E-4355-43B5-9FAC-0CE2D0775271}" dt="2023-01-27T13:55:05.357" v="6793" actId="1076"/>
          <ac:spMkLst>
            <pc:docMk/>
            <pc:sldMk cId="3405077761" sldId="2147469832"/>
            <ac:spMk id="11" creationId="{6C690B49-956F-4986-B2FE-8DADD934D493}"/>
          </ac:spMkLst>
        </pc:spChg>
        <pc:spChg chg="mod">
          <ac:chgData name="Jean GRANDEMANGE" userId="faf07584-8716-430e-b66d-4ceae2fe8450" providerId="ADAL" clId="{5BA9D65E-4355-43B5-9FAC-0CE2D0775271}" dt="2023-01-27T13:55:05.357" v="6793" actId="1076"/>
          <ac:spMkLst>
            <pc:docMk/>
            <pc:sldMk cId="3405077761" sldId="2147469832"/>
            <ac:spMk id="12" creationId="{7D82899E-54A9-4A94-A1CC-8808C0A00FAB}"/>
          </ac:spMkLst>
        </pc:spChg>
        <pc:spChg chg="mod">
          <ac:chgData name="Jean GRANDEMANGE" userId="faf07584-8716-430e-b66d-4ceae2fe8450" providerId="ADAL" clId="{5BA9D65E-4355-43B5-9FAC-0CE2D0775271}" dt="2023-01-27T17:06:40.036" v="10204" actId="20577"/>
          <ac:spMkLst>
            <pc:docMk/>
            <pc:sldMk cId="3405077761" sldId="2147469832"/>
            <ac:spMk id="13" creationId="{2DA3159F-53CD-4861-BDF2-ACA0C57F98BB}"/>
          </ac:spMkLst>
        </pc:spChg>
        <pc:spChg chg="mod">
          <ac:chgData name="Jean GRANDEMANGE" userId="faf07584-8716-430e-b66d-4ceae2fe8450" providerId="ADAL" clId="{5BA9D65E-4355-43B5-9FAC-0CE2D0775271}" dt="2023-01-27T13:55:05.357" v="6793" actId="1076"/>
          <ac:spMkLst>
            <pc:docMk/>
            <pc:sldMk cId="3405077761" sldId="2147469832"/>
            <ac:spMk id="26" creationId="{DFD6F423-AED8-4A7F-B53A-D46E7631B302}"/>
          </ac:spMkLst>
        </pc:spChg>
        <pc:spChg chg="del">
          <ac:chgData name="Jean GRANDEMANGE" userId="faf07584-8716-430e-b66d-4ceae2fe8450" providerId="ADAL" clId="{5BA9D65E-4355-43B5-9FAC-0CE2D0775271}" dt="2023-01-27T13:40:24.861" v="6382" actId="478"/>
          <ac:spMkLst>
            <pc:docMk/>
            <pc:sldMk cId="3405077761" sldId="2147469832"/>
            <ac:spMk id="27" creationId="{9758A226-4FFE-4283-8F11-04662839F350}"/>
          </ac:spMkLst>
        </pc:spChg>
        <pc:spChg chg="del mod">
          <ac:chgData name="Jean GRANDEMANGE" userId="faf07584-8716-430e-b66d-4ceae2fe8450" providerId="ADAL" clId="{5BA9D65E-4355-43B5-9FAC-0CE2D0775271}" dt="2023-01-27T13:40:24.861" v="6382" actId="478"/>
          <ac:spMkLst>
            <pc:docMk/>
            <pc:sldMk cId="3405077761" sldId="2147469832"/>
            <ac:spMk id="28" creationId="{D4D83668-303A-4A3B-98B3-83B6E6E83BC8}"/>
          </ac:spMkLst>
        </pc:spChg>
        <pc:grpChg chg="mod">
          <ac:chgData name="Jean GRANDEMANGE" userId="faf07584-8716-430e-b66d-4ceae2fe8450" providerId="ADAL" clId="{5BA9D65E-4355-43B5-9FAC-0CE2D0775271}" dt="2023-01-27T13:55:05.357" v="6793" actId="1076"/>
          <ac:grpSpMkLst>
            <pc:docMk/>
            <pc:sldMk cId="3405077761" sldId="2147469832"/>
            <ac:grpSpMk id="14" creationId="{A9CB7BFA-1F74-4B07-94FC-2E4B2C1E738A}"/>
          </ac:grpSpMkLst>
        </pc:grpChg>
        <pc:grpChg chg="mod">
          <ac:chgData name="Jean GRANDEMANGE" userId="faf07584-8716-430e-b66d-4ceae2fe8450" providerId="ADAL" clId="{5BA9D65E-4355-43B5-9FAC-0CE2D0775271}" dt="2023-01-27T13:55:05.357" v="6793" actId="1076"/>
          <ac:grpSpMkLst>
            <pc:docMk/>
            <pc:sldMk cId="3405077761" sldId="2147469832"/>
            <ac:grpSpMk id="17" creationId="{B7D12E65-A980-46C4-9252-D8C74B74FC50}"/>
          </ac:grpSpMkLst>
        </pc:grpChg>
        <pc:grpChg chg="mod">
          <ac:chgData name="Jean GRANDEMANGE" userId="faf07584-8716-430e-b66d-4ceae2fe8450" providerId="ADAL" clId="{5BA9D65E-4355-43B5-9FAC-0CE2D0775271}" dt="2023-01-27T13:55:05.357" v="6793" actId="1076"/>
          <ac:grpSpMkLst>
            <pc:docMk/>
            <pc:sldMk cId="3405077761" sldId="2147469832"/>
            <ac:grpSpMk id="20" creationId="{B70BBC39-7D34-4E1F-8250-26C498FB778C}"/>
          </ac:grpSpMkLst>
        </pc:grpChg>
        <pc:grpChg chg="mod">
          <ac:chgData name="Jean GRANDEMANGE" userId="faf07584-8716-430e-b66d-4ceae2fe8450" providerId="ADAL" clId="{5BA9D65E-4355-43B5-9FAC-0CE2D0775271}" dt="2023-01-27T13:55:05.357" v="6793" actId="1076"/>
          <ac:grpSpMkLst>
            <pc:docMk/>
            <pc:sldMk cId="3405077761" sldId="2147469832"/>
            <ac:grpSpMk id="23" creationId="{8AEA3C21-11A2-480C-994F-37FFA112C56E}"/>
          </ac:grpSpMkLst>
        </pc:grpChg>
        <pc:grpChg chg="del">
          <ac:chgData name="Jean GRANDEMANGE" userId="faf07584-8716-430e-b66d-4ceae2fe8450" providerId="ADAL" clId="{5BA9D65E-4355-43B5-9FAC-0CE2D0775271}" dt="2023-01-27T13:40:24.861" v="6382" actId="478"/>
          <ac:grpSpMkLst>
            <pc:docMk/>
            <pc:sldMk cId="3405077761" sldId="2147469832"/>
            <ac:grpSpMk id="29" creationId="{9D55CEE6-9FEC-4CCC-A96C-A3505795750A}"/>
          </ac:grpSpMkLst>
        </pc:grpChg>
      </pc:sldChg>
      <pc:sldChg chg="addSp delSp modSp mod ord modShow">
        <pc:chgData name="Jean GRANDEMANGE" userId="faf07584-8716-430e-b66d-4ceae2fe8450" providerId="ADAL" clId="{5BA9D65E-4355-43B5-9FAC-0CE2D0775271}" dt="2023-01-27T14:47:33.618" v="7394" actId="1076"/>
        <pc:sldMkLst>
          <pc:docMk/>
          <pc:sldMk cId="3958617290" sldId="2147469834"/>
        </pc:sldMkLst>
        <pc:spChg chg="add mod">
          <ac:chgData name="Jean GRANDEMANGE" userId="faf07584-8716-430e-b66d-4ceae2fe8450" providerId="ADAL" clId="{5BA9D65E-4355-43B5-9FAC-0CE2D0775271}" dt="2023-01-27T13:54:19.201" v="6737"/>
          <ac:spMkLst>
            <pc:docMk/>
            <pc:sldMk cId="3958617290" sldId="2147469834"/>
            <ac:spMk id="2" creationId="{E325619F-9DF4-2377-D1D5-1455972ADCDB}"/>
          </ac:spMkLst>
        </pc:spChg>
        <pc:spChg chg="add mod">
          <ac:chgData name="Jean GRANDEMANGE" userId="faf07584-8716-430e-b66d-4ceae2fe8450" providerId="ADAL" clId="{5BA9D65E-4355-43B5-9FAC-0CE2D0775271}" dt="2023-01-27T14:47:33.618" v="7394" actId="1076"/>
          <ac:spMkLst>
            <pc:docMk/>
            <pc:sldMk cId="3958617290" sldId="2147469834"/>
            <ac:spMk id="3" creationId="{4BE33A01-6FF3-78C7-28C3-6F91808B95A5}"/>
          </ac:spMkLst>
        </pc:spChg>
        <pc:spChg chg="mod">
          <ac:chgData name="Jean GRANDEMANGE" userId="faf07584-8716-430e-b66d-4ceae2fe8450" providerId="ADAL" clId="{5BA9D65E-4355-43B5-9FAC-0CE2D0775271}" dt="2023-01-27T13:54:25.329" v="6768" actId="20577"/>
          <ac:spMkLst>
            <pc:docMk/>
            <pc:sldMk cId="3958617290" sldId="2147469834"/>
            <ac:spMk id="5" creationId="{FB3FF2C0-EF0B-47FD-88D3-D36CBAF5C9D0}"/>
          </ac:spMkLst>
        </pc:spChg>
        <pc:spChg chg="mod">
          <ac:chgData name="Jean GRANDEMANGE" userId="faf07584-8716-430e-b66d-4ceae2fe8450" providerId="ADAL" clId="{5BA9D65E-4355-43B5-9FAC-0CE2D0775271}" dt="2023-01-27T14:41:31.064" v="7194" actId="207"/>
          <ac:spMkLst>
            <pc:docMk/>
            <pc:sldMk cId="3958617290" sldId="2147469834"/>
            <ac:spMk id="6" creationId="{91BF4286-DF76-4878-8886-A3D2133831C4}"/>
          </ac:spMkLst>
        </pc:spChg>
        <pc:spChg chg="mod">
          <ac:chgData name="Jean GRANDEMANGE" userId="faf07584-8716-430e-b66d-4ceae2fe8450" providerId="ADAL" clId="{5BA9D65E-4355-43B5-9FAC-0CE2D0775271}" dt="2023-01-27T14:41:31.064" v="7194" actId="207"/>
          <ac:spMkLst>
            <pc:docMk/>
            <pc:sldMk cId="3958617290" sldId="2147469834"/>
            <ac:spMk id="11" creationId="{5436BECF-2218-4F87-8834-BB4F6D706EB3}"/>
          </ac:spMkLst>
        </pc:spChg>
        <pc:spChg chg="mod">
          <ac:chgData name="Jean GRANDEMANGE" userId="faf07584-8716-430e-b66d-4ceae2fe8450" providerId="ADAL" clId="{5BA9D65E-4355-43B5-9FAC-0CE2D0775271}" dt="2023-01-27T14:41:31.064" v="7194" actId="207"/>
          <ac:spMkLst>
            <pc:docMk/>
            <pc:sldMk cId="3958617290" sldId="2147469834"/>
            <ac:spMk id="12" creationId="{F1085BAA-197C-4397-8FC8-330CD1101FCD}"/>
          </ac:spMkLst>
        </pc:spChg>
        <pc:spChg chg="mod">
          <ac:chgData name="Jean GRANDEMANGE" userId="faf07584-8716-430e-b66d-4ceae2fe8450" providerId="ADAL" clId="{5BA9D65E-4355-43B5-9FAC-0CE2D0775271}" dt="2023-01-27T14:41:31.064" v="7194" actId="207"/>
          <ac:spMkLst>
            <pc:docMk/>
            <pc:sldMk cId="3958617290" sldId="2147469834"/>
            <ac:spMk id="13" creationId="{521DC27C-C851-4383-A98A-E4FDFD3BDE3A}"/>
          </ac:spMkLst>
        </pc:spChg>
        <pc:spChg chg="mod">
          <ac:chgData name="Jean GRANDEMANGE" userId="faf07584-8716-430e-b66d-4ceae2fe8450" providerId="ADAL" clId="{5BA9D65E-4355-43B5-9FAC-0CE2D0775271}" dt="2023-01-27T14:41:31.064" v="7194" actId="207"/>
          <ac:spMkLst>
            <pc:docMk/>
            <pc:sldMk cId="3958617290" sldId="2147469834"/>
            <ac:spMk id="15" creationId="{A8401D60-C228-485D-ABD1-CF965DBC5F7E}"/>
          </ac:spMkLst>
        </pc:spChg>
        <pc:spChg chg="mod">
          <ac:chgData name="Jean GRANDEMANGE" userId="faf07584-8716-430e-b66d-4ceae2fe8450" providerId="ADAL" clId="{5BA9D65E-4355-43B5-9FAC-0CE2D0775271}" dt="2023-01-27T14:41:38.148" v="7198" actId="207"/>
          <ac:spMkLst>
            <pc:docMk/>
            <pc:sldMk cId="3958617290" sldId="2147469834"/>
            <ac:spMk id="17" creationId="{C656E025-4588-42D8-AA51-EF0BB6B93C1A}"/>
          </ac:spMkLst>
        </pc:spChg>
        <pc:spChg chg="mod">
          <ac:chgData name="Jean GRANDEMANGE" userId="faf07584-8716-430e-b66d-4ceae2fe8450" providerId="ADAL" clId="{5BA9D65E-4355-43B5-9FAC-0CE2D0775271}" dt="2023-01-27T14:47:29.519" v="7393" actId="20577"/>
          <ac:spMkLst>
            <pc:docMk/>
            <pc:sldMk cId="3958617290" sldId="2147469834"/>
            <ac:spMk id="19" creationId="{CB8A9802-2C70-4F30-9CA7-29786AF78DCE}"/>
          </ac:spMkLst>
        </pc:spChg>
        <pc:spChg chg="add del">
          <ac:chgData name="Jean GRANDEMANGE" userId="faf07584-8716-430e-b66d-4ceae2fe8450" providerId="ADAL" clId="{5BA9D65E-4355-43B5-9FAC-0CE2D0775271}" dt="2023-01-27T13:58:23.346" v="7002" actId="478"/>
          <ac:spMkLst>
            <pc:docMk/>
            <pc:sldMk cId="3958617290" sldId="2147469834"/>
            <ac:spMk id="21" creationId="{B20398F8-2324-4A69-9206-8891FA3B36FC}"/>
          </ac:spMkLst>
        </pc:spChg>
        <pc:spChg chg="add del">
          <ac:chgData name="Jean GRANDEMANGE" userId="faf07584-8716-430e-b66d-4ceae2fe8450" providerId="ADAL" clId="{5BA9D65E-4355-43B5-9FAC-0CE2D0775271}" dt="2023-01-27T13:58:21.955" v="7001" actId="478"/>
          <ac:spMkLst>
            <pc:docMk/>
            <pc:sldMk cId="3958617290" sldId="2147469834"/>
            <ac:spMk id="22" creationId="{AB28AB08-C48D-466A-B348-C19CECCA2237}"/>
          </ac:spMkLst>
        </pc:spChg>
        <pc:spChg chg="add del">
          <ac:chgData name="Jean GRANDEMANGE" userId="faf07584-8716-430e-b66d-4ceae2fe8450" providerId="ADAL" clId="{5BA9D65E-4355-43B5-9FAC-0CE2D0775271}" dt="2023-01-27T13:58:25.047" v="7004" actId="478"/>
          <ac:spMkLst>
            <pc:docMk/>
            <pc:sldMk cId="3958617290" sldId="2147469834"/>
            <ac:spMk id="23" creationId="{C2CDCD69-BF53-46F0-8C04-88BDAC83F24A}"/>
          </ac:spMkLst>
        </pc:spChg>
        <pc:spChg chg="add del">
          <ac:chgData name="Jean GRANDEMANGE" userId="faf07584-8716-430e-b66d-4ceae2fe8450" providerId="ADAL" clId="{5BA9D65E-4355-43B5-9FAC-0CE2D0775271}" dt="2023-01-27T13:58:21.955" v="7001" actId="478"/>
          <ac:spMkLst>
            <pc:docMk/>
            <pc:sldMk cId="3958617290" sldId="2147469834"/>
            <ac:spMk id="24" creationId="{228F2B96-056F-4865-B8F6-C8276D3AA87F}"/>
          </ac:spMkLst>
        </pc:spChg>
        <pc:spChg chg="add del">
          <ac:chgData name="Jean GRANDEMANGE" userId="faf07584-8716-430e-b66d-4ceae2fe8450" providerId="ADAL" clId="{5BA9D65E-4355-43B5-9FAC-0CE2D0775271}" dt="2023-01-27T13:58:25.746" v="7005" actId="478"/>
          <ac:spMkLst>
            <pc:docMk/>
            <pc:sldMk cId="3958617290" sldId="2147469834"/>
            <ac:spMk id="29" creationId="{013EE7DD-C3E2-44F3-BF45-B8E3E4D3C925}"/>
          </ac:spMkLst>
        </pc:spChg>
        <pc:spChg chg="add del">
          <ac:chgData name="Jean GRANDEMANGE" userId="faf07584-8716-430e-b66d-4ceae2fe8450" providerId="ADAL" clId="{5BA9D65E-4355-43B5-9FAC-0CE2D0775271}" dt="2023-01-27T13:58:28.644" v="7008" actId="478"/>
          <ac:spMkLst>
            <pc:docMk/>
            <pc:sldMk cId="3958617290" sldId="2147469834"/>
            <ac:spMk id="33" creationId="{C42E5BBD-BE0A-477F-AE05-02F9C351A0C7}"/>
          </ac:spMkLst>
        </pc:spChg>
        <pc:spChg chg="del">
          <ac:chgData name="Jean GRANDEMANGE" userId="faf07584-8716-430e-b66d-4ceae2fe8450" providerId="ADAL" clId="{5BA9D65E-4355-43B5-9FAC-0CE2D0775271}" dt="2023-01-27T13:58:24.236" v="7003" actId="478"/>
          <ac:spMkLst>
            <pc:docMk/>
            <pc:sldMk cId="3958617290" sldId="2147469834"/>
            <ac:spMk id="60" creationId="{513EDA07-04FA-41A2-B6E5-5620CDC8AE76}"/>
          </ac:spMkLst>
        </pc:spChg>
        <pc:spChg chg="add del">
          <ac:chgData name="Jean GRANDEMANGE" userId="faf07584-8716-430e-b66d-4ceae2fe8450" providerId="ADAL" clId="{5BA9D65E-4355-43B5-9FAC-0CE2D0775271}" dt="2023-01-27T13:58:21.955" v="7001" actId="478"/>
          <ac:spMkLst>
            <pc:docMk/>
            <pc:sldMk cId="3958617290" sldId="2147469834"/>
            <ac:spMk id="64" creationId="{E81B612B-1AD3-408E-9DEE-C975DAEC3C2C}"/>
          </ac:spMkLst>
        </pc:spChg>
        <pc:spChg chg="add del">
          <ac:chgData name="Jean GRANDEMANGE" userId="faf07584-8716-430e-b66d-4ceae2fe8450" providerId="ADAL" clId="{5BA9D65E-4355-43B5-9FAC-0CE2D0775271}" dt="2023-01-27T13:58:21.955" v="7001" actId="478"/>
          <ac:spMkLst>
            <pc:docMk/>
            <pc:sldMk cId="3958617290" sldId="2147469834"/>
            <ac:spMk id="68" creationId="{C03E0C56-82DA-459D-8FF7-4927AEF36680}"/>
          </ac:spMkLst>
        </pc:spChg>
        <pc:spChg chg="add del">
          <ac:chgData name="Jean GRANDEMANGE" userId="faf07584-8716-430e-b66d-4ceae2fe8450" providerId="ADAL" clId="{5BA9D65E-4355-43B5-9FAC-0CE2D0775271}" dt="2023-01-27T13:58:21.955" v="7001" actId="478"/>
          <ac:spMkLst>
            <pc:docMk/>
            <pc:sldMk cId="3958617290" sldId="2147469834"/>
            <ac:spMk id="72" creationId="{D1F4F826-4F54-4A14-87FD-FBF7A85546CC}"/>
          </ac:spMkLst>
        </pc:spChg>
        <pc:spChg chg="add mod">
          <ac:chgData name="Jean GRANDEMANGE" userId="faf07584-8716-430e-b66d-4ceae2fe8450" providerId="ADAL" clId="{5BA9D65E-4355-43B5-9FAC-0CE2D0775271}" dt="2023-01-27T14:41:52.870" v="7201" actId="20577"/>
          <ac:spMkLst>
            <pc:docMk/>
            <pc:sldMk cId="3958617290" sldId="2147469834"/>
            <ac:spMk id="73" creationId="{5F73E9E5-E11B-BCB0-CACB-B7EC2C4B4C9B}"/>
          </ac:spMkLst>
        </pc:spChg>
        <pc:spChg chg="add mod">
          <ac:chgData name="Jean GRANDEMANGE" userId="faf07584-8716-430e-b66d-4ceae2fe8450" providerId="ADAL" clId="{5BA9D65E-4355-43B5-9FAC-0CE2D0775271}" dt="2023-01-27T14:42:08.297" v="7208" actId="20577"/>
          <ac:spMkLst>
            <pc:docMk/>
            <pc:sldMk cId="3958617290" sldId="2147469834"/>
            <ac:spMk id="74" creationId="{0C7DA581-4B8F-4DDA-D0F1-3837C58AB0E3}"/>
          </ac:spMkLst>
        </pc:spChg>
        <pc:spChg chg="add mod">
          <ac:chgData name="Jean GRANDEMANGE" userId="faf07584-8716-430e-b66d-4ceae2fe8450" providerId="ADAL" clId="{5BA9D65E-4355-43B5-9FAC-0CE2D0775271}" dt="2023-01-27T14:41:35.324" v="7197" actId="20577"/>
          <ac:spMkLst>
            <pc:docMk/>
            <pc:sldMk cId="3958617290" sldId="2147469834"/>
            <ac:spMk id="75" creationId="{46745644-A7EC-3DCB-C9D7-73CA6E467A3D}"/>
          </ac:spMkLst>
        </pc:spChg>
        <pc:spChg chg="add mod">
          <ac:chgData name="Jean GRANDEMANGE" userId="faf07584-8716-430e-b66d-4ceae2fe8450" providerId="ADAL" clId="{5BA9D65E-4355-43B5-9FAC-0CE2D0775271}" dt="2023-01-27T14:41:31.064" v="7194" actId="207"/>
          <ac:spMkLst>
            <pc:docMk/>
            <pc:sldMk cId="3958617290" sldId="2147469834"/>
            <ac:spMk id="76" creationId="{588AF536-DF84-483E-5ACC-299386CD84A7}"/>
          </ac:spMkLst>
        </pc:spChg>
        <pc:spChg chg="add mod">
          <ac:chgData name="Jean GRANDEMANGE" userId="faf07584-8716-430e-b66d-4ceae2fe8450" providerId="ADAL" clId="{5BA9D65E-4355-43B5-9FAC-0CE2D0775271}" dt="2023-01-27T14:40:13.769" v="7138" actId="1076"/>
          <ac:spMkLst>
            <pc:docMk/>
            <pc:sldMk cId="3958617290" sldId="2147469834"/>
            <ac:spMk id="77" creationId="{AFCF4C33-B4F6-0537-DDDE-8A9E0891AC8B}"/>
          </ac:spMkLst>
        </pc:spChg>
        <pc:spChg chg="add mod">
          <ac:chgData name="Jean GRANDEMANGE" userId="faf07584-8716-430e-b66d-4ceae2fe8450" providerId="ADAL" clId="{5BA9D65E-4355-43B5-9FAC-0CE2D0775271}" dt="2023-01-27T14:40:13.769" v="7138" actId="1076"/>
          <ac:spMkLst>
            <pc:docMk/>
            <pc:sldMk cId="3958617290" sldId="2147469834"/>
            <ac:spMk id="78" creationId="{ECCF1AAA-244E-7A42-BC6A-A6661C6615AA}"/>
          </ac:spMkLst>
        </pc:spChg>
        <pc:spChg chg="add mod">
          <ac:chgData name="Jean GRANDEMANGE" userId="faf07584-8716-430e-b66d-4ceae2fe8450" providerId="ADAL" clId="{5BA9D65E-4355-43B5-9FAC-0CE2D0775271}" dt="2023-01-27T14:40:13.769" v="7138" actId="1076"/>
          <ac:spMkLst>
            <pc:docMk/>
            <pc:sldMk cId="3958617290" sldId="2147469834"/>
            <ac:spMk id="79" creationId="{CC10E4CD-1504-097E-731D-39D9158E7130}"/>
          </ac:spMkLst>
        </pc:spChg>
        <pc:spChg chg="add mod">
          <ac:chgData name="Jean GRANDEMANGE" userId="faf07584-8716-430e-b66d-4ceae2fe8450" providerId="ADAL" clId="{5BA9D65E-4355-43B5-9FAC-0CE2D0775271}" dt="2023-01-27T14:40:13.769" v="7138" actId="1076"/>
          <ac:spMkLst>
            <pc:docMk/>
            <pc:sldMk cId="3958617290" sldId="2147469834"/>
            <ac:spMk id="80" creationId="{5FE13604-C44E-0E3F-6D4A-CEF6941A7905}"/>
          </ac:spMkLst>
        </pc:spChg>
        <pc:grpChg chg="add del">
          <ac:chgData name="Jean GRANDEMANGE" userId="faf07584-8716-430e-b66d-4ceae2fe8450" providerId="ADAL" clId="{5BA9D65E-4355-43B5-9FAC-0CE2D0775271}" dt="2023-01-27T13:58:21.955" v="7001" actId="478"/>
          <ac:grpSpMkLst>
            <pc:docMk/>
            <pc:sldMk cId="3958617290" sldId="2147469834"/>
            <ac:grpSpMk id="25" creationId="{54639CCC-00F1-493B-8C3E-C0BD4B72BBDD}"/>
          </ac:grpSpMkLst>
        </pc:grpChg>
        <pc:grpChg chg="add del">
          <ac:chgData name="Jean GRANDEMANGE" userId="faf07584-8716-430e-b66d-4ceae2fe8450" providerId="ADAL" clId="{5BA9D65E-4355-43B5-9FAC-0CE2D0775271}" dt="2023-01-27T13:58:27.435" v="7007" actId="478"/>
          <ac:grpSpMkLst>
            <pc:docMk/>
            <pc:sldMk cId="3958617290" sldId="2147469834"/>
            <ac:grpSpMk id="30" creationId="{16E02022-8725-485A-8C29-222FF321869F}"/>
          </ac:grpSpMkLst>
        </pc:grpChg>
        <pc:grpChg chg="add del">
          <ac:chgData name="Jean GRANDEMANGE" userId="faf07584-8716-430e-b66d-4ceae2fe8450" providerId="ADAL" clId="{5BA9D65E-4355-43B5-9FAC-0CE2D0775271}" dt="2023-01-27T13:58:21.955" v="7001" actId="478"/>
          <ac:grpSpMkLst>
            <pc:docMk/>
            <pc:sldMk cId="3958617290" sldId="2147469834"/>
            <ac:grpSpMk id="34" creationId="{BD9BE46D-59C4-4BC9-9B04-3DA5121C3178}"/>
          </ac:grpSpMkLst>
        </pc:grpChg>
        <pc:grpChg chg="add del">
          <ac:chgData name="Jean GRANDEMANGE" userId="faf07584-8716-430e-b66d-4ceae2fe8450" providerId="ADAL" clId="{5BA9D65E-4355-43B5-9FAC-0CE2D0775271}" dt="2023-01-27T13:58:21.955" v="7001" actId="478"/>
          <ac:grpSpMkLst>
            <pc:docMk/>
            <pc:sldMk cId="3958617290" sldId="2147469834"/>
            <ac:grpSpMk id="40" creationId="{E79DF9FB-B043-4002-B082-759D0AC65092}"/>
          </ac:grpSpMkLst>
        </pc:grpChg>
        <pc:grpChg chg="add del">
          <ac:chgData name="Jean GRANDEMANGE" userId="faf07584-8716-430e-b66d-4ceae2fe8450" providerId="ADAL" clId="{5BA9D65E-4355-43B5-9FAC-0CE2D0775271}" dt="2023-01-27T13:58:21.955" v="7001" actId="478"/>
          <ac:grpSpMkLst>
            <pc:docMk/>
            <pc:sldMk cId="3958617290" sldId="2147469834"/>
            <ac:grpSpMk id="49" creationId="{C032E789-EC0B-4CC4-9DF5-FBED97103B09}"/>
          </ac:grpSpMkLst>
        </pc:grpChg>
        <pc:grpChg chg="add del">
          <ac:chgData name="Jean GRANDEMANGE" userId="faf07584-8716-430e-b66d-4ceae2fe8450" providerId="ADAL" clId="{5BA9D65E-4355-43B5-9FAC-0CE2D0775271}" dt="2023-01-27T13:58:21.955" v="7001" actId="478"/>
          <ac:grpSpMkLst>
            <pc:docMk/>
            <pc:sldMk cId="3958617290" sldId="2147469834"/>
            <ac:grpSpMk id="52" creationId="{86121005-7D88-4274-ACB1-B6E8DBAD62B8}"/>
          </ac:grpSpMkLst>
        </pc:grpChg>
        <pc:grpChg chg="add del">
          <ac:chgData name="Jean GRANDEMANGE" userId="faf07584-8716-430e-b66d-4ceae2fe8450" providerId="ADAL" clId="{5BA9D65E-4355-43B5-9FAC-0CE2D0775271}" dt="2023-01-27T13:58:21.955" v="7001" actId="478"/>
          <ac:grpSpMkLst>
            <pc:docMk/>
            <pc:sldMk cId="3958617290" sldId="2147469834"/>
            <ac:grpSpMk id="61" creationId="{0CBEDCFC-1302-4567-8CCC-1FD71DEF48B2}"/>
          </ac:grpSpMkLst>
        </pc:grpChg>
        <pc:grpChg chg="add del">
          <ac:chgData name="Jean GRANDEMANGE" userId="faf07584-8716-430e-b66d-4ceae2fe8450" providerId="ADAL" clId="{5BA9D65E-4355-43B5-9FAC-0CE2D0775271}" dt="2023-01-27T13:58:21.955" v="7001" actId="478"/>
          <ac:grpSpMkLst>
            <pc:docMk/>
            <pc:sldMk cId="3958617290" sldId="2147469834"/>
            <ac:grpSpMk id="65" creationId="{C92D8FA7-E775-4211-AA41-666FD46226CD}"/>
          </ac:grpSpMkLst>
        </pc:grpChg>
        <pc:grpChg chg="add del">
          <ac:chgData name="Jean GRANDEMANGE" userId="faf07584-8716-430e-b66d-4ceae2fe8450" providerId="ADAL" clId="{5BA9D65E-4355-43B5-9FAC-0CE2D0775271}" dt="2023-01-27T13:58:21.955" v="7001" actId="478"/>
          <ac:grpSpMkLst>
            <pc:docMk/>
            <pc:sldMk cId="3958617290" sldId="2147469834"/>
            <ac:grpSpMk id="69" creationId="{9BD1F073-6249-4E51-86D8-C753977F4A52}"/>
          </ac:grpSpMkLst>
        </pc:grpChg>
        <pc:picChg chg="add del">
          <ac:chgData name="Jean GRANDEMANGE" userId="faf07584-8716-430e-b66d-4ceae2fe8450" providerId="ADAL" clId="{5BA9D65E-4355-43B5-9FAC-0CE2D0775271}" dt="2023-01-27T13:58:26.286" v="7006" actId="478"/>
          <ac:picMkLst>
            <pc:docMk/>
            <pc:sldMk cId="3958617290" sldId="2147469834"/>
            <ac:picMk id="48" creationId="{40B2FAB6-6AF6-46E9-AAE9-EF768EC85EFD}"/>
          </ac:picMkLst>
        </pc:picChg>
        <pc:picChg chg="add del">
          <ac:chgData name="Jean GRANDEMANGE" userId="faf07584-8716-430e-b66d-4ceae2fe8450" providerId="ADAL" clId="{5BA9D65E-4355-43B5-9FAC-0CE2D0775271}" dt="2023-01-27T13:58:21.955" v="7001" actId="478"/>
          <ac:picMkLst>
            <pc:docMk/>
            <pc:sldMk cId="3958617290" sldId="2147469834"/>
            <ac:picMk id="55" creationId="{4E934850-F749-4DB8-9AB5-DD1135F4AB7F}"/>
          </ac:picMkLst>
        </pc:picChg>
        <pc:picChg chg="add del">
          <ac:chgData name="Jean GRANDEMANGE" userId="faf07584-8716-430e-b66d-4ceae2fe8450" providerId="ADAL" clId="{5BA9D65E-4355-43B5-9FAC-0CE2D0775271}" dt="2023-01-27T13:58:21.955" v="7001" actId="478"/>
          <ac:picMkLst>
            <pc:docMk/>
            <pc:sldMk cId="3958617290" sldId="2147469834"/>
            <ac:picMk id="56" creationId="{59DCB770-F799-47E5-8827-A2A17CF0D78A}"/>
          </ac:picMkLst>
        </pc:picChg>
        <pc:picChg chg="add del">
          <ac:chgData name="Jean GRANDEMANGE" userId="faf07584-8716-430e-b66d-4ceae2fe8450" providerId="ADAL" clId="{5BA9D65E-4355-43B5-9FAC-0CE2D0775271}" dt="2023-01-27T13:58:21.955" v="7001" actId="478"/>
          <ac:picMkLst>
            <pc:docMk/>
            <pc:sldMk cId="3958617290" sldId="2147469834"/>
            <ac:picMk id="57" creationId="{AD2DD848-40C1-4A10-BEC7-81F39DF794AC}"/>
          </ac:picMkLst>
        </pc:picChg>
        <pc:picChg chg="add mod">
          <ac:chgData name="Jean GRANDEMANGE" userId="faf07584-8716-430e-b66d-4ceae2fe8450" providerId="ADAL" clId="{5BA9D65E-4355-43B5-9FAC-0CE2D0775271}" dt="2023-01-27T14:47:33.618" v="7394" actId="1076"/>
          <ac:picMkLst>
            <pc:docMk/>
            <pc:sldMk cId="3958617290" sldId="2147469834"/>
            <ac:picMk id="81" creationId="{7BC827B5-7A0C-99B8-B561-DD941B783EAC}"/>
          </ac:picMkLst>
        </pc:picChg>
        <pc:cxnChg chg="add del">
          <ac:chgData name="Jean GRANDEMANGE" userId="faf07584-8716-430e-b66d-4ceae2fe8450" providerId="ADAL" clId="{5BA9D65E-4355-43B5-9FAC-0CE2D0775271}" dt="2023-01-27T13:58:21.955" v="7001" actId="478"/>
          <ac:cxnSpMkLst>
            <pc:docMk/>
            <pc:sldMk cId="3958617290" sldId="2147469834"/>
            <ac:cxnSpMk id="4" creationId="{4DA8EDA8-FCC1-4657-85DE-68DA6AC8D6B6}"/>
          </ac:cxnSpMkLst>
        </pc:cxnChg>
        <pc:cxnChg chg="add del">
          <ac:chgData name="Jean GRANDEMANGE" userId="faf07584-8716-430e-b66d-4ceae2fe8450" providerId="ADAL" clId="{5BA9D65E-4355-43B5-9FAC-0CE2D0775271}" dt="2023-01-27T13:58:19.878" v="7000" actId="478"/>
          <ac:cxnSpMkLst>
            <pc:docMk/>
            <pc:sldMk cId="3958617290" sldId="2147469834"/>
            <ac:cxnSpMk id="14" creationId="{F151865A-EDAC-43E2-BF3C-F1BC0CECA4C1}"/>
          </ac:cxnSpMkLst>
        </pc:cxnChg>
        <pc:cxnChg chg="add del">
          <ac:chgData name="Jean GRANDEMANGE" userId="faf07584-8716-430e-b66d-4ceae2fe8450" providerId="ADAL" clId="{5BA9D65E-4355-43B5-9FAC-0CE2D0775271}" dt="2023-01-27T13:58:21.955" v="7001" actId="478"/>
          <ac:cxnSpMkLst>
            <pc:docMk/>
            <pc:sldMk cId="3958617290" sldId="2147469834"/>
            <ac:cxnSpMk id="28" creationId="{4FB6AA98-FAA2-4687-875E-A669ED1DD26D}"/>
          </ac:cxnSpMkLst>
        </pc:cxnChg>
        <pc:cxnChg chg="add del">
          <ac:chgData name="Jean GRANDEMANGE" userId="faf07584-8716-430e-b66d-4ceae2fe8450" providerId="ADAL" clId="{5BA9D65E-4355-43B5-9FAC-0CE2D0775271}" dt="2023-01-27T13:58:21.955" v="7001" actId="478"/>
          <ac:cxnSpMkLst>
            <pc:docMk/>
            <pc:sldMk cId="3958617290" sldId="2147469834"/>
            <ac:cxnSpMk id="47" creationId="{19D84011-19B0-485F-B036-FAD14C1F1B7F}"/>
          </ac:cxnSpMkLst>
        </pc:cxnChg>
        <pc:cxnChg chg="add del">
          <ac:chgData name="Jean GRANDEMANGE" userId="faf07584-8716-430e-b66d-4ceae2fe8450" providerId="ADAL" clId="{5BA9D65E-4355-43B5-9FAC-0CE2D0775271}" dt="2023-01-27T13:58:21.955" v="7001" actId="478"/>
          <ac:cxnSpMkLst>
            <pc:docMk/>
            <pc:sldMk cId="3958617290" sldId="2147469834"/>
            <ac:cxnSpMk id="58" creationId="{DB714736-EFFB-430E-A28E-D0B2CA25E5B9}"/>
          </ac:cxnSpMkLst>
        </pc:cxnChg>
        <pc:cxnChg chg="add del">
          <ac:chgData name="Jean GRANDEMANGE" userId="faf07584-8716-430e-b66d-4ceae2fe8450" providerId="ADAL" clId="{5BA9D65E-4355-43B5-9FAC-0CE2D0775271}" dt="2023-01-27T13:58:21.955" v="7001" actId="478"/>
          <ac:cxnSpMkLst>
            <pc:docMk/>
            <pc:sldMk cId="3958617290" sldId="2147469834"/>
            <ac:cxnSpMk id="59" creationId="{380B42C9-D744-4632-A714-7C81BDF83A32}"/>
          </ac:cxnSpMkLst>
        </pc:cxnChg>
      </pc:sldChg>
      <pc:sldChg chg="addSp delSp modSp add del mod">
        <pc:chgData name="Jean GRANDEMANGE" userId="faf07584-8716-430e-b66d-4ceae2fe8450" providerId="ADAL" clId="{5BA9D65E-4355-43B5-9FAC-0CE2D0775271}" dt="2023-01-28T13:28:44.731" v="11873" actId="2696"/>
        <pc:sldMkLst>
          <pc:docMk/>
          <pc:sldMk cId="256183737" sldId="2147469842"/>
        </pc:sldMkLst>
        <pc:spChg chg="del">
          <ac:chgData name="Jean GRANDEMANGE" userId="faf07584-8716-430e-b66d-4ceae2fe8450" providerId="ADAL" clId="{5BA9D65E-4355-43B5-9FAC-0CE2D0775271}" dt="2023-01-27T16:25:53.687" v="8987" actId="478"/>
          <ac:spMkLst>
            <pc:docMk/>
            <pc:sldMk cId="256183737" sldId="2147469842"/>
            <ac:spMk id="5" creationId="{1A4402D9-398D-4DF2-96CC-333DFAAEE6C6}"/>
          </ac:spMkLst>
        </pc:spChg>
        <pc:spChg chg="mod">
          <ac:chgData name="Jean GRANDEMANGE" userId="faf07584-8716-430e-b66d-4ceae2fe8450" providerId="ADAL" clId="{5BA9D65E-4355-43B5-9FAC-0CE2D0775271}" dt="2023-01-27T16:36:22.838" v="9220" actId="1076"/>
          <ac:spMkLst>
            <pc:docMk/>
            <pc:sldMk cId="256183737" sldId="2147469842"/>
            <ac:spMk id="6" creationId="{6045B5AE-AEEA-48D4-8EB6-4D26AE82B2D3}"/>
          </ac:spMkLst>
        </pc:spChg>
        <pc:spChg chg="mod">
          <ac:chgData name="Jean GRANDEMANGE" userId="faf07584-8716-430e-b66d-4ceae2fe8450" providerId="ADAL" clId="{5BA9D65E-4355-43B5-9FAC-0CE2D0775271}" dt="2023-01-27T16:36:22.838" v="9220" actId="1076"/>
          <ac:spMkLst>
            <pc:docMk/>
            <pc:sldMk cId="256183737" sldId="2147469842"/>
            <ac:spMk id="7" creationId="{09CD23FC-4420-46C7-A4E6-F7E37796B87D}"/>
          </ac:spMkLst>
        </pc:spChg>
        <pc:spChg chg="mod">
          <ac:chgData name="Jean GRANDEMANGE" userId="faf07584-8716-430e-b66d-4ceae2fe8450" providerId="ADAL" clId="{5BA9D65E-4355-43B5-9FAC-0CE2D0775271}" dt="2023-01-27T16:58:29.599" v="10146" actId="1076"/>
          <ac:spMkLst>
            <pc:docMk/>
            <pc:sldMk cId="256183737" sldId="2147469842"/>
            <ac:spMk id="9" creationId="{AE6B03BC-D7B8-4CFD-80A8-53A533C2B3C4}"/>
          </ac:spMkLst>
        </pc:spChg>
        <pc:spChg chg="mod">
          <ac:chgData name="Jean GRANDEMANGE" userId="faf07584-8716-430e-b66d-4ceae2fe8450" providerId="ADAL" clId="{5BA9D65E-4355-43B5-9FAC-0CE2D0775271}" dt="2023-01-27T16:58:32.426" v="10147" actId="1076"/>
          <ac:spMkLst>
            <pc:docMk/>
            <pc:sldMk cId="256183737" sldId="2147469842"/>
            <ac:spMk id="10" creationId="{31D2A00E-3033-42B8-B8D3-DB290B766782}"/>
          </ac:spMkLst>
        </pc:spChg>
        <pc:spChg chg="del mod">
          <ac:chgData name="Jean GRANDEMANGE" userId="faf07584-8716-430e-b66d-4ceae2fe8450" providerId="ADAL" clId="{5BA9D65E-4355-43B5-9FAC-0CE2D0775271}" dt="2023-01-27T16:50:21.865" v="9649" actId="478"/>
          <ac:spMkLst>
            <pc:docMk/>
            <pc:sldMk cId="256183737" sldId="2147469842"/>
            <ac:spMk id="11" creationId="{7E7FAA32-E279-46A8-A94F-3C95CA2177F9}"/>
          </ac:spMkLst>
        </pc:spChg>
        <pc:spChg chg="del mod">
          <ac:chgData name="Jean GRANDEMANGE" userId="faf07584-8716-430e-b66d-4ceae2fe8450" providerId="ADAL" clId="{5BA9D65E-4355-43B5-9FAC-0CE2D0775271}" dt="2023-01-27T16:50:24.337" v="9650" actId="478"/>
          <ac:spMkLst>
            <pc:docMk/>
            <pc:sldMk cId="256183737" sldId="2147469842"/>
            <ac:spMk id="12" creationId="{DD38511C-0E03-4072-81B8-700D1E4487EC}"/>
          </ac:spMkLst>
        </pc:spChg>
        <pc:spChg chg="del mod">
          <ac:chgData name="Jean GRANDEMANGE" userId="faf07584-8716-430e-b66d-4ceae2fe8450" providerId="ADAL" clId="{5BA9D65E-4355-43B5-9FAC-0CE2D0775271}" dt="2023-01-27T16:38:21.761" v="9261" actId="478"/>
          <ac:spMkLst>
            <pc:docMk/>
            <pc:sldMk cId="256183737" sldId="2147469842"/>
            <ac:spMk id="13" creationId="{4AA405D1-BCC2-491D-A3BE-AC12FAA779B8}"/>
          </ac:spMkLst>
        </pc:spChg>
        <pc:spChg chg="del mod">
          <ac:chgData name="Jean GRANDEMANGE" userId="faf07584-8716-430e-b66d-4ceae2fe8450" providerId="ADAL" clId="{5BA9D65E-4355-43B5-9FAC-0CE2D0775271}" dt="2023-01-27T16:38:21.761" v="9261" actId="478"/>
          <ac:spMkLst>
            <pc:docMk/>
            <pc:sldMk cId="256183737" sldId="2147469842"/>
            <ac:spMk id="14" creationId="{6EA94EA1-4FCF-41DC-9347-2B50A2CA8702}"/>
          </ac:spMkLst>
        </pc:spChg>
        <pc:spChg chg="del mod">
          <ac:chgData name="Jean GRANDEMANGE" userId="faf07584-8716-430e-b66d-4ceae2fe8450" providerId="ADAL" clId="{5BA9D65E-4355-43B5-9FAC-0CE2D0775271}" dt="2023-01-27T16:38:21.761" v="9261" actId="478"/>
          <ac:spMkLst>
            <pc:docMk/>
            <pc:sldMk cId="256183737" sldId="2147469842"/>
            <ac:spMk id="15" creationId="{DA75F5F8-4C89-47CC-8DA4-0A20A62AAC7B}"/>
          </ac:spMkLst>
        </pc:spChg>
        <pc:spChg chg="del mod">
          <ac:chgData name="Jean GRANDEMANGE" userId="faf07584-8716-430e-b66d-4ceae2fe8450" providerId="ADAL" clId="{5BA9D65E-4355-43B5-9FAC-0CE2D0775271}" dt="2023-01-27T16:50:21.865" v="9649" actId="478"/>
          <ac:spMkLst>
            <pc:docMk/>
            <pc:sldMk cId="256183737" sldId="2147469842"/>
            <ac:spMk id="16" creationId="{8DCC9C9D-5E75-45A9-BA32-538F99B8F054}"/>
          </ac:spMkLst>
        </pc:spChg>
        <pc:spChg chg="del mod">
          <ac:chgData name="Jean GRANDEMANGE" userId="faf07584-8716-430e-b66d-4ceae2fe8450" providerId="ADAL" clId="{5BA9D65E-4355-43B5-9FAC-0CE2D0775271}" dt="2023-01-27T16:50:21.865" v="9649" actId="478"/>
          <ac:spMkLst>
            <pc:docMk/>
            <pc:sldMk cId="256183737" sldId="2147469842"/>
            <ac:spMk id="17" creationId="{D7E8B901-C2B6-4960-BEFB-F8BCDA6C98EA}"/>
          </ac:spMkLst>
        </pc:spChg>
        <pc:spChg chg="del mod">
          <ac:chgData name="Jean GRANDEMANGE" userId="faf07584-8716-430e-b66d-4ceae2fe8450" providerId="ADAL" clId="{5BA9D65E-4355-43B5-9FAC-0CE2D0775271}" dt="2023-01-27T16:50:26.163" v="9651" actId="478"/>
          <ac:spMkLst>
            <pc:docMk/>
            <pc:sldMk cId="256183737" sldId="2147469842"/>
            <ac:spMk id="18" creationId="{F118B02A-C0D4-45BB-8E67-AC6DD4EA2CB1}"/>
          </ac:spMkLst>
        </pc:spChg>
        <pc:spChg chg="del mod">
          <ac:chgData name="Jean GRANDEMANGE" userId="faf07584-8716-430e-b66d-4ceae2fe8450" providerId="ADAL" clId="{5BA9D65E-4355-43B5-9FAC-0CE2D0775271}" dt="2023-01-27T16:50:21.865" v="9649" actId="478"/>
          <ac:spMkLst>
            <pc:docMk/>
            <pc:sldMk cId="256183737" sldId="2147469842"/>
            <ac:spMk id="19" creationId="{0588D10B-2B73-4643-8A04-4948F3016AF5}"/>
          </ac:spMkLst>
        </pc:spChg>
        <pc:spChg chg="del mod">
          <ac:chgData name="Jean GRANDEMANGE" userId="faf07584-8716-430e-b66d-4ceae2fe8450" providerId="ADAL" clId="{5BA9D65E-4355-43B5-9FAC-0CE2D0775271}" dt="2023-01-27T16:53:50.077" v="9861" actId="478"/>
          <ac:spMkLst>
            <pc:docMk/>
            <pc:sldMk cId="256183737" sldId="2147469842"/>
            <ac:spMk id="20" creationId="{585873D2-E69C-47E9-B0E9-17F89E76665A}"/>
          </ac:spMkLst>
        </pc:spChg>
        <pc:spChg chg="del mod">
          <ac:chgData name="Jean GRANDEMANGE" userId="faf07584-8716-430e-b66d-4ceae2fe8450" providerId="ADAL" clId="{5BA9D65E-4355-43B5-9FAC-0CE2D0775271}" dt="2023-01-27T16:53:48.656" v="9860" actId="478"/>
          <ac:spMkLst>
            <pc:docMk/>
            <pc:sldMk cId="256183737" sldId="2147469842"/>
            <ac:spMk id="21" creationId="{FB8BD24E-68F3-47E2-BBB0-007DDC11A6F7}"/>
          </ac:spMkLst>
        </pc:spChg>
        <pc:spChg chg="del mod">
          <ac:chgData name="Jean GRANDEMANGE" userId="faf07584-8716-430e-b66d-4ceae2fe8450" providerId="ADAL" clId="{5BA9D65E-4355-43B5-9FAC-0CE2D0775271}" dt="2023-01-27T16:53:50.077" v="9861" actId="478"/>
          <ac:spMkLst>
            <pc:docMk/>
            <pc:sldMk cId="256183737" sldId="2147469842"/>
            <ac:spMk id="22" creationId="{01EE666B-57AE-4DD5-B2A1-A6AE9C923C35}"/>
          </ac:spMkLst>
        </pc:spChg>
        <pc:spChg chg="del mod">
          <ac:chgData name="Jean GRANDEMANGE" userId="faf07584-8716-430e-b66d-4ceae2fe8450" providerId="ADAL" clId="{5BA9D65E-4355-43B5-9FAC-0CE2D0775271}" dt="2023-01-27T16:50:21.865" v="9649" actId="478"/>
          <ac:spMkLst>
            <pc:docMk/>
            <pc:sldMk cId="256183737" sldId="2147469842"/>
            <ac:spMk id="23" creationId="{3AF78A6C-7609-44F0-9E1F-EFD9817F2CAE}"/>
          </ac:spMkLst>
        </pc:spChg>
        <pc:spChg chg="del mod">
          <ac:chgData name="Jean GRANDEMANGE" userId="faf07584-8716-430e-b66d-4ceae2fe8450" providerId="ADAL" clId="{5BA9D65E-4355-43B5-9FAC-0CE2D0775271}" dt="2023-01-27T16:38:21.761" v="9261" actId="478"/>
          <ac:spMkLst>
            <pc:docMk/>
            <pc:sldMk cId="256183737" sldId="2147469842"/>
            <ac:spMk id="24" creationId="{18C07132-6D0E-455B-AB4F-325C719C1787}"/>
          </ac:spMkLst>
        </pc:spChg>
        <pc:spChg chg="del mod">
          <ac:chgData name="Jean GRANDEMANGE" userId="faf07584-8716-430e-b66d-4ceae2fe8450" providerId="ADAL" clId="{5BA9D65E-4355-43B5-9FAC-0CE2D0775271}" dt="2023-01-27T16:38:21.761" v="9261" actId="478"/>
          <ac:spMkLst>
            <pc:docMk/>
            <pc:sldMk cId="256183737" sldId="2147469842"/>
            <ac:spMk id="25" creationId="{3E34EEA3-0435-4C02-B346-3E57F1B7E388}"/>
          </ac:spMkLst>
        </pc:spChg>
        <pc:spChg chg="del mod">
          <ac:chgData name="Jean GRANDEMANGE" userId="faf07584-8716-430e-b66d-4ceae2fe8450" providerId="ADAL" clId="{5BA9D65E-4355-43B5-9FAC-0CE2D0775271}" dt="2023-01-27T16:38:21.761" v="9261" actId="478"/>
          <ac:spMkLst>
            <pc:docMk/>
            <pc:sldMk cId="256183737" sldId="2147469842"/>
            <ac:spMk id="26" creationId="{F598F6E2-0AA6-473A-B39F-4A1EE7CBAD49}"/>
          </ac:spMkLst>
        </pc:spChg>
        <pc:spChg chg="del mod">
          <ac:chgData name="Jean GRANDEMANGE" userId="faf07584-8716-430e-b66d-4ceae2fe8450" providerId="ADAL" clId="{5BA9D65E-4355-43B5-9FAC-0CE2D0775271}" dt="2023-01-27T16:38:21.761" v="9261" actId="478"/>
          <ac:spMkLst>
            <pc:docMk/>
            <pc:sldMk cId="256183737" sldId="2147469842"/>
            <ac:spMk id="27" creationId="{3A52366B-DB7A-42C0-8F94-389B5A5CD5A0}"/>
          </ac:spMkLst>
        </pc:spChg>
        <pc:spChg chg="mod">
          <ac:chgData name="Jean GRANDEMANGE" userId="faf07584-8716-430e-b66d-4ceae2fe8450" providerId="ADAL" clId="{5BA9D65E-4355-43B5-9FAC-0CE2D0775271}" dt="2023-01-27T16:58:29.599" v="10146" actId="1076"/>
          <ac:spMkLst>
            <pc:docMk/>
            <pc:sldMk cId="256183737" sldId="2147469842"/>
            <ac:spMk id="28" creationId="{E9C40719-EF26-4E17-B574-6F13639551A4}"/>
          </ac:spMkLst>
        </pc:spChg>
        <pc:spChg chg="del mod">
          <ac:chgData name="Jean GRANDEMANGE" userId="faf07584-8716-430e-b66d-4ceae2fe8450" providerId="ADAL" clId="{5BA9D65E-4355-43B5-9FAC-0CE2D0775271}" dt="2023-01-27T16:50:21.865" v="9649" actId="478"/>
          <ac:spMkLst>
            <pc:docMk/>
            <pc:sldMk cId="256183737" sldId="2147469842"/>
            <ac:spMk id="29" creationId="{F7D2F771-AF9A-4E1A-924A-56FA492D644D}"/>
          </ac:spMkLst>
        </pc:spChg>
        <pc:spChg chg="del mod">
          <ac:chgData name="Jean GRANDEMANGE" userId="faf07584-8716-430e-b66d-4ceae2fe8450" providerId="ADAL" clId="{5BA9D65E-4355-43B5-9FAC-0CE2D0775271}" dt="2023-01-27T16:50:21.865" v="9649" actId="478"/>
          <ac:spMkLst>
            <pc:docMk/>
            <pc:sldMk cId="256183737" sldId="2147469842"/>
            <ac:spMk id="30" creationId="{30C92896-7841-4DDC-8D01-A35B43648075}"/>
          </ac:spMkLst>
        </pc:spChg>
        <pc:spChg chg="mod">
          <ac:chgData name="Jean GRANDEMANGE" userId="faf07584-8716-430e-b66d-4ceae2fe8450" providerId="ADAL" clId="{5BA9D65E-4355-43B5-9FAC-0CE2D0775271}" dt="2023-01-27T16:58:41.555" v="10148" actId="1076"/>
          <ac:spMkLst>
            <pc:docMk/>
            <pc:sldMk cId="256183737" sldId="2147469842"/>
            <ac:spMk id="31" creationId="{8BF6ED58-BA20-45F4-B01A-1B1E340623F2}"/>
          </ac:spMkLst>
        </pc:spChg>
        <pc:spChg chg="mod">
          <ac:chgData name="Jean GRANDEMANGE" userId="faf07584-8716-430e-b66d-4ceae2fe8450" providerId="ADAL" clId="{5BA9D65E-4355-43B5-9FAC-0CE2D0775271}" dt="2023-01-27T16:58:29.599" v="10146" actId="1076"/>
          <ac:spMkLst>
            <pc:docMk/>
            <pc:sldMk cId="256183737" sldId="2147469842"/>
            <ac:spMk id="32" creationId="{20F804F6-C4AB-4550-AC91-61C4637A6868}"/>
          </ac:spMkLst>
        </pc:spChg>
        <pc:spChg chg="del mod">
          <ac:chgData name="Jean GRANDEMANGE" userId="faf07584-8716-430e-b66d-4ceae2fe8450" providerId="ADAL" clId="{5BA9D65E-4355-43B5-9FAC-0CE2D0775271}" dt="2023-01-27T16:53:48.656" v="9860" actId="478"/>
          <ac:spMkLst>
            <pc:docMk/>
            <pc:sldMk cId="256183737" sldId="2147469842"/>
            <ac:spMk id="33" creationId="{0F5FD2C5-EAC7-46D5-A0DF-9125304AC980}"/>
          </ac:spMkLst>
        </pc:spChg>
        <pc:spChg chg="del mod">
          <ac:chgData name="Jean GRANDEMANGE" userId="faf07584-8716-430e-b66d-4ceae2fe8450" providerId="ADAL" clId="{5BA9D65E-4355-43B5-9FAC-0CE2D0775271}" dt="2023-01-27T16:50:26.163" v="9651" actId="478"/>
          <ac:spMkLst>
            <pc:docMk/>
            <pc:sldMk cId="256183737" sldId="2147469842"/>
            <ac:spMk id="34" creationId="{E7DFD3C6-9D27-4CDD-BA44-80104966D9F0}"/>
          </ac:spMkLst>
        </pc:spChg>
        <pc:spChg chg="del mod">
          <ac:chgData name="Jean GRANDEMANGE" userId="faf07584-8716-430e-b66d-4ceae2fe8450" providerId="ADAL" clId="{5BA9D65E-4355-43B5-9FAC-0CE2D0775271}" dt="2023-01-27T16:53:48.656" v="9860" actId="478"/>
          <ac:spMkLst>
            <pc:docMk/>
            <pc:sldMk cId="256183737" sldId="2147469842"/>
            <ac:spMk id="35" creationId="{93F657A7-42E5-438A-8370-A0CF4F100FF4}"/>
          </ac:spMkLst>
        </pc:spChg>
        <pc:spChg chg="del mod">
          <ac:chgData name="Jean GRANDEMANGE" userId="faf07584-8716-430e-b66d-4ceae2fe8450" providerId="ADAL" clId="{5BA9D65E-4355-43B5-9FAC-0CE2D0775271}" dt="2023-01-27T16:53:48.656" v="9860" actId="478"/>
          <ac:spMkLst>
            <pc:docMk/>
            <pc:sldMk cId="256183737" sldId="2147469842"/>
            <ac:spMk id="36" creationId="{B8E6E95C-F4BF-4969-85D9-A582B937E251}"/>
          </ac:spMkLst>
        </pc:spChg>
        <pc:spChg chg="del mod">
          <ac:chgData name="Jean GRANDEMANGE" userId="faf07584-8716-430e-b66d-4ceae2fe8450" providerId="ADAL" clId="{5BA9D65E-4355-43B5-9FAC-0CE2D0775271}" dt="2023-01-27T16:50:21.865" v="9649" actId="478"/>
          <ac:spMkLst>
            <pc:docMk/>
            <pc:sldMk cId="256183737" sldId="2147469842"/>
            <ac:spMk id="37" creationId="{5BCB47ED-9AEA-4FCE-8C7B-81236609F7FE}"/>
          </ac:spMkLst>
        </pc:spChg>
        <pc:spChg chg="del mod">
          <ac:chgData name="Jean GRANDEMANGE" userId="faf07584-8716-430e-b66d-4ceae2fe8450" providerId="ADAL" clId="{5BA9D65E-4355-43B5-9FAC-0CE2D0775271}" dt="2023-01-27T16:50:21.865" v="9649" actId="478"/>
          <ac:spMkLst>
            <pc:docMk/>
            <pc:sldMk cId="256183737" sldId="2147469842"/>
            <ac:spMk id="38" creationId="{8F20532A-D9D6-4CFE-8C81-1F4BC76BB824}"/>
          </ac:spMkLst>
        </pc:spChg>
        <pc:spChg chg="del mod">
          <ac:chgData name="Jean GRANDEMANGE" userId="faf07584-8716-430e-b66d-4ceae2fe8450" providerId="ADAL" clId="{5BA9D65E-4355-43B5-9FAC-0CE2D0775271}" dt="2023-01-27T16:50:21.865" v="9649" actId="478"/>
          <ac:spMkLst>
            <pc:docMk/>
            <pc:sldMk cId="256183737" sldId="2147469842"/>
            <ac:spMk id="39" creationId="{2949C834-F650-4894-85E0-2C164F037325}"/>
          </ac:spMkLst>
        </pc:spChg>
        <pc:spChg chg="del mod">
          <ac:chgData name="Jean GRANDEMANGE" userId="faf07584-8716-430e-b66d-4ceae2fe8450" providerId="ADAL" clId="{5BA9D65E-4355-43B5-9FAC-0CE2D0775271}" dt="2023-01-27T16:26:53.251" v="9001" actId="478"/>
          <ac:spMkLst>
            <pc:docMk/>
            <pc:sldMk cId="256183737" sldId="2147469842"/>
            <ac:spMk id="41" creationId="{FEC2DBEF-334D-4104-8D93-76EDA1DA8698}"/>
          </ac:spMkLst>
        </pc:spChg>
        <pc:spChg chg="del mod">
          <ac:chgData name="Jean GRANDEMANGE" userId="faf07584-8716-430e-b66d-4ceae2fe8450" providerId="ADAL" clId="{5BA9D65E-4355-43B5-9FAC-0CE2D0775271}" dt="2023-01-27T16:26:53.251" v="9001" actId="478"/>
          <ac:spMkLst>
            <pc:docMk/>
            <pc:sldMk cId="256183737" sldId="2147469842"/>
            <ac:spMk id="42" creationId="{F2E63386-A027-4A2F-B567-65D151FDC80F}"/>
          </ac:spMkLst>
        </pc:spChg>
        <pc:spChg chg="mod">
          <ac:chgData name="Jean GRANDEMANGE" userId="faf07584-8716-430e-b66d-4ceae2fe8450" providerId="ADAL" clId="{5BA9D65E-4355-43B5-9FAC-0CE2D0775271}" dt="2023-01-27T16:55:52.042" v="10023" actId="20577"/>
          <ac:spMkLst>
            <pc:docMk/>
            <pc:sldMk cId="256183737" sldId="2147469842"/>
            <ac:spMk id="60" creationId="{52870E2B-FED0-40DE-9B8D-AB1DCF8A83FA}"/>
          </ac:spMkLst>
        </pc:spChg>
        <pc:spChg chg="mod">
          <ac:chgData name="Jean GRANDEMANGE" userId="faf07584-8716-430e-b66d-4ceae2fe8450" providerId="ADAL" clId="{5BA9D65E-4355-43B5-9FAC-0CE2D0775271}" dt="2023-01-27T16:54:22.232" v="9913" actId="14100"/>
          <ac:spMkLst>
            <pc:docMk/>
            <pc:sldMk cId="256183737" sldId="2147469842"/>
            <ac:spMk id="63" creationId="{4AF527D8-51B0-4287-92FC-15FA38C18E66}"/>
          </ac:spMkLst>
        </pc:spChg>
        <pc:spChg chg="add mod">
          <ac:chgData name="Jean GRANDEMANGE" userId="faf07584-8716-430e-b66d-4ceae2fe8450" providerId="ADAL" clId="{5BA9D65E-4355-43B5-9FAC-0CE2D0775271}" dt="2023-01-27T16:28:21.462" v="9056" actId="20577"/>
          <ac:spMkLst>
            <pc:docMk/>
            <pc:sldMk cId="256183737" sldId="2147469842"/>
            <ac:spMk id="136" creationId="{8150604B-0053-3843-8532-509B640AFE11}"/>
          </ac:spMkLst>
        </pc:spChg>
        <pc:spChg chg="add mod">
          <ac:chgData name="Jean GRANDEMANGE" userId="faf07584-8716-430e-b66d-4ceae2fe8450" providerId="ADAL" clId="{5BA9D65E-4355-43B5-9FAC-0CE2D0775271}" dt="2023-01-27T16:58:32.426" v="10147" actId="1076"/>
          <ac:spMkLst>
            <pc:docMk/>
            <pc:sldMk cId="256183737" sldId="2147469842"/>
            <ac:spMk id="137" creationId="{FF49CCCB-39CE-85D5-C468-9486D0476B36}"/>
          </ac:spMkLst>
        </pc:spChg>
        <pc:spChg chg="add mod">
          <ac:chgData name="Jean GRANDEMANGE" userId="faf07584-8716-430e-b66d-4ceae2fe8450" providerId="ADAL" clId="{5BA9D65E-4355-43B5-9FAC-0CE2D0775271}" dt="2023-01-27T16:58:32.426" v="10147" actId="1076"/>
          <ac:spMkLst>
            <pc:docMk/>
            <pc:sldMk cId="256183737" sldId="2147469842"/>
            <ac:spMk id="139" creationId="{5CE4BF7E-6D2B-5A05-D568-FE581CF199DE}"/>
          </ac:spMkLst>
        </pc:spChg>
        <pc:spChg chg="add mod">
          <ac:chgData name="Jean GRANDEMANGE" userId="faf07584-8716-430e-b66d-4ceae2fe8450" providerId="ADAL" clId="{5BA9D65E-4355-43B5-9FAC-0CE2D0775271}" dt="2023-01-27T16:58:32.426" v="10147" actId="1076"/>
          <ac:spMkLst>
            <pc:docMk/>
            <pc:sldMk cId="256183737" sldId="2147469842"/>
            <ac:spMk id="140" creationId="{10EE6540-BE2B-ED8A-1A48-7835EA09E790}"/>
          </ac:spMkLst>
        </pc:spChg>
        <pc:spChg chg="add mod">
          <ac:chgData name="Jean GRANDEMANGE" userId="faf07584-8716-430e-b66d-4ceae2fe8450" providerId="ADAL" clId="{5BA9D65E-4355-43B5-9FAC-0CE2D0775271}" dt="2023-01-27T16:58:32.426" v="10147" actId="1076"/>
          <ac:spMkLst>
            <pc:docMk/>
            <pc:sldMk cId="256183737" sldId="2147469842"/>
            <ac:spMk id="141" creationId="{D4C6ABC3-F354-31FE-6723-CAB1E80731A6}"/>
          </ac:spMkLst>
        </pc:spChg>
        <pc:spChg chg="add mod">
          <ac:chgData name="Jean GRANDEMANGE" userId="faf07584-8716-430e-b66d-4ceae2fe8450" providerId="ADAL" clId="{5BA9D65E-4355-43B5-9FAC-0CE2D0775271}" dt="2023-01-27T16:58:32.426" v="10147" actId="1076"/>
          <ac:spMkLst>
            <pc:docMk/>
            <pc:sldMk cId="256183737" sldId="2147469842"/>
            <ac:spMk id="142" creationId="{4BABBFB7-C8F6-589B-747D-2F7A027F58EA}"/>
          </ac:spMkLst>
        </pc:spChg>
        <pc:spChg chg="add mod">
          <ac:chgData name="Jean GRANDEMANGE" userId="faf07584-8716-430e-b66d-4ceae2fe8450" providerId="ADAL" clId="{5BA9D65E-4355-43B5-9FAC-0CE2D0775271}" dt="2023-01-27T16:58:32.426" v="10147" actId="1076"/>
          <ac:spMkLst>
            <pc:docMk/>
            <pc:sldMk cId="256183737" sldId="2147469842"/>
            <ac:spMk id="143" creationId="{4E38632D-5CE8-218A-7C13-8BCCB9667B02}"/>
          </ac:spMkLst>
        </pc:spChg>
        <pc:spChg chg="add mod">
          <ac:chgData name="Jean GRANDEMANGE" userId="faf07584-8716-430e-b66d-4ceae2fe8450" providerId="ADAL" clId="{5BA9D65E-4355-43B5-9FAC-0CE2D0775271}" dt="2023-01-27T16:58:29.599" v="10146" actId="1076"/>
          <ac:spMkLst>
            <pc:docMk/>
            <pc:sldMk cId="256183737" sldId="2147469842"/>
            <ac:spMk id="144" creationId="{D1024A03-F9E3-54A1-243A-4EBDAF497C1F}"/>
          </ac:spMkLst>
        </pc:spChg>
        <pc:spChg chg="add mod">
          <ac:chgData name="Jean GRANDEMANGE" userId="faf07584-8716-430e-b66d-4ceae2fe8450" providerId="ADAL" clId="{5BA9D65E-4355-43B5-9FAC-0CE2D0775271}" dt="2023-01-27T16:58:29.599" v="10146" actId="1076"/>
          <ac:spMkLst>
            <pc:docMk/>
            <pc:sldMk cId="256183737" sldId="2147469842"/>
            <ac:spMk id="145" creationId="{4217BED4-AD32-20F5-A362-51677DBF3A3E}"/>
          </ac:spMkLst>
        </pc:spChg>
        <pc:spChg chg="add mod">
          <ac:chgData name="Jean GRANDEMANGE" userId="faf07584-8716-430e-b66d-4ceae2fe8450" providerId="ADAL" clId="{5BA9D65E-4355-43B5-9FAC-0CE2D0775271}" dt="2023-01-27T16:58:29.599" v="10146" actId="1076"/>
          <ac:spMkLst>
            <pc:docMk/>
            <pc:sldMk cId="256183737" sldId="2147469842"/>
            <ac:spMk id="146" creationId="{24B4C1F6-ED42-02DF-FCC6-77D5E06DF484}"/>
          </ac:spMkLst>
        </pc:spChg>
        <pc:spChg chg="add mod">
          <ac:chgData name="Jean GRANDEMANGE" userId="faf07584-8716-430e-b66d-4ceae2fe8450" providerId="ADAL" clId="{5BA9D65E-4355-43B5-9FAC-0CE2D0775271}" dt="2023-01-27T16:58:29.599" v="10146" actId="1076"/>
          <ac:spMkLst>
            <pc:docMk/>
            <pc:sldMk cId="256183737" sldId="2147469842"/>
            <ac:spMk id="147" creationId="{56736C8E-E81A-2996-9F70-FD105C1AB93C}"/>
          </ac:spMkLst>
        </pc:spChg>
        <pc:spChg chg="add mod">
          <ac:chgData name="Jean GRANDEMANGE" userId="faf07584-8716-430e-b66d-4ceae2fe8450" providerId="ADAL" clId="{5BA9D65E-4355-43B5-9FAC-0CE2D0775271}" dt="2023-01-27T16:58:29.599" v="10146" actId="1076"/>
          <ac:spMkLst>
            <pc:docMk/>
            <pc:sldMk cId="256183737" sldId="2147469842"/>
            <ac:spMk id="148" creationId="{E9911E6E-9079-1D2A-838F-0895B1ACC48E}"/>
          </ac:spMkLst>
        </pc:spChg>
        <pc:spChg chg="add mod">
          <ac:chgData name="Jean GRANDEMANGE" userId="faf07584-8716-430e-b66d-4ceae2fe8450" providerId="ADAL" clId="{5BA9D65E-4355-43B5-9FAC-0CE2D0775271}" dt="2023-01-27T16:55:01.860" v="9976" actId="571"/>
          <ac:spMkLst>
            <pc:docMk/>
            <pc:sldMk cId="256183737" sldId="2147469842"/>
            <ac:spMk id="149" creationId="{A4FC010B-F563-73A9-DBEB-8D1FBB6958C1}"/>
          </ac:spMkLst>
        </pc:spChg>
        <pc:spChg chg="mod">
          <ac:chgData name="Jean GRANDEMANGE" userId="faf07584-8716-430e-b66d-4ceae2fe8450" providerId="ADAL" clId="{5BA9D65E-4355-43B5-9FAC-0CE2D0775271}" dt="2023-01-27T16:55:01.860" v="9976" actId="571"/>
          <ac:spMkLst>
            <pc:docMk/>
            <pc:sldMk cId="256183737" sldId="2147469842"/>
            <ac:spMk id="151" creationId="{5FE80FD7-5FFF-0181-9F74-427B8BA5EAB6}"/>
          </ac:spMkLst>
        </pc:spChg>
        <pc:spChg chg="mod">
          <ac:chgData name="Jean GRANDEMANGE" userId="faf07584-8716-430e-b66d-4ceae2fe8450" providerId="ADAL" clId="{5BA9D65E-4355-43B5-9FAC-0CE2D0775271}" dt="2023-01-27T16:55:11.952" v="9986" actId="20577"/>
          <ac:spMkLst>
            <pc:docMk/>
            <pc:sldMk cId="256183737" sldId="2147469842"/>
            <ac:spMk id="154" creationId="{DE9943DB-08A7-94FF-1280-0AA8BB5BCE88}"/>
          </ac:spMkLst>
        </pc:spChg>
        <pc:spChg chg="add mod">
          <ac:chgData name="Jean GRANDEMANGE" userId="faf07584-8716-430e-b66d-4ceae2fe8450" providerId="ADAL" clId="{5BA9D65E-4355-43B5-9FAC-0CE2D0775271}" dt="2023-01-27T16:58:29.599" v="10146" actId="1076"/>
          <ac:spMkLst>
            <pc:docMk/>
            <pc:sldMk cId="256183737" sldId="2147469842"/>
            <ac:spMk id="156" creationId="{C5C95E6B-DB5F-E778-3CA7-5867F32F94DD}"/>
          </ac:spMkLst>
        </pc:spChg>
        <pc:spChg chg="mod">
          <ac:chgData name="Jean GRANDEMANGE" userId="faf07584-8716-430e-b66d-4ceae2fe8450" providerId="ADAL" clId="{5BA9D65E-4355-43B5-9FAC-0CE2D0775271}" dt="2023-01-27T16:56:00.519" v="10026"/>
          <ac:spMkLst>
            <pc:docMk/>
            <pc:sldMk cId="256183737" sldId="2147469842"/>
            <ac:spMk id="158" creationId="{73199360-021D-8282-0A0F-3B2D2BB3444E}"/>
          </ac:spMkLst>
        </pc:spChg>
        <pc:spChg chg="add mod">
          <ac:chgData name="Jean GRANDEMANGE" userId="faf07584-8716-430e-b66d-4ceae2fe8450" providerId="ADAL" clId="{5BA9D65E-4355-43B5-9FAC-0CE2D0775271}" dt="2023-01-27T16:58:29.599" v="10146" actId="1076"/>
          <ac:spMkLst>
            <pc:docMk/>
            <pc:sldMk cId="256183737" sldId="2147469842"/>
            <ac:spMk id="160" creationId="{29B8BE05-7DFF-8C6B-7B4E-564E956B5347}"/>
          </ac:spMkLst>
        </pc:spChg>
        <pc:spChg chg="mod">
          <ac:chgData name="Jean GRANDEMANGE" userId="faf07584-8716-430e-b66d-4ceae2fe8450" providerId="ADAL" clId="{5BA9D65E-4355-43B5-9FAC-0CE2D0775271}" dt="2023-01-27T16:57:34.640" v="10105" actId="20577"/>
          <ac:spMkLst>
            <pc:docMk/>
            <pc:sldMk cId="256183737" sldId="2147469842"/>
            <ac:spMk id="162" creationId="{68D969F1-CAFE-896F-BB47-1123E94B0F7E}"/>
          </ac:spMkLst>
        </pc:spChg>
        <pc:spChg chg="add mod">
          <ac:chgData name="Jean GRANDEMANGE" userId="faf07584-8716-430e-b66d-4ceae2fe8450" providerId="ADAL" clId="{5BA9D65E-4355-43B5-9FAC-0CE2D0775271}" dt="2023-01-27T16:58:29.599" v="10146" actId="1076"/>
          <ac:spMkLst>
            <pc:docMk/>
            <pc:sldMk cId="256183737" sldId="2147469842"/>
            <ac:spMk id="164" creationId="{AAE8C009-2233-7A19-C1F7-8DC44002EC9B}"/>
          </ac:spMkLst>
        </pc:spChg>
        <pc:grpChg chg="del mod">
          <ac:chgData name="Jean GRANDEMANGE" userId="faf07584-8716-430e-b66d-4ceae2fe8450" providerId="ADAL" clId="{5BA9D65E-4355-43B5-9FAC-0CE2D0775271}" dt="2023-01-27T16:53:50.077" v="9861" actId="478"/>
          <ac:grpSpMkLst>
            <pc:docMk/>
            <pc:sldMk cId="256183737" sldId="2147469842"/>
            <ac:grpSpMk id="44" creationId="{1805647F-34EE-4296-BEC0-62949827C9AC}"/>
          </ac:grpSpMkLst>
        </pc:grpChg>
        <pc:grpChg chg="del mod">
          <ac:chgData name="Jean GRANDEMANGE" userId="faf07584-8716-430e-b66d-4ceae2fe8450" providerId="ADAL" clId="{5BA9D65E-4355-43B5-9FAC-0CE2D0775271}" dt="2023-01-27T16:53:50.077" v="9861" actId="478"/>
          <ac:grpSpMkLst>
            <pc:docMk/>
            <pc:sldMk cId="256183737" sldId="2147469842"/>
            <ac:grpSpMk id="47" creationId="{E8D1D313-4E2F-4BD3-94F3-6B28141C30EC}"/>
          </ac:grpSpMkLst>
        </pc:grpChg>
        <pc:grpChg chg="del mod">
          <ac:chgData name="Jean GRANDEMANGE" userId="faf07584-8716-430e-b66d-4ceae2fe8450" providerId="ADAL" clId="{5BA9D65E-4355-43B5-9FAC-0CE2D0775271}" dt="2023-01-27T16:53:48.656" v="9860" actId="478"/>
          <ac:grpSpMkLst>
            <pc:docMk/>
            <pc:sldMk cId="256183737" sldId="2147469842"/>
            <ac:grpSpMk id="50" creationId="{82C6B0A6-0236-4EBC-AF18-1A36A870CC8E}"/>
          </ac:grpSpMkLst>
        </pc:grpChg>
        <pc:grpChg chg="del mod">
          <ac:chgData name="Jean GRANDEMANGE" userId="faf07584-8716-430e-b66d-4ceae2fe8450" providerId="ADAL" clId="{5BA9D65E-4355-43B5-9FAC-0CE2D0775271}" dt="2023-01-27T16:53:50.077" v="9861" actId="478"/>
          <ac:grpSpMkLst>
            <pc:docMk/>
            <pc:sldMk cId="256183737" sldId="2147469842"/>
            <ac:grpSpMk id="53" creationId="{83DDDC27-9049-4A2A-B6B7-A8A2A599652F}"/>
          </ac:grpSpMkLst>
        </pc:grpChg>
        <pc:grpChg chg="del mod">
          <ac:chgData name="Jean GRANDEMANGE" userId="faf07584-8716-430e-b66d-4ceae2fe8450" providerId="ADAL" clId="{5BA9D65E-4355-43B5-9FAC-0CE2D0775271}" dt="2023-01-27T16:53:48.656" v="9860" actId="478"/>
          <ac:grpSpMkLst>
            <pc:docMk/>
            <pc:sldMk cId="256183737" sldId="2147469842"/>
            <ac:grpSpMk id="56" creationId="{F4E317D4-E36A-4C38-A6D6-060B933F9E37}"/>
          </ac:grpSpMkLst>
        </pc:grpChg>
        <pc:grpChg chg="mod">
          <ac:chgData name="Jean GRANDEMANGE" userId="faf07584-8716-430e-b66d-4ceae2fe8450" providerId="ADAL" clId="{5BA9D65E-4355-43B5-9FAC-0CE2D0775271}" dt="2023-01-27T16:58:44.199" v="10149" actId="1076"/>
          <ac:grpSpMkLst>
            <pc:docMk/>
            <pc:sldMk cId="256183737" sldId="2147469842"/>
            <ac:grpSpMk id="59" creationId="{36007877-CCC4-4404-91D3-EE9EF5B5B031}"/>
          </ac:grpSpMkLst>
        </pc:grpChg>
        <pc:grpChg chg="mod">
          <ac:chgData name="Jean GRANDEMANGE" userId="faf07584-8716-430e-b66d-4ceae2fe8450" providerId="ADAL" clId="{5BA9D65E-4355-43B5-9FAC-0CE2D0775271}" dt="2023-01-27T16:58:29.599" v="10146" actId="1076"/>
          <ac:grpSpMkLst>
            <pc:docMk/>
            <pc:sldMk cId="256183737" sldId="2147469842"/>
            <ac:grpSpMk id="62" creationId="{E64CF32D-0C6C-441D-B069-2F58E0A3A471}"/>
          </ac:grpSpMkLst>
        </pc:grpChg>
        <pc:grpChg chg="del mod">
          <ac:chgData name="Jean GRANDEMANGE" userId="faf07584-8716-430e-b66d-4ceae2fe8450" providerId="ADAL" clId="{5BA9D65E-4355-43B5-9FAC-0CE2D0775271}" dt="2023-01-27T16:50:21.865" v="9649" actId="478"/>
          <ac:grpSpMkLst>
            <pc:docMk/>
            <pc:sldMk cId="256183737" sldId="2147469842"/>
            <ac:grpSpMk id="65" creationId="{349A1D9B-B5FC-450A-80A0-72B57441581E}"/>
          </ac:grpSpMkLst>
        </pc:grpChg>
        <pc:grpChg chg="del mod">
          <ac:chgData name="Jean GRANDEMANGE" userId="faf07584-8716-430e-b66d-4ceae2fe8450" providerId="ADAL" clId="{5BA9D65E-4355-43B5-9FAC-0CE2D0775271}" dt="2023-01-27T16:53:48.656" v="9860" actId="478"/>
          <ac:grpSpMkLst>
            <pc:docMk/>
            <pc:sldMk cId="256183737" sldId="2147469842"/>
            <ac:grpSpMk id="68" creationId="{4D556DEE-9611-4D14-A17A-5C9D37ECA1A5}"/>
          </ac:grpSpMkLst>
        </pc:grpChg>
        <pc:grpChg chg="del mod">
          <ac:chgData name="Jean GRANDEMANGE" userId="faf07584-8716-430e-b66d-4ceae2fe8450" providerId="ADAL" clId="{5BA9D65E-4355-43B5-9FAC-0CE2D0775271}" dt="2023-01-27T16:50:21.865" v="9649" actId="478"/>
          <ac:grpSpMkLst>
            <pc:docMk/>
            <pc:sldMk cId="256183737" sldId="2147469842"/>
            <ac:grpSpMk id="71" creationId="{65D73C93-277A-4840-9F2F-BC8E3040BF32}"/>
          </ac:grpSpMkLst>
        </pc:grpChg>
        <pc:grpChg chg="del mod">
          <ac:chgData name="Jean GRANDEMANGE" userId="faf07584-8716-430e-b66d-4ceae2fe8450" providerId="ADAL" clId="{5BA9D65E-4355-43B5-9FAC-0CE2D0775271}" dt="2023-01-27T16:53:48.656" v="9860" actId="478"/>
          <ac:grpSpMkLst>
            <pc:docMk/>
            <pc:sldMk cId="256183737" sldId="2147469842"/>
            <ac:grpSpMk id="74" creationId="{F1B32CD1-11C1-4C5F-8DA8-954A7BB32D9C}"/>
          </ac:grpSpMkLst>
        </pc:grpChg>
        <pc:grpChg chg="del mod">
          <ac:chgData name="Jean GRANDEMANGE" userId="faf07584-8716-430e-b66d-4ceae2fe8450" providerId="ADAL" clId="{5BA9D65E-4355-43B5-9FAC-0CE2D0775271}" dt="2023-01-27T16:53:48.656" v="9860" actId="478"/>
          <ac:grpSpMkLst>
            <pc:docMk/>
            <pc:sldMk cId="256183737" sldId="2147469842"/>
            <ac:grpSpMk id="77" creationId="{276C16D8-43C0-423E-92EB-3F4E6273E248}"/>
          </ac:grpSpMkLst>
        </pc:grpChg>
        <pc:grpChg chg="del mod">
          <ac:chgData name="Jean GRANDEMANGE" userId="faf07584-8716-430e-b66d-4ceae2fe8450" providerId="ADAL" clId="{5BA9D65E-4355-43B5-9FAC-0CE2D0775271}" dt="2023-01-27T16:53:48.656" v="9860" actId="478"/>
          <ac:grpSpMkLst>
            <pc:docMk/>
            <pc:sldMk cId="256183737" sldId="2147469842"/>
            <ac:grpSpMk id="80" creationId="{684EA1B9-193E-45CF-A4F0-05B0BFA20126}"/>
          </ac:grpSpMkLst>
        </pc:grpChg>
        <pc:grpChg chg="del mod">
          <ac:chgData name="Jean GRANDEMANGE" userId="faf07584-8716-430e-b66d-4ceae2fe8450" providerId="ADAL" clId="{5BA9D65E-4355-43B5-9FAC-0CE2D0775271}" dt="2023-01-27T16:50:21.865" v="9649" actId="478"/>
          <ac:grpSpMkLst>
            <pc:docMk/>
            <pc:sldMk cId="256183737" sldId="2147469842"/>
            <ac:grpSpMk id="83" creationId="{F264D3D5-4EEF-486E-A19B-1F7D44CD2D8F}"/>
          </ac:grpSpMkLst>
        </pc:grpChg>
        <pc:grpChg chg="del mod">
          <ac:chgData name="Jean GRANDEMANGE" userId="faf07584-8716-430e-b66d-4ceae2fe8450" providerId="ADAL" clId="{5BA9D65E-4355-43B5-9FAC-0CE2D0775271}" dt="2023-01-27T16:50:21.865" v="9649" actId="478"/>
          <ac:grpSpMkLst>
            <pc:docMk/>
            <pc:sldMk cId="256183737" sldId="2147469842"/>
            <ac:grpSpMk id="86" creationId="{7FC6389B-47D1-45A0-9B30-26DD3FB7FBDE}"/>
          </ac:grpSpMkLst>
        </pc:grpChg>
        <pc:grpChg chg="del mod">
          <ac:chgData name="Jean GRANDEMANGE" userId="faf07584-8716-430e-b66d-4ceae2fe8450" providerId="ADAL" clId="{5BA9D65E-4355-43B5-9FAC-0CE2D0775271}" dt="2023-01-27T16:50:21.865" v="9649" actId="478"/>
          <ac:grpSpMkLst>
            <pc:docMk/>
            <pc:sldMk cId="256183737" sldId="2147469842"/>
            <ac:grpSpMk id="89" creationId="{4D203D6E-7F2B-471D-9492-CFBF6D51FEA7}"/>
          </ac:grpSpMkLst>
        </pc:grpChg>
        <pc:grpChg chg="del mod">
          <ac:chgData name="Jean GRANDEMANGE" userId="faf07584-8716-430e-b66d-4ceae2fe8450" providerId="ADAL" clId="{5BA9D65E-4355-43B5-9FAC-0CE2D0775271}" dt="2023-01-27T16:50:21.865" v="9649" actId="478"/>
          <ac:grpSpMkLst>
            <pc:docMk/>
            <pc:sldMk cId="256183737" sldId="2147469842"/>
            <ac:grpSpMk id="92" creationId="{7D6782D8-AEEC-4E70-B4C1-6FF198CF13F5}"/>
          </ac:grpSpMkLst>
        </pc:grpChg>
        <pc:grpChg chg="del mod">
          <ac:chgData name="Jean GRANDEMANGE" userId="faf07584-8716-430e-b66d-4ceae2fe8450" providerId="ADAL" clId="{5BA9D65E-4355-43B5-9FAC-0CE2D0775271}" dt="2023-01-27T16:50:21.865" v="9649" actId="478"/>
          <ac:grpSpMkLst>
            <pc:docMk/>
            <pc:sldMk cId="256183737" sldId="2147469842"/>
            <ac:grpSpMk id="95" creationId="{7EC84177-F317-49D2-A52E-1FCAD052FF4B}"/>
          </ac:grpSpMkLst>
        </pc:grpChg>
        <pc:grpChg chg="del mod">
          <ac:chgData name="Jean GRANDEMANGE" userId="faf07584-8716-430e-b66d-4ceae2fe8450" providerId="ADAL" clId="{5BA9D65E-4355-43B5-9FAC-0CE2D0775271}" dt="2023-01-27T16:38:21.761" v="9261" actId="478"/>
          <ac:grpSpMkLst>
            <pc:docMk/>
            <pc:sldMk cId="256183737" sldId="2147469842"/>
            <ac:grpSpMk id="98" creationId="{A89195BC-0411-44CC-BC84-689A1CD8473B}"/>
          </ac:grpSpMkLst>
        </pc:grpChg>
        <pc:grpChg chg="del mod">
          <ac:chgData name="Jean GRANDEMANGE" userId="faf07584-8716-430e-b66d-4ceae2fe8450" providerId="ADAL" clId="{5BA9D65E-4355-43B5-9FAC-0CE2D0775271}" dt="2023-01-27T16:38:21.761" v="9261" actId="478"/>
          <ac:grpSpMkLst>
            <pc:docMk/>
            <pc:sldMk cId="256183737" sldId="2147469842"/>
            <ac:grpSpMk id="101" creationId="{D4B0C3E5-BDDB-4BD4-BCC1-BE30FEF7B4FC}"/>
          </ac:grpSpMkLst>
        </pc:grpChg>
        <pc:grpChg chg="del mod">
          <ac:chgData name="Jean GRANDEMANGE" userId="faf07584-8716-430e-b66d-4ceae2fe8450" providerId="ADAL" clId="{5BA9D65E-4355-43B5-9FAC-0CE2D0775271}" dt="2023-01-27T16:38:21.761" v="9261" actId="478"/>
          <ac:grpSpMkLst>
            <pc:docMk/>
            <pc:sldMk cId="256183737" sldId="2147469842"/>
            <ac:grpSpMk id="104" creationId="{0DAB7793-E0AB-4EB6-BE83-D9A2B9E68B83}"/>
          </ac:grpSpMkLst>
        </pc:grpChg>
        <pc:grpChg chg="del mod">
          <ac:chgData name="Jean GRANDEMANGE" userId="faf07584-8716-430e-b66d-4ceae2fe8450" providerId="ADAL" clId="{5BA9D65E-4355-43B5-9FAC-0CE2D0775271}" dt="2023-01-27T16:38:21.761" v="9261" actId="478"/>
          <ac:grpSpMkLst>
            <pc:docMk/>
            <pc:sldMk cId="256183737" sldId="2147469842"/>
            <ac:grpSpMk id="107" creationId="{FEA0791F-E929-4FAA-8606-53E3B553BC09}"/>
          </ac:grpSpMkLst>
        </pc:grpChg>
        <pc:grpChg chg="del mod">
          <ac:chgData name="Jean GRANDEMANGE" userId="faf07584-8716-430e-b66d-4ceae2fe8450" providerId="ADAL" clId="{5BA9D65E-4355-43B5-9FAC-0CE2D0775271}" dt="2023-01-27T16:38:21.761" v="9261" actId="478"/>
          <ac:grpSpMkLst>
            <pc:docMk/>
            <pc:sldMk cId="256183737" sldId="2147469842"/>
            <ac:grpSpMk id="110" creationId="{4479AB5B-C764-4178-9129-74793E1C01DB}"/>
          </ac:grpSpMkLst>
        </pc:grpChg>
        <pc:grpChg chg="del mod">
          <ac:chgData name="Jean GRANDEMANGE" userId="faf07584-8716-430e-b66d-4ceae2fe8450" providerId="ADAL" clId="{5BA9D65E-4355-43B5-9FAC-0CE2D0775271}" dt="2023-01-27T16:38:21.761" v="9261" actId="478"/>
          <ac:grpSpMkLst>
            <pc:docMk/>
            <pc:sldMk cId="256183737" sldId="2147469842"/>
            <ac:grpSpMk id="113" creationId="{867AA10A-DA39-45B6-9FD3-68B070BEDD3D}"/>
          </ac:grpSpMkLst>
        </pc:grpChg>
        <pc:grpChg chg="del mod">
          <ac:chgData name="Jean GRANDEMANGE" userId="faf07584-8716-430e-b66d-4ceae2fe8450" providerId="ADAL" clId="{5BA9D65E-4355-43B5-9FAC-0CE2D0775271}" dt="2023-01-27T16:38:21.761" v="9261" actId="478"/>
          <ac:grpSpMkLst>
            <pc:docMk/>
            <pc:sldMk cId="256183737" sldId="2147469842"/>
            <ac:grpSpMk id="116" creationId="{61CB0173-7F91-40F2-8C9C-69B18FAA92CE}"/>
          </ac:grpSpMkLst>
        </pc:grpChg>
        <pc:grpChg chg="del mod">
          <ac:chgData name="Jean GRANDEMANGE" userId="faf07584-8716-430e-b66d-4ceae2fe8450" providerId="ADAL" clId="{5BA9D65E-4355-43B5-9FAC-0CE2D0775271}" dt="2023-01-27T16:38:21.761" v="9261" actId="478"/>
          <ac:grpSpMkLst>
            <pc:docMk/>
            <pc:sldMk cId="256183737" sldId="2147469842"/>
            <ac:grpSpMk id="119" creationId="{6B6D550F-DB90-46FF-96BE-AFF37C9DBD9C}"/>
          </ac:grpSpMkLst>
        </pc:grpChg>
        <pc:grpChg chg="del mod">
          <ac:chgData name="Jean GRANDEMANGE" userId="faf07584-8716-430e-b66d-4ceae2fe8450" providerId="ADAL" clId="{5BA9D65E-4355-43B5-9FAC-0CE2D0775271}" dt="2023-01-27T16:38:21.761" v="9261" actId="478"/>
          <ac:grpSpMkLst>
            <pc:docMk/>
            <pc:sldMk cId="256183737" sldId="2147469842"/>
            <ac:grpSpMk id="122" creationId="{6027727A-0EC5-4B1F-B7D3-CD5D0634FE67}"/>
          </ac:grpSpMkLst>
        </pc:grpChg>
        <pc:grpChg chg="del mod">
          <ac:chgData name="Jean GRANDEMANGE" userId="faf07584-8716-430e-b66d-4ceae2fe8450" providerId="ADAL" clId="{5BA9D65E-4355-43B5-9FAC-0CE2D0775271}" dt="2023-01-27T16:38:21.761" v="9261" actId="478"/>
          <ac:grpSpMkLst>
            <pc:docMk/>
            <pc:sldMk cId="256183737" sldId="2147469842"/>
            <ac:grpSpMk id="125" creationId="{ACF28D39-8C16-40C2-938B-6B7D2572C984}"/>
          </ac:grpSpMkLst>
        </pc:grpChg>
        <pc:grpChg chg="del mod">
          <ac:chgData name="Jean GRANDEMANGE" userId="faf07584-8716-430e-b66d-4ceae2fe8450" providerId="ADAL" clId="{5BA9D65E-4355-43B5-9FAC-0CE2D0775271}" dt="2023-01-27T16:38:21.761" v="9261" actId="478"/>
          <ac:grpSpMkLst>
            <pc:docMk/>
            <pc:sldMk cId="256183737" sldId="2147469842"/>
            <ac:grpSpMk id="128" creationId="{4766119F-C9E0-4189-9FF7-1D1E0D1AF0A1}"/>
          </ac:grpSpMkLst>
        </pc:grpChg>
        <pc:grpChg chg="add mod">
          <ac:chgData name="Jean GRANDEMANGE" userId="faf07584-8716-430e-b66d-4ceae2fe8450" providerId="ADAL" clId="{5BA9D65E-4355-43B5-9FAC-0CE2D0775271}" dt="2023-01-27T16:36:22.838" v="9220" actId="1076"/>
          <ac:grpSpMkLst>
            <pc:docMk/>
            <pc:sldMk cId="256183737" sldId="2147469842"/>
            <ac:grpSpMk id="133" creationId="{B7FCF5A6-139F-61ED-6B0C-744AE0E84CF0}"/>
          </ac:grpSpMkLst>
        </pc:grpChg>
        <pc:grpChg chg="add mod">
          <ac:chgData name="Jean GRANDEMANGE" userId="faf07584-8716-430e-b66d-4ceae2fe8450" providerId="ADAL" clId="{5BA9D65E-4355-43B5-9FAC-0CE2D0775271}" dt="2023-01-27T16:55:01.860" v="9976" actId="571"/>
          <ac:grpSpMkLst>
            <pc:docMk/>
            <pc:sldMk cId="256183737" sldId="2147469842"/>
            <ac:grpSpMk id="150" creationId="{7054F2EB-1839-00C0-119E-4116BA83A123}"/>
          </ac:grpSpMkLst>
        </pc:grpChg>
        <pc:grpChg chg="add mod">
          <ac:chgData name="Jean GRANDEMANGE" userId="faf07584-8716-430e-b66d-4ceae2fe8450" providerId="ADAL" clId="{5BA9D65E-4355-43B5-9FAC-0CE2D0775271}" dt="2023-01-27T16:58:29.599" v="10146" actId="1076"/>
          <ac:grpSpMkLst>
            <pc:docMk/>
            <pc:sldMk cId="256183737" sldId="2147469842"/>
            <ac:grpSpMk id="153" creationId="{D8A399F8-6FF6-026B-CB69-962397AEC5FC}"/>
          </ac:grpSpMkLst>
        </pc:grpChg>
        <pc:grpChg chg="add mod">
          <ac:chgData name="Jean GRANDEMANGE" userId="faf07584-8716-430e-b66d-4ceae2fe8450" providerId="ADAL" clId="{5BA9D65E-4355-43B5-9FAC-0CE2D0775271}" dt="2023-01-27T16:58:29.599" v="10146" actId="1076"/>
          <ac:grpSpMkLst>
            <pc:docMk/>
            <pc:sldMk cId="256183737" sldId="2147469842"/>
            <ac:grpSpMk id="157" creationId="{FB1CC42A-03E6-201F-8784-63F1A8048DAF}"/>
          </ac:grpSpMkLst>
        </pc:grpChg>
        <pc:grpChg chg="add mod">
          <ac:chgData name="Jean GRANDEMANGE" userId="faf07584-8716-430e-b66d-4ceae2fe8450" providerId="ADAL" clId="{5BA9D65E-4355-43B5-9FAC-0CE2D0775271}" dt="2023-01-27T16:58:29.599" v="10146" actId="1076"/>
          <ac:grpSpMkLst>
            <pc:docMk/>
            <pc:sldMk cId="256183737" sldId="2147469842"/>
            <ac:grpSpMk id="161" creationId="{7DB7AA32-F3B7-74E8-EA09-25EF1BA2A955}"/>
          </ac:grpSpMkLst>
        </pc:grpChg>
        <pc:graphicFrameChg chg="mod modGraphic">
          <ac:chgData name="Jean GRANDEMANGE" userId="faf07584-8716-430e-b66d-4ceae2fe8450" providerId="ADAL" clId="{5BA9D65E-4355-43B5-9FAC-0CE2D0775271}" dt="2023-01-27T16:35:55.601" v="9212"/>
          <ac:graphicFrameMkLst>
            <pc:docMk/>
            <pc:sldMk cId="256183737" sldId="2147469842"/>
            <ac:graphicFrameMk id="4" creationId="{437AB2C6-1962-48D7-BBBD-E467214EDE31}"/>
          </ac:graphicFrameMkLst>
        </pc:graphicFrameChg>
        <pc:picChg chg="mod">
          <ac:chgData name="Jean GRANDEMANGE" userId="faf07584-8716-430e-b66d-4ceae2fe8450" providerId="ADAL" clId="{5BA9D65E-4355-43B5-9FAC-0CE2D0775271}" dt="2023-01-27T16:26:47.506" v="9000" actId="12789"/>
          <ac:picMkLst>
            <pc:docMk/>
            <pc:sldMk cId="256183737" sldId="2147469842"/>
            <ac:picMk id="40" creationId="{BF480D82-0343-43F8-AC60-5AA75DCB1255}"/>
          </ac:picMkLst>
        </pc:picChg>
        <pc:picChg chg="add mod">
          <ac:chgData name="Jean GRANDEMANGE" userId="faf07584-8716-430e-b66d-4ceae2fe8450" providerId="ADAL" clId="{5BA9D65E-4355-43B5-9FAC-0CE2D0775271}" dt="2023-01-27T16:26:47.506" v="9000" actId="12789"/>
          <ac:picMkLst>
            <pc:docMk/>
            <pc:sldMk cId="256183737" sldId="2147469842"/>
            <ac:picMk id="132" creationId="{0D6E8A25-1B30-25A4-9C09-68CA6035DE1D}"/>
          </ac:picMkLst>
        </pc:picChg>
        <pc:picChg chg="mod">
          <ac:chgData name="Jean GRANDEMANGE" userId="faf07584-8716-430e-b66d-4ceae2fe8450" providerId="ADAL" clId="{5BA9D65E-4355-43B5-9FAC-0CE2D0775271}" dt="2023-01-27T16:55:01.860" v="9976" actId="571"/>
          <ac:picMkLst>
            <pc:docMk/>
            <pc:sldMk cId="256183737" sldId="2147469842"/>
            <ac:picMk id="152" creationId="{4450271B-F13E-5CA1-9604-85B01E8AA25E}"/>
          </ac:picMkLst>
        </pc:picChg>
        <pc:picChg chg="mod">
          <ac:chgData name="Jean GRANDEMANGE" userId="faf07584-8716-430e-b66d-4ceae2fe8450" providerId="ADAL" clId="{5BA9D65E-4355-43B5-9FAC-0CE2D0775271}" dt="2023-01-27T16:55:05.175" v="9977" actId="571"/>
          <ac:picMkLst>
            <pc:docMk/>
            <pc:sldMk cId="256183737" sldId="2147469842"/>
            <ac:picMk id="155" creationId="{A990E5C2-2C4E-2238-5330-95273E53177F}"/>
          </ac:picMkLst>
        </pc:picChg>
        <pc:picChg chg="mod">
          <ac:chgData name="Jean GRANDEMANGE" userId="faf07584-8716-430e-b66d-4ceae2fe8450" providerId="ADAL" clId="{5BA9D65E-4355-43B5-9FAC-0CE2D0775271}" dt="2023-01-27T16:56:00.519" v="10026"/>
          <ac:picMkLst>
            <pc:docMk/>
            <pc:sldMk cId="256183737" sldId="2147469842"/>
            <ac:picMk id="159" creationId="{CD5CDE79-94F3-5841-DFD8-F6E9631071D8}"/>
          </ac:picMkLst>
        </pc:picChg>
        <pc:picChg chg="mod">
          <ac:chgData name="Jean GRANDEMANGE" userId="faf07584-8716-430e-b66d-4ceae2fe8450" providerId="ADAL" clId="{5BA9D65E-4355-43B5-9FAC-0CE2D0775271}" dt="2023-01-27T16:57:14.035" v="10066" actId="571"/>
          <ac:picMkLst>
            <pc:docMk/>
            <pc:sldMk cId="256183737" sldId="2147469842"/>
            <ac:picMk id="163" creationId="{C882FB78-1C5C-C468-601D-9EA24C78357D}"/>
          </ac:picMkLst>
        </pc:picChg>
        <pc:cxnChg chg="add mod">
          <ac:chgData name="Jean GRANDEMANGE" userId="faf07584-8716-430e-b66d-4ceae2fe8450" providerId="ADAL" clId="{5BA9D65E-4355-43B5-9FAC-0CE2D0775271}" dt="2023-01-27T16:26:47.506" v="9000" actId="12789"/>
          <ac:cxnSpMkLst>
            <pc:docMk/>
            <pc:sldMk cId="256183737" sldId="2147469842"/>
            <ac:cxnSpMk id="3" creationId="{E586A8BE-C0D1-5255-2B4A-E67E95E3B9E7}"/>
          </ac:cxnSpMkLst>
        </pc:cxnChg>
        <pc:cxnChg chg="add mod">
          <ac:chgData name="Jean GRANDEMANGE" userId="faf07584-8716-430e-b66d-4ceae2fe8450" providerId="ADAL" clId="{5BA9D65E-4355-43B5-9FAC-0CE2D0775271}" dt="2023-01-27T16:27:45.488" v="9006" actId="1076"/>
          <ac:cxnSpMkLst>
            <pc:docMk/>
            <pc:sldMk cId="256183737" sldId="2147469842"/>
            <ac:cxnSpMk id="135" creationId="{FDA19EC8-365C-CA78-A2FB-4D869CAE4AEB}"/>
          </ac:cxnSpMkLst>
        </pc:cxnChg>
        <pc:cxnChg chg="add mod">
          <ac:chgData name="Jean GRANDEMANGE" userId="faf07584-8716-430e-b66d-4ceae2fe8450" providerId="ADAL" clId="{5BA9D65E-4355-43B5-9FAC-0CE2D0775271}" dt="2023-01-27T16:58:29.599" v="10146" actId="1076"/>
          <ac:cxnSpMkLst>
            <pc:docMk/>
            <pc:sldMk cId="256183737" sldId="2147469842"/>
            <ac:cxnSpMk id="138" creationId="{5B22636B-24BB-79E8-EA78-7B8E9E2D2CB7}"/>
          </ac:cxnSpMkLst>
        </pc:cxnChg>
      </pc:sldChg>
      <pc:sldChg chg="add del">
        <pc:chgData name="Jean GRANDEMANGE" userId="faf07584-8716-430e-b66d-4ceae2fe8450" providerId="ADAL" clId="{5BA9D65E-4355-43B5-9FAC-0CE2D0775271}" dt="2023-01-28T13:28:43.855" v="11872"/>
        <pc:sldMkLst>
          <pc:docMk/>
          <pc:sldMk cId="779318553" sldId="2147469842"/>
        </pc:sldMkLst>
      </pc:sldChg>
      <pc:sldChg chg="modSp mod">
        <pc:chgData name="Jean GRANDEMANGE" userId="faf07584-8716-430e-b66d-4ceae2fe8450" providerId="ADAL" clId="{5BA9D65E-4355-43B5-9FAC-0CE2D0775271}" dt="2023-01-28T14:10:40.932" v="13865" actId="2165"/>
        <pc:sldMkLst>
          <pc:docMk/>
          <pc:sldMk cId="1055855095" sldId="2147469843"/>
        </pc:sldMkLst>
        <pc:spChg chg="mod">
          <ac:chgData name="Jean GRANDEMANGE" userId="faf07584-8716-430e-b66d-4ceae2fe8450" providerId="ADAL" clId="{5BA9D65E-4355-43B5-9FAC-0CE2D0775271}" dt="2023-01-28T13:50:35.184" v="13641" actId="20577"/>
          <ac:spMkLst>
            <pc:docMk/>
            <pc:sldMk cId="1055855095" sldId="2147469843"/>
            <ac:spMk id="6" creationId="{8A88337F-C6B5-43D7-BAFD-2A01BE57E6CF}"/>
          </ac:spMkLst>
        </pc:spChg>
        <pc:graphicFrameChg chg="mod modGraphic">
          <ac:chgData name="Jean GRANDEMANGE" userId="faf07584-8716-430e-b66d-4ceae2fe8450" providerId="ADAL" clId="{5BA9D65E-4355-43B5-9FAC-0CE2D0775271}" dt="2023-01-28T14:10:40.932" v="13865" actId="2165"/>
          <ac:graphicFrameMkLst>
            <pc:docMk/>
            <pc:sldMk cId="1055855095" sldId="2147469843"/>
            <ac:graphicFrameMk id="5" creationId="{E247BD5F-6119-4BE9-9391-766AF3CC0E43}"/>
          </ac:graphicFrameMkLst>
        </pc:graphicFrameChg>
      </pc:sldChg>
      <pc:sldChg chg="ord">
        <pc:chgData name="Jean GRANDEMANGE" userId="faf07584-8716-430e-b66d-4ceae2fe8450" providerId="ADAL" clId="{5BA9D65E-4355-43B5-9FAC-0CE2D0775271}" dt="2023-01-28T13:28:43.076" v="11871" actId="20578"/>
        <pc:sldMkLst>
          <pc:docMk/>
          <pc:sldMk cId="1656768796" sldId="2147469851"/>
        </pc:sldMkLst>
      </pc:sldChg>
      <pc:sldChg chg="modSp mod">
        <pc:chgData name="Jean GRANDEMANGE" userId="faf07584-8716-430e-b66d-4ceae2fe8450" providerId="ADAL" clId="{5BA9D65E-4355-43B5-9FAC-0CE2D0775271}" dt="2023-01-27T15:05:26.333" v="8131" actId="20577"/>
        <pc:sldMkLst>
          <pc:docMk/>
          <pc:sldMk cId="1493195702" sldId="2147469852"/>
        </pc:sldMkLst>
        <pc:spChg chg="mod">
          <ac:chgData name="Jean GRANDEMANGE" userId="faf07584-8716-430e-b66d-4ceae2fe8450" providerId="ADAL" clId="{5BA9D65E-4355-43B5-9FAC-0CE2D0775271}" dt="2023-01-27T15:05:26.333" v="8131" actId="20577"/>
          <ac:spMkLst>
            <pc:docMk/>
            <pc:sldMk cId="1493195702" sldId="2147469852"/>
            <ac:spMk id="2" creationId="{70056A8C-CCF4-4D35-9A21-FB77BD6A6015}"/>
          </ac:spMkLst>
        </pc:spChg>
      </pc:sldChg>
      <pc:sldChg chg="add del">
        <pc:chgData name="Jean GRANDEMANGE" userId="faf07584-8716-430e-b66d-4ceae2fe8450" providerId="ADAL" clId="{5BA9D65E-4355-43B5-9FAC-0CE2D0775271}" dt="2023-01-28T13:28:44.731" v="11873" actId="2696"/>
        <pc:sldMkLst>
          <pc:docMk/>
          <pc:sldMk cId="1530490193" sldId="2147469853"/>
        </pc:sldMkLst>
      </pc:sldChg>
      <pc:sldChg chg="add del">
        <pc:chgData name="Jean GRANDEMANGE" userId="faf07584-8716-430e-b66d-4ceae2fe8450" providerId="ADAL" clId="{5BA9D65E-4355-43B5-9FAC-0CE2D0775271}" dt="2023-01-28T13:28:43.855" v="11872"/>
        <pc:sldMkLst>
          <pc:docMk/>
          <pc:sldMk cId="2743503011" sldId="2147469853"/>
        </pc:sldMkLst>
      </pc:sldChg>
      <pc:sldChg chg="addSp delSp modSp add mod chgLayout">
        <pc:chgData name="Jean GRANDEMANGE" userId="faf07584-8716-430e-b66d-4ceae2fe8450" providerId="ADAL" clId="{5BA9D65E-4355-43B5-9FAC-0CE2D0775271}" dt="2023-01-28T14:01:44.297" v="13771" actId="478"/>
        <pc:sldMkLst>
          <pc:docMk/>
          <pc:sldMk cId="2555663358" sldId="2147469855"/>
        </pc:sldMkLst>
        <pc:spChg chg="add del mod ord">
          <ac:chgData name="Jean GRANDEMANGE" userId="faf07584-8716-430e-b66d-4ceae2fe8450" providerId="ADAL" clId="{5BA9D65E-4355-43B5-9FAC-0CE2D0775271}" dt="2023-01-28T14:01:44.297" v="13771" actId="478"/>
          <ac:spMkLst>
            <pc:docMk/>
            <pc:sldMk cId="2555663358" sldId="2147469855"/>
            <ac:spMk id="2" creationId="{ED863B20-350D-C955-674E-E4D4ED80B0CB}"/>
          </ac:spMkLst>
        </pc:spChg>
        <pc:spChg chg="mod ord">
          <ac:chgData name="Jean GRANDEMANGE" userId="faf07584-8716-430e-b66d-4ceae2fe8450" providerId="ADAL" clId="{5BA9D65E-4355-43B5-9FAC-0CE2D0775271}" dt="2023-01-28T14:01:12.648" v="13769" actId="700"/>
          <ac:spMkLst>
            <pc:docMk/>
            <pc:sldMk cId="2555663358" sldId="2147469855"/>
            <ac:spMk id="47" creationId="{2FA51D8D-1F55-46CA-BC6F-B6724F81E550}"/>
          </ac:spMkLst>
        </pc:spChg>
      </pc:sldChg>
      <pc:sldChg chg="addSp delSp modSp add mod ord chgLayout">
        <pc:chgData name="Jean GRANDEMANGE" userId="faf07584-8716-430e-b66d-4ceae2fe8450" providerId="ADAL" clId="{5BA9D65E-4355-43B5-9FAC-0CE2D0775271}" dt="2023-01-28T14:10:50.338" v="13867"/>
        <pc:sldMkLst>
          <pc:docMk/>
          <pc:sldMk cId="610653500" sldId="2147469858"/>
        </pc:sldMkLst>
        <pc:spChg chg="add del mod ord">
          <ac:chgData name="Jean GRANDEMANGE" userId="faf07584-8716-430e-b66d-4ceae2fe8450" providerId="ADAL" clId="{5BA9D65E-4355-43B5-9FAC-0CE2D0775271}" dt="2023-01-28T14:02:22.638" v="13783" actId="478"/>
          <ac:spMkLst>
            <pc:docMk/>
            <pc:sldMk cId="610653500" sldId="2147469858"/>
            <ac:spMk id="2" creationId="{483B2BEB-1418-F336-AF63-C780F84180BA}"/>
          </ac:spMkLst>
        </pc:spChg>
        <pc:spChg chg="mod ord">
          <ac:chgData name="Jean GRANDEMANGE" userId="faf07584-8716-430e-b66d-4ceae2fe8450" providerId="ADAL" clId="{5BA9D65E-4355-43B5-9FAC-0CE2D0775271}" dt="2023-01-28T14:01:12.648" v="13769" actId="700"/>
          <ac:spMkLst>
            <pc:docMk/>
            <pc:sldMk cId="610653500" sldId="2147469858"/>
            <ac:spMk id="5" creationId="{70339847-6730-45BF-B67E-E0A08394BD0E}"/>
          </ac:spMkLst>
        </pc:spChg>
      </pc:sldChg>
      <pc:sldChg chg="addSp delSp modSp add mod ord chgLayout">
        <pc:chgData name="Jean GRANDEMANGE" userId="faf07584-8716-430e-b66d-4ceae2fe8450" providerId="ADAL" clId="{5BA9D65E-4355-43B5-9FAC-0CE2D0775271}" dt="2023-01-28T14:05:19.392" v="13801" actId="478"/>
        <pc:sldMkLst>
          <pc:docMk/>
          <pc:sldMk cId="3123767572" sldId="2147469860"/>
        </pc:sldMkLst>
        <pc:spChg chg="add del mod ord">
          <ac:chgData name="Jean GRANDEMANGE" userId="faf07584-8716-430e-b66d-4ceae2fe8450" providerId="ADAL" clId="{5BA9D65E-4355-43B5-9FAC-0CE2D0775271}" dt="2023-01-28T14:05:19.392" v="13801" actId="478"/>
          <ac:spMkLst>
            <pc:docMk/>
            <pc:sldMk cId="3123767572" sldId="2147469860"/>
            <ac:spMk id="2" creationId="{69009CBB-D4C6-A1BA-19D4-421F32427C6D}"/>
          </ac:spMkLst>
        </pc:spChg>
        <pc:spChg chg="mod ord">
          <ac:chgData name="Jean GRANDEMANGE" userId="faf07584-8716-430e-b66d-4ceae2fe8450" providerId="ADAL" clId="{5BA9D65E-4355-43B5-9FAC-0CE2D0775271}" dt="2023-01-28T14:01:12.648" v="13769" actId="700"/>
          <ac:spMkLst>
            <pc:docMk/>
            <pc:sldMk cId="3123767572" sldId="2147469860"/>
            <ac:spMk id="5" creationId="{AE393EC5-2825-4771-ACF8-D6D0895CF31C}"/>
          </ac:spMkLst>
        </pc:spChg>
      </pc:sldChg>
      <pc:sldChg chg="addSp modSp add del mod chgLayout">
        <pc:chgData name="Jean GRANDEMANGE" userId="faf07584-8716-430e-b66d-4ceae2fe8450" providerId="ADAL" clId="{5BA9D65E-4355-43B5-9FAC-0CE2D0775271}" dt="2023-01-28T14:03:40.145" v="13790" actId="47"/>
        <pc:sldMkLst>
          <pc:docMk/>
          <pc:sldMk cId="158805308" sldId="2147469861"/>
        </pc:sldMkLst>
        <pc:spChg chg="add mod ord">
          <ac:chgData name="Jean GRANDEMANGE" userId="faf07584-8716-430e-b66d-4ceae2fe8450" providerId="ADAL" clId="{5BA9D65E-4355-43B5-9FAC-0CE2D0775271}" dt="2023-01-28T14:01:12.648" v="13769" actId="700"/>
          <ac:spMkLst>
            <pc:docMk/>
            <pc:sldMk cId="158805308" sldId="2147469861"/>
            <ac:spMk id="2" creationId="{0AD93B27-EFF7-B434-62AF-0528B3694390}"/>
          </ac:spMkLst>
        </pc:spChg>
        <pc:spChg chg="mod ord">
          <ac:chgData name="Jean GRANDEMANGE" userId="faf07584-8716-430e-b66d-4ceae2fe8450" providerId="ADAL" clId="{5BA9D65E-4355-43B5-9FAC-0CE2D0775271}" dt="2023-01-28T14:01:12.648" v="13769" actId="700"/>
          <ac:spMkLst>
            <pc:docMk/>
            <pc:sldMk cId="158805308" sldId="2147469861"/>
            <ac:spMk id="47" creationId="{C6873F9E-4195-4BCD-AA44-CD68FC48963E}"/>
          </ac:spMkLst>
        </pc:spChg>
      </pc:sldChg>
      <pc:sldChg chg="modSp mod">
        <pc:chgData name="Jean GRANDEMANGE" userId="faf07584-8716-430e-b66d-4ceae2fe8450" providerId="ADAL" clId="{5BA9D65E-4355-43B5-9FAC-0CE2D0775271}" dt="2023-01-28T12:52:59.273" v="10889" actId="1076"/>
        <pc:sldMkLst>
          <pc:docMk/>
          <pc:sldMk cId="2704744056" sldId="2147469863"/>
        </pc:sldMkLst>
        <pc:spChg chg="mod">
          <ac:chgData name="Jean GRANDEMANGE" userId="faf07584-8716-430e-b66d-4ceae2fe8450" providerId="ADAL" clId="{5BA9D65E-4355-43B5-9FAC-0CE2D0775271}" dt="2023-01-28T12:52:56.900" v="10888" actId="20577"/>
          <ac:spMkLst>
            <pc:docMk/>
            <pc:sldMk cId="2704744056" sldId="2147469863"/>
            <ac:spMk id="2" creationId="{FAE777E8-3CDA-44F2-9E9D-2250CCA83A9E}"/>
          </ac:spMkLst>
        </pc:spChg>
        <pc:spChg chg="mod">
          <ac:chgData name="Jean GRANDEMANGE" userId="faf07584-8716-430e-b66d-4ceae2fe8450" providerId="ADAL" clId="{5BA9D65E-4355-43B5-9FAC-0CE2D0775271}" dt="2023-01-28T12:52:59.273" v="10889" actId="1076"/>
          <ac:spMkLst>
            <pc:docMk/>
            <pc:sldMk cId="2704744056" sldId="2147469863"/>
            <ac:spMk id="5" creationId="{98CE25CC-D700-4B56-8472-3BF350241ABB}"/>
          </ac:spMkLst>
        </pc:spChg>
        <pc:spChg chg="mod">
          <ac:chgData name="Jean GRANDEMANGE" userId="faf07584-8716-430e-b66d-4ceae2fe8450" providerId="ADAL" clId="{5BA9D65E-4355-43B5-9FAC-0CE2D0775271}" dt="2023-01-28T12:52:25.998" v="10812" actId="20577"/>
          <ac:spMkLst>
            <pc:docMk/>
            <pc:sldMk cId="2704744056" sldId="2147469863"/>
            <ac:spMk id="11" creationId="{8781DB24-F2AC-4C8F-AE63-9CAEB3AD8057}"/>
          </ac:spMkLst>
        </pc:spChg>
      </pc:sldChg>
      <pc:sldChg chg="addSp modSp mod">
        <pc:chgData name="Jean GRANDEMANGE" userId="faf07584-8716-430e-b66d-4ceae2fe8450" providerId="ADAL" clId="{5BA9D65E-4355-43B5-9FAC-0CE2D0775271}" dt="2023-01-28T12:50:33.465" v="10691" actId="13900"/>
        <pc:sldMkLst>
          <pc:docMk/>
          <pc:sldMk cId="814698274" sldId="2147469864"/>
        </pc:sldMkLst>
        <pc:spChg chg="mod">
          <ac:chgData name="Jean GRANDEMANGE" userId="faf07584-8716-430e-b66d-4ceae2fe8450" providerId="ADAL" clId="{5BA9D65E-4355-43B5-9FAC-0CE2D0775271}" dt="2023-01-28T12:47:38.934" v="10631" actId="20577"/>
          <ac:spMkLst>
            <pc:docMk/>
            <pc:sldMk cId="814698274" sldId="2147469864"/>
            <ac:spMk id="2" creationId="{BC101DB5-3C2C-4129-B0D3-0876D75458BD}"/>
          </ac:spMkLst>
        </pc:spChg>
        <pc:spChg chg="add mod">
          <ac:chgData name="Jean GRANDEMANGE" userId="faf07584-8716-430e-b66d-4ceae2fe8450" providerId="ADAL" clId="{5BA9D65E-4355-43B5-9FAC-0CE2D0775271}" dt="2023-01-28T12:50:33.465" v="10691" actId="13900"/>
          <ac:spMkLst>
            <pc:docMk/>
            <pc:sldMk cId="814698274" sldId="2147469864"/>
            <ac:spMk id="3" creationId="{01092B56-C754-D90B-88CD-CF26713A3F27}"/>
          </ac:spMkLst>
        </pc:spChg>
        <pc:spChg chg="mod">
          <ac:chgData name="Jean GRANDEMANGE" userId="faf07584-8716-430e-b66d-4ceae2fe8450" providerId="ADAL" clId="{5BA9D65E-4355-43B5-9FAC-0CE2D0775271}" dt="2023-01-28T12:47:50.034" v="10632" actId="20577"/>
          <ac:spMkLst>
            <pc:docMk/>
            <pc:sldMk cId="814698274" sldId="2147469864"/>
            <ac:spMk id="42" creationId="{DE75694F-4B5C-407B-A1CD-064713131879}"/>
          </ac:spMkLst>
        </pc:spChg>
      </pc:sldChg>
      <pc:sldChg chg="addSp delSp modSp add mod ord chgLayout">
        <pc:chgData name="Jean GRANDEMANGE" userId="faf07584-8716-430e-b66d-4ceae2fe8450" providerId="ADAL" clId="{5BA9D65E-4355-43B5-9FAC-0CE2D0775271}" dt="2023-01-28T14:04:59.249" v="13797" actId="478"/>
        <pc:sldMkLst>
          <pc:docMk/>
          <pc:sldMk cId="3894415295" sldId="2147469865"/>
        </pc:sldMkLst>
        <pc:spChg chg="add del mod ord">
          <ac:chgData name="Jean GRANDEMANGE" userId="faf07584-8716-430e-b66d-4ceae2fe8450" providerId="ADAL" clId="{5BA9D65E-4355-43B5-9FAC-0CE2D0775271}" dt="2023-01-28T14:04:59.249" v="13797" actId="478"/>
          <ac:spMkLst>
            <pc:docMk/>
            <pc:sldMk cId="3894415295" sldId="2147469865"/>
            <ac:spMk id="2" creationId="{23EFF58F-F38C-2A50-B473-4731B4DDE0B4}"/>
          </ac:spMkLst>
        </pc:spChg>
        <pc:spChg chg="mod ord">
          <ac:chgData name="Jean GRANDEMANGE" userId="faf07584-8716-430e-b66d-4ceae2fe8450" providerId="ADAL" clId="{5BA9D65E-4355-43B5-9FAC-0CE2D0775271}" dt="2023-01-28T14:01:12.648" v="13769" actId="700"/>
          <ac:spMkLst>
            <pc:docMk/>
            <pc:sldMk cId="3894415295" sldId="2147469865"/>
            <ac:spMk id="45" creationId="{5B171CFA-A819-46A7-8649-CC4F9BEE082D}"/>
          </ac:spMkLst>
        </pc:spChg>
      </pc:sldChg>
      <pc:sldChg chg="addSp modSp add del mod chgLayout">
        <pc:chgData name="Jean GRANDEMANGE" userId="faf07584-8716-430e-b66d-4ceae2fe8450" providerId="ADAL" clId="{5BA9D65E-4355-43B5-9FAC-0CE2D0775271}" dt="2023-01-28T14:04:11.274" v="13795" actId="47"/>
        <pc:sldMkLst>
          <pc:docMk/>
          <pc:sldMk cId="3777955275" sldId="2147469866"/>
        </pc:sldMkLst>
        <pc:spChg chg="add mod ord">
          <ac:chgData name="Jean GRANDEMANGE" userId="faf07584-8716-430e-b66d-4ceae2fe8450" providerId="ADAL" clId="{5BA9D65E-4355-43B5-9FAC-0CE2D0775271}" dt="2023-01-28T14:01:12.648" v="13769" actId="700"/>
          <ac:spMkLst>
            <pc:docMk/>
            <pc:sldMk cId="3777955275" sldId="2147469866"/>
            <ac:spMk id="2" creationId="{DBE9BD6F-ADA8-7576-AFB2-25115FC043E9}"/>
          </ac:spMkLst>
        </pc:spChg>
        <pc:spChg chg="mod ord">
          <ac:chgData name="Jean GRANDEMANGE" userId="faf07584-8716-430e-b66d-4ceae2fe8450" providerId="ADAL" clId="{5BA9D65E-4355-43B5-9FAC-0CE2D0775271}" dt="2023-01-28T14:01:12.648" v="13769" actId="700"/>
          <ac:spMkLst>
            <pc:docMk/>
            <pc:sldMk cId="3777955275" sldId="2147469866"/>
            <ac:spMk id="5" creationId="{08A98EBA-8749-4956-AE03-8AF2DD696322}"/>
          </ac:spMkLst>
        </pc:spChg>
      </pc:sldChg>
      <pc:sldChg chg="addSp delSp modSp mod">
        <pc:chgData name="Jean GRANDEMANGE" userId="faf07584-8716-430e-b66d-4ceae2fe8450" providerId="ADAL" clId="{5BA9D65E-4355-43B5-9FAC-0CE2D0775271}" dt="2023-01-28T14:30:10.429" v="13939" actId="20577"/>
        <pc:sldMkLst>
          <pc:docMk/>
          <pc:sldMk cId="3764256714" sldId="2147469867"/>
        </pc:sldMkLst>
        <pc:spChg chg="mod">
          <ac:chgData name="Jean GRANDEMANGE" userId="faf07584-8716-430e-b66d-4ceae2fe8450" providerId="ADAL" clId="{5BA9D65E-4355-43B5-9FAC-0CE2D0775271}" dt="2023-01-27T09:34:43.461" v="35"/>
          <ac:spMkLst>
            <pc:docMk/>
            <pc:sldMk cId="3764256714" sldId="2147469867"/>
            <ac:spMk id="2" creationId="{9D08F257-FAF1-4C5B-B639-8861F68A7A30}"/>
          </ac:spMkLst>
        </pc:spChg>
        <pc:spChg chg="add mod">
          <ac:chgData name="Jean GRANDEMANGE" userId="faf07584-8716-430e-b66d-4ceae2fe8450" providerId="ADAL" clId="{5BA9D65E-4355-43B5-9FAC-0CE2D0775271}" dt="2023-01-28T14:30:00.860" v="13922"/>
          <ac:spMkLst>
            <pc:docMk/>
            <pc:sldMk cId="3764256714" sldId="2147469867"/>
            <ac:spMk id="3" creationId="{4D2DE1AD-B527-53FE-10FF-0ACE360C6AEE}"/>
          </ac:spMkLst>
        </pc:spChg>
        <pc:spChg chg="add mod">
          <ac:chgData name="Jean GRANDEMANGE" userId="faf07584-8716-430e-b66d-4ceae2fe8450" providerId="ADAL" clId="{5BA9D65E-4355-43B5-9FAC-0CE2D0775271}" dt="2023-01-28T14:30:00.860" v="13922"/>
          <ac:spMkLst>
            <pc:docMk/>
            <pc:sldMk cId="3764256714" sldId="2147469867"/>
            <ac:spMk id="4" creationId="{9B1F2532-D901-5314-8B90-028F7A75E45B}"/>
          </ac:spMkLst>
        </pc:spChg>
        <pc:spChg chg="add del mod">
          <ac:chgData name="Jean GRANDEMANGE" userId="faf07584-8716-430e-b66d-4ceae2fe8450" providerId="ADAL" clId="{5BA9D65E-4355-43B5-9FAC-0CE2D0775271}" dt="2023-01-27T16:46:45.159" v="9339" actId="478"/>
          <ac:spMkLst>
            <pc:docMk/>
            <pc:sldMk cId="3764256714" sldId="2147469867"/>
            <ac:spMk id="4" creationId="{B6241F45-02ED-F72D-0991-8A589BB49A88}"/>
          </ac:spMkLst>
        </pc:spChg>
        <pc:spChg chg="add del mod">
          <ac:chgData name="Jean GRANDEMANGE" userId="faf07584-8716-430e-b66d-4ceae2fe8450" providerId="ADAL" clId="{5BA9D65E-4355-43B5-9FAC-0CE2D0775271}" dt="2023-01-27T09:33:04.049" v="2" actId="21"/>
          <ac:spMkLst>
            <pc:docMk/>
            <pc:sldMk cId="3764256714" sldId="2147469867"/>
            <ac:spMk id="4" creationId="{EDBDBD1C-38DC-A0E2-A4F0-D0A84E84CB46}"/>
          </ac:spMkLst>
        </pc:spChg>
        <pc:spChg chg="add mod">
          <ac:chgData name="Jean GRANDEMANGE" userId="faf07584-8716-430e-b66d-4ceae2fe8450" providerId="ADAL" clId="{5BA9D65E-4355-43B5-9FAC-0CE2D0775271}" dt="2023-01-28T14:30:00.860" v="13922"/>
          <ac:spMkLst>
            <pc:docMk/>
            <pc:sldMk cId="3764256714" sldId="2147469867"/>
            <ac:spMk id="5" creationId="{E33F71B4-C046-98B8-43D5-DE44C8EC5268}"/>
          </ac:spMkLst>
        </pc:spChg>
        <pc:spChg chg="del">
          <ac:chgData name="Jean GRANDEMANGE" userId="faf07584-8716-430e-b66d-4ceae2fe8450" providerId="ADAL" clId="{5BA9D65E-4355-43B5-9FAC-0CE2D0775271}" dt="2023-01-27T16:46:43.321" v="9338" actId="478"/>
          <ac:spMkLst>
            <pc:docMk/>
            <pc:sldMk cId="3764256714" sldId="2147469867"/>
            <ac:spMk id="6" creationId="{0E5A970F-B3DF-482E-A31E-BBA821AA3E7C}"/>
          </ac:spMkLst>
        </pc:spChg>
        <pc:spChg chg="del">
          <ac:chgData name="Jean GRANDEMANGE" userId="faf07584-8716-430e-b66d-4ceae2fe8450" providerId="ADAL" clId="{5BA9D65E-4355-43B5-9FAC-0CE2D0775271}" dt="2023-01-27T16:46:43.321" v="9338" actId="478"/>
          <ac:spMkLst>
            <pc:docMk/>
            <pc:sldMk cId="3764256714" sldId="2147469867"/>
            <ac:spMk id="7" creationId="{4152E2C2-B735-4A47-82D8-E88086612BA8}"/>
          </ac:spMkLst>
        </pc:spChg>
        <pc:spChg chg="add mod">
          <ac:chgData name="Jean GRANDEMANGE" userId="faf07584-8716-430e-b66d-4ceae2fe8450" providerId="ADAL" clId="{5BA9D65E-4355-43B5-9FAC-0CE2D0775271}" dt="2023-01-28T14:30:00.860" v="13922"/>
          <ac:spMkLst>
            <pc:docMk/>
            <pc:sldMk cId="3764256714" sldId="2147469867"/>
            <ac:spMk id="7" creationId="{72CFDD98-C303-B246-7482-B03D637021D8}"/>
          </ac:spMkLst>
        </pc:spChg>
        <pc:spChg chg="del">
          <ac:chgData name="Jean GRANDEMANGE" userId="faf07584-8716-430e-b66d-4ceae2fe8450" providerId="ADAL" clId="{5BA9D65E-4355-43B5-9FAC-0CE2D0775271}" dt="2023-01-27T16:46:43.321" v="9338" actId="478"/>
          <ac:spMkLst>
            <pc:docMk/>
            <pc:sldMk cId="3764256714" sldId="2147469867"/>
            <ac:spMk id="8" creationId="{5F42A7C9-468D-4EE8-9AA9-80D72A8CC222}"/>
          </ac:spMkLst>
        </pc:spChg>
        <pc:spChg chg="add mod">
          <ac:chgData name="Jean GRANDEMANGE" userId="faf07584-8716-430e-b66d-4ceae2fe8450" providerId="ADAL" clId="{5BA9D65E-4355-43B5-9FAC-0CE2D0775271}" dt="2023-01-28T14:30:00.860" v="13922"/>
          <ac:spMkLst>
            <pc:docMk/>
            <pc:sldMk cId="3764256714" sldId="2147469867"/>
            <ac:spMk id="9" creationId="{9746C02B-99E1-5123-7191-A73F711393D6}"/>
          </ac:spMkLst>
        </pc:spChg>
        <pc:spChg chg="del">
          <ac:chgData name="Jean GRANDEMANGE" userId="faf07584-8716-430e-b66d-4ceae2fe8450" providerId="ADAL" clId="{5BA9D65E-4355-43B5-9FAC-0CE2D0775271}" dt="2023-01-27T16:46:43.321" v="9338" actId="478"/>
          <ac:spMkLst>
            <pc:docMk/>
            <pc:sldMk cId="3764256714" sldId="2147469867"/>
            <ac:spMk id="10" creationId="{0DF2B05D-B0A7-4557-8629-F0044179AD55}"/>
          </ac:spMkLst>
        </pc:spChg>
        <pc:spChg chg="add mod">
          <ac:chgData name="Jean GRANDEMANGE" userId="faf07584-8716-430e-b66d-4ceae2fe8450" providerId="ADAL" clId="{5BA9D65E-4355-43B5-9FAC-0CE2D0775271}" dt="2023-01-28T14:30:00.860" v="13922"/>
          <ac:spMkLst>
            <pc:docMk/>
            <pc:sldMk cId="3764256714" sldId="2147469867"/>
            <ac:spMk id="11" creationId="{09014BD0-F3D8-FC02-1D97-C3F555D54B95}"/>
          </ac:spMkLst>
        </pc:spChg>
        <pc:spChg chg="del">
          <ac:chgData name="Jean GRANDEMANGE" userId="faf07584-8716-430e-b66d-4ceae2fe8450" providerId="ADAL" clId="{5BA9D65E-4355-43B5-9FAC-0CE2D0775271}" dt="2023-01-27T16:46:43.321" v="9338" actId="478"/>
          <ac:spMkLst>
            <pc:docMk/>
            <pc:sldMk cId="3764256714" sldId="2147469867"/>
            <ac:spMk id="12" creationId="{955D36E6-0A4E-4B91-A149-4FE4020BAA65}"/>
          </ac:spMkLst>
        </pc:spChg>
        <pc:spChg chg="add mod">
          <ac:chgData name="Jean GRANDEMANGE" userId="faf07584-8716-430e-b66d-4ceae2fe8450" providerId="ADAL" clId="{5BA9D65E-4355-43B5-9FAC-0CE2D0775271}" dt="2023-01-28T14:30:00.860" v="13922"/>
          <ac:spMkLst>
            <pc:docMk/>
            <pc:sldMk cId="3764256714" sldId="2147469867"/>
            <ac:spMk id="12" creationId="{C23FA211-632F-3313-64B9-937C27CDB373}"/>
          </ac:spMkLst>
        </pc:spChg>
        <pc:spChg chg="add mod">
          <ac:chgData name="Jean GRANDEMANGE" userId="faf07584-8716-430e-b66d-4ceae2fe8450" providerId="ADAL" clId="{5BA9D65E-4355-43B5-9FAC-0CE2D0775271}" dt="2023-01-28T14:30:00.860" v="13922"/>
          <ac:spMkLst>
            <pc:docMk/>
            <pc:sldMk cId="3764256714" sldId="2147469867"/>
            <ac:spMk id="13" creationId="{ACA975F1-11D8-DA05-24ED-50B1698908EE}"/>
          </ac:spMkLst>
        </pc:spChg>
        <pc:spChg chg="del">
          <ac:chgData name="Jean GRANDEMANGE" userId="faf07584-8716-430e-b66d-4ceae2fe8450" providerId="ADAL" clId="{5BA9D65E-4355-43B5-9FAC-0CE2D0775271}" dt="2023-01-27T16:46:43.321" v="9338" actId="478"/>
          <ac:spMkLst>
            <pc:docMk/>
            <pc:sldMk cId="3764256714" sldId="2147469867"/>
            <ac:spMk id="14" creationId="{9EEF3F72-7FC9-44B3-BA93-C3BCC00005C7}"/>
          </ac:spMkLst>
        </pc:spChg>
        <pc:spChg chg="del">
          <ac:chgData name="Jean GRANDEMANGE" userId="faf07584-8716-430e-b66d-4ceae2fe8450" providerId="ADAL" clId="{5BA9D65E-4355-43B5-9FAC-0CE2D0775271}" dt="2023-01-27T16:46:43.321" v="9338" actId="478"/>
          <ac:spMkLst>
            <pc:docMk/>
            <pc:sldMk cId="3764256714" sldId="2147469867"/>
            <ac:spMk id="15" creationId="{5161AE68-52F9-4390-B627-0A40F6538530}"/>
          </ac:spMkLst>
        </pc:spChg>
        <pc:spChg chg="add mod">
          <ac:chgData name="Jean GRANDEMANGE" userId="faf07584-8716-430e-b66d-4ceae2fe8450" providerId="ADAL" clId="{5BA9D65E-4355-43B5-9FAC-0CE2D0775271}" dt="2023-01-28T14:30:00.860" v="13922"/>
          <ac:spMkLst>
            <pc:docMk/>
            <pc:sldMk cId="3764256714" sldId="2147469867"/>
            <ac:spMk id="16" creationId="{2235EC81-77E4-863F-F410-38F1D4981102}"/>
          </ac:spMkLst>
        </pc:spChg>
        <pc:spChg chg="del">
          <ac:chgData name="Jean GRANDEMANGE" userId="faf07584-8716-430e-b66d-4ceae2fe8450" providerId="ADAL" clId="{5BA9D65E-4355-43B5-9FAC-0CE2D0775271}" dt="2023-01-27T16:46:43.321" v="9338" actId="478"/>
          <ac:spMkLst>
            <pc:docMk/>
            <pc:sldMk cId="3764256714" sldId="2147469867"/>
            <ac:spMk id="16" creationId="{D9C42AAC-1433-486D-B4F4-09AFB83432D9}"/>
          </ac:spMkLst>
        </pc:spChg>
        <pc:spChg chg="del">
          <ac:chgData name="Jean GRANDEMANGE" userId="faf07584-8716-430e-b66d-4ceae2fe8450" providerId="ADAL" clId="{5BA9D65E-4355-43B5-9FAC-0CE2D0775271}" dt="2023-01-27T16:46:43.321" v="9338" actId="478"/>
          <ac:spMkLst>
            <pc:docMk/>
            <pc:sldMk cId="3764256714" sldId="2147469867"/>
            <ac:spMk id="19" creationId="{BFC29EB1-07EE-409E-B6E3-EEB1F2021D67}"/>
          </ac:spMkLst>
        </pc:spChg>
        <pc:spChg chg="add mod">
          <ac:chgData name="Jean GRANDEMANGE" userId="faf07584-8716-430e-b66d-4ceae2fe8450" providerId="ADAL" clId="{5BA9D65E-4355-43B5-9FAC-0CE2D0775271}" dt="2023-01-28T14:30:00.860" v="13922"/>
          <ac:spMkLst>
            <pc:docMk/>
            <pc:sldMk cId="3764256714" sldId="2147469867"/>
            <ac:spMk id="23" creationId="{5B6A5863-76AB-2052-A2C6-EFEE53C44445}"/>
          </ac:spMkLst>
        </pc:spChg>
        <pc:spChg chg="add mod">
          <ac:chgData name="Jean GRANDEMANGE" userId="faf07584-8716-430e-b66d-4ceae2fe8450" providerId="ADAL" clId="{5BA9D65E-4355-43B5-9FAC-0CE2D0775271}" dt="2023-01-28T14:30:10.429" v="13939" actId="20577"/>
          <ac:spMkLst>
            <pc:docMk/>
            <pc:sldMk cId="3764256714" sldId="2147469867"/>
            <ac:spMk id="24" creationId="{EF8289F6-4AFD-75A1-71A5-0BE97F2C17FA}"/>
          </ac:spMkLst>
        </pc:spChg>
        <pc:spChg chg="del">
          <ac:chgData name="Jean GRANDEMANGE" userId="faf07584-8716-430e-b66d-4ceae2fe8450" providerId="ADAL" clId="{5BA9D65E-4355-43B5-9FAC-0CE2D0775271}" dt="2023-01-27T16:46:43.321" v="9338" actId="478"/>
          <ac:spMkLst>
            <pc:docMk/>
            <pc:sldMk cId="3764256714" sldId="2147469867"/>
            <ac:spMk id="26" creationId="{1E64083F-E1B4-47FB-9B10-88501C10BA48}"/>
          </ac:spMkLst>
        </pc:spChg>
        <pc:spChg chg="del mod">
          <ac:chgData name="Jean GRANDEMANGE" userId="faf07584-8716-430e-b66d-4ceae2fe8450" providerId="ADAL" clId="{5BA9D65E-4355-43B5-9FAC-0CE2D0775271}" dt="2023-01-27T16:46:43.321" v="9338" actId="478"/>
          <ac:spMkLst>
            <pc:docMk/>
            <pc:sldMk cId="3764256714" sldId="2147469867"/>
            <ac:spMk id="27" creationId="{240EBE9B-772E-4AEB-B579-64B25A62B673}"/>
          </ac:spMkLst>
        </pc:spChg>
        <pc:grpChg chg="add mod">
          <ac:chgData name="Jean GRANDEMANGE" userId="faf07584-8716-430e-b66d-4ceae2fe8450" providerId="ADAL" clId="{5BA9D65E-4355-43B5-9FAC-0CE2D0775271}" dt="2023-01-28T14:30:00.860" v="13922"/>
          <ac:grpSpMkLst>
            <pc:docMk/>
            <pc:sldMk cId="3764256714" sldId="2147469867"/>
            <ac:grpSpMk id="17" creationId="{B69415FB-4F28-8901-74FE-87512FF4E1B1}"/>
          </ac:grpSpMkLst>
        </pc:grpChg>
        <pc:grpChg chg="del">
          <ac:chgData name="Jean GRANDEMANGE" userId="faf07584-8716-430e-b66d-4ceae2fe8450" providerId="ADAL" clId="{5BA9D65E-4355-43B5-9FAC-0CE2D0775271}" dt="2023-01-27T16:46:43.321" v="9338" actId="478"/>
          <ac:grpSpMkLst>
            <pc:docMk/>
            <pc:sldMk cId="3764256714" sldId="2147469867"/>
            <ac:grpSpMk id="20" creationId="{183937ED-0CC5-4029-B25D-91C4D32E725F}"/>
          </ac:grpSpMkLst>
        </pc:grpChg>
        <pc:picChg chg="add mod">
          <ac:chgData name="Jean GRANDEMANGE" userId="faf07584-8716-430e-b66d-4ceae2fe8450" providerId="ADAL" clId="{5BA9D65E-4355-43B5-9FAC-0CE2D0775271}" dt="2023-01-28T14:30:00.860" v="13922"/>
          <ac:picMkLst>
            <pc:docMk/>
            <pc:sldMk cId="3764256714" sldId="2147469867"/>
            <ac:picMk id="14" creationId="{D6856616-6AEC-A685-8062-FF4AAF7553D5}"/>
          </ac:picMkLst>
        </pc:picChg>
        <pc:picChg chg="add mod">
          <ac:chgData name="Jean GRANDEMANGE" userId="faf07584-8716-430e-b66d-4ceae2fe8450" providerId="ADAL" clId="{5BA9D65E-4355-43B5-9FAC-0CE2D0775271}" dt="2023-01-28T14:30:00.860" v="13922"/>
          <ac:picMkLst>
            <pc:docMk/>
            <pc:sldMk cId="3764256714" sldId="2147469867"/>
            <ac:picMk id="15" creationId="{C82D58AE-FA64-1000-E349-F482F28668AF}"/>
          </ac:picMkLst>
        </pc:picChg>
        <pc:picChg chg="del">
          <ac:chgData name="Jean GRANDEMANGE" userId="faf07584-8716-430e-b66d-4ceae2fe8450" providerId="ADAL" clId="{5BA9D65E-4355-43B5-9FAC-0CE2D0775271}" dt="2023-01-27T16:46:43.321" v="9338" actId="478"/>
          <ac:picMkLst>
            <pc:docMk/>
            <pc:sldMk cId="3764256714" sldId="2147469867"/>
            <ac:picMk id="17" creationId="{29AE0B2A-BD10-45AF-B43D-8718E69513BF}"/>
          </ac:picMkLst>
        </pc:picChg>
        <pc:picChg chg="mod">
          <ac:chgData name="Jean GRANDEMANGE" userId="faf07584-8716-430e-b66d-4ceae2fe8450" providerId="ADAL" clId="{5BA9D65E-4355-43B5-9FAC-0CE2D0775271}" dt="2023-01-28T14:30:00.860" v="13922"/>
          <ac:picMkLst>
            <pc:docMk/>
            <pc:sldMk cId="3764256714" sldId="2147469867"/>
            <ac:picMk id="18" creationId="{393A98C5-F9B8-127B-CC51-14145CCDB213}"/>
          </ac:picMkLst>
        </pc:picChg>
        <pc:picChg chg="del">
          <ac:chgData name="Jean GRANDEMANGE" userId="faf07584-8716-430e-b66d-4ceae2fe8450" providerId="ADAL" clId="{5BA9D65E-4355-43B5-9FAC-0CE2D0775271}" dt="2023-01-27T16:46:43.321" v="9338" actId="478"/>
          <ac:picMkLst>
            <pc:docMk/>
            <pc:sldMk cId="3764256714" sldId="2147469867"/>
            <ac:picMk id="18" creationId="{B060831F-0B69-4DF6-AB9A-505CF11D2EA3}"/>
          </ac:picMkLst>
        </pc:picChg>
        <pc:picChg chg="mod">
          <ac:chgData name="Jean GRANDEMANGE" userId="faf07584-8716-430e-b66d-4ceae2fe8450" providerId="ADAL" clId="{5BA9D65E-4355-43B5-9FAC-0CE2D0775271}" dt="2023-01-28T14:30:00.860" v="13922"/>
          <ac:picMkLst>
            <pc:docMk/>
            <pc:sldMk cId="3764256714" sldId="2147469867"/>
            <ac:picMk id="19" creationId="{58CBD12F-7344-A960-F968-FF44FAE33CBC}"/>
          </ac:picMkLst>
        </pc:picChg>
        <pc:picChg chg="mod">
          <ac:chgData name="Jean GRANDEMANGE" userId="faf07584-8716-430e-b66d-4ceae2fe8450" providerId="ADAL" clId="{5BA9D65E-4355-43B5-9FAC-0CE2D0775271}" dt="2023-01-28T14:30:00.860" v="13922"/>
          <ac:picMkLst>
            <pc:docMk/>
            <pc:sldMk cId="3764256714" sldId="2147469867"/>
            <ac:picMk id="20" creationId="{AF442C93-5A5C-3D9C-AE01-4F1CFA08770A}"/>
          </ac:picMkLst>
        </pc:picChg>
        <pc:picChg chg="mod">
          <ac:chgData name="Jean GRANDEMANGE" userId="faf07584-8716-430e-b66d-4ceae2fe8450" providerId="ADAL" clId="{5BA9D65E-4355-43B5-9FAC-0CE2D0775271}" dt="2023-01-28T14:30:00.860" v="13922"/>
          <ac:picMkLst>
            <pc:docMk/>
            <pc:sldMk cId="3764256714" sldId="2147469867"/>
            <ac:picMk id="21" creationId="{8DBF4CAF-95B4-FBF8-DEE7-8C8E789DEAAE}"/>
          </ac:picMkLst>
        </pc:picChg>
        <pc:picChg chg="mod">
          <ac:chgData name="Jean GRANDEMANGE" userId="faf07584-8716-430e-b66d-4ceae2fe8450" providerId="ADAL" clId="{5BA9D65E-4355-43B5-9FAC-0CE2D0775271}" dt="2023-01-28T14:30:00.860" v="13922"/>
          <ac:picMkLst>
            <pc:docMk/>
            <pc:sldMk cId="3764256714" sldId="2147469867"/>
            <ac:picMk id="22" creationId="{CB0C93D1-27C3-8C53-A066-A5091B8FED76}"/>
          </ac:picMkLst>
        </pc:picChg>
        <pc:cxnChg chg="add mod">
          <ac:chgData name="Jean GRANDEMANGE" userId="faf07584-8716-430e-b66d-4ceae2fe8450" providerId="ADAL" clId="{5BA9D65E-4355-43B5-9FAC-0CE2D0775271}" dt="2023-01-28T14:30:00.860" v="13922"/>
          <ac:cxnSpMkLst>
            <pc:docMk/>
            <pc:sldMk cId="3764256714" sldId="2147469867"/>
            <ac:cxnSpMk id="6" creationId="{3F2BC393-83CB-4B9E-7C41-FBCB430CCFA6}"/>
          </ac:cxnSpMkLst>
        </pc:cxnChg>
        <pc:cxnChg chg="add mod">
          <ac:chgData name="Jean GRANDEMANGE" userId="faf07584-8716-430e-b66d-4ceae2fe8450" providerId="ADAL" clId="{5BA9D65E-4355-43B5-9FAC-0CE2D0775271}" dt="2023-01-28T14:30:00.860" v="13922"/>
          <ac:cxnSpMkLst>
            <pc:docMk/>
            <pc:sldMk cId="3764256714" sldId="2147469867"/>
            <ac:cxnSpMk id="8" creationId="{E5A90866-C485-0D02-53F8-17F37813924E}"/>
          </ac:cxnSpMkLst>
        </pc:cxnChg>
        <pc:cxnChg chg="del">
          <ac:chgData name="Jean GRANDEMANGE" userId="faf07584-8716-430e-b66d-4ceae2fe8450" providerId="ADAL" clId="{5BA9D65E-4355-43B5-9FAC-0CE2D0775271}" dt="2023-01-27T16:46:43.321" v="9338" actId="478"/>
          <ac:cxnSpMkLst>
            <pc:docMk/>
            <pc:sldMk cId="3764256714" sldId="2147469867"/>
            <ac:cxnSpMk id="9" creationId="{B6155D2B-9FE0-480D-9428-F86914ABBBD8}"/>
          </ac:cxnSpMkLst>
        </pc:cxnChg>
        <pc:cxnChg chg="add mod">
          <ac:chgData name="Jean GRANDEMANGE" userId="faf07584-8716-430e-b66d-4ceae2fe8450" providerId="ADAL" clId="{5BA9D65E-4355-43B5-9FAC-0CE2D0775271}" dt="2023-01-28T14:30:00.860" v="13922"/>
          <ac:cxnSpMkLst>
            <pc:docMk/>
            <pc:sldMk cId="3764256714" sldId="2147469867"/>
            <ac:cxnSpMk id="10" creationId="{31D51D3E-415E-BD9F-316C-4419D85E3577}"/>
          </ac:cxnSpMkLst>
        </pc:cxnChg>
        <pc:cxnChg chg="del">
          <ac:chgData name="Jean GRANDEMANGE" userId="faf07584-8716-430e-b66d-4ceae2fe8450" providerId="ADAL" clId="{5BA9D65E-4355-43B5-9FAC-0CE2D0775271}" dt="2023-01-27T16:46:43.321" v="9338" actId="478"/>
          <ac:cxnSpMkLst>
            <pc:docMk/>
            <pc:sldMk cId="3764256714" sldId="2147469867"/>
            <ac:cxnSpMk id="11" creationId="{C6B48F6D-C651-40EF-8A2A-0F76A5B24C20}"/>
          </ac:cxnSpMkLst>
        </pc:cxnChg>
        <pc:cxnChg chg="del">
          <ac:chgData name="Jean GRANDEMANGE" userId="faf07584-8716-430e-b66d-4ceae2fe8450" providerId="ADAL" clId="{5BA9D65E-4355-43B5-9FAC-0CE2D0775271}" dt="2023-01-27T16:46:43.321" v="9338" actId="478"/>
          <ac:cxnSpMkLst>
            <pc:docMk/>
            <pc:sldMk cId="3764256714" sldId="2147469867"/>
            <ac:cxnSpMk id="13" creationId="{0AD61CCF-BD10-4F9A-A160-2DAF55FB182A}"/>
          </ac:cxnSpMkLst>
        </pc:cxnChg>
      </pc:sldChg>
      <pc:sldChg chg="del">
        <pc:chgData name="Jean GRANDEMANGE" userId="faf07584-8716-430e-b66d-4ceae2fe8450" providerId="ADAL" clId="{5BA9D65E-4355-43B5-9FAC-0CE2D0775271}" dt="2023-01-27T15:05:09.307" v="8130" actId="47"/>
        <pc:sldMkLst>
          <pc:docMk/>
          <pc:sldMk cId="314321435" sldId="2147469868"/>
        </pc:sldMkLst>
      </pc:sldChg>
      <pc:sldChg chg="addSp modSp add del mod chgLayout">
        <pc:chgData name="Jean GRANDEMANGE" userId="faf07584-8716-430e-b66d-4ceae2fe8450" providerId="ADAL" clId="{5BA9D65E-4355-43B5-9FAC-0CE2D0775271}" dt="2023-01-28T14:04:34.676" v="13796" actId="47"/>
        <pc:sldMkLst>
          <pc:docMk/>
          <pc:sldMk cId="3061794400" sldId="2147469868"/>
        </pc:sldMkLst>
        <pc:spChg chg="add mod ord">
          <ac:chgData name="Jean GRANDEMANGE" userId="faf07584-8716-430e-b66d-4ceae2fe8450" providerId="ADAL" clId="{5BA9D65E-4355-43B5-9FAC-0CE2D0775271}" dt="2023-01-28T14:01:12.648" v="13769" actId="700"/>
          <ac:spMkLst>
            <pc:docMk/>
            <pc:sldMk cId="3061794400" sldId="2147469868"/>
            <ac:spMk id="2" creationId="{5E4A84D0-CA06-7DD7-477A-BB35A06BBE1E}"/>
          </ac:spMkLst>
        </pc:spChg>
        <pc:spChg chg="mod ord">
          <ac:chgData name="Jean GRANDEMANGE" userId="faf07584-8716-430e-b66d-4ceae2fe8450" providerId="ADAL" clId="{5BA9D65E-4355-43B5-9FAC-0CE2D0775271}" dt="2023-01-28T14:01:12.648" v="13769" actId="700"/>
          <ac:spMkLst>
            <pc:docMk/>
            <pc:sldMk cId="3061794400" sldId="2147469868"/>
            <ac:spMk id="5" creationId="{7142531D-DD75-44DB-9517-A91C289E17CD}"/>
          </ac:spMkLst>
        </pc:spChg>
      </pc:sldChg>
      <pc:sldChg chg="del">
        <pc:chgData name="Jean GRANDEMANGE" userId="faf07584-8716-430e-b66d-4ceae2fe8450" providerId="ADAL" clId="{5BA9D65E-4355-43B5-9FAC-0CE2D0775271}" dt="2023-01-27T15:05:09.307" v="8130" actId="47"/>
        <pc:sldMkLst>
          <pc:docMk/>
          <pc:sldMk cId="473214421" sldId="2147469869"/>
        </pc:sldMkLst>
      </pc:sldChg>
      <pc:sldChg chg="addSp modSp mod">
        <pc:chgData name="Jean GRANDEMANGE" userId="faf07584-8716-430e-b66d-4ceae2fe8450" providerId="ADAL" clId="{5BA9D65E-4355-43B5-9FAC-0CE2D0775271}" dt="2023-01-27T13:54:53.563" v="6792" actId="20577"/>
        <pc:sldMkLst>
          <pc:docMk/>
          <pc:sldMk cId="3013144948" sldId="2147469870"/>
        </pc:sldMkLst>
        <pc:spChg chg="mod">
          <ac:chgData name="Jean GRANDEMANGE" userId="faf07584-8716-430e-b66d-4ceae2fe8450" providerId="ADAL" clId="{5BA9D65E-4355-43B5-9FAC-0CE2D0775271}" dt="2023-01-27T13:54:53.563" v="6792" actId="20577"/>
          <ac:spMkLst>
            <pc:docMk/>
            <pc:sldMk cId="3013144948" sldId="2147469870"/>
            <ac:spMk id="2" creationId="{512EA552-D720-46E5-AA91-DE133C411CC0}"/>
          </ac:spMkLst>
        </pc:spChg>
        <pc:spChg chg="add mod">
          <ac:chgData name="Jean GRANDEMANGE" userId="faf07584-8716-430e-b66d-4ceae2fe8450" providerId="ADAL" clId="{5BA9D65E-4355-43B5-9FAC-0CE2D0775271}" dt="2023-01-27T13:52:07.887" v="6718" actId="1076"/>
          <ac:spMkLst>
            <pc:docMk/>
            <pc:sldMk cId="3013144948" sldId="2147469870"/>
            <ac:spMk id="3" creationId="{EBEAF59C-3965-FE8E-06AA-1A391FBAB376}"/>
          </ac:spMkLst>
        </pc:spChg>
        <pc:graphicFrameChg chg="mod modGraphic">
          <ac:chgData name="Jean GRANDEMANGE" userId="faf07584-8716-430e-b66d-4ceae2fe8450" providerId="ADAL" clId="{5BA9D65E-4355-43B5-9FAC-0CE2D0775271}" dt="2023-01-27T13:51:31.636" v="6713" actId="1036"/>
          <ac:graphicFrameMkLst>
            <pc:docMk/>
            <pc:sldMk cId="3013144948" sldId="2147469870"/>
            <ac:graphicFrameMk id="5" creationId="{404A56CB-BEC8-40A7-BE54-3CDF8CFFA74C}"/>
          </ac:graphicFrameMkLst>
        </pc:graphicFrameChg>
      </pc:sldChg>
      <pc:sldChg chg="del">
        <pc:chgData name="Jean GRANDEMANGE" userId="faf07584-8716-430e-b66d-4ceae2fe8450" providerId="ADAL" clId="{5BA9D65E-4355-43B5-9FAC-0CE2D0775271}" dt="2023-01-27T13:41:32.583" v="6385" actId="47"/>
        <pc:sldMkLst>
          <pc:docMk/>
          <pc:sldMk cId="1631352921" sldId="2147469871"/>
        </pc:sldMkLst>
      </pc:sldChg>
      <pc:sldChg chg="modSp del mod">
        <pc:chgData name="Jean GRANDEMANGE" userId="faf07584-8716-430e-b66d-4ceae2fe8450" providerId="ADAL" clId="{5BA9D65E-4355-43B5-9FAC-0CE2D0775271}" dt="2023-01-27T14:43:20.257" v="7216" actId="47"/>
        <pc:sldMkLst>
          <pc:docMk/>
          <pc:sldMk cId="1670697989" sldId="2147469872"/>
        </pc:sldMkLst>
        <pc:spChg chg="mod">
          <ac:chgData name="Jean GRANDEMANGE" userId="faf07584-8716-430e-b66d-4ceae2fe8450" providerId="ADAL" clId="{5BA9D65E-4355-43B5-9FAC-0CE2D0775271}" dt="2023-01-27T14:39:57.304" v="7136" actId="1076"/>
          <ac:spMkLst>
            <pc:docMk/>
            <pc:sldMk cId="1670697989" sldId="2147469872"/>
            <ac:spMk id="10" creationId="{D0463B4B-4045-42AE-A18E-4E809120F6E1}"/>
          </ac:spMkLst>
        </pc:spChg>
        <pc:spChg chg="mod">
          <ac:chgData name="Jean GRANDEMANGE" userId="faf07584-8716-430e-b66d-4ceae2fe8450" providerId="ADAL" clId="{5BA9D65E-4355-43B5-9FAC-0CE2D0775271}" dt="2023-01-27T14:39:55.291" v="7135" actId="1076"/>
          <ac:spMkLst>
            <pc:docMk/>
            <pc:sldMk cId="1670697989" sldId="2147469872"/>
            <ac:spMk id="11" creationId="{00353F42-5550-4370-B473-46683D6C6BF4}"/>
          </ac:spMkLst>
        </pc:spChg>
        <pc:spChg chg="mod">
          <ac:chgData name="Jean GRANDEMANGE" userId="faf07584-8716-430e-b66d-4ceae2fe8450" providerId="ADAL" clId="{5BA9D65E-4355-43B5-9FAC-0CE2D0775271}" dt="2023-01-27T14:39:52.835" v="7134" actId="1076"/>
          <ac:spMkLst>
            <pc:docMk/>
            <pc:sldMk cId="1670697989" sldId="2147469872"/>
            <ac:spMk id="20" creationId="{B7AE1C56-455F-4241-B731-A3F62BA9929F}"/>
          </ac:spMkLst>
        </pc:spChg>
      </pc:sldChg>
      <pc:sldChg chg="del">
        <pc:chgData name="Jean GRANDEMANGE" userId="faf07584-8716-430e-b66d-4ceae2fe8450" providerId="ADAL" clId="{5BA9D65E-4355-43B5-9FAC-0CE2D0775271}" dt="2023-01-27T13:41:32.583" v="6385" actId="47"/>
        <pc:sldMkLst>
          <pc:docMk/>
          <pc:sldMk cId="1174100690" sldId="2147469873"/>
        </pc:sldMkLst>
      </pc:sldChg>
      <pc:sldChg chg="delSp modSp mod ord">
        <pc:chgData name="Jean GRANDEMANGE" userId="faf07584-8716-430e-b66d-4ceae2fe8450" providerId="ADAL" clId="{5BA9D65E-4355-43B5-9FAC-0CE2D0775271}" dt="2023-01-28T14:28:49.243" v="13921" actId="113"/>
        <pc:sldMkLst>
          <pc:docMk/>
          <pc:sldMk cId="3260995176" sldId="2147469875"/>
        </pc:sldMkLst>
        <pc:spChg chg="mod">
          <ac:chgData name="Jean GRANDEMANGE" userId="faf07584-8716-430e-b66d-4ceae2fe8450" providerId="ADAL" clId="{5BA9D65E-4355-43B5-9FAC-0CE2D0775271}" dt="2023-01-28T14:28:49.243" v="13921" actId="113"/>
          <ac:spMkLst>
            <pc:docMk/>
            <pc:sldMk cId="3260995176" sldId="2147469875"/>
            <ac:spMk id="4" creationId="{6882A59F-6EE2-4407-8E74-F5413BFA6577}"/>
          </ac:spMkLst>
        </pc:spChg>
        <pc:spChg chg="mod">
          <ac:chgData name="Jean GRANDEMANGE" userId="faf07584-8716-430e-b66d-4ceae2fe8450" providerId="ADAL" clId="{5BA9D65E-4355-43B5-9FAC-0CE2D0775271}" dt="2023-01-28T12:46:52.180" v="10538" actId="1076"/>
          <ac:spMkLst>
            <pc:docMk/>
            <pc:sldMk cId="3260995176" sldId="2147469875"/>
            <ac:spMk id="6" creationId="{A7C41E1C-1D4E-46DA-8A03-D8A990CD8622}"/>
          </ac:spMkLst>
        </pc:spChg>
        <pc:spChg chg="mod">
          <ac:chgData name="Jean GRANDEMANGE" userId="faf07584-8716-430e-b66d-4ceae2fe8450" providerId="ADAL" clId="{5BA9D65E-4355-43B5-9FAC-0CE2D0775271}" dt="2023-01-28T12:46:52.180" v="10538" actId="1076"/>
          <ac:spMkLst>
            <pc:docMk/>
            <pc:sldMk cId="3260995176" sldId="2147469875"/>
            <ac:spMk id="7" creationId="{E9A7B7B9-F356-474D-A147-16E0531A1B84}"/>
          </ac:spMkLst>
        </pc:spChg>
        <pc:spChg chg="mod">
          <ac:chgData name="Jean GRANDEMANGE" userId="faf07584-8716-430e-b66d-4ceae2fe8450" providerId="ADAL" clId="{5BA9D65E-4355-43B5-9FAC-0CE2D0775271}" dt="2023-01-28T12:46:52.180" v="10538" actId="1076"/>
          <ac:spMkLst>
            <pc:docMk/>
            <pc:sldMk cId="3260995176" sldId="2147469875"/>
            <ac:spMk id="8" creationId="{1EF462B9-7576-442E-96A8-3F544DAF1738}"/>
          </ac:spMkLst>
        </pc:spChg>
        <pc:spChg chg="mod">
          <ac:chgData name="Jean GRANDEMANGE" userId="faf07584-8716-430e-b66d-4ceae2fe8450" providerId="ADAL" clId="{5BA9D65E-4355-43B5-9FAC-0CE2D0775271}" dt="2023-01-28T12:46:52.180" v="10538" actId="1076"/>
          <ac:spMkLst>
            <pc:docMk/>
            <pc:sldMk cId="3260995176" sldId="2147469875"/>
            <ac:spMk id="9" creationId="{AD5B82E5-C91F-4D2B-84D2-A24EDBD19DD7}"/>
          </ac:spMkLst>
        </pc:spChg>
        <pc:spChg chg="mod">
          <ac:chgData name="Jean GRANDEMANGE" userId="faf07584-8716-430e-b66d-4ceae2fe8450" providerId="ADAL" clId="{5BA9D65E-4355-43B5-9FAC-0CE2D0775271}" dt="2023-01-28T12:46:52.180" v="10538" actId="1076"/>
          <ac:spMkLst>
            <pc:docMk/>
            <pc:sldMk cId="3260995176" sldId="2147469875"/>
            <ac:spMk id="11" creationId="{69D07BC0-A717-46AA-9AA0-DCD6625874A6}"/>
          </ac:spMkLst>
        </pc:spChg>
        <pc:spChg chg="mod">
          <ac:chgData name="Jean GRANDEMANGE" userId="faf07584-8716-430e-b66d-4ceae2fe8450" providerId="ADAL" clId="{5BA9D65E-4355-43B5-9FAC-0CE2D0775271}" dt="2023-01-28T12:46:52.180" v="10538" actId="1076"/>
          <ac:spMkLst>
            <pc:docMk/>
            <pc:sldMk cId="3260995176" sldId="2147469875"/>
            <ac:spMk id="12" creationId="{96565144-A0FF-4E2B-9AB6-534C906FE573}"/>
          </ac:spMkLst>
        </pc:spChg>
        <pc:spChg chg="mod">
          <ac:chgData name="Jean GRANDEMANGE" userId="faf07584-8716-430e-b66d-4ceae2fe8450" providerId="ADAL" clId="{5BA9D65E-4355-43B5-9FAC-0CE2D0775271}" dt="2023-01-28T13:47:18.165" v="13301" actId="20577"/>
          <ac:spMkLst>
            <pc:docMk/>
            <pc:sldMk cId="3260995176" sldId="2147469875"/>
            <ac:spMk id="13" creationId="{B653E91B-2C40-46C7-8B38-D5374430EE79}"/>
          </ac:spMkLst>
        </pc:spChg>
        <pc:spChg chg="mod">
          <ac:chgData name="Jean GRANDEMANGE" userId="faf07584-8716-430e-b66d-4ceae2fe8450" providerId="ADAL" clId="{5BA9D65E-4355-43B5-9FAC-0CE2D0775271}" dt="2023-01-28T12:46:52.180" v="10538" actId="1076"/>
          <ac:spMkLst>
            <pc:docMk/>
            <pc:sldMk cId="3260995176" sldId="2147469875"/>
            <ac:spMk id="14" creationId="{E6F48E1B-7190-4770-825C-EC9615FD7111}"/>
          </ac:spMkLst>
        </pc:spChg>
        <pc:spChg chg="mod">
          <ac:chgData name="Jean GRANDEMANGE" userId="faf07584-8716-430e-b66d-4ceae2fe8450" providerId="ADAL" clId="{5BA9D65E-4355-43B5-9FAC-0CE2D0775271}" dt="2023-01-28T13:46:22.403" v="13272" actId="1076"/>
          <ac:spMkLst>
            <pc:docMk/>
            <pc:sldMk cId="3260995176" sldId="2147469875"/>
            <ac:spMk id="16" creationId="{CABD472D-CB84-4F38-9A63-95B830C9FC08}"/>
          </ac:spMkLst>
        </pc:spChg>
        <pc:spChg chg="del">
          <ac:chgData name="Jean GRANDEMANGE" userId="faf07584-8716-430e-b66d-4ceae2fe8450" providerId="ADAL" clId="{5BA9D65E-4355-43B5-9FAC-0CE2D0775271}" dt="2023-01-27T17:04:05.839" v="10199" actId="478"/>
          <ac:spMkLst>
            <pc:docMk/>
            <pc:sldMk cId="3260995176" sldId="2147469875"/>
            <ac:spMk id="18" creationId="{1F1CE0EC-4414-4C65-9132-8CC2B63BCCC3}"/>
          </ac:spMkLst>
        </pc:spChg>
        <pc:spChg chg="del">
          <ac:chgData name="Jean GRANDEMANGE" userId="faf07584-8716-430e-b66d-4ceae2fe8450" providerId="ADAL" clId="{5BA9D65E-4355-43B5-9FAC-0CE2D0775271}" dt="2023-01-27T17:04:05.839" v="10199" actId="478"/>
          <ac:spMkLst>
            <pc:docMk/>
            <pc:sldMk cId="3260995176" sldId="2147469875"/>
            <ac:spMk id="19" creationId="{B11C80B8-31B7-4D82-BA03-9CADB69832C5}"/>
          </ac:spMkLst>
        </pc:spChg>
        <pc:cxnChg chg="mod">
          <ac:chgData name="Jean GRANDEMANGE" userId="faf07584-8716-430e-b66d-4ceae2fe8450" providerId="ADAL" clId="{5BA9D65E-4355-43B5-9FAC-0CE2D0775271}" dt="2023-01-28T12:46:52.180" v="10538" actId="1076"/>
          <ac:cxnSpMkLst>
            <pc:docMk/>
            <pc:sldMk cId="3260995176" sldId="2147469875"/>
            <ac:cxnSpMk id="5" creationId="{D5440537-F8D0-415F-B53C-238CF2307EF1}"/>
          </ac:cxnSpMkLst>
        </pc:cxnChg>
        <pc:cxnChg chg="mod">
          <ac:chgData name="Jean GRANDEMANGE" userId="faf07584-8716-430e-b66d-4ceae2fe8450" providerId="ADAL" clId="{5BA9D65E-4355-43B5-9FAC-0CE2D0775271}" dt="2023-01-28T12:46:52.180" v="10538" actId="1076"/>
          <ac:cxnSpMkLst>
            <pc:docMk/>
            <pc:sldMk cId="3260995176" sldId="2147469875"/>
            <ac:cxnSpMk id="10" creationId="{A749757F-0EEE-4C19-85A9-0BDE1754E6AE}"/>
          </ac:cxnSpMkLst>
        </pc:cxnChg>
        <pc:cxnChg chg="mod">
          <ac:chgData name="Jean GRANDEMANGE" userId="faf07584-8716-430e-b66d-4ceae2fe8450" providerId="ADAL" clId="{5BA9D65E-4355-43B5-9FAC-0CE2D0775271}" dt="2023-01-28T12:46:52.180" v="10538" actId="1076"/>
          <ac:cxnSpMkLst>
            <pc:docMk/>
            <pc:sldMk cId="3260995176" sldId="2147469875"/>
            <ac:cxnSpMk id="15" creationId="{924E8BF6-41F8-41B1-B857-2653CBFE5918}"/>
          </ac:cxnSpMkLst>
        </pc:cxnChg>
      </pc:sldChg>
      <pc:sldChg chg="del">
        <pc:chgData name="Jean GRANDEMANGE" userId="faf07584-8716-430e-b66d-4ceae2fe8450" providerId="ADAL" clId="{5BA9D65E-4355-43B5-9FAC-0CE2D0775271}" dt="2023-01-28T12:54:48.144" v="10893" actId="47"/>
        <pc:sldMkLst>
          <pc:docMk/>
          <pc:sldMk cId="3178871765" sldId="2147469876"/>
        </pc:sldMkLst>
      </pc:sldChg>
      <pc:sldChg chg="addSp delSp modSp mod">
        <pc:chgData name="Jean GRANDEMANGE" userId="faf07584-8716-430e-b66d-4ceae2fe8450" providerId="ADAL" clId="{5BA9D65E-4355-43B5-9FAC-0CE2D0775271}" dt="2023-01-27T16:49:07.007" v="9616" actId="20577"/>
        <pc:sldMkLst>
          <pc:docMk/>
          <pc:sldMk cId="697415066" sldId="2147469877"/>
        </pc:sldMkLst>
        <pc:spChg chg="del mod">
          <ac:chgData name="Jean GRANDEMANGE" userId="faf07584-8716-430e-b66d-4ceae2fe8450" providerId="ADAL" clId="{5BA9D65E-4355-43B5-9FAC-0CE2D0775271}" dt="2023-01-27T14:52:59.343" v="7698" actId="478"/>
          <ac:spMkLst>
            <pc:docMk/>
            <pc:sldMk cId="697415066" sldId="2147469877"/>
            <ac:spMk id="3" creationId="{E1D1B862-5879-8A81-62E3-D8EA5E7B57C0}"/>
          </ac:spMkLst>
        </pc:spChg>
        <pc:spChg chg="mod">
          <ac:chgData name="Jean GRANDEMANGE" userId="faf07584-8716-430e-b66d-4ceae2fe8450" providerId="ADAL" clId="{5BA9D65E-4355-43B5-9FAC-0CE2D0775271}" dt="2023-01-27T14:52:06.668" v="7568" actId="1076"/>
          <ac:spMkLst>
            <pc:docMk/>
            <pc:sldMk cId="697415066" sldId="2147469877"/>
            <ac:spMk id="4" creationId="{C3360914-888F-4B4E-8289-037CF9A468AE}"/>
          </ac:spMkLst>
        </pc:spChg>
        <pc:spChg chg="mod">
          <ac:chgData name="Jean GRANDEMANGE" userId="faf07584-8716-430e-b66d-4ceae2fe8450" providerId="ADAL" clId="{5BA9D65E-4355-43B5-9FAC-0CE2D0775271}" dt="2023-01-27T14:46:54.448" v="7337" actId="1076"/>
          <ac:spMkLst>
            <pc:docMk/>
            <pc:sldMk cId="697415066" sldId="2147469877"/>
            <ac:spMk id="5" creationId="{F2D2DC74-BB2C-4450-9D59-E2FE06BDAA3A}"/>
          </ac:spMkLst>
        </pc:spChg>
        <pc:spChg chg="mod">
          <ac:chgData name="Jean GRANDEMANGE" userId="faf07584-8716-430e-b66d-4ceae2fe8450" providerId="ADAL" clId="{5BA9D65E-4355-43B5-9FAC-0CE2D0775271}" dt="2023-01-27T14:46:54.448" v="7337" actId="1076"/>
          <ac:spMkLst>
            <pc:docMk/>
            <pc:sldMk cId="697415066" sldId="2147469877"/>
            <ac:spMk id="6" creationId="{6D146384-3147-4EAC-BBA3-7E9397C2F3AF}"/>
          </ac:spMkLst>
        </pc:spChg>
        <pc:spChg chg="mod">
          <ac:chgData name="Jean GRANDEMANGE" userId="faf07584-8716-430e-b66d-4ceae2fe8450" providerId="ADAL" clId="{5BA9D65E-4355-43B5-9FAC-0CE2D0775271}" dt="2023-01-27T14:46:54.448" v="7337" actId="1076"/>
          <ac:spMkLst>
            <pc:docMk/>
            <pc:sldMk cId="697415066" sldId="2147469877"/>
            <ac:spMk id="8" creationId="{9CF189FE-387F-42CC-8892-5A0C55C3DD94}"/>
          </ac:spMkLst>
        </pc:spChg>
        <pc:spChg chg="mod">
          <ac:chgData name="Jean GRANDEMANGE" userId="faf07584-8716-430e-b66d-4ceae2fe8450" providerId="ADAL" clId="{5BA9D65E-4355-43B5-9FAC-0CE2D0775271}" dt="2023-01-27T14:52:09.792" v="7569" actId="14100"/>
          <ac:spMkLst>
            <pc:docMk/>
            <pc:sldMk cId="697415066" sldId="2147469877"/>
            <ac:spMk id="9" creationId="{4CFEFC9D-7FD9-4632-998D-19528D9740AA}"/>
          </ac:spMkLst>
        </pc:spChg>
        <pc:spChg chg="mod">
          <ac:chgData name="Jean GRANDEMANGE" userId="faf07584-8716-430e-b66d-4ceae2fe8450" providerId="ADAL" clId="{5BA9D65E-4355-43B5-9FAC-0CE2D0775271}" dt="2023-01-27T14:51:39.009" v="7563" actId="20577"/>
          <ac:spMkLst>
            <pc:docMk/>
            <pc:sldMk cId="697415066" sldId="2147469877"/>
            <ac:spMk id="10" creationId="{88414BFC-8B9E-438A-BF5D-28B608CA5129}"/>
          </ac:spMkLst>
        </pc:spChg>
        <pc:spChg chg="add del mod">
          <ac:chgData name="Jean GRANDEMANGE" userId="faf07584-8716-430e-b66d-4ceae2fe8450" providerId="ADAL" clId="{5BA9D65E-4355-43B5-9FAC-0CE2D0775271}" dt="2023-01-27T14:53:18.566" v="7725" actId="478"/>
          <ac:spMkLst>
            <pc:docMk/>
            <pc:sldMk cId="697415066" sldId="2147469877"/>
            <ac:spMk id="11" creationId="{521A3CB4-90BD-FD49-5057-3B3A0C7A5CF8}"/>
          </ac:spMkLst>
        </pc:spChg>
        <pc:spChg chg="add mod ord">
          <ac:chgData name="Jean GRANDEMANGE" userId="faf07584-8716-430e-b66d-4ceae2fe8450" providerId="ADAL" clId="{5BA9D65E-4355-43B5-9FAC-0CE2D0775271}" dt="2023-01-27T14:50:06.312" v="7471" actId="1076"/>
          <ac:spMkLst>
            <pc:docMk/>
            <pc:sldMk cId="697415066" sldId="2147469877"/>
            <ac:spMk id="12" creationId="{BE686EBE-AAD3-4FB8-1568-EA2ACB0ACE00}"/>
          </ac:spMkLst>
        </pc:spChg>
        <pc:spChg chg="add mod ord">
          <ac:chgData name="Jean GRANDEMANGE" userId="faf07584-8716-430e-b66d-4ceae2fe8450" providerId="ADAL" clId="{5BA9D65E-4355-43B5-9FAC-0CE2D0775271}" dt="2023-01-27T14:50:06.312" v="7471" actId="1076"/>
          <ac:spMkLst>
            <pc:docMk/>
            <pc:sldMk cId="697415066" sldId="2147469877"/>
            <ac:spMk id="13" creationId="{B186FEDB-F987-8C3F-9FF4-4CD95065EE48}"/>
          </ac:spMkLst>
        </pc:spChg>
        <pc:spChg chg="add mod">
          <ac:chgData name="Jean GRANDEMANGE" userId="faf07584-8716-430e-b66d-4ceae2fe8450" providerId="ADAL" clId="{5BA9D65E-4355-43B5-9FAC-0CE2D0775271}" dt="2023-01-27T14:46:54.448" v="7337" actId="1076"/>
          <ac:spMkLst>
            <pc:docMk/>
            <pc:sldMk cId="697415066" sldId="2147469877"/>
            <ac:spMk id="14" creationId="{2E4083A8-A0CB-6716-9E2D-27143D4AD462}"/>
          </ac:spMkLst>
        </pc:spChg>
        <pc:spChg chg="add mod">
          <ac:chgData name="Jean GRANDEMANGE" userId="faf07584-8716-430e-b66d-4ceae2fe8450" providerId="ADAL" clId="{5BA9D65E-4355-43B5-9FAC-0CE2D0775271}" dt="2023-01-27T14:46:54.448" v="7337" actId="1076"/>
          <ac:spMkLst>
            <pc:docMk/>
            <pc:sldMk cId="697415066" sldId="2147469877"/>
            <ac:spMk id="15" creationId="{FC9B7A82-4824-6A00-CE61-78FB9D481CD1}"/>
          </ac:spMkLst>
        </pc:spChg>
        <pc:spChg chg="mod ord">
          <ac:chgData name="Jean GRANDEMANGE" userId="faf07584-8716-430e-b66d-4ceae2fe8450" providerId="ADAL" clId="{5BA9D65E-4355-43B5-9FAC-0CE2D0775271}" dt="2023-01-27T14:46:54.448" v="7337" actId="1076"/>
          <ac:spMkLst>
            <pc:docMk/>
            <pc:sldMk cId="697415066" sldId="2147469877"/>
            <ac:spMk id="16" creationId="{B36437D6-51E8-4436-A440-732FDD660C60}"/>
          </ac:spMkLst>
        </pc:spChg>
        <pc:spChg chg="add mod">
          <ac:chgData name="Jean GRANDEMANGE" userId="faf07584-8716-430e-b66d-4ceae2fe8450" providerId="ADAL" clId="{5BA9D65E-4355-43B5-9FAC-0CE2D0775271}" dt="2023-01-27T14:54:20.140" v="7761" actId="21"/>
          <ac:spMkLst>
            <pc:docMk/>
            <pc:sldMk cId="697415066" sldId="2147469877"/>
            <ac:spMk id="17" creationId="{A5ED3561-CBB2-0CD2-9B98-CB691EB759BA}"/>
          </ac:spMkLst>
        </pc:spChg>
        <pc:spChg chg="add mod">
          <ac:chgData name="Jean GRANDEMANGE" userId="faf07584-8716-430e-b66d-4ceae2fe8450" providerId="ADAL" clId="{5BA9D65E-4355-43B5-9FAC-0CE2D0775271}" dt="2023-01-27T14:46:54.448" v="7337" actId="1076"/>
          <ac:spMkLst>
            <pc:docMk/>
            <pc:sldMk cId="697415066" sldId="2147469877"/>
            <ac:spMk id="20" creationId="{557CA391-2F0D-433F-DEC2-63F1B3E1875B}"/>
          </ac:spMkLst>
        </pc:spChg>
        <pc:spChg chg="add mod">
          <ac:chgData name="Jean GRANDEMANGE" userId="faf07584-8716-430e-b66d-4ceae2fe8450" providerId="ADAL" clId="{5BA9D65E-4355-43B5-9FAC-0CE2D0775271}" dt="2023-01-27T14:46:54.448" v="7337" actId="1076"/>
          <ac:spMkLst>
            <pc:docMk/>
            <pc:sldMk cId="697415066" sldId="2147469877"/>
            <ac:spMk id="21" creationId="{E4EEE5A1-B056-21CF-F18D-32B9F9D3AF73}"/>
          </ac:spMkLst>
        </pc:spChg>
        <pc:spChg chg="add mod">
          <ac:chgData name="Jean GRANDEMANGE" userId="faf07584-8716-430e-b66d-4ceae2fe8450" providerId="ADAL" clId="{5BA9D65E-4355-43B5-9FAC-0CE2D0775271}" dt="2023-01-27T14:43:56.557" v="7230" actId="571"/>
          <ac:spMkLst>
            <pc:docMk/>
            <pc:sldMk cId="697415066" sldId="2147469877"/>
            <ac:spMk id="22" creationId="{538C68EB-8611-4FD9-F3D6-229BAA030DDF}"/>
          </ac:spMkLst>
        </pc:spChg>
        <pc:spChg chg="add mod">
          <ac:chgData name="Jean GRANDEMANGE" userId="faf07584-8716-430e-b66d-4ceae2fe8450" providerId="ADAL" clId="{5BA9D65E-4355-43B5-9FAC-0CE2D0775271}" dt="2023-01-27T16:49:07.007" v="9616" actId="20577"/>
          <ac:spMkLst>
            <pc:docMk/>
            <pc:sldMk cId="697415066" sldId="2147469877"/>
            <ac:spMk id="24" creationId="{C52DC41B-43F9-DB78-62F7-3797B33BC2F8}"/>
          </ac:spMkLst>
        </pc:spChg>
        <pc:spChg chg="mod">
          <ac:chgData name="Jean GRANDEMANGE" userId="faf07584-8716-430e-b66d-4ceae2fe8450" providerId="ADAL" clId="{5BA9D65E-4355-43B5-9FAC-0CE2D0775271}" dt="2023-01-27T14:51:48.631" v="7565" actId="20577"/>
          <ac:spMkLst>
            <pc:docMk/>
            <pc:sldMk cId="697415066" sldId="2147469877"/>
            <ac:spMk id="28" creationId="{FF7C4491-4892-4141-9CF1-C0CAC9DC0E9E}"/>
          </ac:spMkLst>
        </pc:spChg>
        <pc:spChg chg="mod">
          <ac:chgData name="Jean GRANDEMANGE" userId="faf07584-8716-430e-b66d-4ceae2fe8450" providerId="ADAL" clId="{5BA9D65E-4355-43B5-9FAC-0CE2D0775271}" dt="2023-01-27T16:48:03.706" v="9490" actId="554"/>
          <ac:spMkLst>
            <pc:docMk/>
            <pc:sldMk cId="697415066" sldId="2147469877"/>
            <ac:spMk id="34" creationId="{4995EC49-76E0-4E17-83E2-B985C5E42566}"/>
          </ac:spMkLst>
        </pc:spChg>
        <pc:spChg chg="del mod">
          <ac:chgData name="Jean GRANDEMANGE" userId="faf07584-8716-430e-b66d-4ceae2fe8450" providerId="ADAL" clId="{5BA9D65E-4355-43B5-9FAC-0CE2D0775271}" dt="2023-01-27T14:50:11.032" v="7472" actId="478"/>
          <ac:spMkLst>
            <pc:docMk/>
            <pc:sldMk cId="697415066" sldId="2147469877"/>
            <ac:spMk id="35" creationId="{8570F1A1-5B86-47CE-A960-3ED11EA083F2}"/>
          </ac:spMkLst>
        </pc:spChg>
        <pc:spChg chg="del mod">
          <ac:chgData name="Jean GRANDEMANGE" userId="faf07584-8716-430e-b66d-4ceae2fe8450" providerId="ADAL" clId="{5BA9D65E-4355-43B5-9FAC-0CE2D0775271}" dt="2023-01-27T13:48:47.381" v="6594" actId="478"/>
          <ac:spMkLst>
            <pc:docMk/>
            <pc:sldMk cId="697415066" sldId="2147469877"/>
            <ac:spMk id="41" creationId="{98ECEED8-216E-405E-BAB8-A13CE57A8839}"/>
          </ac:spMkLst>
        </pc:spChg>
        <pc:picChg chg="del mod">
          <ac:chgData name="Jean GRANDEMANGE" userId="faf07584-8716-430e-b66d-4ceae2fe8450" providerId="ADAL" clId="{5BA9D65E-4355-43B5-9FAC-0CE2D0775271}" dt="2023-01-27T13:45:08.843" v="6507" actId="478"/>
          <ac:picMkLst>
            <pc:docMk/>
            <pc:sldMk cId="697415066" sldId="2147469877"/>
            <ac:picMk id="2050" creationId="{5976F3C3-2AF4-4FEE-B05B-655698DAFB89}"/>
          </ac:picMkLst>
        </pc:picChg>
        <pc:picChg chg="del mod">
          <ac:chgData name="Jean GRANDEMANGE" userId="faf07584-8716-430e-b66d-4ceae2fe8450" providerId="ADAL" clId="{5BA9D65E-4355-43B5-9FAC-0CE2D0775271}" dt="2023-01-27T13:45:08.843" v="6507" actId="478"/>
          <ac:picMkLst>
            <pc:docMk/>
            <pc:sldMk cId="697415066" sldId="2147469877"/>
            <ac:picMk id="2052" creationId="{318AF74F-F7EE-4E79-BB52-F66653A8DC8D}"/>
          </ac:picMkLst>
        </pc:picChg>
        <pc:cxnChg chg="add mod">
          <ac:chgData name="Jean GRANDEMANGE" userId="faf07584-8716-430e-b66d-4ceae2fe8450" providerId="ADAL" clId="{5BA9D65E-4355-43B5-9FAC-0CE2D0775271}" dt="2023-01-27T14:46:54.448" v="7337" actId="1076"/>
          <ac:cxnSpMkLst>
            <pc:docMk/>
            <pc:sldMk cId="697415066" sldId="2147469877"/>
            <ac:cxnSpMk id="19" creationId="{991761CB-B2F7-074C-639B-4F5E2E871872}"/>
          </ac:cxnSpMkLst>
        </pc:cxnChg>
        <pc:cxnChg chg="mod">
          <ac:chgData name="Jean GRANDEMANGE" userId="faf07584-8716-430e-b66d-4ceae2fe8450" providerId="ADAL" clId="{5BA9D65E-4355-43B5-9FAC-0CE2D0775271}" dt="2023-01-27T14:46:54.448" v="7337" actId="1076"/>
          <ac:cxnSpMkLst>
            <pc:docMk/>
            <pc:sldMk cId="697415066" sldId="2147469877"/>
            <ac:cxnSpMk id="30" creationId="{386579D3-8901-40BF-9E07-E7E66A56C7E3}"/>
          </ac:cxnSpMkLst>
        </pc:cxnChg>
        <pc:cxnChg chg="mod">
          <ac:chgData name="Jean GRANDEMANGE" userId="faf07584-8716-430e-b66d-4ceae2fe8450" providerId="ADAL" clId="{5BA9D65E-4355-43B5-9FAC-0CE2D0775271}" dt="2023-01-27T14:46:54.448" v="7337" actId="1076"/>
          <ac:cxnSpMkLst>
            <pc:docMk/>
            <pc:sldMk cId="697415066" sldId="2147469877"/>
            <ac:cxnSpMk id="32" creationId="{B5D18D65-5DEE-4656-B0D3-12F2A89EF1E8}"/>
          </ac:cxnSpMkLst>
        </pc:cxnChg>
        <pc:cxnChg chg="del">
          <ac:chgData name="Jean GRANDEMANGE" userId="faf07584-8716-430e-b66d-4ceae2fe8450" providerId="ADAL" clId="{5BA9D65E-4355-43B5-9FAC-0CE2D0775271}" dt="2023-01-27T13:49:05.601" v="6599" actId="478"/>
          <ac:cxnSpMkLst>
            <pc:docMk/>
            <pc:sldMk cId="697415066" sldId="2147469877"/>
            <ac:cxnSpMk id="37" creationId="{8609825B-34FE-4242-8C47-9BACED356A51}"/>
          </ac:cxnSpMkLst>
        </pc:cxnChg>
      </pc:sldChg>
      <pc:sldChg chg="del">
        <pc:chgData name="Jean GRANDEMANGE" userId="faf07584-8716-430e-b66d-4ceae2fe8450" providerId="ADAL" clId="{5BA9D65E-4355-43B5-9FAC-0CE2D0775271}" dt="2023-01-27T14:59:16.786" v="7912" actId="47"/>
        <pc:sldMkLst>
          <pc:docMk/>
          <pc:sldMk cId="1699032143" sldId="2147469878"/>
        </pc:sldMkLst>
      </pc:sldChg>
      <pc:sldChg chg="delSp modSp mod">
        <pc:chgData name="Jean GRANDEMANGE" userId="faf07584-8716-430e-b66d-4ceae2fe8450" providerId="ADAL" clId="{5BA9D65E-4355-43B5-9FAC-0CE2D0775271}" dt="2023-01-27T15:01:45.041" v="8128" actId="14100"/>
        <pc:sldMkLst>
          <pc:docMk/>
          <pc:sldMk cId="1045340878" sldId="2147469879"/>
        </pc:sldMkLst>
        <pc:spChg chg="mod">
          <ac:chgData name="Jean GRANDEMANGE" userId="faf07584-8716-430e-b66d-4ceae2fe8450" providerId="ADAL" clId="{5BA9D65E-4355-43B5-9FAC-0CE2D0775271}" dt="2023-01-27T15:01:45.041" v="8128" actId="14100"/>
          <ac:spMkLst>
            <pc:docMk/>
            <pc:sldMk cId="1045340878" sldId="2147469879"/>
            <ac:spMk id="2" creationId="{172F09DD-32B4-9A0A-5449-68CF40F4F99E}"/>
          </ac:spMkLst>
        </pc:spChg>
        <pc:spChg chg="del mod">
          <ac:chgData name="Jean GRANDEMANGE" userId="faf07584-8716-430e-b66d-4ceae2fe8450" providerId="ADAL" clId="{5BA9D65E-4355-43B5-9FAC-0CE2D0775271}" dt="2023-01-27T14:59:21.625" v="7914" actId="478"/>
          <ac:spMkLst>
            <pc:docMk/>
            <pc:sldMk cId="1045340878" sldId="2147469879"/>
            <ac:spMk id="47" creationId="{78A6B511-830A-F295-2BBC-48B32A4B367E}"/>
          </ac:spMkLst>
        </pc:spChg>
      </pc:sldChg>
      <pc:sldChg chg="delSp mod">
        <pc:chgData name="Jean GRANDEMANGE" userId="faf07584-8716-430e-b66d-4ceae2fe8450" providerId="ADAL" clId="{5BA9D65E-4355-43B5-9FAC-0CE2D0775271}" dt="2023-01-27T14:59:27.672" v="7915" actId="478"/>
        <pc:sldMkLst>
          <pc:docMk/>
          <pc:sldMk cId="3936089025" sldId="2147469880"/>
        </pc:sldMkLst>
        <pc:spChg chg="del">
          <ac:chgData name="Jean GRANDEMANGE" userId="faf07584-8716-430e-b66d-4ceae2fe8450" providerId="ADAL" clId="{5BA9D65E-4355-43B5-9FAC-0CE2D0775271}" dt="2023-01-27T14:59:27.672" v="7915" actId="478"/>
          <ac:spMkLst>
            <pc:docMk/>
            <pc:sldMk cId="3936089025" sldId="2147469880"/>
            <ac:spMk id="55" creationId="{E0D30696-4712-B352-7B94-A6F2585AB3C6}"/>
          </ac:spMkLst>
        </pc:spChg>
      </pc:sldChg>
      <pc:sldChg chg="del">
        <pc:chgData name="Jean GRANDEMANGE" userId="faf07584-8716-430e-b66d-4ceae2fe8450" providerId="ADAL" clId="{5BA9D65E-4355-43B5-9FAC-0CE2D0775271}" dt="2023-01-27T13:57:56.270" v="6998" actId="47"/>
        <pc:sldMkLst>
          <pc:docMk/>
          <pc:sldMk cId="427708274" sldId="2147469881"/>
        </pc:sldMkLst>
      </pc:sldChg>
      <pc:sldChg chg="delSp modSp mod">
        <pc:chgData name="Jean GRANDEMANGE" userId="faf07584-8716-430e-b66d-4ceae2fe8450" providerId="ADAL" clId="{5BA9D65E-4355-43B5-9FAC-0CE2D0775271}" dt="2023-01-27T15:01:37.465" v="8127" actId="478"/>
        <pc:sldMkLst>
          <pc:docMk/>
          <pc:sldMk cId="2287963091" sldId="2147469882"/>
        </pc:sldMkLst>
        <pc:spChg chg="del mod">
          <ac:chgData name="Jean GRANDEMANGE" userId="faf07584-8716-430e-b66d-4ceae2fe8450" providerId="ADAL" clId="{5BA9D65E-4355-43B5-9FAC-0CE2D0775271}" dt="2023-01-27T15:01:37.465" v="8127" actId="478"/>
          <ac:spMkLst>
            <pc:docMk/>
            <pc:sldMk cId="2287963091" sldId="2147469882"/>
            <ac:spMk id="16" creationId="{0AF3D729-530E-F1CC-7EAF-2172C0DF88B4}"/>
          </ac:spMkLst>
        </pc:spChg>
      </pc:sldChg>
      <pc:sldChg chg="addSp delSp modSp add del mod">
        <pc:chgData name="Jean GRANDEMANGE" userId="faf07584-8716-430e-b66d-4ceae2fe8450" providerId="ADAL" clId="{5BA9D65E-4355-43B5-9FAC-0CE2D0775271}" dt="2023-01-27T10:47:35.486" v="3216" actId="47"/>
        <pc:sldMkLst>
          <pc:docMk/>
          <pc:sldMk cId="2504130060" sldId="2147469883"/>
        </pc:sldMkLst>
        <pc:spChg chg="mod">
          <ac:chgData name="Jean GRANDEMANGE" userId="faf07584-8716-430e-b66d-4ceae2fe8450" providerId="ADAL" clId="{5BA9D65E-4355-43B5-9FAC-0CE2D0775271}" dt="2023-01-27T10:26:47.065" v="1170" actId="20577"/>
          <ac:spMkLst>
            <pc:docMk/>
            <pc:sldMk cId="2504130060" sldId="2147469883"/>
            <ac:spMk id="3" creationId="{B7B8BDEB-56F6-F5C3-44DC-5AB868A6F40A}"/>
          </ac:spMkLst>
        </pc:spChg>
        <pc:spChg chg="del">
          <ac:chgData name="Jean GRANDEMANGE" userId="faf07584-8716-430e-b66d-4ceae2fe8450" providerId="ADAL" clId="{5BA9D65E-4355-43B5-9FAC-0CE2D0775271}" dt="2023-01-27T10:15:06.841" v="973" actId="478"/>
          <ac:spMkLst>
            <pc:docMk/>
            <pc:sldMk cId="2504130060" sldId="2147469883"/>
            <ac:spMk id="4" creationId="{B38E534A-4BFA-B041-C1BB-3E2E2E141A43}"/>
          </ac:spMkLst>
        </pc:spChg>
        <pc:spChg chg="add del mod">
          <ac:chgData name="Jean GRANDEMANGE" userId="faf07584-8716-430e-b66d-4ceae2fe8450" providerId="ADAL" clId="{5BA9D65E-4355-43B5-9FAC-0CE2D0775271}" dt="2023-01-27T10:15:08.455" v="974" actId="478"/>
          <ac:spMkLst>
            <pc:docMk/>
            <pc:sldMk cId="2504130060" sldId="2147469883"/>
            <ac:spMk id="5" creationId="{E0764B72-EFB7-BB60-EBA1-08DE8DC25667}"/>
          </ac:spMkLst>
        </pc:spChg>
        <pc:spChg chg="del">
          <ac:chgData name="Jean GRANDEMANGE" userId="faf07584-8716-430e-b66d-4ceae2fe8450" providerId="ADAL" clId="{5BA9D65E-4355-43B5-9FAC-0CE2D0775271}" dt="2023-01-27T10:15:06.841" v="973" actId="478"/>
          <ac:spMkLst>
            <pc:docMk/>
            <pc:sldMk cId="2504130060" sldId="2147469883"/>
            <ac:spMk id="6" creationId="{EF35A969-8E72-F9E2-E4DF-353E6BF5883F}"/>
          </ac:spMkLst>
        </pc:spChg>
        <pc:spChg chg="add del">
          <ac:chgData name="Jean GRANDEMANGE" userId="faf07584-8716-430e-b66d-4ceae2fe8450" providerId="ADAL" clId="{5BA9D65E-4355-43B5-9FAC-0CE2D0775271}" dt="2023-01-27T10:26:19.940" v="1141" actId="22"/>
          <ac:spMkLst>
            <pc:docMk/>
            <pc:sldMk cId="2504130060" sldId="2147469883"/>
            <ac:spMk id="8" creationId="{0A0814B4-AD31-4D66-487F-44B188A1242E}"/>
          </ac:spMkLst>
        </pc:spChg>
        <pc:spChg chg="add del mod">
          <ac:chgData name="Jean GRANDEMANGE" userId="faf07584-8716-430e-b66d-4ceae2fe8450" providerId="ADAL" clId="{5BA9D65E-4355-43B5-9FAC-0CE2D0775271}" dt="2023-01-27T10:47:10.971" v="3214" actId="478"/>
          <ac:spMkLst>
            <pc:docMk/>
            <pc:sldMk cId="2504130060" sldId="2147469883"/>
            <ac:spMk id="9" creationId="{1928823D-F2A0-02C4-842A-FE62CB789C0B}"/>
          </ac:spMkLst>
        </pc:spChg>
        <pc:spChg chg="add del mod">
          <ac:chgData name="Jean GRANDEMANGE" userId="faf07584-8716-430e-b66d-4ceae2fe8450" providerId="ADAL" clId="{5BA9D65E-4355-43B5-9FAC-0CE2D0775271}" dt="2023-01-27T10:47:10.971" v="3214" actId="478"/>
          <ac:spMkLst>
            <pc:docMk/>
            <pc:sldMk cId="2504130060" sldId="2147469883"/>
            <ac:spMk id="10" creationId="{85344BB6-8A6F-DE59-0579-144D08500F2E}"/>
          </ac:spMkLst>
        </pc:spChg>
        <pc:spChg chg="add mod">
          <ac:chgData name="Jean GRANDEMANGE" userId="faf07584-8716-430e-b66d-4ceae2fe8450" providerId="ADAL" clId="{5BA9D65E-4355-43B5-9FAC-0CE2D0775271}" dt="2023-01-27T10:27:03.187" v="1173" actId="1076"/>
          <ac:spMkLst>
            <pc:docMk/>
            <pc:sldMk cId="2504130060" sldId="2147469883"/>
            <ac:spMk id="11" creationId="{01B27B73-A22D-BFB9-4145-0B5265BFA768}"/>
          </ac:spMkLst>
        </pc:spChg>
        <pc:spChg chg="add del mod">
          <ac:chgData name="Jean GRANDEMANGE" userId="faf07584-8716-430e-b66d-4ceae2fe8450" providerId="ADAL" clId="{5BA9D65E-4355-43B5-9FAC-0CE2D0775271}" dt="2023-01-27T10:47:10.971" v="3214" actId="478"/>
          <ac:spMkLst>
            <pc:docMk/>
            <pc:sldMk cId="2504130060" sldId="2147469883"/>
            <ac:spMk id="12" creationId="{EA42CC3C-7B1E-935C-A5B8-98CEE64F59D1}"/>
          </ac:spMkLst>
        </pc:spChg>
        <pc:spChg chg="add del mod">
          <ac:chgData name="Jean GRANDEMANGE" userId="faf07584-8716-430e-b66d-4ceae2fe8450" providerId="ADAL" clId="{5BA9D65E-4355-43B5-9FAC-0CE2D0775271}" dt="2023-01-27T10:47:10.971" v="3214" actId="478"/>
          <ac:spMkLst>
            <pc:docMk/>
            <pc:sldMk cId="2504130060" sldId="2147469883"/>
            <ac:spMk id="13" creationId="{FC8592FB-4E44-D591-1138-D8AE07F2AEC9}"/>
          </ac:spMkLst>
        </pc:spChg>
        <pc:spChg chg="add del mod">
          <ac:chgData name="Jean GRANDEMANGE" userId="faf07584-8716-430e-b66d-4ceae2fe8450" providerId="ADAL" clId="{5BA9D65E-4355-43B5-9FAC-0CE2D0775271}" dt="2023-01-27T10:47:10.971" v="3214" actId="478"/>
          <ac:spMkLst>
            <pc:docMk/>
            <pc:sldMk cId="2504130060" sldId="2147469883"/>
            <ac:spMk id="14" creationId="{31395F98-8941-2DA4-AC99-26C9D250150F}"/>
          </ac:spMkLst>
        </pc:spChg>
        <pc:spChg chg="add del mod">
          <ac:chgData name="Jean GRANDEMANGE" userId="faf07584-8716-430e-b66d-4ceae2fe8450" providerId="ADAL" clId="{5BA9D65E-4355-43B5-9FAC-0CE2D0775271}" dt="2023-01-27T10:47:10.971" v="3214" actId="478"/>
          <ac:spMkLst>
            <pc:docMk/>
            <pc:sldMk cId="2504130060" sldId="2147469883"/>
            <ac:spMk id="15" creationId="{0A6AA0CB-8C8F-05A8-2C86-77F339FDC3E9}"/>
          </ac:spMkLst>
        </pc:spChg>
        <pc:spChg chg="add del mod">
          <ac:chgData name="Jean GRANDEMANGE" userId="faf07584-8716-430e-b66d-4ceae2fe8450" providerId="ADAL" clId="{5BA9D65E-4355-43B5-9FAC-0CE2D0775271}" dt="2023-01-27T10:47:10.971" v="3214" actId="478"/>
          <ac:spMkLst>
            <pc:docMk/>
            <pc:sldMk cId="2504130060" sldId="2147469883"/>
            <ac:spMk id="16" creationId="{C459CB10-7503-21CF-C7EF-9067D9FCC29A}"/>
          </ac:spMkLst>
        </pc:spChg>
        <pc:spChg chg="add del mod">
          <ac:chgData name="Jean GRANDEMANGE" userId="faf07584-8716-430e-b66d-4ceae2fe8450" providerId="ADAL" clId="{5BA9D65E-4355-43B5-9FAC-0CE2D0775271}" dt="2023-01-27T10:47:10.971" v="3214" actId="478"/>
          <ac:spMkLst>
            <pc:docMk/>
            <pc:sldMk cId="2504130060" sldId="2147469883"/>
            <ac:spMk id="17" creationId="{74E7B9FC-6F53-7CD3-026B-6423BE1D78ED}"/>
          </ac:spMkLst>
        </pc:spChg>
        <pc:spChg chg="add del mod">
          <ac:chgData name="Jean GRANDEMANGE" userId="faf07584-8716-430e-b66d-4ceae2fe8450" providerId="ADAL" clId="{5BA9D65E-4355-43B5-9FAC-0CE2D0775271}" dt="2023-01-27T10:47:10.971" v="3214" actId="478"/>
          <ac:spMkLst>
            <pc:docMk/>
            <pc:sldMk cId="2504130060" sldId="2147469883"/>
            <ac:spMk id="18" creationId="{B7C0A35C-5085-7B02-6E99-8A46D3CA764A}"/>
          </ac:spMkLst>
        </pc:spChg>
        <pc:spChg chg="add del mod">
          <ac:chgData name="Jean GRANDEMANGE" userId="faf07584-8716-430e-b66d-4ceae2fe8450" providerId="ADAL" clId="{5BA9D65E-4355-43B5-9FAC-0CE2D0775271}" dt="2023-01-27T10:47:10.971" v="3214" actId="478"/>
          <ac:spMkLst>
            <pc:docMk/>
            <pc:sldMk cId="2504130060" sldId="2147469883"/>
            <ac:spMk id="19" creationId="{D64CDDD1-A352-7A8F-C9D2-37AEC172CADB}"/>
          </ac:spMkLst>
        </pc:spChg>
        <pc:spChg chg="add del mod">
          <ac:chgData name="Jean GRANDEMANGE" userId="faf07584-8716-430e-b66d-4ceae2fe8450" providerId="ADAL" clId="{5BA9D65E-4355-43B5-9FAC-0CE2D0775271}" dt="2023-01-27T10:47:10.971" v="3214" actId="478"/>
          <ac:spMkLst>
            <pc:docMk/>
            <pc:sldMk cId="2504130060" sldId="2147469883"/>
            <ac:spMk id="20" creationId="{FB47BCDF-8B99-14BC-6F57-D78774AA9C73}"/>
          </ac:spMkLst>
        </pc:spChg>
        <pc:spChg chg="add del mod">
          <ac:chgData name="Jean GRANDEMANGE" userId="faf07584-8716-430e-b66d-4ceae2fe8450" providerId="ADAL" clId="{5BA9D65E-4355-43B5-9FAC-0CE2D0775271}" dt="2023-01-27T10:47:10.971" v="3214" actId="478"/>
          <ac:spMkLst>
            <pc:docMk/>
            <pc:sldMk cId="2504130060" sldId="2147469883"/>
            <ac:spMk id="21" creationId="{87B3650E-A682-6D76-C52D-0B26F934738E}"/>
          </ac:spMkLst>
        </pc:spChg>
        <pc:spChg chg="add del mod">
          <ac:chgData name="Jean GRANDEMANGE" userId="faf07584-8716-430e-b66d-4ceae2fe8450" providerId="ADAL" clId="{5BA9D65E-4355-43B5-9FAC-0CE2D0775271}" dt="2023-01-27T10:47:10.971" v="3214" actId="478"/>
          <ac:spMkLst>
            <pc:docMk/>
            <pc:sldMk cId="2504130060" sldId="2147469883"/>
            <ac:spMk id="22" creationId="{181D8CB7-7898-BFDF-DCE6-282458E63B83}"/>
          </ac:spMkLst>
        </pc:spChg>
        <pc:spChg chg="add del mod">
          <ac:chgData name="Jean GRANDEMANGE" userId="faf07584-8716-430e-b66d-4ceae2fe8450" providerId="ADAL" clId="{5BA9D65E-4355-43B5-9FAC-0CE2D0775271}" dt="2023-01-27T10:47:10.971" v="3214" actId="478"/>
          <ac:spMkLst>
            <pc:docMk/>
            <pc:sldMk cId="2504130060" sldId="2147469883"/>
            <ac:spMk id="23" creationId="{99250FE9-068E-D50B-317D-FA7A31927363}"/>
          </ac:spMkLst>
        </pc:spChg>
        <pc:spChg chg="add del mod">
          <ac:chgData name="Jean GRANDEMANGE" userId="faf07584-8716-430e-b66d-4ceae2fe8450" providerId="ADAL" clId="{5BA9D65E-4355-43B5-9FAC-0CE2D0775271}" dt="2023-01-27T10:47:10.971" v="3214" actId="478"/>
          <ac:spMkLst>
            <pc:docMk/>
            <pc:sldMk cId="2504130060" sldId="2147469883"/>
            <ac:spMk id="24" creationId="{FBEE9712-BE57-9F11-2F14-59E186ABA5E8}"/>
          </ac:spMkLst>
        </pc:spChg>
        <pc:spChg chg="add del mod">
          <ac:chgData name="Jean GRANDEMANGE" userId="faf07584-8716-430e-b66d-4ceae2fe8450" providerId="ADAL" clId="{5BA9D65E-4355-43B5-9FAC-0CE2D0775271}" dt="2023-01-27T10:47:10.971" v="3214" actId="478"/>
          <ac:spMkLst>
            <pc:docMk/>
            <pc:sldMk cId="2504130060" sldId="2147469883"/>
            <ac:spMk id="25" creationId="{494E188F-4039-5FD4-FD2E-20915C01853B}"/>
          </ac:spMkLst>
        </pc:spChg>
        <pc:spChg chg="add del mod">
          <ac:chgData name="Jean GRANDEMANGE" userId="faf07584-8716-430e-b66d-4ceae2fe8450" providerId="ADAL" clId="{5BA9D65E-4355-43B5-9FAC-0CE2D0775271}" dt="2023-01-27T10:47:10.971" v="3214" actId="478"/>
          <ac:spMkLst>
            <pc:docMk/>
            <pc:sldMk cId="2504130060" sldId="2147469883"/>
            <ac:spMk id="26" creationId="{AFA20C10-8D30-F882-84F0-1787C6106EC2}"/>
          </ac:spMkLst>
        </pc:spChg>
        <pc:spChg chg="add del mod">
          <ac:chgData name="Jean GRANDEMANGE" userId="faf07584-8716-430e-b66d-4ceae2fe8450" providerId="ADAL" clId="{5BA9D65E-4355-43B5-9FAC-0CE2D0775271}" dt="2023-01-27T10:47:10.971" v="3214" actId="478"/>
          <ac:spMkLst>
            <pc:docMk/>
            <pc:sldMk cId="2504130060" sldId="2147469883"/>
            <ac:spMk id="27" creationId="{31600882-38B4-DB84-A0A9-16F5503BD0BA}"/>
          </ac:spMkLst>
        </pc:spChg>
        <pc:spChg chg="add del mod">
          <ac:chgData name="Jean GRANDEMANGE" userId="faf07584-8716-430e-b66d-4ceae2fe8450" providerId="ADAL" clId="{5BA9D65E-4355-43B5-9FAC-0CE2D0775271}" dt="2023-01-27T10:47:10.971" v="3214" actId="478"/>
          <ac:spMkLst>
            <pc:docMk/>
            <pc:sldMk cId="2504130060" sldId="2147469883"/>
            <ac:spMk id="28" creationId="{37F24260-40EA-2290-EB53-5DE02777759B}"/>
          </ac:spMkLst>
        </pc:spChg>
        <pc:spChg chg="add del mod">
          <ac:chgData name="Jean GRANDEMANGE" userId="faf07584-8716-430e-b66d-4ceae2fe8450" providerId="ADAL" clId="{5BA9D65E-4355-43B5-9FAC-0CE2D0775271}" dt="2023-01-27T10:47:10.971" v="3214" actId="478"/>
          <ac:spMkLst>
            <pc:docMk/>
            <pc:sldMk cId="2504130060" sldId="2147469883"/>
            <ac:spMk id="29" creationId="{00B4D170-7CEE-8F6B-E63A-1BCD1880278C}"/>
          </ac:spMkLst>
        </pc:spChg>
        <pc:spChg chg="add del mod">
          <ac:chgData name="Jean GRANDEMANGE" userId="faf07584-8716-430e-b66d-4ceae2fe8450" providerId="ADAL" clId="{5BA9D65E-4355-43B5-9FAC-0CE2D0775271}" dt="2023-01-27T10:47:10.971" v="3214" actId="478"/>
          <ac:spMkLst>
            <pc:docMk/>
            <pc:sldMk cId="2504130060" sldId="2147469883"/>
            <ac:spMk id="30" creationId="{A63B2E9B-DE3E-8AAA-536A-1BF2D79D29EC}"/>
          </ac:spMkLst>
        </pc:spChg>
        <pc:spChg chg="add del mod">
          <ac:chgData name="Jean GRANDEMANGE" userId="faf07584-8716-430e-b66d-4ceae2fe8450" providerId="ADAL" clId="{5BA9D65E-4355-43B5-9FAC-0CE2D0775271}" dt="2023-01-27T10:47:10.971" v="3214" actId="478"/>
          <ac:spMkLst>
            <pc:docMk/>
            <pc:sldMk cId="2504130060" sldId="2147469883"/>
            <ac:spMk id="31" creationId="{2B025009-E4CC-3305-01BD-8017BE855C2C}"/>
          </ac:spMkLst>
        </pc:spChg>
        <pc:spChg chg="add del mod">
          <ac:chgData name="Jean GRANDEMANGE" userId="faf07584-8716-430e-b66d-4ceae2fe8450" providerId="ADAL" clId="{5BA9D65E-4355-43B5-9FAC-0CE2D0775271}" dt="2023-01-27T10:47:10.971" v="3214" actId="478"/>
          <ac:spMkLst>
            <pc:docMk/>
            <pc:sldMk cId="2504130060" sldId="2147469883"/>
            <ac:spMk id="32" creationId="{0AA0BB64-12B8-8CA5-DC1C-0ACC8BFB2D74}"/>
          </ac:spMkLst>
        </pc:spChg>
        <pc:spChg chg="add del mod">
          <ac:chgData name="Jean GRANDEMANGE" userId="faf07584-8716-430e-b66d-4ceae2fe8450" providerId="ADAL" clId="{5BA9D65E-4355-43B5-9FAC-0CE2D0775271}" dt="2023-01-27T10:47:10.971" v="3214" actId="478"/>
          <ac:spMkLst>
            <pc:docMk/>
            <pc:sldMk cId="2504130060" sldId="2147469883"/>
            <ac:spMk id="33" creationId="{CA1B7155-C6EF-C088-0267-301E56C9FC37}"/>
          </ac:spMkLst>
        </pc:spChg>
        <pc:spChg chg="add del mod">
          <ac:chgData name="Jean GRANDEMANGE" userId="faf07584-8716-430e-b66d-4ceae2fe8450" providerId="ADAL" clId="{5BA9D65E-4355-43B5-9FAC-0CE2D0775271}" dt="2023-01-27T10:47:10.971" v="3214" actId="478"/>
          <ac:spMkLst>
            <pc:docMk/>
            <pc:sldMk cId="2504130060" sldId="2147469883"/>
            <ac:spMk id="34" creationId="{8FED8758-435F-FE21-2570-C076DAC07858}"/>
          </ac:spMkLst>
        </pc:spChg>
        <pc:spChg chg="add del mod">
          <ac:chgData name="Jean GRANDEMANGE" userId="faf07584-8716-430e-b66d-4ceae2fe8450" providerId="ADAL" clId="{5BA9D65E-4355-43B5-9FAC-0CE2D0775271}" dt="2023-01-27T10:47:10.971" v="3214" actId="478"/>
          <ac:spMkLst>
            <pc:docMk/>
            <pc:sldMk cId="2504130060" sldId="2147469883"/>
            <ac:spMk id="35" creationId="{05F3424E-A9BB-1BAD-2FDD-6C025FFA3AE0}"/>
          </ac:spMkLst>
        </pc:spChg>
      </pc:sldChg>
      <pc:sldChg chg="delSp modSp add mod">
        <pc:chgData name="Jean GRANDEMANGE" userId="faf07584-8716-430e-b66d-4ceae2fe8450" providerId="ADAL" clId="{5BA9D65E-4355-43B5-9FAC-0CE2D0775271}" dt="2023-01-27T14:54:30.387" v="7765"/>
        <pc:sldMkLst>
          <pc:docMk/>
          <pc:sldMk cId="2809162801" sldId="2147469883"/>
        </pc:sldMkLst>
        <pc:spChg chg="mod">
          <ac:chgData name="Jean GRANDEMANGE" userId="faf07584-8716-430e-b66d-4ceae2fe8450" providerId="ADAL" clId="{5BA9D65E-4355-43B5-9FAC-0CE2D0775271}" dt="2023-01-27T14:54:29.957" v="7764" actId="1076"/>
          <ac:spMkLst>
            <pc:docMk/>
            <pc:sldMk cId="2809162801" sldId="2147469883"/>
            <ac:spMk id="2" creationId="{E325619F-9DF4-2377-D1D5-1455972ADCDB}"/>
          </ac:spMkLst>
        </pc:spChg>
        <pc:spChg chg="del">
          <ac:chgData name="Jean GRANDEMANGE" userId="faf07584-8716-430e-b66d-4ceae2fe8450" providerId="ADAL" clId="{5BA9D65E-4355-43B5-9FAC-0CE2D0775271}" dt="2023-01-27T14:53:57.892" v="7749" actId="478"/>
          <ac:spMkLst>
            <pc:docMk/>
            <pc:sldMk cId="2809162801" sldId="2147469883"/>
            <ac:spMk id="3" creationId="{4BE33A01-6FF3-78C7-28C3-6F91808B95A5}"/>
          </ac:spMkLst>
        </pc:spChg>
        <pc:spChg chg="mod">
          <ac:chgData name="Jean GRANDEMANGE" userId="faf07584-8716-430e-b66d-4ceae2fe8450" providerId="ADAL" clId="{5BA9D65E-4355-43B5-9FAC-0CE2D0775271}" dt="2023-01-27T14:54:30.387" v="7765"/>
          <ac:spMkLst>
            <pc:docMk/>
            <pc:sldMk cId="2809162801" sldId="2147469883"/>
            <ac:spMk id="5" creationId="{FB3FF2C0-EF0B-47FD-88D3-D36CBAF5C9D0}"/>
          </ac:spMkLst>
        </pc:spChg>
        <pc:spChg chg="del">
          <ac:chgData name="Jean GRANDEMANGE" userId="faf07584-8716-430e-b66d-4ceae2fe8450" providerId="ADAL" clId="{5BA9D65E-4355-43B5-9FAC-0CE2D0775271}" dt="2023-01-27T14:53:57.892" v="7749" actId="478"/>
          <ac:spMkLst>
            <pc:docMk/>
            <pc:sldMk cId="2809162801" sldId="2147469883"/>
            <ac:spMk id="6" creationId="{91BF4286-DF76-4878-8886-A3D2133831C4}"/>
          </ac:spMkLst>
        </pc:spChg>
        <pc:spChg chg="del">
          <ac:chgData name="Jean GRANDEMANGE" userId="faf07584-8716-430e-b66d-4ceae2fe8450" providerId="ADAL" clId="{5BA9D65E-4355-43B5-9FAC-0CE2D0775271}" dt="2023-01-27T14:53:59.553" v="7751" actId="478"/>
          <ac:spMkLst>
            <pc:docMk/>
            <pc:sldMk cId="2809162801" sldId="2147469883"/>
            <ac:spMk id="11" creationId="{5436BECF-2218-4F87-8834-BB4F6D706EB3}"/>
          </ac:spMkLst>
        </pc:spChg>
        <pc:spChg chg="del">
          <ac:chgData name="Jean GRANDEMANGE" userId="faf07584-8716-430e-b66d-4ceae2fe8450" providerId="ADAL" clId="{5BA9D65E-4355-43B5-9FAC-0CE2D0775271}" dt="2023-01-27T14:53:57.892" v="7749" actId="478"/>
          <ac:spMkLst>
            <pc:docMk/>
            <pc:sldMk cId="2809162801" sldId="2147469883"/>
            <ac:spMk id="12" creationId="{F1085BAA-197C-4397-8FC8-330CD1101FCD}"/>
          </ac:spMkLst>
        </pc:spChg>
        <pc:spChg chg="del">
          <ac:chgData name="Jean GRANDEMANGE" userId="faf07584-8716-430e-b66d-4ceae2fe8450" providerId="ADAL" clId="{5BA9D65E-4355-43B5-9FAC-0CE2D0775271}" dt="2023-01-27T14:54:01.663" v="7754" actId="478"/>
          <ac:spMkLst>
            <pc:docMk/>
            <pc:sldMk cId="2809162801" sldId="2147469883"/>
            <ac:spMk id="13" creationId="{521DC27C-C851-4383-A98A-E4FDFD3BDE3A}"/>
          </ac:spMkLst>
        </pc:spChg>
        <pc:spChg chg="del mod">
          <ac:chgData name="Jean GRANDEMANGE" userId="faf07584-8716-430e-b66d-4ceae2fe8450" providerId="ADAL" clId="{5BA9D65E-4355-43B5-9FAC-0CE2D0775271}" dt="2023-01-27T14:54:02.882" v="7755" actId="478"/>
          <ac:spMkLst>
            <pc:docMk/>
            <pc:sldMk cId="2809162801" sldId="2147469883"/>
            <ac:spMk id="15" creationId="{A8401D60-C228-485D-ABD1-CF965DBC5F7E}"/>
          </ac:spMkLst>
        </pc:spChg>
        <pc:spChg chg="del">
          <ac:chgData name="Jean GRANDEMANGE" userId="faf07584-8716-430e-b66d-4ceae2fe8450" providerId="ADAL" clId="{5BA9D65E-4355-43B5-9FAC-0CE2D0775271}" dt="2023-01-27T14:53:57.892" v="7749" actId="478"/>
          <ac:spMkLst>
            <pc:docMk/>
            <pc:sldMk cId="2809162801" sldId="2147469883"/>
            <ac:spMk id="17" creationId="{C656E025-4588-42D8-AA51-EF0BB6B93C1A}"/>
          </ac:spMkLst>
        </pc:spChg>
        <pc:spChg chg="del">
          <ac:chgData name="Jean GRANDEMANGE" userId="faf07584-8716-430e-b66d-4ceae2fe8450" providerId="ADAL" clId="{5BA9D65E-4355-43B5-9FAC-0CE2D0775271}" dt="2023-01-27T14:53:57.892" v="7749" actId="478"/>
          <ac:spMkLst>
            <pc:docMk/>
            <pc:sldMk cId="2809162801" sldId="2147469883"/>
            <ac:spMk id="19" creationId="{CB8A9802-2C70-4F30-9CA7-29786AF78DCE}"/>
          </ac:spMkLst>
        </pc:spChg>
        <pc:spChg chg="del">
          <ac:chgData name="Jean GRANDEMANGE" userId="faf07584-8716-430e-b66d-4ceae2fe8450" providerId="ADAL" clId="{5BA9D65E-4355-43B5-9FAC-0CE2D0775271}" dt="2023-01-27T14:53:57.892" v="7749" actId="478"/>
          <ac:spMkLst>
            <pc:docMk/>
            <pc:sldMk cId="2809162801" sldId="2147469883"/>
            <ac:spMk id="46" creationId="{59C0D482-C128-40DF-B712-89DA0F3E31EA}"/>
          </ac:spMkLst>
        </pc:spChg>
        <pc:spChg chg="del">
          <ac:chgData name="Jean GRANDEMANGE" userId="faf07584-8716-430e-b66d-4ceae2fe8450" providerId="ADAL" clId="{5BA9D65E-4355-43B5-9FAC-0CE2D0775271}" dt="2023-01-27T14:53:57.892" v="7749" actId="478"/>
          <ac:spMkLst>
            <pc:docMk/>
            <pc:sldMk cId="2809162801" sldId="2147469883"/>
            <ac:spMk id="73" creationId="{5F73E9E5-E11B-BCB0-CACB-B7EC2C4B4C9B}"/>
          </ac:spMkLst>
        </pc:spChg>
        <pc:spChg chg="del">
          <ac:chgData name="Jean GRANDEMANGE" userId="faf07584-8716-430e-b66d-4ceae2fe8450" providerId="ADAL" clId="{5BA9D65E-4355-43B5-9FAC-0CE2D0775271}" dt="2023-01-27T14:53:57.892" v="7749" actId="478"/>
          <ac:spMkLst>
            <pc:docMk/>
            <pc:sldMk cId="2809162801" sldId="2147469883"/>
            <ac:spMk id="74" creationId="{0C7DA581-4B8F-4DDA-D0F1-3837C58AB0E3}"/>
          </ac:spMkLst>
        </pc:spChg>
        <pc:spChg chg="del">
          <ac:chgData name="Jean GRANDEMANGE" userId="faf07584-8716-430e-b66d-4ceae2fe8450" providerId="ADAL" clId="{5BA9D65E-4355-43B5-9FAC-0CE2D0775271}" dt="2023-01-27T14:53:57.892" v="7749" actId="478"/>
          <ac:spMkLst>
            <pc:docMk/>
            <pc:sldMk cId="2809162801" sldId="2147469883"/>
            <ac:spMk id="75" creationId="{46745644-A7EC-3DCB-C9D7-73CA6E467A3D}"/>
          </ac:spMkLst>
        </pc:spChg>
        <pc:spChg chg="del">
          <ac:chgData name="Jean GRANDEMANGE" userId="faf07584-8716-430e-b66d-4ceae2fe8450" providerId="ADAL" clId="{5BA9D65E-4355-43B5-9FAC-0CE2D0775271}" dt="2023-01-27T14:53:57.892" v="7749" actId="478"/>
          <ac:spMkLst>
            <pc:docMk/>
            <pc:sldMk cId="2809162801" sldId="2147469883"/>
            <ac:spMk id="76" creationId="{588AF536-DF84-483E-5ACC-299386CD84A7}"/>
          </ac:spMkLst>
        </pc:spChg>
        <pc:spChg chg="del">
          <ac:chgData name="Jean GRANDEMANGE" userId="faf07584-8716-430e-b66d-4ceae2fe8450" providerId="ADAL" clId="{5BA9D65E-4355-43B5-9FAC-0CE2D0775271}" dt="2023-01-27T14:53:57.892" v="7749" actId="478"/>
          <ac:spMkLst>
            <pc:docMk/>
            <pc:sldMk cId="2809162801" sldId="2147469883"/>
            <ac:spMk id="77" creationId="{AFCF4C33-B4F6-0537-DDDE-8A9E0891AC8B}"/>
          </ac:spMkLst>
        </pc:spChg>
        <pc:spChg chg="del">
          <ac:chgData name="Jean GRANDEMANGE" userId="faf07584-8716-430e-b66d-4ceae2fe8450" providerId="ADAL" clId="{5BA9D65E-4355-43B5-9FAC-0CE2D0775271}" dt="2023-01-27T14:53:57.892" v="7749" actId="478"/>
          <ac:spMkLst>
            <pc:docMk/>
            <pc:sldMk cId="2809162801" sldId="2147469883"/>
            <ac:spMk id="78" creationId="{ECCF1AAA-244E-7A42-BC6A-A6661C6615AA}"/>
          </ac:spMkLst>
        </pc:spChg>
        <pc:spChg chg="del">
          <ac:chgData name="Jean GRANDEMANGE" userId="faf07584-8716-430e-b66d-4ceae2fe8450" providerId="ADAL" clId="{5BA9D65E-4355-43B5-9FAC-0CE2D0775271}" dt="2023-01-27T14:53:57.892" v="7749" actId="478"/>
          <ac:spMkLst>
            <pc:docMk/>
            <pc:sldMk cId="2809162801" sldId="2147469883"/>
            <ac:spMk id="79" creationId="{CC10E4CD-1504-097E-731D-39D9158E7130}"/>
          </ac:spMkLst>
        </pc:spChg>
        <pc:spChg chg="del">
          <ac:chgData name="Jean GRANDEMANGE" userId="faf07584-8716-430e-b66d-4ceae2fe8450" providerId="ADAL" clId="{5BA9D65E-4355-43B5-9FAC-0CE2D0775271}" dt="2023-01-27T14:53:57.892" v="7749" actId="478"/>
          <ac:spMkLst>
            <pc:docMk/>
            <pc:sldMk cId="2809162801" sldId="2147469883"/>
            <ac:spMk id="80" creationId="{5FE13604-C44E-0E3F-6D4A-CEF6941A7905}"/>
          </ac:spMkLst>
        </pc:spChg>
        <pc:picChg chg="del">
          <ac:chgData name="Jean GRANDEMANGE" userId="faf07584-8716-430e-b66d-4ceae2fe8450" providerId="ADAL" clId="{5BA9D65E-4355-43B5-9FAC-0CE2D0775271}" dt="2023-01-27T14:54:00.382" v="7752" actId="478"/>
          <ac:picMkLst>
            <pc:docMk/>
            <pc:sldMk cId="2809162801" sldId="2147469883"/>
            <ac:picMk id="7" creationId="{637E5C13-B5A1-4BEE-AE85-85C1CB60DD88}"/>
          </ac:picMkLst>
        </pc:picChg>
        <pc:picChg chg="del">
          <ac:chgData name="Jean GRANDEMANGE" userId="faf07584-8716-430e-b66d-4ceae2fe8450" providerId="ADAL" clId="{5BA9D65E-4355-43B5-9FAC-0CE2D0775271}" dt="2023-01-27T14:53:57.892" v="7749" actId="478"/>
          <ac:picMkLst>
            <pc:docMk/>
            <pc:sldMk cId="2809162801" sldId="2147469883"/>
            <ac:picMk id="8" creationId="{F839F4C7-F801-4A53-822E-104702AC26D7}"/>
          </ac:picMkLst>
        </pc:picChg>
        <pc:picChg chg="del">
          <ac:chgData name="Jean GRANDEMANGE" userId="faf07584-8716-430e-b66d-4ceae2fe8450" providerId="ADAL" clId="{5BA9D65E-4355-43B5-9FAC-0CE2D0775271}" dt="2023-01-27T14:54:01.002" v="7753" actId="478"/>
          <ac:picMkLst>
            <pc:docMk/>
            <pc:sldMk cId="2809162801" sldId="2147469883"/>
            <ac:picMk id="9" creationId="{3E69FFC7-067F-4CC6-9D46-A0413CBC5679}"/>
          </ac:picMkLst>
        </pc:picChg>
        <pc:picChg chg="del">
          <ac:chgData name="Jean GRANDEMANGE" userId="faf07584-8716-430e-b66d-4ceae2fe8450" providerId="ADAL" clId="{5BA9D65E-4355-43B5-9FAC-0CE2D0775271}" dt="2023-01-27T14:53:57.892" v="7749" actId="478"/>
          <ac:picMkLst>
            <pc:docMk/>
            <pc:sldMk cId="2809162801" sldId="2147469883"/>
            <ac:picMk id="20" creationId="{136D2429-7CD0-4027-8B6A-3DEB887CBDB6}"/>
          </ac:picMkLst>
        </pc:picChg>
        <pc:picChg chg="del">
          <ac:chgData name="Jean GRANDEMANGE" userId="faf07584-8716-430e-b66d-4ceae2fe8450" providerId="ADAL" clId="{5BA9D65E-4355-43B5-9FAC-0CE2D0775271}" dt="2023-01-27T14:53:57.892" v="7749" actId="478"/>
          <ac:picMkLst>
            <pc:docMk/>
            <pc:sldMk cId="2809162801" sldId="2147469883"/>
            <ac:picMk id="81" creationId="{7BC827B5-7A0C-99B8-B561-DD941B783EAC}"/>
          </ac:picMkLst>
        </pc:picChg>
        <pc:cxnChg chg="del">
          <ac:chgData name="Jean GRANDEMANGE" userId="faf07584-8716-430e-b66d-4ceae2fe8450" providerId="ADAL" clId="{5BA9D65E-4355-43B5-9FAC-0CE2D0775271}" dt="2023-01-27T14:53:57.892" v="7749" actId="478"/>
          <ac:cxnSpMkLst>
            <pc:docMk/>
            <pc:sldMk cId="2809162801" sldId="2147469883"/>
            <ac:cxnSpMk id="10" creationId="{B23AAF0F-259D-4945-A105-2A75B40C1FE9}"/>
          </ac:cxnSpMkLst>
        </pc:cxnChg>
        <pc:cxnChg chg="del">
          <ac:chgData name="Jean GRANDEMANGE" userId="faf07584-8716-430e-b66d-4ceae2fe8450" providerId="ADAL" clId="{5BA9D65E-4355-43B5-9FAC-0CE2D0775271}" dt="2023-01-27T14:53:57.892" v="7749" actId="478"/>
          <ac:cxnSpMkLst>
            <pc:docMk/>
            <pc:sldMk cId="2809162801" sldId="2147469883"/>
            <ac:cxnSpMk id="14" creationId="{F151865A-EDAC-43E2-BF3C-F1BC0CECA4C1}"/>
          </ac:cxnSpMkLst>
        </pc:cxnChg>
        <pc:cxnChg chg="del">
          <ac:chgData name="Jean GRANDEMANGE" userId="faf07584-8716-430e-b66d-4ceae2fe8450" providerId="ADAL" clId="{5BA9D65E-4355-43B5-9FAC-0CE2D0775271}" dt="2023-01-27T14:53:57.892" v="7749" actId="478"/>
          <ac:cxnSpMkLst>
            <pc:docMk/>
            <pc:sldMk cId="2809162801" sldId="2147469883"/>
            <ac:cxnSpMk id="16" creationId="{C942B351-C0C4-4F49-AE72-5E65E6609119}"/>
          </ac:cxnSpMkLst>
        </pc:cxnChg>
        <pc:cxnChg chg="del">
          <ac:chgData name="Jean GRANDEMANGE" userId="faf07584-8716-430e-b66d-4ceae2fe8450" providerId="ADAL" clId="{5BA9D65E-4355-43B5-9FAC-0CE2D0775271}" dt="2023-01-27T14:53:57.892" v="7749" actId="478"/>
          <ac:cxnSpMkLst>
            <pc:docMk/>
            <pc:sldMk cId="2809162801" sldId="2147469883"/>
            <ac:cxnSpMk id="18" creationId="{04B94CFF-10B5-49D4-9D0E-AAF763665E37}"/>
          </ac:cxnSpMkLst>
        </pc:cxnChg>
      </pc:sldChg>
      <pc:sldChg chg="add del">
        <pc:chgData name="Jean GRANDEMANGE" userId="faf07584-8716-430e-b66d-4ceae2fe8450" providerId="ADAL" clId="{5BA9D65E-4355-43B5-9FAC-0CE2D0775271}" dt="2023-01-27T14:49:15.323" v="7395" actId="47"/>
        <pc:sldMkLst>
          <pc:docMk/>
          <pc:sldMk cId="4094994212" sldId="2147469883"/>
        </pc:sldMkLst>
      </pc:sldChg>
      <pc:sldChg chg="modSp new mod">
        <pc:chgData name="Jean GRANDEMANGE" userId="faf07584-8716-430e-b66d-4ceae2fe8450" providerId="ADAL" clId="{5BA9D65E-4355-43B5-9FAC-0CE2D0775271}" dt="2023-01-27T15:29:34.850" v="8726" actId="20577"/>
        <pc:sldMkLst>
          <pc:docMk/>
          <pc:sldMk cId="1387257400" sldId="2147469884"/>
        </pc:sldMkLst>
        <pc:spChg chg="mod">
          <ac:chgData name="Jean GRANDEMANGE" userId="faf07584-8716-430e-b66d-4ceae2fe8450" providerId="ADAL" clId="{5BA9D65E-4355-43B5-9FAC-0CE2D0775271}" dt="2023-01-27T15:29:34.850" v="8726" actId="20577"/>
          <ac:spMkLst>
            <pc:docMk/>
            <pc:sldMk cId="1387257400" sldId="2147469884"/>
            <ac:spMk id="2" creationId="{9C60CDEE-2157-70E1-5284-139F63C326F6}"/>
          </ac:spMkLst>
        </pc:spChg>
      </pc:sldChg>
      <pc:sldChg chg="modSp add del mod ord">
        <pc:chgData name="Jean GRANDEMANGE" userId="faf07584-8716-430e-b66d-4ceae2fe8450" providerId="ADAL" clId="{5BA9D65E-4355-43B5-9FAC-0CE2D0775271}" dt="2023-01-27T15:10:56.342" v="8190" actId="47"/>
        <pc:sldMkLst>
          <pc:docMk/>
          <pc:sldMk cId="1699300396" sldId="2147469885"/>
        </pc:sldMkLst>
        <pc:spChg chg="mod">
          <ac:chgData name="Jean GRANDEMANGE" userId="faf07584-8716-430e-b66d-4ceae2fe8450" providerId="ADAL" clId="{5BA9D65E-4355-43B5-9FAC-0CE2D0775271}" dt="2023-01-27T15:10:27.355" v="8188" actId="20577"/>
          <ac:spMkLst>
            <pc:docMk/>
            <pc:sldMk cId="1699300396" sldId="2147469885"/>
            <ac:spMk id="2" creationId="{172F09DD-32B4-9A0A-5449-68CF40F4F99E}"/>
          </ac:spMkLst>
        </pc:spChg>
      </pc:sldChg>
      <pc:sldChg chg="addSp delSp modSp add del mod">
        <pc:chgData name="Jean GRANDEMANGE" userId="faf07584-8716-430e-b66d-4ceae2fe8450" providerId="ADAL" clId="{5BA9D65E-4355-43B5-9FAC-0CE2D0775271}" dt="2023-01-28T13:39:15.075" v="12837" actId="47"/>
        <pc:sldMkLst>
          <pc:docMk/>
          <pc:sldMk cId="1850673707" sldId="2147469885"/>
        </pc:sldMkLst>
        <pc:spChg chg="add del mod">
          <ac:chgData name="Jean GRANDEMANGE" userId="faf07584-8716-430e-b66d-4ceae2fe8450" providerId="ADAL" clId="{5BA9D65E-4355-43B5-9FAC-0CE2D0775271}" dt="2023-01-28T13:14:50.493" v="11800" actId="21"/>
          <ac:spMkLst>
            <pc:docMk/>
            <pc:sldMk cId="1850673707" sldId="2147469885"/>
            <ac:spMk id="4" creationId="{A28A04E0-C3DB-0192-00A8-A049CAD2F3F2}"/>
          </ac:spMkLst>
        </pc:spChg>
      </pc:sldChg>
      <pc:sldChg chg="addSp delSp modSp add del mod">
        <pc:chgData name="Jean GRANDEMANGE" userId="faf07584-8716-430e-b66d-4ceae2fe8450" providerId="ADAL" clId="{5BA9D65E-4355-43B5-9FAC-0CE2D0775271}" dt="2023-01-28T14:30:19.209" v="13945" actId="20577"/>
        <pc:sldMkLst>
          <pc:docMk/>
          <pc:sldMk cId="3022317248" sldId="2147469886"/>
        </pc:sldMkLst>
        <pc:spChg chg="mod">
          <ac:chgData name="Jean GRANDEMANGE" userId="faf07584-8716-430e-b66d-4ceae2fe8450" providerId="ADAL" clId="{5BA9D65E-4355-43B5-9FAC-0CE2D0775271}" dt="2023-01-28T13:30:44.104" v="11893" actId="14100"/>
          <ac:spMkLst>
            <pc:docMk/>
            <pc:sldMk cId="3022317248" sldId="2147469886"/>
            <ac:spMk id="2" creationId="{46F04B99-9B07-47CE-8EF3-B54C1C5C7B2E}"/>
          </ac:spMkLst>
        </pc:spChg>
        <pc:spChg chg="del">
          <ac:chgData name="Jean GRANDEMANGE" userId="faf07584-8716-430e-b66d-4ceae2fe8450" providerId="ADAL" clId="{5BA9D65E-4355-43B5-9FAC-0CE2D0775271}" dt="2023-01-28T13:29:59.166" v="11890" actId="478"/>
          <ac:spMkLst>
            <pc:docMk/>
            <pc:sldMk cId="3022317248" sldId="2147469886"/>
            <ac:spMk id="3" creationId="{4B48BF1A-07AD-439E-B7D7-B84AD7FC5EB6}"/>
          </ac:spMkLst>
        </pc:spChg>
        <pc:spChg chg="del">
          <ac:chgData name="Jean GRANDEMANGE" userId="faf07584-8716-430e-b66d-4ceae2fe8450" providerId="ADAL" clId="{5BA9D65E-4355-43B5-9FAC-0CE2D0775271}" dt="2023-01-28T13:29:59.166" v="11890" actId="478"/>
          <ac:spMkLst>
            <pc:docMk/>
            <pc:sldMk cId="3022317248" sldId="2147469886"/>
            <ac:spMk id="4" creationId="{2FB42E69-0295-0199-36B1-6821D42742D0}"/>
          </ac:spMkLst>
        </pc:spChg>
        <pc:spChg chg="add del mod">
          <ac:chgData name="Jean GRANDEMANGE" userId="faf07584-8716-430e-b66d-4ceae2fe8450" providerId="ADAL" clId="{5BA9D65E-4355-43B5-9FAC-0CE2D0775271}" dt="2023-01-28T13:30:01.171" v="11891" actId="478"/>
          <ac:spMkLst>
            <pc:docMk/>
            <pc:sldMk cId="3022317248" sldId="2147469886"/>
            <ac:spMk id="7" creationId="{DC39C6BF-247E-371E-B7CC-7182E38183FA}"/>
          </ac:spMkLst>
        </pc:spChg>
        <pc:spChg chg="add mod">
          <ac:chgData name="Jean GRANDEMANGE" userId="faf07584-8716-430e-b66d-4ceae2fe8450" providerId="ADAL" clId="{5BA9D65E-4355-43B5-9FAC-0CE2D0775271}" dt="2023-01-28T14:30:19.209" v="13945" actId="20577"/>
          <ac:spMkLst>
            <pc:docMk/>
            <pc:sldMk cId="3022317248" sldId="2147469886"/>
            <ac:spMk id="8" creationId="{FB0CDFF6-BD66-292F-252E-3C3C933B30C1}"/>
          </ac:spMkLst>
        </pc:spChg>
        <pc:graphicFrameChg chg="del">
          <ac:chgData name="Jean GRANDEMANGE" userId="faf07584-8716-430e-b66d-4ceae2fe8450" providerId="ADAL" clId="{5BA9D65E-4355-43B5-9FAC-0CE2D0775271}" dt="2023-01-28T13:29:59.166" v="11890" actId="478"/>
          <ac:graphicFrameMkLst>
            <pc:docMk/>
            <pc:sldMk cId="3022317248" sldId="2147469886"/>
            <ac:graphicFrameMk id="16" creationId="{ACA727D1-6BF4-4EBB-8786-3C359BF50ED4}"/>
          </ac:graphicFrameMkLst>
        </pc:graphicFrameChg>
        <pc:graphicFrameChg chg="del">
          <ac:chgData name="Jean GRANDEMANGE" userId="faf07584-8716-430e-b66d-4ceae2fe8450" providerId="ADAL" clId="{5BA9D65E-4355-43B5-9FAC-0CE2D0775271}" dt="2023-01-28T13:29:59.166" v="11890" actId="478"/>
          <ac:graphicFrameMkLst>
            <pc:docMk/>
            <pc:sldMk cId="3022317248" sldId="2147469886"/>
            <ac:graphicFrameMk id="17" creationId="{2671BC23-6AD4-4E14-A26D-9E38094C7F5B}"/>
          </ac:graphicFrameMkLst>
        </pc:graphicFrameChg>
        <pc:picChg chg="del">
          <ac:chgData name="Jean GRANDEMANGE" userId="faf07584-8716-430e-b66d-4ceae2fe8450" providerId="ADAL" clId="{5BA9D65E-4355-43B5-9FAC-0CE2D0775271}" dt="2023-01-28T13:30:45.716" v="11894" actId="478"/>
          <ac:picMkLst>
            <pc:docMk/>
            <pc:sldMk cId="3022317248" sldId="2147469886"/>
            <ac:picMk id="5" creationId="{7E45DF64-ABF3-4EB1-9E7E-1C6839AB8E26}"/>
          </ac:picMkLst>
        </pc:picChg>
      </pc:sldChg>
      <pc:sldChg chg="add del">
        <pc:chgData name="Jean GRANDEMANGE" userId="faf07584-8716-430e-b66d-4ceae2fe8450" providerId="ADAL" clId="{5BA9D65E-4355-43B5-9FAC-0CE2D0775271}" dt="2023-01-28T13:28:51.418" v="11878" actId="47"/>
        <pc:sldMkLst>
          <pc:docMk/>
          <pc:sldMk cId="3126069371" sldId="2147469886"/>
        </pc:sldMkLst>
      </pc:sldChg>
      <pc:sldChg chg="addSp delSp modSp add del mod chgLayout">
        <pc:chgData name="Jean GRANDEMANGE" userId="faf07584-8716-430e-b66d-4ceae2fe8450" providerId="ADAL" clId="{5BA9D65E-4355-43B5-9FAC-0CE2D0775271}" dt="2023-01-28T14:05:24.425" v="13803" actId="47"/>
        <pc:sldMkLst>
          <pc:docMk/>
          <pc:sldMk cId="2771380386" sldId="2147469887"/>
        </pc:sldMkLst>
        <pc:spChg chg="add del mod ord">
          <ac:chgData name="Jean GRANDEMANGE" userId="faf07584-8716-430e-b66d-4ceae2fe8450" providerId="ADAL" clId="{5BA9D65E-4355-43B5-9FAC-0CE2D0775271}" dt="2023-01-28T14:02:11.989" v="13780" actId="478"/>
          <ac:spMkLst>
            <pc:docMk/>
            <pc:sldMk cId="2771380386" sldId="2147469887"/>
            <ac:spMk id="2" creationId="{77D16A17-F533-8E9A-AB64-2ED5CF9EFF26}"/>
          </ac:spMkLst>
        </pc:spChg>
        <pc:spChg chg="mod ord">
          <ac:chgData name="Jean GRANDEMANGE" userId="faf07584-8716-430e-b66d-4ceae2fe8450" providerId="ADAL" clId="{5BA9D65E-4355-43B5-9FAC-0CE2D0775271}" dt="2023-01-28T14:01:12.648" v="13769" actId="700"/>
          <ac:spMkLst>
            <pc:docMk/>
            <pc:sldMk cId="2771380386" sldId="2147469887"/>
            <ac:spMk id="37" creationId="{7AF0E430-CDB8-4B45-8379-46CBA595C178}"/>
          </ac:spMkLst>
        </pc:spChg>
      </pc:sldChg>
      <pc:sldChg chg="addSp delSp modSp add mod chgLayout">
        <pc:chgData name="Jean GRANDEMANGE" userId="faf07584-8716-430e-b66d-4ceae2fe8450" providerId="ADAL" clId="{5BA9D65E-4355-43B5-9FAC-0CE2D0775271}" dt="2023-01-28T14:02:15.203" v="13781" actId="478"/>
        <pc:sldMkLst>
          <pc:docMk/>
          <pc:sldMk cId="4223880988" sldId="2147469888"/>
        </pc:sldMkLst>
        <pc:spChg chg="add del mod ord">
          <ac:chgData name="Jean GRANDEMANGE" userId="faf07584-8716-430e-b66d-4ceae2fe8450" providerId="ADAL" clId="{5BA9D65E-4355-43B5-9FAC-0CE2D0775271}" dt="2023-01-28T14:02:15.203" v="13781" actId="478"/>
          <ac:spMkLst>
            <pc:docMk/>
            <pc:sldMk cId="4223880988" sldId="2147469888"/>
            <ac:spMk id="2" creationId="{3F72456C-E4BA-6228-FF84-951A9E689A05}"/>
          </ac:spMkLst>
        </pc:spChg>
        <pc:spChg chg="mod ord">
          <ac:chgData name="Jean GRANDEMANGE" userId="faf07584-8716-430e-b66d-4ceae2fe8450" providerId="ADAL" clId="{5BA9D65E-4355-43B5-9FAC-0CE2D0775271}" dt="2023-01-28T14:01:12.648" v="13769" actId="700"/>
          <ac:spMkLst>
            <pc:docMk/>
            <pc:sldMk cId="4223880988" sldId="2147469888"/>
            <ac:spMk id="47" creationId="{4EB4DA47-1B07-4D3C-9DED-DE11A36CCA89}"/>
          </ac:spMkLst>
        </pc:spChg>
      </pc:sldChg>
      <pc:sldChg chg="addSp delSp modSp add mod ord chgLayout">
        <pc:chgData name="Jean GRANDEMANGE" userId="faf07584-8716-430e-b66d-4ceae2fe8450" providerId="ADAL" clId="{5BA9D65E-4355-43B5-9FAC-0CE2D0775271}" dt="2023-01-28T14:10:50.338" v="13867"/>
        <pc:sldMkLst>
          <pc:docMk/>
          <pc:sldMk cId="3056375761" sldId="2147469889"/>
        </pc:sldMkLst>
        <pc:spChg chg="add del mod ord">
          <ac:chgData name="Jean GRANDEMANGE" userId="faf07584-8716-430e-b66d-4ceae2fe8450" providerId="ADAL" clId="{5BA9D65E-4355-43B5-9FAC-0CE2D0775271}" dt="2023-01-28T14:02:18.421" v="13782" actId="478"/>
          <ac:spMkLst>
            <pc:docMk/>
            <pc:sldMk cId="3056375761" sldId="2147469889"/>
            <ac:spMk id="2" creationId="{5FA72662-E857-DFAD-4F46-B8FEBDE8210B}"/>
          </ac:spMkLst>
        </pc:spChg>
        <pc:spChg chg="mod ord">
          <ac:chgData name="Jean GRANDEMANGE" userId="faf07584-8716-430e-b66d-4ceae2fe8450" providerId="ADAL" clId="{5BA9D65E-4355-43B5-9FAC-0CE2D0775271}" dt="2023-01-28T14:01:12.648" v="13769" actId="700"/>
          <ac:spMkLst>
            <pc:docMk/>
            <pc:sldMk cId="3056375761" sldId="2147469889"/>
            <ac:spMk id="47" creationId="{287EC781-7B9F-4A52-8AD3-FC0BE2A69008}"/>
          </ac:spMkLst>
        </pc:spChg>
      </pc:sldChg>
      <pc:sldChg chg="addSp delSp modSp add mod ord chgLayout">
        <pc:chgData name="Jean GRANDEMANGE" userId="faf07584-8716-430e-b66d-4ceae2fe8450" providerId="ADAL" clId="{5BA9D65E-4355-43B5-9FAC-0CE2D0775271}" dt="2023-01-28T14:05:15.802" v="13800" actId="478"/>
        <pc:sldMkLst>
          <pc:docMk/>
          <pc:sldMk cId="3710779901" sldId="2147469890"/>
        </pc:sldMkLst>
        <pc:spChg chg="add del mod ord">
          <ac:chgData name="Jean GRANDEMANGE" userId="faf07584-8716-430e-b66d-4ceae2fe8450" providerId="ADAL" clId="{5BA9D65E-4355-43B5-9FAC-0CE2D0775271}" dt="2023-01-28T14:05:15.802" v="13800" actId="478"/>
          <ac:spMkLst>
            <pc:docMk/>
            <pc:sldMk cId="3710779901" sldId="2147469890"/>
            <ac:spMk id="2" creationId="{B3E7B2A3-B547-56CD-885E-E0EDE3AB1270}"/>
          </ac:spMkLst>
        </pc:spChg>
        <pc:spChg chg="mod ord">
          <ac:chgData name="Jean GRANDEMANGE" userId="faf07584-8716-430e-b66d-4ceae2fe8450" providerId="ADAL" clId="{5BA9D65E-4355-43B5-9FAC-0CE2D0775271}" dt="2023-01-28T14:01:12.648" v="13769" actId="700"/>
          <ac:spMkLst>
            <pc:docMk/>
            <pc:sldMk cId="3710779901" sldId="2147469890"/>
            <ac:spMk id="4" creationId="{02E0AA63-85D1-4F53-82A9-F8989AB6DE77}"/>
          </ac:spMkLst>
        </pc:spChg>
      </pc:sldChg>
      <pc:sldChg chg="addSp delSp modSp add mod chgLayout">
        <pc:chgData name="Jean GRANDEMANGE" userId="faf07584-8716-430e-b66d-4ceae2fe8450" providerId="ADAL" clId="{5BA9D65E-4355-43B5-9FAC-0CE2D0775271}" dt="2023-01-28T14:05:09.841" v="13799" actId="478"/>
        <pc:sldMkLst>
          <pc:docMk/>
          <pc:sldMk cId="2926241385" sldId="2147469891"/>
        </pc:sldMkLst>
        <pc:spChg chg="add del mod ord">
          <ac:chgData name="Jean GRANDEMANGE" userId="faf07584-8716-430e-b66d-4ceae2fe8450" providerId="ADAL" clId="{5BA9D65E-4355-43B5-9FAC-0CE2D0775271}" dt="2023-01-28T14:05:09.841" v="13799" actId="478"/>
          <ac:spMkLst>
            <pc:docMk/>
            <pc:sldMk cId="2926241385" sldId="2147469891"/>
            <ac:spMk id="2" creationId="{B28DAC8D-83EC-7C29-EEBB-0BBA9EFB4E95}"/>
          </ac:spMkLst>
        </pc:spChg>
        <pc:spChg chg="mod ord">
          <ac:chgData name="Jean GRANDEMANGE" userId="faf07584-8716-430e-b66d-4ceae2fe8450" providerId="ADAL" clId="{5BA9D65E-4355-43B5-9FAC-0CE2D0775271}" dt="2023-01-28T14:01:12.648" v="13769" actId="700"/>
          <ac:spMkLst>
            <pc:docMk/>
            <pc:sldMk cId="2926241385" sldId="2147469891"/>
            <ac:spMk id="4" creationId="{C02C53D2-8273-4F13-B522-E8A7FA00583E}"/>
          </ac:spMkLst>
        </pc:spChg>
      </pc:sldChg>
      <pc:sldChg chg="addSp delSp modSp add mod ord chgLayout">
        <pc:chgData name="Jean GRANDEMANGE" userId="faf07584-8716-430e-b66d-4ceae2fe8450" providerId="ADAL" clId="{5BA9D65E-4355-43B5-9FAC-0CE2D0775271}" dt="2023-01-28T14:05:05.604" v="13798" actId="478"/>
        <pc:sldMkLst>
          <pc:docMk/>
          <pc:sldMk cId="1403616602" sldId="2147469892"/>
        </pc:sldMkLst>
        <pc:spChg chg="add del mod ord">
          <ac:chgData name="Jean GRANDEMANGE" userId="faf07584-8716-430e-b66d-4ceae2fe8450" providerId="ADAL" clId="{5BA9D65E-4355-43B5-9FAC-0CE2D0775271}" dt="2023-01-28T14:05:05.604" v="13798" actId="478"/>
          <ac:spMkLst>
            <pc:docMk/>
            <pc:sldMk cId="1403616602" sldId="2147469892"/>
            <ac:spMk id="2" creationId="{0BBC80C8-659A-B361-6935-DD0AE790100F}"/>
          </ac:spMkLst>
        </pc:spChg>
        <pc:spChg chg="mod ord">
          <ac:chgData name="Jean GRANDEMANGE" userId="faf07584-8716-430e-b66d-4ceae2fe8450" providerId="ADAL" clId="{5BA9D65E-4355-43B5-9FAC-0CE2D0775271}" dt="2023-01-28T14:01:12.648" v="13769" actId="700"/>
          <ac:spMkLst>
            <pc:docMk/>
            <pc:sldMk cId="1403616602" sldId="2147469892"/>
            <ac:spMk id="5" creationId="{F0DE5095-ABEA-4EB9-B3D9-F7D2E28C2BF1}"/>
          </ac:spMkLst>
        </pc:spChg>
      </pc:sldChg>
      <pc:sldChg chg="delSp add del mod">
        <pc:chgData name="Jean GRANDEMANGE" userId="faf07584-8716-430e-b66d-4ceae2fe8450" providerId="ADAL" clId="{5BA9D65E-4355-43B5-9FAC-0CE2D0775271}" dt="2023-01-28T14:10:02.425" v="13858" actId="47"/>
        <pc:sldMkLst>
          <pc:docMk/>
          <pc:sldMk cId="3340342223" sldId="2147469904"/>
        </pc:sldMkLst>
        <pc:picChg chg="del">
          <ac:chgData name="Jean GRANDEMANGE" userId="faf07584-8716-430e-b66d-4ceae2fe8450" providerId="ADAL" clId="{5BA9D65E-4355-43B5-9FAC-0CE2D0775271}" dt="2023-01-28T14:08:17.117" v="13823" actId="21"/>
          <ac:picMkLst>
            <pc:docMk/>
            <pc:sldMk cId="3340342223" sldId="2147469904"/>
            <ac:picMk id="8" creationId="{4BA8045C-0650-AC67-1C77-6E19D84527EF}"/>
          </ac:picMkLst>
        </pc:picChg>
      </pc:sldChg>
      <pc:sldChg chg="addSp delSp modSp add mod ord">
        <pc:chgData name="Jean GRANDEMANGE" userId="faf07584-8716-430e-b66d-4ceae2fe8450" providerId="ADAL" clId="{5BA9D65E-4355-43B5-9FAC-0CE2D0775271}" dt="2023-01-28T14:11:43.272" v="13869"/>
        <pc:sldMkLst>
          <pc:docMk/>
          <pc:sldMk cId="111370079" sldId="2147469905"/>
        </pc:sldMkLst>
        <pc:spChg chg="mod">
          <ac:chgData name="Jean GRANDEMANGE" userId="faf07584-8716-430e-b66d-4ceae2fe8450" providerId="ADAL" clId="{5BA9D65E-4355-43B5-9FAC-0CE2D0775271}" dt="2023-01-28T14:09:35.991" v="13849" actId="207"/>
          <ac:spMkLst>
            <pc:docMk/>
            <pc:sldMk cId="111370079" sldId="2147469905"/>
            <ac:spMk id="4" creationId="{450E885F-CB2F-4E95-886E-E8D8E2244E73}"/>
          </ac:spMkLst>
        </pc:spChg>
        <pc:spChg chg="mod">
          <ac:chgData name="Jean GRANDEMANGE" userId="faf07584-8716-430e-b66d-4ceae2fe8450" providerId="ADAL" clId="{5BA9D65E-4355-43B5-9FAC-0CE2D0775271}" dt="2023-01-28T14:09:06.371" v="13842" actId="404"/>
          <ac:spMkLst>
            <pc:docMk/>
            <pc:sldMk cId="111370079" sldId="2147469905"/>
            <ac:spMk id="5" creationId="{A24F215C-5D38-4D94-98E4-6F79CB6ED7AE}"/>
          </ac:spMkLst>
        </pc:spChg>
        <pc:spChg chg="mod">
          <ac:chgData name="Jean GRANDEMANGE" userId="faf07584-8716-430e-b66d-4ceae2fe8450" providerId="ADAL" clId="{5BA9D65E-4355-43B5-9FAC-0CE2D0775271}" dt="2023-01-28T14:09:12.740" v="13843" actId="207"/>
          <ac:spMkLst>
            <pc:docMk/>
            <pc:sldMk cId="111370079" sldId="2147469905"/>
            <ac:spMk id="6" creationId="{6EB30CA8-B515-40F5-B9DA-EB9D6BC675C1}"/>
          </ac:spMkLst>
        </pc:spChg>
        <pc:spChg chg="mod">
          <ac:chgData name="Jean GRANDEMANGE" userId="faf07584-8716-430e-b66d-4ceae2fe8450" providerId="ADAL" clId="{5BA9D65E-4355-43B5-9FAC-0CE2D0775271}" dt="2023-01-28T14:09:33.318" v="13848" actId="1076"/>
          <ac:spMkLst>
            <pc:docMk/>
            <pc:sldMk cId="111370079" sldId="2147469905"/>
            <ac:spMk id="7" creationId="{C80C49F3-7F7C-4E1C-87FC-160DF0512BBA}"/>
          </ac:spMkLst>
        </pc:spChg>
        <pc:spChg chg="mod">
          <ac:chgData name="Jean GRANDEMANGE" userId="faf07584-8716-430e-b66d-4ceae2fe8450" providerId="ADAL" clId="{5BA9D65E-4355-43B5-9FAC-0CE2D0775271}" dt="2023-01-28T14:09:19.826" v="13844"/>
          <ac:spMkLst>
            <pc:docMk/>
            <pc:sldMk cId="111370079" sldId="2147469905"/>
            <ac:spMk id="9" creationId="{90E83FA2-56E8-4B0F-A8BF-D86F21FA244B}"/>
          </ac:spMkLst>
        </pc:spChg>
        <pc:spChg chg="mod">
          <ac:chgData name="Jean GRANDEMANGE" userId="faf07584-8716-430e-b66d-4ceae2fe8450" providerId="ADAL" clId="{5BA9D65E-4355-43B5-9FAC-0CE2D0775271}" dt="2023-01-28T14:09:55.088" v="13854" actId="404"/>
          <ac:spMkLst>
            <pc:docMk/>
            <pc:sldMk cId="111370079" sldId="2147469905"/>
            <ac:spMk id="10" creationId="{5F7E6CCF-B199-4119-B01F-D897B857803E}"/>
          </ac:spMkLst>
        </pc:spChg>
        <pc:spChg chg="mod">
          <ac:chgData name="Jean GRANDEMANGE" userId="faf07584-8716-430e-b66d-4ceae2fe8450" providerId="ADAL" clId="{5BA9D65E-4355-43B5-9FAC-0CE2D0775271}" dt="2023-01-28T14:09:59.246" v="13857" actId="2711"/>
          <ac:spMkLst>
            <pc:docMk/>
            <pc:sldMk cId="111370079" sldId="2147469905"/>
            <ac:spMk id="11" creationId="{CBF37176-EFF2-4452-BAFA-E0714DEC5B24}"/>
          </ac:spMkLst>
        </pc:spChg>
        <pc:spChg chg="mod">
          <ac:chgData name="Jean GRANDEMANGE" userId="faf07584-8716-430e-b66d-4ceae2fe8450" providerId="ADAL" clId="{5BA9D65E-4355-43B5-9FAC-0CE2D0775271}" dt="2023-01-28T14:09:02.715" v="13839" actId="1076"/>
          <ac:spMkLst>
            <pc:docMk/>
            <pc:sldMk cId="111370079" sldId="2147469905"/>
            <ac:spMk id="22" creationId="{912922B0-BD84-47B9-B977-77EA1E26378C}"/>
          </ac:spMkLst>
        </pc:spChg>
        <pc:spChg chg="mod">
          <ac:chgData name="Jean GRANDEMANGE" userId="faf07584-8716-430e-b66d-4ceae2fe8450" providerId="ADAL" clId="{5BA9D65E-4355-43B5-9FAC-0CE2D0775271}" dt="2023-01-28T14:08:13.511" v="13822"/>
          <ac:spMkLst>
            <pc:docMk/>
            <pc:sldMk cId="111370079" sldId="2147469905"/>
            <ac:spMk id="47" creationId="{2FA51D8D-1F55-46CA-BC6F-B6724F81E550}"/>
          </ac:spMkLst>
        </pc:spChg>
        <pc:grpChg chg="mod">
          <ac:chgData name="Jean GRANDEMANGE" userId="faf07584-8716-430e-b66d-4ceae2fe8450" providerId="ADAL" clId="{5BA9D65E-4355-43B5-9FAC-0CE2D0775271}" dt="2023-01-28T14:09:02.715" v="13839" actId="1076"/>
          <ac:grpSpMkLst>
            <pc:docMk/>
            <pc:sldMk cId="111370079" sldId="2147469905"/>
            <ac:grpSpMk id="23" creationId="{5FA8A847-C565-4CF8-92F6-988DE84028D9}"/>
          </ac:grpSpMkLst>
        </pc:grpChg>
        <pc:picChg chg="add mod">
          <ac:chgData name="Jean GRANDEMANGE" userId="faf07584-8716-430e-b66d-4ceae2fe8450" providerId="ADAL" clId="{5BA9D65E-4355-43B5-9FAC-0CE2D0775271}" dt="2023-01-28T14:08:21.906" v="13826" actId="1076"/>
          <ac:picMkLst>
            <pc:docMk/>
            <pc:sldMk cId="111370079" sldId="2147469905"/>
            <ac:picMk id="2" creationId="{E9D90E91-99D5-3FB3-E3C4-BCE292C718EA}"/>
          </ac:picMkLst>
        </pc:picChg>
        <pc:picChg chg="del">
          <ac:chgData name="Jean GRANDEMANGE" userId="faf07584-8716-430e-b66d-4ceae2fe8450" providerId="ADAL" clId="{5BA9D65E-4355-43B5-9FAC-0CE2D0775271}" dt="2023-01-28T14:08:19.488" v="13824" actId="478"/>
          <ac:picMkLst>
            <pc:docMk/>
            <pc:sldMk cId="111370079" sldId="2147469905"/>
            <ac:picMk id="13" creationId="{60C50C53-A4C4-44C1-9EB8-EE28CE4F6383}"/>
          </ac:picMkLst>
        </pc:picChg>
        <pc:cxnChg chg="mod">
          <ac:chgData name="Jean GRANDEMANGE" userId="faf07584-8716-430e-b66d-4ceae2fe8450" providerId="ADAL" clId="{5BA9D65E-4355-43B5-9FAC-0CE2D0775271}" dt="2023-01-28T14:09:33.318" v="13848" actId="1076"/>
          <ac:cxnSpMkLst>
            <pc:docMk/>
            <pc:sldMk cId="111370079" sldId="2147469905"/>
            <ac:cxnSpMk id="8" creationId="{1ECBDBF6-7600-4466-B7C5-4EA995850031}"/>
          </ac:cxnSpMkLst>
        </pc:cxnChg>
        <pc:cxnChg chg="mod">
          <ac:chgData name="Jean GRANDEMANGE" userId="faf07584-8716-430e-b66d-4ceae2fe8450" providerId="ADAL" clId="{5BA9D65E-4355-43B5-9FAC-0CE2D0775271}" dt="2023-01-28T14:09:02.715" v="13839" actId="1076"/>
          <ac:cxnSpMkLst>
            <pc:docMk/>
            <pc:sldMk cId="111370079" sldId="2147469905"/>
            <ac:cxnSpMk id="48" creationId="{7123327D-F065-486F-B980-5ABCCCA5D74E}"/>
          </ac:cxnSpMkLst>
        </pc:cxnChg>
      </pc:sldChg>
      <pc:sldChg chg="modSp add mod">
        <pc:chgData name="Jean GRANDEMANGE" userId="faf07584-8716-430e-b66d-4ceae2fe8450" providerId="ADAL" clId="{5BA9D65E-4355-43B5-9FAC-0CE2D0775271}" dt="2023-01-28T14:13:10.537" v="13916" actId="20577"/>
        <pc:sldMkLst>
          <pc:docMk/>
          <pc:sldMk cId="1194252908" sldId="2147469906"/>
        </pc:sldMkLst>
        <pc:spChg chg="mod">
          <ac:chgData name="Jean GRANDEMANGE" userId="faf07584-8716-430e-b66d-4ceae2fe8450" providerId="ADAL" clId="{5BA9D65E-4355-43B5-9FAC-0CE2D0775271}" dt="2023-01-28T14:12:19.180" v="13879" actId="20577"/>
          <ac:spMkLst>
            <pc:docMk/>
            <pc:sldMk cId="1194252908" sldId="2147469906"/>
            <ac:spMk id="5" creationId="{70339847-6730-45BF-B67E-E0A08394BD0E}"/>
          </ac:spMkLst>
        </pc:spChg>
        <pc:spChg chg="mod">
          <ac:chgData name="Jean GRANDEMANGE" userId="faf07584-8716-430e-b66d-4ceae2fe8450" providerId="ADAL" clId="{5BA9D65E-4355-43B5-9FAC-0CE2D0775271}" dt="2023-01-28T14:12:57.374" v="13885" actId="1076"/>
          <ac:spMkLst>
            <pc:docMk/>
            <pc:sldMk cId="1194252908" sldId="2147469906"/>
            <ac:spMk id="6" creationId="{92CEAF61-06DC-40F5-B1EC-0BD2289502CF}"/>
          </ac:spMkLst>
        </pc:spChg>
        <pc:spChg chg="mod">
          <ac:chgData name="Jean GRANDEMANGE" userId="faf07584-8716-430e-b66d-4ceae2fe8450" providerId="ADAL" clId="{5BA9D65E-4355-43B5-9FAC-0CE2D0775271}" dt="2023-01-28T14:12:26.034" v="13880"/>
          <ac:spMkLst>
            <pc:docMk/>
            <pc:sldMk cId="1194252908" sldId="2147469906"/>
            <ac:spMk id="7" creationId="{454F57F2-F9FB-4E64-B393-231632DFF634}"/>
          </ac:spMkLst>
        </pc:spChg>
        <pc:spChg chg="mod">
          <ac:chgData name="Jean GRANDEMANGE" userId="faf07584-8716-430e-b66d-4ceae2fe8450" providerId="ADAL" clId="{5BA9D65E-4355-43B5-9FAC-0CE2D0775271}" dt="2023-01-28T14:12:37.119" v="13882"/>
          <ac:spMkLst>
            <pc:docMk/>
            <pc:sldMk cId="1194252908" sldId="2147469906"/>
            <ac:spMk id="8" creationId="{A55396BB-ED90-4AF1-B3E7-95C4A561FC64}"/>
          </ac:spMkLst>
        </pc:spChg>
        <pc:spChg chg="mod">
          <ac:chgData name="Jean GRANDEMANGE" userId="faf07584-8716-430e-b66d-4ceae2fe8450" providerId="ADAL" clId="{5BA9D65E-4355-43B5-9FAC-0CE2D0775271}" dt="2023-01-28T14:12:43.282" v="13883"/>
          <ac:spMkLst>
            <pc:docMk/>
            <pc:sldMk cId="1194252908" sldId="2147469906"/>
            <ac:spMk id="11" creationId="{82BD4905-A683-4CEA-BD63-8F5D7EEB380C}"/>
          </ac:spMkLst>
        </pc:spChg>
        <pc:spChg chg="mod">
          <ac:chgData name="Jean GRANDEMANGE" userId="faf07584-8716-430e-b66d-4ceae2fe8450" providerId="ADAL" clId="{5BA9D65E-4355-43B5-9FAC-0CE2D0775271}" dt="2023-01-28T14:13:03.045" v="13893" actId="20577"/>
          <ac:spMkLst>
            <pc:docMk/>
            <pc:sldMk cId="1194252908" sldId="2147469906"/>
            <ac:spMk id="12" creationId="{44C5ADA4-1448-4EE7-B4F7-A0525FCB2BFB}"/>
          </ac:spMkLst>
        </pc:spChg>
        <pc:spChg chg="mod">
          <ac:chgData name="Jean GRANDEMANGE" userId="faf07584-8716-430e-b66d-4ceae2fe8450" providerId="ADAL" clId="{5BA9D65E-4355-43B5-9FAC-0CE2D0775271}" dt="2023-01-28T14:13:10.537" v="13916" actId="20577"/>
          <ac:spMkLst>
            <pc:docMk/>
            <pc:sldMk cId="1194252908" sldId="2147469906"/>
            <ac:spMk id="13" creationId="{AAF466C2-EB65-4890-B0EA-BFFA505D8809}"/>
          </ac:spMkLst>
        </pc:spChg>
        <pc:spChg chg="mod">
          <ac:chgData name="Jean GRANDEMANGE" userId="faf07584-8716-430e-b66d-4ceae2fe8450" providerId="ADAL" clId="{5BA9D65E-4355-43B5-9FAC-0CE2D0775271}" dt="2023-01-28T14:12:30.056" v="13881" actId="1076"/>
          <ac:spMkLst>
            <pc:docMk/>
            <pc:sldMk cId="1194252908" sldId="2147469906"/>
            <ac:spMk id="22" creationId="{E52953EF-7889-4F01-B03C-04FE41C4FC11}"/>
          </ac:spMkLst>
        </pc:spChg>
        <pc:spChg chg="mod">
          <ac:chgData name="Jean GRANDEMANGE" userId="faf07584-8716-430e-b66d-4ceae2fe8450" providerId="ADAL" clId="{5BA9D65E-4355-43B5-9FAC-0CE2D0775271}" dt="2023-01-28T14:12:57.374" v="13885" actId="1076"/>
          <ac:spMkLst>
            <pc:docMk/>
            <pc:sldMk cId="1194252908" sldId="2147469906"/>
            <ac:spMk id="38" creationId="{2059E199-762A-4830-8D70-D0DE13C0D036}"/>
          </ac:spMkLst>
        </pc:spChg>
        <pc:grpChg chg="mod">
          <ac:chgData name="Jean GRANDEMANGE" userId="faf07584-8716-430e-b66d-4ceae2fe8450" providerId="ADAL" clId="{5BA9D65E-4355-43B5-9FAC-0CE2D0775271}" dt="2023-01-28T14:12:30.056" v="13881" actId="1076"/>
          <ac:grpSpMkLst>
            <pc:docMk/>
            <pc:sldMk cId="1194252908" sldId="2147469906"/>
            <ac:grpSpMk id="23" creationId="{10C5CA00-66FF-4BC6-9BCD-754F46F9A8C8}"/>
          </ac:grpSpMkLst>
        </pc:grpChg>
        <pc:grpChg chg="mod">
          <ac:chgData name="Jean GRANDEMANGE" userId="faf07584-8716-430e-b66d-4ceae2fe8450" providerId="ADAL" clId="{5BA9D65E-4355-43B5-9FAC-0CE2D0775271}" dt="2023-01-28T14:12:57.374" v="13885" actId="1076"/>
          <ac:grpSpMkLst>
            <pc:docMk/>
            <pc:sldMk cId="1194252908" sldId="2147469906"/>
            <ac:grpSpMk id="39" creationId="{FC079DB5-7579-4895-9745-6A4C80123A6F}"/>
          </ac:grpSpMkLst>
        </pc:grpChg>
        <pc:cxnChg chg="mod">
          <ac:chgData name="Jean GRANDEMANGE" userId="faf07584-8716-430e-b66d-4ceae2fe8450" providerId="ADAL" clId="{5BA9D65E-4355-43B5-9FAC-0CE2D0775271}" dt="2023-01-28T14:12:30.056" v="13881" actId="1076"/>
          <ac:cxnSpMkLst>
            <pc:docMk/>
            <pc:sldMk cId="1194252908" sldId="2147469906"/>
            <ac:cxnSpMk id="47" creationId="{4A826A4B-4D36-4EB9-A2CA-7FF778E65137}"/>
          </ac:cxnSpMkLst>
        </pc:cxnChg>
      </pc:sldChg>
      <pc:sldMasterChg chg="delSp mod delSldLayout">
        <pc:chgData name="Jean GRANDEMANGE" userId="faf07584-8716-430e-b66d-4ceae2fe8450" providerId="ADAL" clId="{5BA9D65E-4355-43B5-9FAC-0CE2D0775271}" dt="2023-01-28T13:59:07.661" v="13766" actId="47"/>
        <pc:sldMasterMkLst>
          <pc:docMk/>
          <pc:sldMasterMk cId="0" sldId="2147483648"/>
        </pc:sldMasterMkLst>
        <pc:spChg chg="del">
          <ac:chgData name="Jean GRANDEMANGE" userId="faf07584-8716-430e-b66d-4ceae2fe8450" providerId="ADAL" clId="{5BA9D65E-4355-43B5-9FAC-0CE2D0775271}" dt="2023-01-27T10:01:42.855" v="323" actId="478"/>
          <ac:spMkLst>
            <pc:docMk/>
            <pc:sldMasterMk cId="0" sldId="2147483648"/>
            <ac:spMk id="2" creationId="{ADE6A152-6897-4C69-9843-4C738BFDEA82}"/>
          </ac:spMkLst>
        </pc:spChg>
        <pc:sldLayoutChg chg="del">
          <pc:chgData name="Jean GRANDEMANGE" userId="faf07584-8716-430e-b66d-4ceae2fe8450" providerId="ADAL" clId="{5BA9D65E-4355-43B5-9FAC-0CE2D0775271}" dt="2023-01-27T13:52:33.394" v="6719" actId="2696"/>
          <pc:sldLayoutMkLst>
            <pc:docMk/>
            <pc:sldMasterMk cId="0" sldId="2147483648"/>
            <pc:sldLayoutMk cId="19504011" sldId="2147483847"/>
          </pc:sldLayoutMkLst>
        </pc:sldLayoutChg>
        <pc:sldLayoutChg chg="del">
          <pc:chgData name="Jean GRANDEMANGE" userId="faf07584-8716-430e-b66d-4ceae2fe8450" providerId="ADAL" clId="{5BA9D65E-4355-43B5-9FAC-0CE2D0775271}" dt="2023-01-28T13:59:07.661" v="13766" actId="47"/>
          <pc:sldLayoutMkLst>
            <pc:docMk/>
            <pc:sldMasterMk cId="0" sldId="2147483648"/>
            <pc:sldLayoutMk cId="678918328" sldId="2147483847"/>
          </pc:sldLayoutMkLst>
        </pc:sldLayoutChg>
      </pc:sldMasterChg>
    </pc:docChg>
  </pc:docChgLst>
  <pc:docChgLst>
    <pc:chgData name="Simone NERI" userId="S::simone.neri@talan.com::2a00f2ad-68d9-45e6-b604-268bfad9cc5e" providerId="AD" clId="Web-{60CB0D1F-3D49-80D8-48DD-672C68AE770B}"/>
    <pc:docChg chg="modSld">
      <pc:chgData name="Simone NERI" userId="S::simone.neri@talan.com::2a00f2ad-68d9-45e6-b604-268bfad9cc5e" providerId="AD" clId="Web-{60CB0D1F-3D49-80D8-48DD-672C68AE770B}" dt="2023-03-03T07:46:05.094" v="2"/>
      <pc:docMkLst>
        <pc:docMk/>
      </pc:docMkLst>
      <pc:sldChg chg="modSp modCm">
        <pc:chgData name="Simone NERI" userId="S::simone.neri@talan.com::2a00f2ad-68d9-45e6-b604-268bfad9cc5e" providerId="AD" clId="Web-{60CB0D1F-3D49-80D8-48DD-672C68AE770B}" dt="2023-03-03T07:46:05.094" v="2"/>
        <pc:sldMkLst>
          <pc:docMk/>
          <pc:sldMk cId="696799349" sldId="2145706869"/>
        </pc:sldMkLst>
        <pc:picChg chg="mod">
          <ac:chgData name="Simone NERI" userId="S::simone.neri@talan.com::2a00f2ad-68d9-45e6-b604-268bfad9cc5e" providerId="AD" clId="Web-{60CB0D1F-3D49-80D8-48DD-672C68AE770B}" dt="2023-03-03T07:40:42.491" v="1" actId="1076"/>
          <ac:picMkLst>
            <pc:docMk/>
            <pc:sldMk cId="696799349" sldId="2145706869"/>
            <ac:picMk id="5" creationId="{3D53FBC8-A5F0-0E5D-E973-83CE926230DC}"/>
          </ac:picMkLst>
        </pc:picChg>
        <pc:extLst>
          <p:ext xmlns:p="http://schemas.openxmlformats.org/presentationml/2006/main" uri="{D6D511B9-2390-475A-947B-AFAB55BFBCF1}">
            <pc226:cmChg xmlns:pc226="http://schemas.microsoft.com/office/powerpoint/2022/06/main/command" chg="">
              <pc226:chgData name="Simone NERI" userId="S::simone.neri@talan.com::2a00f2ad-68d9-45e6-b604-268bfad9cc5e" providerId="AD" clId="Web-{60CB0D1F-3D49-80D8-48DD-672C68AE770B}" dt="2023-03-03T07:46:05.094" v="2"/>
              <pc2:cmMkLst xmlns:pc2="http://schemas.microsoft.com/office/powerpoint/2019/9/main/command">
                <pc:docMk/>
                <pc:sldMk cId="696799349" sldId="2145706869"/>
                <pc2:cmMk id="{4F3613F7-334A-4293-AE00-EDC89C489B79}"/>
              </pc2:cmMkLst>
              <pc226:cmRplyChg chg="add">
                <pc226:chgData name="Simone NERI" userId="S::simone.neri@talan.com::2a00f2ad-68d9-45e6-b604-268bfad9cc5e" providerId="AD" clId="Web-{60CB0D1F-3D49-80D8-48DD-672C68AE770B}" dt="2023-03-03T07:46:05.094" v="2"/>
                <pc2:cmRplyMkLst xmlns:pc2="http://schemas.microsoft.com/office/powerpoint/2019/9/main/command">
                  <pc:docMk/>
                  <pc:sldMk cId="696799349" sldId="2145706869"/>
                  <pc2:cmMk id="{4F3613F7-334A-4293-AE00-EDC89C489B79}"/>
                  <pc2:cmRplyMk id="{EE5B4D9B-F11A-4CB9-B38D-86D558ED7C4C}"/>
                </pc2:cmRplyMkLst>
              </pc226:cmRplyChg>
              <pc226:cmRplyChg chg="add">
                <pc226:chgData name="Simone NERI" userId="S::simone.neri@talan.com::2a00f2ad-68d9-45e6-b604-268bfad9cc5e" providerId="AD" clId="Web-{60CB0D1F-3D49-80D8-48DD-672C68AE770B}" dt="2023-03-03T07:40:36.428" v="0"/>
                <pc2:cmRplyMkLst xmlns:pc2="http://schemas.microsoft.com/office/powerpoint/2019/9/main/command">
                  <pc:docMk/>
                  <pc:sldMk cId="696799349" sldId="2145706869"/>
                  <pc2:cmMk id="{4F3613F7-334A-4293-AE00-EDC89C489B79}"/>
                  <pc2:cmRplyMk id="{B969EBD0-4D84-4445-A04F-632FD204010A}"/>
                </pc2:cmRplyMkLst>
              </pc226:cmRplyChg>
            </pc226:cmChg>
          </p:ext>
        </pc:extLst>
      </pc:sldChg>
    </pc:docChg>
  </pc:docChgLst>
  <pc:docChgLst>
    <pc:chgData name="Kawtar SADIQ" userId="S::kawtar.sadiq@talan.com::65df04e4-2d23-4bab-afb0-40df8a2c1b9f" providerId="AD" clId="Web-{3E0B69AC-6399-10A0-80F8-E9E874F290A3}"/>
    <pc:docChg chg="modSld">
      <pc:chgData name="Kawtar SADIQ" userId="S::kawtar.sadiq@talan.com::65df04e4-2d23-4bab-afb0-40df8a2c1b9f" providerId="AD" clId="Web-{3E0B69AC-6399-10A0-80F8-E9E874F290A3}" dt="2022-11-10T14:33:15.879" v="15"/>
      <pc:docMkLst>
        <pc:docMk/>
      </pc:docMkLst>
      <pc:sldChg chg="modSp">
        <pc:chgData name="Kawtar SADIQ" userId="S::kawtar.sadiq@talan.com::65df04e4-2d23-4bab-afb0-40df8a2c1b9f" providerId="AD" clId="Web-{3E0B69AC-6399-10A0-80F8-E9E874F290A3}" dt="2022-11-10T14:33:15.879" v="15"/>
        <pc:sldMkLst>
          <pc:docMk/>
          <pc:sldMk cId="597395649" sldId="2076138151"/>
        </pc:sldMkLst>
        <pc:graphicFrameChg chg="mod modGraphic">
          <ac:chgData name="Kawtar SADIQ" userId="S::kawtar.sadiq@talan.com::65df04e4-2d23-4bab-afb0-40df8a2c1b9f" providerId="AD" clId="Web-{3E0B69AC-6399-10A0-80F8-E9E874F290A3}" dt="2022-11-10T14:33:15.879" v="15"/>
          <ac:graphicFrameMkLst>
            <pc:docMk/>
            <pc:sldMk cId="597395649" sldId="2076138151"/>
            <ac:graphicFrameMk id="4" creationId="{56B5E6AA-A3D6-4848-B567-F17A8508B457}"/>
          </ac:graphicFrameMkLst>
        </pc:graphicFrameChg>
      </pc:sldChg>
    </pc:docChg>
  </pc:docChgLst>
  <pc:docChgLst>
    <pc:chgData name="Simone NERI" userId="2a00f2ad-68d9-45e6-b604-268bfad9cc5e" providerId="ADAL" clId="{D888A4E8-4B4E-4F9E-AD90-7B2ECDAE1265}"/>
    <pc:docChg chg="undo redo custSel addSld delSld modSld sldOrd delSection modSection">
      <pc:chgData name="Simone NERI" userId="2a00f2ad-68d9-45e6-b604-268bfad9cc5e" providerId="ADAL" clId="{D888A4E8-4B4E-4F9E-AD90-7B2ECDAE1265}" dt="2023-03-08T10:34:47.493" v="10203" actId="465"/>
      <pc:docMkLst>
        <pc:docMk/>
      </pc:docMkLst>
      <pc:sldChg chg="delSp del mod modCm">
        <pc:chgData name="Simone NERI" userId="2a00f2ad-68d9-45e6-b604-268bfad9cc5e" providerId="ADAL" clId="{D888A4E8-4B4E-4F9E-AD90-7B2ECDAE1265}" dt="2023-03-03T08:19:11.904" v="1923" actId="47"/>
        <pc:sldMkLst>
          <pc:docMk/>
          <pc:sldMk cId="1905401398" sldId="8792"/>
        </pc:sldMkLst>
        <pc:spChg chg="del">
          <ac:chgData name="Simone NERI" userId="2a00f2ad-68d9-45e6-b604-268bfad9cc5e" providerId="ADAL" clId="{D888A4E8-4B4E-4F9E-AD90-7B2ECDAE1265}" dt="2023-03-03T08:19:09.202" v="1921" actId="478"/>
          <ac:spMkLst>
            <pc:docMk/>
            <pc:sldMk cId="1905401398" sldId="8792"/>
            <ac:spMk id="14" creationId="{3F9A9D68-7306-1F08-5889-C04E9FE32663}"/>
          </ac:spMkLst>
        </pc:spChg>
        <pc:extLst>
          <p:ext xmlns:p="http://schemas.openxmlformats.org/presentationml/2006/main" uri="{D6D511B9-2390-475A-947B-AFAB55BFBCF1}">
            <pc226:cmChg xmlns:pc226="http://schemas.microsoft.com/office/powerpoint/2022/06/main/command" chg="mod">
              <pc226:chgData name="Simone NERI" userId="2a00f2ad-68d9-45e6-b604-268bfad9cc5e" providerId="ADAL" clId="{D888A4E8-4B4E-4F9E-AD90-7B2ECDAE1265}" dt="2023-03-03T08:19:09.217" v="1922" actId="2056"/>
              <pc2:cmMkLst xmlns:pc2="http://schemas.microsoft.com/office/powerpoint/2019/9/main/command">
                <pc:docMk/>
                <pc:sldMk cId="1905401398" sldId="8792"/>
                <pc2:cmMk id="{4694D34D-45C9-4C15-B20B-14060FFA343F}"/>
              </pc2:cmMkLst>
            </pc226:cmChg>
          </p:ext>
        </pc:extLst>
      </pc:sldChg>
      <pc:sldChg chg="del">
        <pc:chgData name="Simone NERI" userId="2a00f2ad-68d9-45e6-b604-268bfad9cc5e" providerId="ADAL" clId="{D888A4E8-4B4E-4F9E-AD90-7B2ECDAE1265}" dt="2023-03-07T21:47:58.145" v="9215" actId="47"/>
        <pc:sldMkLst>
          <pc:docMk/>
          <pc:sldMk cId="3534434500" sldId="2076137187"/>
        </pc:sldMkLst>
      </pc:sldChg>
      <pc:sldChg chg="addSp modSp">
        <pc:chgData name="Simone NERI" userId="2a00f2ad-68d9-45e6-b604-268bfad9cc5e" providerId="ADAL" clId="{D888A4E8-4B4E-4F9E-AD90-7B2ECDAE1265}" dt="2023-03-08T09:19:57.728" v="9348" actId="1038"/>
        <pc:sldMkLst>
          <pc:docMk/>
          <pc:sldMk cId="2383861275" sldId="2076138044"/>
        </pc:sldMkLst>
        <pc:spChg chg="add mod">
          <ac:chgData name="Simone NERI" userId="2a00f2ad-68d9-45e6-b604-268bfad9cc5e" providerId="ADAL" clId="{D888A4E8-4B4E-4F9E-AD90-7B2ECDAE1265}" dt="2023-03-08T09:19:23.885" v="9314"/>
          <ac:spMkLst>
            <pc:docMk/>
            <pc:sldMk cId="2383861275" sldId="2076138044"/>
            <ac:spMk id="9" creationId="{2EC9C8D5-B09A-5AB2-F045-3256B0F29B90}"/>
          </ac:spMkLst>
        </pc:spChg>
        <pc:spChg chg="mod">
          <ac:chgData name="Simone NERI" userId="2a00f2ad-68d9-45e6-b604-268bfad9cc5e" providerId="ADAL" clId="{D888A4E8-4B4E-4F9E-AD90-7B2ECDAE1265}" dt="2023-03-08T09:19:57.728" v="9348" actId="1038"/>
          <ac:spMkLst>
            <pc:docMk/>
            <pc:sldMk cId="2383861275" sldId="2076138044"/>
            <ac:spMk id="22" creationId="{0A58666B-6C99-C825-4CDF-E9123AB6BFEB}"/>
          </ac:spMkLst>
        </pc:spChg>
        <pc:spChg chg="mod">
          <ac:chgData name="Simone NERI" userId="2a00f2ad-68d9-45e6-b604-268bfad9cc5e" providerId="ADAL" clId="{D888A4E8-4B4E-4F9E-AD90-7B2ECDAE1265}" dt="2023-03-08T09:19:57.728" v="9348" actId="1038"/>
          <ac:spMkLst>
            <pc:docMk/>
            <pc:sldMk cId="2383861275" sldId="2076138044"/>
            <ac:spMk id="37" creationId="{5BDBD31E-408B-8CE6-D747-FFCF17677E7C}"/>
          </ac:spMkLst>
        </pc:spChg>
        <pc:spChg chg="mod">
          <ac:chgData name="Simone NERI" userId="2a00f2ad-68d9-45e6-b604-268bfad9cc5e" providerId="ADAL" clId="{D888A4E8-4B4E-4F9E-AD90-7B2ECDAE1265}" dt="2023-03-08T09:19:57.728" v="9348" actId="1038"/>
          <ac:spMkLst>
            <pc:docMk/>
            <pc:sldMk cId="2383861275" sldId="2076138044"/>
            <ac:spMk id="39" creationId="{63C8351B-A7AC-7EC3-6D8B-76A54D696157}"/>
          </ac:spMkLst>
        </pc:spChg>
        <pc:spChg chg="mod">
          <ac:chgData name="Simone NERI" userId="2a00f2ad-68d9-45e6-b604-268bfad9cc5e" providerId="ADAL" clId="{D888A4E8-4B4E-4F9E-AD90-7B2ECDAE1265}" dt="2023-03-08T09:19:57.728" v="9348" actId="1038"/>
          <ac:spMkLst>
            <pc:docMk/>
            <pc:sldMk cId="2383861275" sldId="2076138044"/>
            <ac:spMk id="40" creationId="{52FE328A-F897-0517-5CD0-4340FE6A80C3}"/>
          </ac:spMkLst>
        </pc:spChg>
        <pc:spChg chg="mod">
          <ac:chgData name="Simone NERI" userId="2a00f2ad-68d9-45e6-b604-268bfad9cc5e" providerId="ADAL" clId="{D888A4E8-4B4E-4F9E-AD90-7B2ECDAE1265}" dt="2023-03-08T09:19:57.728" v="9348" actId="1038"/>
          <ac:spMkLst>
            <pc:docMk/>
            <pc:sldMk cId="2383861275" sldId="2076138044"/>
            <ac:spMk id="41" creationId="{56426CD1-1D4C-DD74-5961-7480BAF5CE68}"/>
          </ac:spMkLst>
        </pc:spChg>
        <pc:spChg chg="mod">
          <ac:chgData name="Simone NERI" userId="2a00f2ad-68d9-45e6-b604-268bfad9cc5e" providerId="ADAL" clId="{D888A4E8-4B4E-4F9E-AD90-7B2ECDAE1265}" dt="2023-03-08T09:19:57.728" v="9348" actId="1038"/>
          <ac:spMkLst>
            <pc:docMk/>
            <pc:sldMk cId="2383861275" sldId="2076138044"/>
            <ac:spMk id="42" creationId="{54DC318A-8951-2DA9-0EC9-6B3CEB275961}"/>
          </ac:spMkLst>
        </pc:spChg>
        <pc:spChg chg="mod">
          <ac:chgData name="Simone NERI" userId="2a00f2ad-68d9-45e6-b604-268bfad9cc5e" providerId="ADAL" clId="{D888A4E8-4B4E-4F9E-AD90-7B2ECDAE1265}" dt="2023-03-08T09:19:57.728" v="9348" actId="1038"/>
          <ac:spMkLst>
            <pc:docMk/>
            <pc:sldMk cId="2383861275" sldId="2076138044"/>
            <ac:spMk id="43" creationId="{FD6C8871-A5B9-0CD4-AA00-48C2D90FE52D}"/>
          </ac:spMkLst>
        </pc:spChg>
        <pc:spChg chg="mod">
          <ac:chgData name="Simone NERI" userId="2a00f2ad-68d9-45e6-b604-268bfad9cc5e" providerId="ADAL" clId="{D888A4E8-4B4E-4F9E-AD90-7B2ECDAE1265}" dt="2023-03-08T09:19:57.728" v="9348" actId="1038"/>
          <ac:spMkLst>
            <pc:docMk/>
            <pc:sldMk cId="2383861275" sldId="2076138044"/>
            <ac:spMk id="45" creationId="{541F317E-1F76-EA74-61CB-ED71355C0BC5}"/>
          </ac:spMkLst>
        </pc:spChg>
        <pc:spChg chg="mod">
          <ac:chgData name="Simone NERI" userId="2a00f2ad-68d9-45e6-b604-268bfad9cc5e" providerId="ADAL" clId="{D888A4E8-4B4E-4F9E-AD90-7B2ECDAE1265}" dt="2023-03-08T09:19:57.728" v="9348" actId="1038"/>
          <ac:spMkLst>
            <pc:docMk/>
            <pc:sldMk cId="2383861275" sldId="2076138044"/>
            <ac:spMk id="47" creationId="{4CF850CE-8E84-7F4D-0913-7D452281A5C2}"/>
          </ac:spMkLst>
        </pc:spChg>
        <pc:spChg chg="mod">
          <ac:chgData name="Simone NERI" userId="2a00f2ad-68d9-45e6-b604-268bfad9cc5e" providerId="ADAL" clId="{D888A4E8-4B4E-4F9E-AD90-7B2ECDAE1265}" dt="2023-03-08T09:19:57.728" v="9348" actId="1038"/>
          <ac:spMkLst>
            <pc:docMk/>
            <pc:sldMk cId="2383861275" sldId="2076138044"/>
            <ac:spMk id="48" creationId="{29153632-0758-C94C-CFED-5ABB7C3DF752}"/>
          </ac:spMkLst>
        </pc:spChg>
        <pc:spChg chg="mod">
          <ac:chgData name="Simone NERI" userId="2a00f2ad-68d9-45e6-b604-268bfad9cc5e" providerId="ADAL" clId="{D888A4E8-4B4E-4F9E-AD90-7B2ECDAE1265}" dt="2023-03-08T09:19:57.728" v="9348" actId="1038"/>
          <ac:spMkLst>
            <pc:docMk/>
            <pc:sldMk cId="2383861275" sldId="2076138044"/>
            <ac:spMk id="49" creationId="{0DF07F5C-871D-FC52-2FFD-56E1AEEC84A1}"/>
          </ac:spMkLst>
        </pc:spChg>
        <pc:spChg chg="mod">
          <ac:chgData name="Simone NERI" userId="2a00f2ad-68d9-45e6-b604-268bfad9cc5e" providerId="ADAL" clId="{D888A4E8-4B4E-4F9E-AD90-7B2ECDAE1265}" dt="2023-03-08T09:19:57.728" v="9348" actId="1038"/>
          <ac:spMkLst>
            <pc:docMk/>
            <pc:sldMk cId="2383861275" sldId="2076138044"/>
            <ac:spMk id="51" creationId="{14438894-039F-CB9B-5F3A-3409025422F3}"/>
          </ac:spMkLst>
        </pc:spChg>
        <pc:spChg chg="mod">
          <ac:chgData name="Simone NERI" userId="2a00f2ad-68d9-45e6-b604-268bfad9cc5e" providerId="ADAL" clId="{D888A4E8-4B4E-4F9E-AD90-7B2ECDAE1265}" dt="2023-03-08T09:19:57.728" v="9348" actId="1038"/>
          <ac:spMkLst>
            <pc:docMk/>
            <pc:sldMk cId="2383861275" sldId="2076138044"/>
            <ac:spMk id="53" creationId="{F7E88EA7-93A5-8628-7D2C-64584CF1A61A}"/>
          </ac:spMkLst>
        </pc:spChg>
        <pc:spChg chg="mod">
          <ac:chgData name="Simone NERI" userId="2a00f2ad-68d9-45e6-b604-268bfad9cc5e" providerId="ADAL" clId="{D888A4E8-4B4E-4F9E-AD90-7B2ECDAE1265}" dt="2023-03-08T09:19:57.728" v="9348" actId="1038"/>
          <ac:spMkLst>
            <pc:docMk/>
            <pc:sldMk cId="2383861275" sldId="2076138044"/>
            <ac:spMk id="54" creationId="{78F50166-65B4-AFCA-B659-026689576C62}"/>
          </ac:spMkLst>
        </pc:spChg>
        <pc:spChg chg="mod">
          <ac:chgData name="Simone NERI" userId="2a00f2ad-68d9-45e6-b604-268bfad9cc5e" providerId="ADAL" clId="{D888A4E8-4B4E-4F9E-AD90-7B2ECDAE1265}" dt="2023-03-08T09:19:57.728" v="9348" actId="1038"/>
          <ac:spMkLst>
            <pc:docMk/>
            <pc:sldMk cId="2383861275" sldId="2076138044"/>
            <ac:spMk id="55" creationId="{6D638F5B-5219-0554-AC40-56B1F17BB3FA}"/>
          </ac:spMkLst>
        </pc:spChg>
        <pc:spChg chg="mod">
          <ac:chgData name="Simone NERI" userId="2a00f2ad-68d9-45e6-b604-268bfad9cc5e" providerId="ADAL" clId="{D888A4E8-4B4E-4F9E-AD90-7B2ECDAE1265}" dt="2023-03-08T09:19:57.728" v="9348" actId="1038"/>
          <ac:spMkLst>
            <pc:docMk/>
            <pc:sldMk cId="2383861275" sldId="2076138044"/>
            <ac:spMk id="56" creationId="{CF1B5CC3-E597-DDD6-DEB8-D55D1FE7F1F6}"/>
          </ac:spMkLst>
        </pc:spChg>
        <pc:spChg chg="mod">
          <ac:chgData name="Simone NERI" userId="2a00f2ad-68d9-45e6-b604-268bfad9cc5e" providerId="ADAL" clId="{D888A4E8-4B4E-4F9E-AD90-7B2ECDAE1265}" dt="2023-03-08T09:19:57.728" v="9348" actId="1038"/>
          <ac:spMkLst>
            <pc:docMk/>
            <pc:sldMk cId="2383861275" sldId="2076138044"/>
            <ac:spMk id="57" creationId="{86A505EB-BC6E-9B6A-FB04-FDD3E7B506D8}"/>
          </ac:spMkLst>
        </pc:spChg>
        <pc:spChg chg="mod">
          <ac:chgData name="Simone NERI" userId="2a00f2ad-68d9-45e6-b604-268bfad9cc5e" providerId="ADAL" clId="{D888A4E8-4B4E-4F9E-AD90-7B2ECDAE1265}" dt="2023-03-08T09:19:57.728" v="9348" actId="1038"/>
          <ac:spMkLst>
            <pc:docMk/>
            <pc:sldMk cId="2383861275" sldId="2076138044"/>
            <ac:spMk id="58" creationId="{73DE1DCA-4FFA-4BC0-4406-BA9AE7CD7371}"/>
          </ac:spMkLst>
        </pc:spChg>
        <pc:spChg chg="mod">
          <ac:chgData name="Simone NERI" userId="2a00f2ad-68d9-45e6-b604-268bfad9cc5e" providerId="ADAL" clId="{D888A4E8-4B4E-4F9E-AD90-7B2ECDAE1265}" dt="2023-03-08T09:19:57.728" v="9348" actId="1038"/>
          <ac:spMkLst>
            <pc:docMk/>
            <pc:sldMk cId="2383861275" sldId="2076138044"/>
            <ac:spMk id="59" creationId="{7276E124-20E7-170B-B54D-BDB6E1E2A1F1}"/>
          </ac:spMkLst>
        </pc:spChg>
        <pc:spChg chg="mod">
          <ac:chgData name="Simone NERI" userId="2a00f2ad-68d9-45e6-b604-268bfad9cc5e" providerId="ADAL" clId="{D888A4E8-4B4E-4F9E-AD90-7B2ECDAE1265}" dt="2023-03-08T09:19:57.728" v="9348" actId="1038"/>
          <ac:spMkLst>
            <pc:docMk/>
            <pc:sldMk cId="2383861275" sldId="2076138044"/>
            <ac:spMk id="60" creationId="{5E57B6BD-3B1B-4D58-5C5F-265681C27441}"/>
          </ac:spMkLst>
        </pc:spChg>
        <pc:spChg chg="mod">
          <ac:chgData name="Simone NERI" userId="2a00f2ad-68d9-45e6-b604-268bfad9cc5e" providerId="ADAL" clId="{D888A4E8-4B4E-4F9E-AD90-7B2ECDAE1265}" dt="2023-03-08T09:19:57.728" v="9348" actId="1038"/>
          <ac:spMkLst>
            <pc:docMk/>
            <pc:sldMk cId="2383861275" sldId="2076138044"/>
            <ac:spMk id="62" creationId="{7C7D4679-7AE2-F4E6-DFE8-225528C13E15}"/>
          </ac:spMkLst>
        </pc:spChg>
        <pc:spChg chg="mod">
          <ac:chgData name="Simone NERI" userId="2a00f2ad-68d9-45e6-b604-268bfad9cc5e" providerId="ADAL" clId="{D888A4E8-4B4E-4F9E-AD90-7B2ECDAE1265}" dt="2023-03-08T09:19:57.728" v="9348" actId="1038"/>
          <ac:spMkLst>
            <pc:docMk/>
            <pc:sldMk cId="2383861275" sldId="2076138044"/>
            <ac:spMk id="64" creationId="{2B3231F8-FD9A-2AC4-2E19-6EA88EC72CAC}"/>
          </ac:spMkLst>
        </pc:spChg>
        <pc:spChg chg="mod">
          <ac:chgData name="Simone NERI" userId="2a00f2ad-68d9-45e6-b604-268bfad9cc5e" providerId="ADAL" clId="{D888A4E8-4B4E-4F9E-AD90-7B2ECDAE1265}" dt="2023-03-08T09:19:57.728" v="9348" actId="1038"/>
          <ac:spMkLst>
            <pc:docMk/>
            <pc:sldMk cId="2383861275" sldId="2076138044"/>
            <ac:spMk id="65" creationId="{7FD96C10-85A6-63CB-F810-53A339CDCC8B}"/>
          </ac:spMkLst>
        </pc:spChg>
        <pc:spChg chg="mod">
          <ac:chgData name="Simone NERI" userId="2a00f2ad-68d9-45e6-b604-268bfad9cc5e" providerId="ADAL" clId="{D888A4E8-4B4E-4F9E-AD90-7B2ECDAE1265}" dt="2023-03-08T09:19:57.728" v="9348" actId="1038"/>
          <ac:spMkLst>
            <pc:docMk/>
            <pc:sldMk cId="2383861275" sldId="2076138044"/>
            <ac:spMk id="66" creationId="{C1CFFF8A-67D0-7112-EF06-72E7DBF77B64}"/>
          </ac:spMkLst>
        </pc:spChg>
        <pc:spChg chg="mod">
          <ac:chgData name="Simone NERI" userId="2a00f2ad-68d9-45e6-b604-268bfad9cc5e" providerId="ADAL" clId="{D888A4E8-4B4E-4F9E-AD90-7B2ECDAE1265}" dt="2023-03-08T09:19:57.728" v="9348" actId="1038"/>
          <ac:spMkLst>
            <pc:docMk/>
            <pc:sldMk cId="2383861275" sldId="2076138044"/>
            <ac:spMk id="68" creationId="{6686A077-7EED-A10E-9C70-494A27AC5DF4}"/>
          </ac:spMkLst>
        </pc:spChg>
        <pc:spChg chg="mod">
          <ac:chgData name="Simone NERI" userId="2a00f2ad-68d9-45e6-b604-268bfad9cc5e" providerId="ADAL" clId="{D888A4E8-4B4E-4F9E-AD90-7B2ECDAE1265}" dt="2023-03-08T09:19:57.728" v="9348" actId="1038"/>
          <ac:spMkLst>
            <pc:docMk/>
            <pc:sldMk cId="2383861275" sldId="2076138044"/>
            <ac:spMk id="70" creationId="{F489E3C2-B1DB-881C-D33A-7872E4D22E63}"/>
          </ac:spMkLst>
        </pc:spChg>
        <pc:spChg chg="mod">
          <ac:chgData name="Simone NERI" userId="2a00f2ad-68d9-45e6-b604-268bfad9cc5e" providerId="ADAL" clId="{D888A4E8-4B4E-4F9E-AD90-7B2ECDAE1265}" dt="2023-03-08T09:19:57.728" v="9348" actId="1038"/>
          <ac:spMkLst>
            <pc:docMk/>
            <pc:sldMk cId="2383861275" sldId="2076138044"/>
            <ac:spMk id="71" creationId="{C9DEFD58-8724-24FD-ED03-18AC11F488EB}"/>
          </ac:spMkLst>
        </pc:spChg>
        <pc:spChg chg="mod">
          <ac:chgData name="Simone NERI" userId="2a00f2ad-68d9-45e6-b604-268bfad9cc5e" providerId="ADAL" clId="{D888A4E8-4B4E-4F9E-AD90-7B2ECDAE1265}" dt="2023-03-08T09:19:57.728" v="9348" actId="1038"/>
          <ac:spMkLst>
            <pc:docMk/>
            <pc:sldMk cId="2383861275" sldId="2076138044"/>
            <ac:spMk id="72" creationId="{279CB26E-45E6-60D5-FA17-C40797B68F7A}"/>
          </ac:spMkLst>
        </pc:spChg>
        <pc:grpChg chg="add mod">
          <ac:chgData name="Simone NERI" userId="2a00f2ad-68d9-45e6-b604-268bfad9cc5e" providerId="ADAL" clId="{D888A4E8-4B4E-4F9E-AD90-7B2ECDAE1265}" dt="2023-03-08T09:19:57.728" v="9348" actId="1038"/>
          <ac:grpSpMkLst>
            <pc:docMk/>
            <pc:sldMk cId="2383861275" sldId="2076138044"/>
            <ac:grpSpMk id="20" creationId="{B6415A77-A9F8-C130-FD8A-99229E69CB50}"/>
          </ac:grpSpMkLst>
        </pc:grpChg>
        <pc:grpChg chg="mod">
          <ac:chgData name="Simone NERI" userId="2a00f2ad-68d9-45e6-b604-268bfad9cc5e" providerId="ADAL" clId="{D888A4E8-4B4E-4F9E-AD90-7B2ECDAE1265}" dt="2023-03-08T09:19:57.728" v="9348" actId="1038"/>
          <ac:grpSpMkLst>
            <pc:docMk/>
            <pc:sldMk cId="2383861275" sldId="2076138044"/>
            <ac:grpSpMk id="24" creationId="{04BE39A6-449F-CB8E-217B-11A7E1313B04}"/>
          </ac:grpSpMkLst>
        </pc:grpChg>
        <pc:grpChg chg="mod">
          <ac:chgData name="Simone NERI" userId="2a00f2ad-68d9-45e6-b604-268bfad9cc5e" providerId="ADAL" clId="{D888A4E8-4B4E-4F9E-AD90-7B2ECDAE1265}" dt="2023-03-08T09:19:57.728" v="9348" actId="1038"/>
          <ac:grpSpMkLst>
            <pc:docMk/>
            <pc:sldMk cId="2383861275" sldId="2076138044"/>
            <ac:grpSpMk id="36" creationId="{26D1090C-F937-43DE-467C-3D4CA08670F1}"/>
          </ac:grpSpMkLst>
        </pc:grpChg>
        <pc:grpChg chg="mod">
          <ac:chgData name="Simone NERI" userId="2a00f2ad-68d9-45e6-b604-268bfad9cc5e" providerId="ADAL" clId="{D888A4E8-4B4E-4F9E-AD90-7B2ECDAE1265}" dt="2023-03-08T09:19:57.728" v="9348" actId="1038"/>
          <ac:grpSpMkLst>
            <pc:docMk/>
            <pc:sldMk cId="2383861275" sldId="2076138044"/>
            <ac:grpSpMk id="38" creationId="{C87AB4F7-C18C-531D-945D-7ABED4E00E46}"/>
          </ac:grpSpMkLst>
        </pc:grpChg>
        <pc:grpChg chg="mod">
          <ac:chgData name="Simone NERI" userId="2a00f2ad-68d9-45e6-b604-268bfad9cc5e" providerId="ADAL" clId="{D888A4E8-4B4E-4F9E-AD90-7B2ECDAE1265}" dt="2023-03-08T09:19:57.728" v="9348" actId="1038"/>
          <ac:grpSpMkLst>
            <pc:docMk/>
            <pc:sldMk cId="2383861275" sldId="2076138044"/>
            <ac:grpSpMk id="44" creationId="{8B97B61A-9D2A-08AF-3579-294760EC0F3C}"/>
          </ac:grpSpMkLst>
        </pc:grpChg>
        <pc:grpChg chg="mod">
          <ac:chgData name="Simone NERI" userId="2a00f2ad-68d9-45e6-b604-268bfad9cc5e" providerId="ADAL" clId="{D888A4E8-4B4E-4F9E-AD90-7B2ECDAE1265}" dt="2023-03-08T09:19:57.728" v="9348" actId="1038"/>
          <ac:grpSpMkLst>
            <pc:docMk/>
            <pc:sldMk cId="2383861275" sldId="2076138044"/>
            <ac:grpSpMk id="46" creationId="{6277C63E-3773-413C-5C08-F8586075FC2C}"/>
          </ac:grpSpMkLst>
        </pc:grpChg>
        <pc:grpChg chg="mod">
          <ac:chgData name="Simone NERI" userId="2a00f2ad-68d9-45e6-b604-268bfad9cc5e" providerId="ADAL" clId="{D888A4E8-4B4E-4F9E-AD90-7B2ECDAE1265}" dt="2023-03-08T09:19:57.728" v="9348" actId="1038"/>
          <ac:grpSpMkLst>
            <pc:docMk/>
            <pc:sldMk cId="2383861275" sldId="2076138044"/>
            <ac:grpSpMk id="50" creationId="{F6A261FD-4CF3-A880-7D44-83D80C12F091}"/>
          </ac:grpSpMkLst>
        </pc:grpChg>
        <pc:grpChg chg="mod">
          <ac:chgData name="Simone NERI" userId="2a00f2ad-68d9-45e6-b604-268bfad9cc5e" providerId="ADAL" clId="{D888A4E8-4B4E-4F9E-AD90-7B2ECDAE1265}" dt="2023-03-08T09:19:57.728" v="9348" actId="1038"/>
          <ac:grpSpMkLst>
            <pc:docMk/>
            <pc:sldMk cId="2383861275" sldId="2076138044"/>
            <ac:grpSpMk id="52" creationId="{30A6A82A-78F5-0FC0-CF68-FBB216BC5CB7}"/>
          </ac:grpSpMkLst>
        </pc:grpChg>
        <pc:grpChg chg="add mod">
          <ac:chgData name="Simone NERI" userId="2a00f2ad-68d9-45e6-b604-268bfad9cc5e" providerId="ADAL" clId="{D888A4E8-4B4E-4F9E-AD90-7B2ECDAE1265}" dt="2023-03-08T09:19:57.728" v="9348" actId="1038"/>
          <ac:grpSpMkLst>
            <pc:docMk/>
            <pc:sldMk cId="2383861275" sldId="2076138044"/>
            <ac:grpSpMk id="61" creationId="{8F05B246-D9AE-392E-D88F-BB5FD015452A}"/>
          </ac:grpSpMkLst>
        </pc:grpChg>
        <pc:grpChg chg="mod">
          <ac:chgData name="Simone NERI" userId="2a00f2ad-68d9-45e6-b604-268bfad9cc5e" providerId="ADAL" clId="{D888A4E8-4B4E-4F9E-AD90-7B2ECDAE1265}" dt="2023-03-08T09:19:57.728" v="9348" actId="1038"/>
          <ac:grpSpMkLst>
            <pc:docMk/>
            <pc:sldMk cId="2383861275" sldId="2076138044"/>
            <ac:grpSpMk id="63" creationId="{DDABE396-3CA3-AC8D-9745-56EC36EA9304}"/>
          </ac:grpSpMkLst>
        </pc:grpChg>
        <pc:grpChg chg="add mod">
          <ac:chgData name="Simone NERI" userId="2a00f2ad-68d9-45e6-b604-268bfad9cc5e" providerId="ADAL" clId="{D888A4E8-4B4E-4F9E-AD90-7B2ECDAE1265}" dt="2023-03-08T09:19:57.728" v="9348" actId="1038"/>
          <ac:grpSpMkLst>
            <pc:docMk/>
            <pc:sldMk cId="2383861275" sldId="2076138044"/>
            <ac:grpSpMk id="67" creationId="{EAC8EDBE-3A4C-1FE3-91CC-B47C268C137B}"/>
          </ac:grpSpMkLst>
        </pc:grpChg>
        <pc:grpChg chg="mod">
          <ac:chgData name="Simone NERI" userId="2a00f2ad-68d9-45e6-b604-268bfad9cc5e" providerId="ADAL" clId="{D888A4E8-4B4E-4F9E-AD90-7B2ECDAE1265}" dt="2023-03-08T09:19:57.728" v="9348" actId="1038"/>
          <ac:grpSpMkLst>
            <pc:docMk/>
            <pc:sldMk cId="2383861275" sldId="2076138044"/>
            <ac:grpSpMk id="69" creationId="{2603FBB7-D089-745B-C157-4FA587DCBB14}"/>
          </ac:grpSpMkLst>
        </pc:grpChg>
        <pc:graphicFrameChg chg="add mod">
          <ac:chgData name="Simone NERI" userId="2a00f2ad-68d9-45e6-b604-268bfad9cc5e" providerId="ADAL" clId="{D888A4E8-4B4E-4F9E-AD90-7B2ECDAE1265}" dt="2023-03-08T09:19:31.286" v="9315" actId="571"/>
          <ac:graphicFrameMkLst>
            <pc:docMk/>
            <pc:sldMk cId="2383861275" sldId="2076138044"/>
            <ac:graphicFrameMk id="12" creationId="{D5BB8C66-04D6-E1AF-3D3D-D02C3CABA575}"/>
          </ac:graphicFrameMkLst>
        </pc:graphicFrameChg>
      </pc:sldChg>
      <pc:sldChg chg="addSp delSp modSp mod">
        <pc:chgData name="Simone NERI" userId="2a00f2ad-68d9-45e6-b604-268bfad9cc5e" providerId="ADAL" clId="{D888A4E8-4B4E-4F9E-AD90-7B2ECDAE1265}" dt="2023-03-08T09:20:06.366" v="9349"/>
        <pc:sldMkLst>
          <pc:docMk/>
          <pc:sldMk cId="2353512255" sldId="2076138045"/>
        </pc:sldMkLst>
        <pc:spChg chg="mod">
          <ac:chgData name="Simone NERI" userId="2a00f2ad-68d9-45e6-b604-268bfad9cc5e" providerId="ADAL" clId="{D888A4E8-4B4E-4F9E-AD90-7B2ECDAE1265}" dt="2023-03-08T09:19:11.863" v="9312" actId="1076"/>
          <ac:spMkLst>
            <pc:docMk/>
            <pc:sldMk cId="2353512255" sldId="2076138045"/>
            <ac:spMk id="3" creationId="{06640372-43FE-3652-9D78-76EAB0F787A3}"/>
          </ac:spMkLst>
        </pc:spChg>
        <pc:spChg chg="mod">
          <ac:chgData name="Simone NERI" userId="2a00f2ad-68d9-45e6-b604-268bfad9cc5e" providerId="ADAL" clId="{D888A4E8-4B4E-4F9E-AD90-7B2ECDAE1265}" dt="2023-03-08T09:19:11.863" v="9312" actId="1076"/>
          <ac:spMkLst>
            <pc:docMk/>
            <pc:sldMk cId="2353512255" sldId="2076138045"/>
            <ac:spMk id="4" creationId="{268A378F-EE13-EC2A-1BCB-9FE9290DF506}"/>
          </ac:spMkLst>
        </pc:spChg>
        <pc:spChg chg="mod">
          <ac:chgData name="Simone NERI" userId="2a00f2ad-68d9-45e6-b604-268bfad9cc5e" providerId="ADAL" clId="{D888A4E8-4B4E-4F9E-AD90-7B2ECDAE1265}" dt="2023-03-08T09:19:11.863" v="9312" actId="1076"/>
          <ac:spMkLst>
            <pc:docMk/>
            <pc:sldMk cId="2353512255" sldId="2076138045"/>
            <ac:spMk id="5" creationId="{7FE13549-50B2-3D40-681D-A95E0FEC1273}"/>
          </ac:spMkLst>
        </pc:spChg>
        <pc:spChg chg="mod">
          <ac:chgData name="Simone NERI" userId="2a00f2ad-68d9-45e6-b604-268bfad9cc5e" providerId="ADAL" clId="{D888A4E8-4B4E-4F9E-AD90-7B2ECDAE1265}" dt="2023-03-08T09:19:11.863" v="9312" actId="1076"/>
          <ac:spMkLst>
            <pc:docMk/>
            <pc:sldMk cId="2353512255" sldId="2076138045"/>
            <ac:spMk id="6" creationId="{25C8F54A-BD38-065B-43EE-21BF969C1D90}"/>
          </ac:spMkLst>
        </pc:spChg>
        <pc:spChg chg="mod">
          <ac:chgData name="Simone NERI" userId="2a00f2ad-68d9-45e6-b604-268bfad9cc5e" providerId="ADAL" clId="{D888A4E8-4B4E-4F9E-AD90-7B2ECDAE1265}" dt="2023-03-08T09:19:11.863" v="9312" actId="1076"/>
          <ac:spMkLst>
            <pc:docMk/>
            <pc:sldMk cId="2353512255" sldId="2076138045"/>
            <ac:spMk id="7" creationId="{382D2580-1324-AA63-2FE8-F4A63239A782}"/>
          </ac:spMkLst>
        </pc:spChg>
        <pc:spChg chg="mod">
          <ac:chgData name="Simone NERI" userId="2a00f2ad-68d9-45e6-b604-268bfad9cc5e" providerId="ADAL" clId="{D888A4E8-4B4E-4F9E-AD90-7B2ECDAE1265}" dt="2023-03-08T09:19:11.863" v="9312" actId="1076"/>
          <ac:spMkLst>
            <pc:docMk/>
            <pc:sldMk cId="2353512255" sldId="2076138045"/>
            <ac:spMk id="8" creationId="{3323E853-2F3E-24BF-AEB6-75124E43085D}"/>
          </ac:spMkLst>
        </pc:spChg>
        <pc:spChg chg="mod">
          <ac:chgData name="Simone NERI" userId="2a00f2ad-68d9-45e6-b604-268bfad9cc5e" providerId="ADAL" clId="{D888A4E8-4B4E-4F9E-AD90-7B2ECDAE1265}" dt="2023-03-08T09:19:11.863" v="9312" actId="1076"/>
          <ac:spMkLst>
            <pc:docMk/>
            <pc:sldMk cId="2353512255" sldId="2076138045"/>
            <ac:spMk id="9" creationId="{A58667E3-B47F-8325-59D4-ED98DF465F97}"/>
          </ac:spMkLst>
        </pc:spChg>
        <pc:spChg chg="add mod">
          <ac:chgData name="Simone NERI" userId="2a00f2ad-68d9-45e6-b604-268bfad9cc5e" providerId="ADAL" clId="{D888A4E8-4B4E-4F9E-AD90-7B2ECDAE1265}" dt="2023-03-08T09:20:06.366" v="9349"/>
          <ac:spMkLst>
            <pc:docMk/>
            <pc:sldMk cId="2353512255" sldId="2076138045"/>
            <ac:spMk id="10" creationId="{46917C74-2E2F-DBED-C05D-C232572741B6}"/>
          </ac:spMkLst>
        </pc:spChg>
        <pc:spChg chg="del">
          <ac:chgData name="Simone NERI" userId="2a00f2ad-68d9-45e6-b604-268bfad9cc5e" providerId="ADAL" clId="{D888A4E8-4B4E-4F9E-AD90-7B2ECDAE1265}" dt="2023-03-08T09:19:02.001" v="9311" actId="478"/>
          <ac:spMkLst>
            <pc:docMk/>
            <pc:sldMk cId="2353512255" sldId="2076138045"/>
            <ac:spMk id="15" creationId="{CAA21C8E-0E9E-0344-15B8-668D718C3221}"/>
          </ac:spMkLst>
        </pc:spChg>
        <pc:spChg chg="mod">
          <ac:chgData name="Simone NERI" userId="2a00f2ad-68d9-45e6-b604-268bfad9cc5e" providerId="ADAL" clId="{D888A4E8-4B4E-4F9E-AD90-7B2ECDAE1265}" dt="2023-03-08T09:19:11.863" v="9312" actId="1076"/>
          <ac:spMkLst>
            <pc:docMk/>
            <pc:sldMk cId="2353512255" sldId="2076138045"/>
            <ac:spMk id="19" creationId="{C8D8C587-E1E9-CD43-7BEC-9A009D8B0663}"/>
          </ac:spMkLst>
        </pc:spChg>
        <pc:spChg chg="mod">
          <ac:chgData name="Simone NERI" userId="2a00f2ad-68d9-45e6-b604-268bfad9cc5e" providerId="ADAL" clId="{D888A4E8-4B4E-4F9E-AD90-7B2ECDAE1265}" dt="2023-03-08T09:19:11.863" v="9312" actId="1076"/>
          <ac:spMkLst>
            <pc:docMk/>
            <pc:sldMk cId="2353512255" sldId="2076138045"/>
            <ac:spMk id="26" creationId="{2D38D3B9-844D-2093-DE0B-BFECCC2D8468}"/>
          </ac:spMkLst>
        </pc:spChg>
        <pc:spChg chg="mod">
          <ac:chgData name="Simone NERI" userId="2a00f2ad-68d9-45e6-b604-268bfad9cc5e" providerId="ADAL" clId="{D888A4E8-4B4E-4F9E-AD90-7B2ECDAE1265}" dt="2023-03-08T09:19:11.863" v="9312" actId="1076"/>
          <ac:spMkLst>
            <pc:docMk/>
            <pc:sldMk cId="2353512255" sldId="2076138045"/>
            <ac:spMk id="27" creationId="{5F4236B1-21B5-2CE3-AD4E-88BB6C01F3F4}"/>
          </ac:spMkLst>
        </pc:spChg>
        <pc:picChg chg="mod">
          <ac:chgData name="Simone NERI" userId="2a00f2ad-68d9-45e6-b604-268bfad9cc5e" providerId="ADAL" clId="{D888A4E8-4B4E-4F9E-AD90-7B2ECDAE1265}" dt="2023-03-08T09:19:11.863" v="9312" actId="1076"/>
          <ac:picMkLst>
            <pc:docMk/>
            <pc:sldMk cId="2353512255" sldId="2076138045"/>
            <ac:picMk id="21" creationId="{C2330972-2A85-835D-CBC0-DEFF6C639346}"/>
          </ac:picMkLst>
        </pc:picChg>
        <pc:picChg chg="mod">
          <ac:chgData name="Simone NERI" userId="2a00f2ad-68d9-45e6-b604-268bfad9cc5e" providerId="ADAL" clId="{D888A4E8-4B4E-4F9E-AD90-7B2ECDAE1265}" dt="2023-03-08T09:19:11.863" v="9312" actId="1076"/>
          <ac:picMkLst>
            <pc:docMk/>
            <pc:sldMk cId="2353512255" sldId="2076138045"/>
            <ac:picMk id="22" creationId="{12D4B317-31C0-0813-981E-56A8B9FFD9F8}"/>
          </ac:picMkLst>
        </pc:picChg>
        <pc:picChg chg="mod">
          <ac:chgData name="Simone NERI" userId="2a00f2ad-68d9-45e6-b604-268bfad9cc5e" providerId="ADAL" clId="{D888A4E8-4B4E-4F9E-AD90-7B2ECDAE1265}" dt="2023-03-08T09:19:11.863" v="9312" actId="1076"/>
          <ac:picMkLst>
            <pc:docMk/>
            <pc:sldMk cId="2353512255" sldId="2076138045"/>
            <ac:picMk id="23" creationId="{4F2E33A0-6A8B-FD99-C2B0-654AB7E02FC2}"/>
          </ac:picMkLst>
        </pc:picChg>
      </pc:sldChg>
      <pc:sldChg chg="addSp modSp">
        <pc:chgData name="Simone NERI" userId="2a00f2ad-68d9-45e6-b604-268bfad9cc5e" providerId="ADAL" clId="{D888A4E8-4B4E-4F9E-AD90-7B2ECDAE1265}" dt="2023-03-08T09:19:20.934" v="9313"/>
        <pc:sldMkLst>
          <pc:docMk/>
          <pc:sldMk cId="2388790830" sldId="2142532846"/>
        </pc:sldMkLst>
        <pc:spChg chg="add mod">
          <ac:chgData name="Simone NERI" userId="2a00f2ad-68d9-45e6-b604-268bfad9cc5e" providerId="ADAL" clId="{D888A4E8-4B4E-4F9E-AD90-7B2ECDAE1265}" dt="2023-03-08T09:19:20.934" v="9313"/>
          <ac:spMkLst>
            <pc:docMk/>
            <pc:sldMk cId="2388790830" sldId="2142532846"/>
            <ac:spMk id="4" creationId="{A83C67D8-E559-C9E8-0888-1676985350B6}"/>
          </ac:spMkLst>
        </pc:spChg>
      </pc:sldChg>
      <pc:sldChg chg="addSp modSp">
        <pc:chgData name="Simone NERI" userId="2a00f2ad-68d9-45e6-b604-268bfad9cc5e" providerId="ADAL" clId="{D888A4E8-4B4E-4F9E-AD90-7B2ECDAE1265}" dt="2023-03-08T09:42:56.289" v="9875"/>
        <pc:sldMkLst>
          <pc:docMk/>
          <pc:sldMk cId="1629102341" sldId="2142532888"/>
        </pc:sldMkLst>
        <pc:spChg chg="add mod">
          <ac:chgData name="Simone NERI" userId="2a00f2ad-68d9-45e6-b604-268bfad9cc5e" providerId="ADAL" clId="{D888A4E8-4B4E-4F9E-AD90-7B2ECDAE1265}" dt="2023-03-08T09:42:56.289" v="9875"/>
          <ac:spMkLst>
            <pc:docMk/>
            <pc:sldMk cId="1629102341" sldId="2142532888"/>
            <ac:spMk id="3" creationId="{480E2CAF-8B83-AEC6-9791-96CAC394E6B2}"/>
          </ac:spMkLst>
        </pc:spChg>
      </pc:sldChg>
      <pc:sldChg chg="addSp modSp mod modCm">
        <pc:chgData name="Simone NERI" userId="2a00f2ad-68d9-45e6-b604-268bfad9cc5e" providerId="ADAL" clId="{D888A4E8-4B4E-4F9E-AD90-7B2ECDAE1265}" dt="2023-03-07T13:59:25.401" v="7443" actId="20577"/>
        <pc:sldMkLst>
          <pc:docMk/>
          <pc:sldMk cId="696799349" sldId="2145706869"/>
        </pc:sldMkLst>
        <pc:spChg chg="mod">
          <ac:chgData name="Simone NERI" userId="2a00f2ad-68d9-45e6-b604-268bfad9cc5e" providerId="ADAL" clId="{D888A4E8-4B4E-4F9E-AD90-7B2ECDAE1265}" dt="2023-03-03T08:13:16.377" v="1913" actId="20577"/>
          <ac:spMkLst>
            <pc:docMk/>
            <pc:sldMk cId="696799349" sldId="2145706869"/>
            <ac:spMk id="35" creationId="{42A95514-8FDD-434C-AA26-07AB8FB7D4E8}"/>
          </ac:spMkLst>
        </pc:spChg>
        <pc:spChg chg="mod">
          <ac:chgData name="Simone NERI" userId="2a00f2ad-68d9-45e6-b604-268bfad9cc5e" providerId="ADAL" clId="{D888A4E8-4B4E-4F9E-AD90-7B2ECDAE1265}" dt="2023-03-03T08:13:33.065" v="1918" actId="20577"/>
          <ac:spMkLst>
            <pc:docMk/>
            <pc:sldMk cId="696799349" sldId="2145706869"/>
            <ac:spMk id="37" creationId="{8A2B04B7-4FB4-42F9-BBD6-2D849CF35736}"/>
          </ac:spMkLst>
        </pc:spChg>
        <pc:spChg chg="mod">
          <ac:chgData name="Simone NERI" userId="2a00f2ad-68d9-45e6-b604-268bfad9cc5e" providerId="ADAL" clId="{D888A4E8-4B4E-4F9E-AD90-7B2ECDAE1265}" dt="2023-03-03T08:13:30.096" v="1915" actId="20577"/>
          <ac:spMkLst>
            <pc:docMk/>
            <pc:sldMk cId="696799349" sldId="2145706869"/>
            <ac:spMk id="38" creationId="{C2D3C262-5FFC-4A4F-992A-67589F43BFB3}"/>
          </ac:spMkLst>
        </pc:spChg>
        <pc:spChg chg="add mod">
          <ac:chgData name="Simone NERI" userId="2a00f2ad-68d9-45e6-b604-268bfad9cc5e" providerId="ADAL" clId="{D888A4E8-4B4E-4F9E-AD90-7B2ECDAE1265}" dt="2023-03-07T13:59:25.401" v="7443" actId="20577"/>
          <ac:spMkLst>
            <pc:docMk/>
            <pc:sldMk cId="696799349" sldId="2145706869"/>
            <ac:spMk id="49" creationId="{EBA293AD-788F-DFEB-404A-2E8DFF68F98E}"/>
          </ac:spMkLst>
        </pc:spChg>
        <pc:spChg chg="mod">
          <ac:chgData name="Simone NERI" userId="2a00f2ad-68d9-45e6-b604-268bfad9cc5e" providerId="ADAL" clId="{D888A4E8-4B4E-4F9E-AD90-7B2ECDAE1265}" dt="2023-03-03T08:13:17.656" v="1914" actId="20577"/>
          <ac:spMkLst>
            <pc:docMk/>
            <pc:sldMk cId="696799349" sldId="2145706869"/>
            <ac:spMk id="53" creationId="{78B47C2D-A595-42D3-8406-88BFCB7B0AEA}"/>
          </ac:spMkLst>
        </pc:spChg>
        <pc:extLst>
          <p:ext xmlns:p="http://schemas.openxmlformats.org/presentationml/2006/main" uri="{D6D511B9-2390-475A-947B-AFAB55BFBCF1}">
            <pc226:cmChg xmlns:pc226="http://schemas.microsoft.com/office/powerpoint/2022/06/main/command" chg="">
              <pc226:chgData name="Simone NERI" userId="2a00f2ad-68d9-45e6-b604-268bfad9cc5e" providerId="ADAL" clId="{D888A4E8-4B4E-4F9E-AD90-7B2ECDAE1265}" dt="2023-03-03T10:04:29.147" v="3798"/>
              <pc2:cmMkLst xmlns:pc2="http://schemas.microsoft.com/office/powerpoint/2019/9/main/command">
                <pc:docMk/>
                <pc:sldMk cId="696799349" sldId="2145706869"/>
                <pc2:cmMk id="{4F3613F7-334A-4293-AE00-EDC89C489B79}"/>
              </pc2:cmMkLst>
              <pc226:cmRplyChg chg="add">
                <pc226:chgData name="Simone NERI" userId="2a00f2ad-68d9-45e6-b604-268bfad9cc5e" providerId="ADAL" clId="{D888A4E8-4B4E-4F9E-AD90-7B2ECDAE1265}" dt="2023-03-03T10:04:29.147" v="3798"/>
                <pc2:cmRplyMkLst xmlns:pc2="http://schemas.microsoft.com/office/powerpoint/2019/9/main/command">
                  <pc:docMk/>
                  <pc:sldMk cId="696799349" sldId="2145706869"/>
                  <pc2:cmMk id="{4F3613F7-334A-4293-AE00-EDC89C489B79}"/>
                  <pc2:cmRplyMk id="{85BFE53C-5C05-4E3A-A91C-F3A923F2C5B7}"/>
                </pc2:cmRplyMkLst>
              </pc226:cmRplyChg>
            </pc226:cmChg>
          </p:ext>
        </pc:extLst>
      </pc:sldChg>
      <pc:sldChg chg="addSp modSp mod ord">
        <pc:chgData name="Simone NERI" userId="2a00f2ad-68d9-45e6-b604-268bfad9cc5e" providerId="ADAL" clId="{D888A4E8-4B4E-4F9E-AD90-7B2ECDAE1265}" dt="2023-02-28T15:06:47.123" v="67" actId="207"/>
        <pc:sldMkLst>
          <pc:docMk/>
          <pc:sldMk cId="3275401772" sldId="2145706869"/>
        </pc:sldMkLst>
        <pc:spChg chg="add ord">
          <ac:chgData name="Simone NERI" userId="2a00f2ad-68d9-45e6-b604-268bfad9cc5e" providerId="ADAL" clId="{D888A4E8-4B4E-4F9E-AD90-7B2ECDAE1265}" dt="2023-02-28T14:42:29.286" v="5" actId="167"/>
          <ac:spMkLst>
            <pc:docMk/>
            <pc:sldMk cId="3275401772" sldId="2145706869"/>
            <ac:spMk id="3" creationId="{C9EC6A81-C5BC-CA49-2FC4-0D599CC53C46}"/>
          </ac:spMkLst>
        </pc:spChg>
        <pc:spChg chg="add mod">
          <ac:chgData name="Simone NERI" userId="2a00f2ad-68d9-45e6-b604-268bfad9cc5e" providerId="ADAL" clId="{D888A4E8-4B4E-4F9E-AD90-7B2ECDAE1265}" dt="2023-02-28T15:06:47.123" v="67" actId="207"/>
          <ac:spMkLst>
            <pc:docMk/>
            <pc:sldMk cId="3275401772" sldId="2145706869"/>
            <ac:spMk id="6" creationId="{B708E912-2978-FB5D-A880-3C238B8B3C83}"/>
          </ac:spMkLst>
        </pc:spChg>
        <pc:spChg chg="mod">
          <ac:chgData name="Simone NERI" userId="2a00f2ad-68d9-45e6-b604-268bfad9cc5e" providerId="ADAL" clId="{D888A4E8-4B4E-4F9E-AD90-7B2ECDAE1265}" dt="2023-02-28T14:42:48.011" v="6" actId="207"/>
          <ac:spMkLst>
            <pc:docMk/>
            <pc:sldMk cId="3275401772" sldId="2145706869"/>
            <ac:spMk id="35" creationId="{42A95514-8FDD-434C-AA26-07AB8FB7D4E8}"/>
          </ac:spMkLst>
        </pc:spChg>
        <pc:spChg chg="mod">
          <ac:chgData name="Simone NERI" userId="2a00f2ad-68d9-45e6-b604-268bfad9cc5e" providerId="ADAL" clId="{D888A4E8-4B4E-4F9E-AD90-7B2ECDAE1265}" dt="2023-02-28T14:42:48.011" v="6" actId="207"/>
          <ac:spMkLst>
            <pc:docMk/>
            <pc:sldMk cId="3275401772" sldId="2145706869"/>
            <ac:spMk id="37" creationId="{8A2B04B7-4FB4-42F9-BBD6-2D849CF35736}"/>
          </ac:spMkLst>
        </pc:spChg>
        <pc:spChg chg="mod">
          <ac:chgData name="Simone NERI" userId="2a00f2ad-68d9-45e6-b604-268bfad9cc5e" providerId="ADAL" clId="{D888A4E8-4B4E-4F9E-AD90-7B2ECDAE1265}" dt="2023-02-28T14:42:48.011" v="6" actId="207"/>
          <ac:spMkLst>
            <pc:docMk/>
            <pc:sldMk cId="3275401772" sldId="2145706869"/>
            <ac:spMk id="38" creationId="{C2D3C262-5FFC-4A4F-992A-67589F43BFB3}"/>
          </ac:spMkLst>
        </pc:spChg>
        <pc:spChg chg="mod">
          <ac:chgData name="Simone NERI" userId="2a00f2ad-68d9-45e6-b604-268bfad9cc5e" providerId="ADAL" clId="{D888A4E8-4B4E-4F9E-AD90-7B2ECDAE1265}" dt="2023-02-28T14:42:48.011" v="6" actId="207"/>
          <ac:spMkLst>
            <pc:docMk/>
            <pc:sldMk cId="3275401772" sldId="2145706869"/>
            <ac:spMk id="53" creationId="{78B47C2D-A595-42D3-8406-88BFCB7B0AEA}"/>
          </ac:spMkLst>
        </pc:spChg>
        <pc:picChg chg="add mod">
          <ac:chgData name="Simone NERI" userId="2a00f2ad-68d9-45e6-b604-268bfad9cc5e" providerId="ADAL" clId="{D888A4E8-4B4E-4F9E-AD90-7B2ECDAE1265}" dt="2023-02-28T14:44:59.678" v="9" actId="1076"/>
          <ac:picMkLst>
            <pc:docMk/>
            <pc:sldMk cId="3275401772" sldId="2145706869"/>
            <ac:picMk id="5" creationId="{3D53FBC8-A5F0-0E5D-E973-83CE926230DC}"/>
          </ac:picMkLst>
        </pc:picChg>
      </pc:sldChg>
      <pc:sldChg chg="addSp modSp">
        <pc:chgData name="Simone NERI" userId="2a00f2ad-68d9-45e6-b604-268bfad9cc5e" providerId="ADAL" clId="{D888A4E8-4B4E-4F9E-AD90-7B2ECDAE1265}" dt="2023-02-28T15:06:56.811" v="71"/>
        <pc:sldMkLst>
          <pc:docMk/>
          <pc:sldMk cId="2460948628" sldId="2145706870"/>
        </pc:sldMkLst>
        <pc:spChg chg="add mod">
          <ac:chgData name="Simone NERI" userId="2a00f2ad-68d9-45e6-b604-268bfad9cc5e" providerId="ADAL" clId="{D888A4E8-4B4E-4F9E-AD90-7B2ECDAE1265}" dt="2023-02-28T15:06:56.811" v="71"/>
          <ac:spMkLst>
            <pc:docMk/>
            <pc:sldMk cId="2460948628" sldId="2145706870"/>
            <ac:spMk id="3" creationId="{50E0A662-BF6C-4428-9C7C-065B34D6F3D3}"/>
          </ac:spMkLst>
        </pc:spChg>
      </pc:sldChg>
      <pc:sldChg chg="modSp del mod">
        <pc:chgData name="Simone NERI" userId="2a00f2ad-68d9-45e6-b604-268bfad9cc5e" providerId="ADAL" clId="{D888A4E8-4B4E-4F9E-AD90-7B2ECDAE1265}" dt="2023-03-07T21:47:42.751" v="9214" actId="47"/>
        <pc:sldMkLst>
          <pc:docMk/>
          <pc:sldMk cId="113270668" sldId="2147469773"/>
        </pc:sldMkLst>
        <pc:spChg chg="mod">
          <ac:chgData name="Simone NERI" userId="2a00f2ad-68d9-45e6-b604-268bfad9cc5e" providerId="ADAL" clId="{D888A4E8-4B4E-4F9E-AD90-7B2ECDAE1265}" dt="2023-03-07T20:47:37.241" v="7762" actId="14100"/>
          <ac:spMkLst>
            <pc:docMk/>
            <pc:sldMk cId="113270668" sldId="2147469773"/>
            <ac:spMk id="4" creationId="{4A508FF4-FB7F-1647-9EC4-35A7CFA8AA2E}"/>
          </ac:spMkLst>
        </pc:spChg>
      </pc:sldChg>
      <pc:sldChg chg="addSp modSp mod">
        <pc:chgData name="Simone NERI" userId="2a00f2ad-68d9-45e6-b604-268bfad9cc5e" providerId="ADAL" clId="{D888A4E8-4B4E-4F9E-AD90-7B2ECDAE1265}" dt="2023-03-08T09:16:15.747" v="9309"/>
        <pc:sldMkLst>
          <pc:docMk/>
          <pc:sldMk cId="1985396647" sldId="2147469798"/>
        </pc:sldMkLst>
        <pc:spChg chg="add mod">
          <ac:chgData name="Simone NERI" userId="2a00f2ad-68d9-45e6-b604-268bfad9cc5e" providerId="ADAL" clId="{D888A4E8-4B4E-4F9E-AD90-7B2ECDAE1265}" dt="2023-03-08T09:16:15.747" v="9309"/>
          <ac:spMkLst>
            <pc:docMk/>
            <pc:sldMk cId="1985396647" sldId="2147469798"/>
            <ac:spMk id="2" creationId="{42F463CC-681E-AFCC-49C2-73724444F8BC}"/>
          </ac:spMkLst>
        </pc:spChg>
        <pc:spChg chg="mod">
          <ac:chgData name="Simone NERI" userId="2a00f2ad-68d9-45e6-b604-268bfad9cc5e" providerId="ADAL" clId="{D888A4E8-4B4E-4F9E-AD90-7B2ECDAE1265}" dt="2023-03-08T09:13:19.947" v="9308" actId="20577"/>
          <ac:spMkLst>
            <pc:docMk/>
            <pc:sldMk cId="1985396647" sldId="2147469798"/>
            <ac:spMk id="4" creationId="{B38E534A-4BFA-B041-C1BB-3E2E2E141A43}"/>
          </ac:spMkLst>
        </pc:spChg>
      </pc:sldChg>
      <pc:sldChg chg="addSp modSp">
        <pc:chgData name="Simone NERI" userId="2a00f2ad-68d9-45e6-b604-268bfad9cc5e" providerId="ADAL" clId="{D888A4E8-4B4E-4F9E-AD90-7B2ECDAE1265}" dt="2023-03-08T09:16:49.232" v="9310"/>
        <pc:sldMkLst>
          <pc:docMk/>
          <pc:sldMk cId="41662455" sldId="2147469804"/>
        </pc:sldMkLst>
        <pc:spChg chg="add mod">
          <ac:chgData name="Simone NERI" userId="2a00f2ad-68d9-45e6-b604-268bfad9cc5e" providerId="ADAL" clId="{D888A4E8-4B4E-4F9E-AD90-7B2ECDAE1265}" dt="2023-03-08T09:16:49.232" v="9310"/>
          <ac:spMkLst>
            <pc:docMk/>
            <pc:sldMk cId="41662455" sldId="2147469804"/>
            <ac:spMk id="2" creationId="{63D62A48-DC98-EA11-8C48-55818DD6AF68}"/>
          </ac:spMkLst>
        </pc:spChg>
      </pc:sldChg>
      <pc:sldChg chg="addSp delSp modSp mod">
        <pc:chgData name="Simone NERI" userId="2a00f2ad-68d9-45e6-b604-268bfad9cc5e" providerId="ADAL" clId="{D888A4E8-4B4E-4F9E-AD90-7B2ECDAE1265}" dt="2023-03-08T09:34:33.283" v="9804" actId="207"/>
        <pc:sldMkLst>
          <pc:docMk/>
          <pc:sldMk cId="1946307945" sldId="2147469814"/>
        </pc:sldMkLst>
        <pc:spChg chg="mod">
          <ac:chgData name="Simone NERI" userId="2a00f2ad-68d9-45e6-b604-268bfad9cc5e" providerId="ADAL" clId="{D888A4E8-4B4E-4F9E-AD90-7B2ECDAE1265}" dt="2023-03-08T09:34:33.283" v="9804" actId="207"/>
          <ac:spMkLst>
            <pc:docMk/>
            <pc:sldMk cId="1946307945" sldId="2147469814"/>
            <ac:spMk id="2" creationId="{26FE86CE-D796-92B4-487A-BCCC0D40C12E}"/>
          </ac:spMkLst>
        </pc:spChg>
        <pc:spChg chg="add del mod">
          <ac:chgData name="Simone NERI" userId="2a00f2ad-68d9-45e6-b604-268bfad9cc5e" providerId="ADAL" clId="{D888A4E8-4B4E-4F9E-AD90-7B2ECDAE1265}" dt="2023-03-08T09:27:18.520" v="9487"/>
          <ac:spMkLst>
            <pc:docMk/>
            <pc:sldMk cId="1946307945" sldId="2147469814"/>
            <ac:spMk id="7" creationId="{B55B3B85-7BEB-CB1D-99F4-743FE006F55A}"/>
          </ac:spMkLst>
        </pc:spChg>
        <pc:spChg chg="add mod">
          <ac:chgData name="Simone NERI" userId="2a00f2ad-68d9-45e6-b604-268bfad9cc5e" providerId="ADAL" clId="{D888A4E8-4B4E-4F9E-AD90-7B2ECDAE1265}" dt="2023-03-08T09:28:32.451" v="9491"/>
          <ac:spMkLst>
            <pc:docMk/>
            <pc:sldMk cId="1946307945" sldId="2147469814"/>
            <ac:spMk id="13" creationId="{FE66EC15-244B-BCB7-C3E0-29858556DE67}"/>
          </ac:spMkLst>
        </pc:spChg>
        <pc:graphicFrameChg chg="modGraphic">
          <ac:chgData name="Simone NERI" userId="2a00f2ad-68d9-45e6-b604-268bfad9cc5e" providerId="ADAL" clId="{D888A4E8-4B4E-4F9E-AD90-7B2ECDAE1265}" dt="2023-03-08T09:27:47.176" v="9490" actId="20577"/>
          <ac:graphicFrameMkLst>
            <pc:docMk/>
            <pc:sldMk cId="1946307945" sldId="2147469814"/>
            <ac:graphicFrameMk id="5" creationId="{B9B1D6E0-DD50-8430-A71B-3AFD3F68ECC5}"/>
          </ac:graphicFrameMkLst>
        </pc:graphicFrameChg>
      </pc:sldChg>
      <pc:sldChg chg="ord">
        <pc:chgData name="Simone NERI" userId="2a00f2ad-68d9-45e6-b604-268bfad9cc5e" providerId="ADAL" clId="{D888A4E8-4B4E-4F9E-AD90-7B2ECDAE1265}" dt="2023-03-01T11:16:49.105" v="383"/>
        <pc:sldMkLst>
          <pc:docMk/>
          <pc:sldMk cId="3405077761" sldId="2147469832"/>
        </pc:sldMkLst>
      </pc:sldChg>
      <pc:sldChg chg="modSp del mod ord">
        <pc:chgData name="Simone NERI" userId="2a00f2ad-68d9-45e6-b604-268bfad9cc5e" providerId="ADAL" clId="{D888A4E8-4B4E-4F9E-AD90-7B2ECDAE1265}" dt="2023-03-02T16:48:44.370" v="1713" actId="47"/>
        <pc:sldMkLst>
          <pc:docMk/>
          <pc:sldMk cId="3958617290" sldId="2147469834"/>
        </pc:sldMkLst>
        <pc:spChg chg="mod">
          <ac:chgData name="Simone NERI" userId="2a00f2ad-68d9-45e6-b604-268bfad9cc5e" providerId="ADAL" clId="{D888A4E8-4B4E-4F9E-AD90-7B2ECDAE1265}" dt="2023-03-02T16:25:35.780" v="1601" actId="1076"/>
          <ac:spMkLst>
            <pc:docMk/>
            <pc:sldMk cId="3958617290" sldId="2147469834"/>
            <ac:spMk id="80" creationId="{5FE13604-C44E-0E3F-6D4A-CEF6941A7905}"/>
          </ac:spMkLst>
        </pc:spChg>
      </pc:sldChg>
      <pc:sldChg chg="addSp modSp del mod ord">
        <pc:chgData name="Simone NERI" userId="2a00f2ad-68d9-45e6-b604-268bfad9cc5e" providerId="ADAL" clId="{D888A4E8-4B4E-4F9E-AD90-7B2ECDAE1265}" dt="2023-03-07T14:05:41.364" v="7490" actId="47"/>
        <pc:sldMkLst>
          <pc:docMk/>
          <pc:sldMk cId="256183737" sldId="2147469842"/>
        </pc:sldMkLst>
        <pc:spChg chg="add mod">
          <ac:chgData name="Simone NERI" userId="2a00f2ad-68d9-45e6-b604-268bfad9cc5e" providerId="ADAL" clId="{D888A4E8-4B4E-4F9E-AD90-7B2ECDAE1265}" dt="2023-03-01T10:58:53.839" v="128" actId="20577"/>
          <ac:spMkLst>
            <pc:docMk/>
            <pc:sldMk cId="256183737" sldId="2147469842"/>
            <ac:spMk id="2" creationId="{A8CE909E-87DA-71CA-C3A0-3A6162FB32BB}"/>
          </ac:spMkLst>
        </pc:spChg>
      </pc:sldChg>
      <pc:sldChg chg="addSp modSp">
        <pc:chgData name="Simone NERI" userId="2a00f2ad-68d9-45e6-b604-268bfad9cc5e" providerId="ADAL" clId="{D888A4E8-4B4E-4F9E-AD90-7B2ECDAE1265}" dt="2023-03-08T09:21:12.528" v="9356"/>
        <pc:sldMkLst>
          <pc:docMk/>
          <pc:sldMk cId="326061754" sldId="2147469843"/>
        </pc:sldMkLst>
        <pc:spChg chg="add mod">
          <ac:chgData name="Simone NERI" userId="2a00f2ad-68d9-45e6-b604-268bfad9cc5e" providerId="ADAL" clId="{D888A4E8-4B4E-4F9E-AD90-7B2ECDAE1265}" dt="2023-03-08T09:21:12.528" v="9356"/>
          <ac:spMkLst>
            <pc:docMk/>
            <pc:sldMk cId="326061754" sldId="2147469843"/>
            <ac:spMk id="3" creationId="{75F4717C-A60E-95C8-9D67-9F9CAADDE926}"/>
          </ac:spMkLst>
        </pc:spChg>
      </pc:sldChg>
      <pc:sldChg chg="del">
        <pc:chgData name="Simone NERI" userId="2a00f2ad-68d9-45e6-b604-268bfad9cc5e" providerId="ADAL" clId="{D888A4E8-4B4E-4F9E-AD90-7B2ECDAE1265}" dt="2023-03-08T09:54:21.031" v="9912" actId="47"/>
        <pc:sldMkLst>
          <pc:docMk/>
          <pc:sldMk cId="1496974739" sldId="2147469857"/>
        </pc:sldMkLst>
      </pc:sldChg>
      <pc:sldChg chg="addSp modSp">
        <pc:chgData name="Simone NERI" userId="2a00f2ad-68d9-45e6-b604-268bfad9cc5e" providerId="ADAL" clId="{D888A4E8-4B4E-4F9E-AD90-7B2ECDAE1265}" dt="2023-03-08T09:42:33.016" v="9873"/>
        <pc:sldMkLst>
          <pc:docMk/>
          <pc:sldMk cId="2704744056" sldId="2147469863"/>
        </pc:sldMkLst>
        <pc:spChg chg="add mod">
          <ac:chgData name="Simone NERI" userId="2a00f2ad-68d9-45e6-b604-268bfad9cc5e" providerId="ADAL" clId="{D888A4E8-4B4E-4F9E-AD90-7B2ECDAE1265}" dt="2023-03-08T09:42:33.016" v="9873"/>
          <ac:spMkLst>
            <pc:docMk/>
            <pc:sldMk cId="2704744056" sldId="2147469863"/>
            <ac:spMk id="3" creationId="{BB81550D-375F-8F2D-4701-39D2E2908DFD}"/>
          </ac:spMkLst>
        </pc:spChg>
      </pc:sldChg>
      <pc:sldChg chg="addSp modSp mod">
        <pc:chgData name="Simone NERI" userId="2a00f2ad-68d9-45e6-b604-268bfad9cc5e" providerId="ADAL" clId="{D888A4E8-4B4E-4F9E-AD90-7B2ECDAE1265}" dt="2023-03-08T09:42:44.961" v="9874"/>
        <pc:sldMkLst>
          <pc:docMk/>
          <pc:sldMk cId="814698274" sldId="2147469864"/>
        </pc:sldMkLst>
        <pc:spChg chg="add mod">
          <ac:chgData name="Simone NERI" userId="2a00f2ad-68d9-45e6-b604-268bfad9cc5e" providerId="ADAL" clId="{D888A4E8-4B4E-4F9E-AD90-7B2ECDAE1265}" dt="2023-03-08T09:42:44.961" v="9874"/>
          <ac:spMkLst>
            <pc:docMk/>
            <pc:sldMk cId="814698274" sldId="2147469864"/>
            <ac:spMk id="3" creationId="{325AC317-43EB-16A9-7815-0828B5914DED}"/>
          </ac:spMkLst>
        </pc:spChg>
        <pc:spChg chg="mod">
          <ac:chgData name="Simone NERI" userId="2a00f2ad-68d9-45e6-b604-268bfad9cc5e" providerId="ADAL" clId="{D888A4E8-4B4E-4F9E-AD90-7B2ECDAE1265}" dt="2023-03-07T20:47:00.640" v="7761" actId="20577"/>
          <ac:spMkLst>
            <pc:docMk/>
            <pc:sldMk cId="814698274" sldId="2147469864"/>
            <ac:spMk id="42" creationId="{DE75694F-4B5C-407B-A1CD-064713131879}"/>
          </ac:spMkLst>
        </pc:spChg>
      </pc:sldChg>
      <pc:sldChg chg="addSp delSp modSp del mod ord modCm">
        <pc:chgData name="Simone NERI" userId="2a00f2ad-68d9-45e6-b604-268bfad9cc5e" providerId="ADAL" clId="{D888A4E8-4B4E-4F9E-AD90-7B2ECDAE1265}" dt="2023-03-08T09:55:37.962" v="9918" actId="47"/>
        <pc:sldMkLst>
          <pc:docMk/>
          <pc:sldMk cId="3013144948" sldId="2147469870"/>
        </pc:sldMkLst>
        <pc:spChg chg="del mod">
          <ac:chgData name="Simone NERI" userId="2a00f2ad-68d9-45e6-b604-268bfad9cc5e" providerId="ADAL" clId="{D888A4E8-4B4E-4F9E-AD90-7B2ECDAE1265}" dt="2023-03-02T16:36:15.442" v="1620" actId="478"/>
          <ac:spMkLst>
            <pc:docMk/>
            <pc:sldMk cId="3013144948" sldId="2147469870"/>
            <ac:spMk id="2" creationId="{512EA552-D720-46E5-AA91-DE133C411CC0}"/>
          </ac:spMkLst>
        </pc:spChg>
        <pc:spChg chg="add mod">
          <ac:chgData name="Simone NERI" userId="2a00f2ad-68d9-45e6-b604-268bfad9cc5e" providerId="ADAL" clId="{D888A4E8-4B4E-4F9E-AD90-7B2ECDAE1265}" dt="2023-03-02T16:48:11.185" v="1706"/>
          <ac:spMkLst>
            <pc:docMk/>
            <pc:sldMk cId="3013144948" sldId="2147469870"/>
            <ac:spMk id="2" creationId="{94257074-B187-0EFD-AE5C-32D204DD48A8}"/>
          </ac:spMkLst>
        </pc:spChg>
        <pc:spChg chg="add mod">
          <ac:chgData name="Simone NERI" userId="2a00f2ad-68d9-45e6-b604-268bfad9cc5e" providerId="ADAL" clId="{D888A4E8-4B4E-4F9E-AD90-7B2ECDAE1265}" dt="2023-03-08T09:35:17.237" v="9808" actId="1036"/>
          <ac:spMkLst>
            <pc:docMk/>
            <pc:sldMk cId="3013144948" sldId="2147469870"/>
            <ac:spMk id="3" creationId="{9ABA3C00-373B-C969-7DED-9EDF0576893E}"/>
          </ac:spMkLst>
        </pc:spChg>
        <pc:spChg chg="del">
          <ac:chgData name="Simone NERI" userId="2a00f2ad-68d9-45e6-b604-268bfad9cc5e" providerId="ADAL" clId="{D888A4E8-4B4E-4F9E-AD90-7B2ECDAE1265}" dt="2023-03-02T16:35:35.814" v="1610" actId="478"/>
          <ac:spMkLst>
            <pc:docMk/>
            <pc:sldMk cId="3013144948" sldId="2147469870"/>
            <ac:spMk id="3" creationId="{EBEAF59C-3965-FE8E-06AA-1A391FBAB376}"/>
          </ac:spMkLst>
        </pc:spChg>
        <pc:spChg chg="del">
          <ac:chgData name="Simone NERI" userId="2a00f2ad-68d9-45e6-b604-268bfad9cc5e" providerId="ADAL" clId="{D888A4E8-4B4E-4F9E-AD90-7B2ECDAE1265}" dt="2023-03-02T16:35:55.895" v="1615" actId="478"/>
          <ac:spMkLst>
            <pc:docMk/>
            <pc:sldMk cId="3013144948" sldId="2147469870"/>
            <ac:spMk id="4" creationId="{454493B7-B2EF-85CA-6174-6956590A24EB}"/>
          </ac:spMkLst>
        </pc:spChg>
        <pc:spChg chg="add mod">
          <ac:chgData name="Simone NERI" userId="2a00f2ad-68d9-45e6-b604-268bfad9cc5e" providerId="ADAL" clId="{D888A4E8-4B4E-4F9E-AD90-7B2ECDAE1265}" dt="2023-03-02T16:36:08.892" v="1619" actId="20577"/>
          <ac:spMkLst>
            <pc:docMk/>
            <pc:sldMk cId="3013144948" sldId="2147469870"/>
            <ac:spMk id="18" creationId="{FD132F13-E9AF-5C15-F1B7-783F67793B89}"/>
          </ac:spMkLst>
        </pc:spChg>
        <pc:spChg chg="add mod">
          <ac:chgData name="Simone NERI" userId="2a00f2ad-68d9-45e6-b604-268bfad9cc5e" providerId="ADAL" clId="{D888A4E8-4B4E-4F9E-AD90-7B2ECDAE1265}" dt="2023-03-02T16:35:37.533" v="1611"/>
          <ac:spMkLst>
            <pc:docMk/>
            <pc:sldMk cId="3013144948" sldId="2147469870"/>
            <ac:spMk id="19" creationId="{5FC4888C-615A-789C-CC21-D3F79F13CD61}"/>
          </ac:spMkLst>
        </pc:spChg>
        <pc:spChg chg="add del mod">
          <ac:chgData name="Simone NERI" userId="2a00f2ad-68d9-45e6-b604-268bfad9cc5e" providerId="ADAL" clId="{D888A4E8-4B4E-4F9E-AD90-7B2ECDAE1265}" dt="2023-03-02T16:36:19.662" v="1621" actId="478"/>
          <ac:spMkLst>
            <pc:docMk/>
            <pc:sldMk cId="3013144948" sldId="2147469870"/>
            <ac:spMk id="21" creationId="{B549971B-9EDE-3AA1-4270-7E5EC3E53734}"/>
          </ac:spMkLst>
        </pc:spChg>
        <pc:spChg chg="add del mod">
          <ac:chgData name="Simone NERI" userId="2a00f2ad-68d9-45e6-b604-268bfad9cc5e" providerId="ADAL" clId="{D888A4E8-4B4E-4F9E-AD90-7B2ECDAE1265}" dt="2023-03-02T16:48:10.515" v="1705" actId="478"/>
          <ac:spMkLst>
            <pc:docMk/>
            <pc:sldMk cId="3013144948" sldId="2147469870"/>
            <ac:spMk id="22" creationId="{C194B91D-0897-7994-EF99-829345629143}"/>
          </ac:spMkLst>
        </pc:spChg>
        <pc:extLst>
          <p:ext xmlns:p="http://schemas.openxmlformats.org/presentationml/2006/main" uri="{D6D511B9-2390-475A-947B-AFAB55BFBCF1}">
            <pc226:cmChg xmlns:pc226="http://schemas.microsoft.com/office/powerpoint/2022/06/main/command" chg="mod">
              <pc226:chgData name="Simone NERI" userId="2a00f2ad-68d9-45e6-b604-268bfad9cc5e" providerId="ADAL" clId="{D888A4E8-4B4E-4F9E-AD90-7B2ECDAE1265}" dt="2023-03-02T16:36:01.090" v="1617"/>
              <pc2:cmMkLst xmlns:pc2="http://schemas.microsoft.com/office/powerpoint/2019/9/main/command">
                <pc:docMk/>
                <pc:sldMk cId="3013144948" sldId="2147469870"/>
                <pc2:cmMk id="{0D6613F1-4AAD-40E7-8595-92203191D326}"/>
              </pc2:cmMkLst>
              <pc226:cmRplyChg chg="add">
                <pc226:chgData name="Simone NERI" userId="2a00f2ad-68d9-45e6-b604-268bfad9cc5e" providerId="ADAL" clId="{D888A4E8-4B4E-4F9E-AD90-7B2ECDAE1265}" dt="2023-03-02T08:52:46.233" v="612"/>
                <pc2:cmRplyMkLst xmlns:pc2="http://schemas.microsoft.com/office/powerpoint/2019/9/main/command">
                  <pc:docMk/>
                  <pc:sldMk cId="3013144948" sldId="2147469870"/>
                  <pc2:cmMk id="{0D6613F1-4AAD-40E7-8595-92203191D326}"/>
                  <pc2:cmRplyMk id="{003778B2-056A-4F21-968B-343B96CA7271}"/>
                </pc2:cmRplyMkLst>
              </pc226:cmRplyChg>
            </pc226:cmChg>
          </p:ext>
        </pc:extLst>
      </pc:sldChg>
      <pc:sldChg chg="del">
        <pc:chgData name="Simone NERI" userId="2a00f2ad-68d9-45e6-b604-268bfad9cc5e" providerId="ADAL" clId="{D888A4E8-4B4E-4F9E-AD90-7B2ECDAE1265}" dt="2023-03-01T11:12:36.990" v="321" actId="47"/>
        <pc:sldMkLst>
          <pc:docMk/>
          <pc:sldMk cId="697415066" sldId="2147469877"/>
        </pc:sldMkLst>
      </pc:sldChg>
      <pc:sldChg chg="addSp delSp modSp del mod ord">
        <pc:chgData name="Simone NERI" userId="2a00f2ad-68d9-45e6-b604-268bfad9cc5e" providerId="ADAL" clId="{D888A4E8-4B4E-4F9E-AD90-7B2ECDAE1265}" dt="2023-03-08T09:35:42.021" v="9809" actId="47"/>
        <pc:sldMkLst>
          <pc:docMk/>
          <pc:sldMk cId="2809162801" sldId="2147469883"/>
        </pc:sldMkLst>
        <pc:spChg chg="add mod">
          <ac:chgData name="Simone NERI" userId="2a00f2ad-68d9-45e6-b604-268bfad9cc5e" providerId="ADAL" clId="{D888A4E8-4B4E-4F9E-AD90-7B2ECDAE1265}" dt="2023-03-02T16:48:15.933" v="1708"/>
          <ac:spMkLst>
            <pc:docMk/>
            <pc:sldMk cId="2809162801" sldId="2147469883"/>
            <ac:spMk id="2" creationId="{BD6AD7A0-E1B7-3942-C15F-6CBBB7FEB240}"/>
          </ac:spMkLst>
        </pc:spChg>
        <pc:spChg chg="del">
          <ac:chgData name="Simone NERI" userId="2a00f2ad-68d9-45e6-b604-268bfad9cc5e" providerId="ADAL" clId="{D888A4E8-4B4E-4F9E-AD90-7B2ECDAE1265}" dt="2023-03-02T16:37:00.012" v="1625" actId="478"/>
          <ac:spMkLst>
            <pc:docMk/>
            <pc:sldMk cId="2809162801" sldId="2147469883"/>
            <ac:spMk id="2" creationId="{E325619F-9DF4-2377-D1D5-1455972ADCDB}"/>
          </ac:spMkLst>
        </pc:spChg>
        <pc:spChg chg="mod">
          <ac:chgData name="Simone NERI" userId="2a00f2ad-68d9-45e6-b604-268bfad9cc5e" providerId="ADAL" clId="{D888A4E8-4B4E-4F9E-AD90-7B2ECDAE1265}" dt="2023-03-02T16:36:56.551" v="1624"/>
          <ac:spMkLst>
            <pc:docMk/>
            <pc:sldMk cId="2809162801" sldId="2147469883"/>
            <ac:spMk id="5" creationId="{FB3FF2C0-EF0B-47FD-88D3-D36CBAF5C9D0}"/>
          </ac:spMkLst>
        </pc:spChg>
        <pc:spChg chg="del">
          <ac:chgData name="Simone NERI" userId="2a00f2ad-68d9-45e6-b604-268bfad9cc5e" providerId="ADAL" clId="{D888A4E8-4B4E-4F9E-AD90-7B2ECDAE1265}" dt="2023-03-02T16:37:00.921" v="1626" actId="478"/>
          <ac:spMkLst>
            <pc:docMk/>
            <pc:sldMk cId="2809162801" sldId="2147469883"/>
            <ac:spMk id="6" creationId="{814B7C98-105D-A9E6-DCB7-1F3D78FE625D}"/>
          </ac:spMkLst>
        </pc:spChg>
        <pc:spChg chg="add mod">
          <ac:chgData name="Simone NERI" userId="2a00f2ad-68d9-45e6-b604-268bfad9cc5e" providerId="ADAL" clId="{D888A4E8-4B4E-4F9E-AD90-7B2ECDAE1265}" dt="2023-03-02T16:37:08.858" v="1627"/>
          <ac:spMkLst>
            <pc:docMk/>
            <pc:sldMk cId="2809162801" sldId="2147469883"/>
            <ac:spMk id="10" creationId="{CD55AE63-A5CE-E978-9BBA-3735C5248FD5}"/>
          </ac:spMkLst>
        </pc:spChg>
        <pc:spChg chg="add del mod">
          <ac:chgData name="Simone NERI" userId="2a00f2ad-68d9-45e6-b604-268bfad9cc5e" providerId="ADAL" clId="{D888A4E8-4B4E-4F9E-AD90-7B2ECDAE1265}" dt="2023-03-02T16:48:15.455" v="1707" actId="478"/>
          <ac:spMkLst>
            <pc:docMk/>
            <pc:sldMk cId="2809162801" sldId="2147469883"/>
            <ac:spMk id="16" creationId="{59BC93FA-9332-314B-3023-2DC00450F015}"/>
          </ac:spMkLst>
        </pc:spChg>
      </pc:sldChg>
      <pc:sldChg chg="addSp modSp mod">
        <pc:chgData name="Simone NERI" userId="2a00f2ad-68d9-45e6-b604-268bfad9cc5e" providerId="ADAL" clId="{D888A4E8-4B4E-4F9E-AD90-7B2ECDAE1265}" dt="2023-03-08T09:39:09.485" v="9871" actId="1035"/>
        <pc:sldMkLst>
          <pc:docMk/>
          <pc:sldMk cId="3144834754" sldId="2147469909"/>
        </pc:sldMkLst>
        <pc:spChg chg="mod">
          <ac:chgData name="Simone NERI" userId="2a00f2ad-68d9-45e6-b604-268bfad9cc5e" providerId="ADAL" clId="{D888A4E8-4B4E-4F9E-AD90-7B2ECDAE1265}" dt="2023-03-08T09:38:33.318" v="9858" actId="1035"/>
          <ac:spMkLst>
            <pc:docMk/>
            <pc:sldMk cId="3144834754" sldId="2147469909"/>
            <ac:spMk id="5" creationId="{DB73424A-75E1-B1A8-EB0E-DED83E3FC931}"/>
          </ac:spMkLst>
        </pc:spChg>
        <pc:spChg chg="mod">
          <ac:chgData name="Simone NERI" userId="2a00f2ad-68d9-45e6-b604-268bfad9cc5e" providerId="ADAL" clId="{D888A4E8-4B4E-4F9E-AD90-7B2ECDAE1265}" dt="2023-03-08T09:38:33.318" v="9858" actId="1035"/>
          <ac:spMkLst>
            <pc:docMk/>
            <pc:sldMk cId="3144834754" sldId="2147469909"/>
            <ac:spMk id="7" creationId="{AA2B4B02-07FB-7640-73DF-B4B0B58A620A}"/>
          </ac:spMkLst>
        </pc:spChg>
        <pc:spChg chg="mod">
          <ac:chgData name="Simone NERI" userId="2a00f2ad-68d9-45e6-b604-268bfad9cc5e" providerId="ADAL" clId="{D888A4E8-4B4E-4F9E-AD90-7B2ECDAE1265}" dt="2023-03-08T09:38:33.318" v="9858" actId="1035"/>
          <ac:spMkLst>
            <pc:docMk/>
            <pc:sldMk cId="3144834754" sldId="2147469909"/>
            <ac:spMk id="8" creationId="{6ACD68C6-1ABC-FA7F-17D5-86EBD19A9E65}"/>
          </ac:spMkLst>
        </pc:spChg>
        <pc:spChg chg="mod">
          <ac:chgData name="Simone NERI" userId="2a00f2ad-68d9-45e6-b604-268bfad9cc5e" providerId="ADAL" clId="{D888A4E8-4B4E-4F9E-AD90-7B2ECDAE1265}" dt="2023-03-08T09:38:33.318" v="9858" actId="1035"/>
          <ac:spMkLst>
            <pc:docMk/>
            <pc:sldMk cId="3144834754" sldId="2147469909"/>
            <ac:spMk id="9" creationId="{5E79137C-896B-AEBF-925D-8A17714571A3}"/>
          </ac:spMkLst>
        </pc:spChg>
        <pc:spChg chg="mod">
          <ac:chgData name="Simone NERI" userId="2a00f2ad-68d9-45e6-b604-268bfad9cc5e" providerId="ADAL" clId="{D888A4E8-4B4E-4F9E-AD90-7B2ECDAE1265}" dt="2023-03-08T09:38:33.318" v="9858" actId="1035"/>
          <ac:spMkLst>
            <pc:docMk/>
            <pc:sldMk cId="3144834754" sldId="2147469909"/>
            <ac:spMk id="10" creationId="{4C38344B-8792-F937-8AB9-791EF7F860D0}"/>
          </ac:spMkLst>
        </pc:spChg>
        <pc:spChg chg="mod">
          <ac:chgData name="Simone NERI" userId="2a00f2ad-68d9-45e6-b604-268bfad9cc5e" providerId="ADAL" clId="{D888A4E8-4B4E-4F9E-AD90-7B2ECDAE1265}" dt="2023-03-08T09:38:33.318" v="9858" actId="1035"/>
          <ac:spMkLst>
            <pc:docMk/>
            <pc:sldMk cId="3144834754" sldId="2147469909"/>
            <ac:spMk id="12" creationId="{85E640DB-C949-1ABB-622A-F153A64A0F5E}"/>
          </ac:spMkLst>
        </pc:spChg>
        <pc:spChg chg="mod">
          <ac:chgData name="Simone NERI" userId="2a00f2ad-68d9-45e6-b604-268bfad9cc5e" providerId="ADAL" clId="{D888A4E8-4B4E-4F9E-AD90-7B2ECDAE1265}" dt="2023-03-08T09:38:33.318" v="9858" actId="1035"/>
          <ac:spMkLst>
            <pc:docMk/>
            <pc:sldMk cId="3144834754" sldId="2147469909"/>
            <ac:spMk id="13" creationId="{740CD8FB-2C56-C88E-E5C4-F8EDE0AEE242}"/>
          </ac:spMkLst>
        </pc:spChg>
        <pc:spChg chg="mod">
          <ac:chgData name="Simone NERI" userId="2a00f2ad-68d9-45e6-b604-268bfad9cc5e" providerId="ADAL" clId="{D888A4E8-4B4E-4F9E-AD90-7B2ECDAE1265}" dt="2023-03-08T09:38:33.318" v="9858" actId="1035"/>
          <ac:spMkLst>
            <pc:docMk/>
            <pc:sldMk cId="3144834754" sldId="2147469909"/>
            <ac:spMk id="14" creationId="{14A989CE-E809-5D6E-A7DD-3833942BDD4E}"/>
          </ac:spMkLst>
        </pc:spChg>
        <pc:spChg chg="mod">
          <ac:chgData name="Simone NERI" userId="2a00f2ad-68d9-45e6-b604-268bfad9cc5e" providerId="ADAL" clId="{D888A4E8-4B4E-4F9E-AD90-7B2ECDAE1265}" dt="2023-03-08T09:38:33.318" v="9858" actId="1035"/>
          <ac:spMkLst>
            <pc:docMk/>
            <pc:sldMk cId="3144834754" sldId="2147469909"/>
            <ac:spMk id="15" creationId="{08585585-5AA1-221A-F34A-790F49CFB57B}"/>
          </ac:spMkLst>
        </pc:spChg>
        <pc:spChg chg="mod">
          <ac:chgData name="Simone NERI" userId="2a00f2ad-68d9-45e6-b604-268bfad9cc5e" providerId="ADAL" clId="{D888A4E8-4B4E-4F9E-AD90-7B2ECDAE1265}" dt="2023-03-08T09:38:33.318" v="9858" actId="1035"/>
          <ac:spMkLst>
            <pc:docMk/>
            <pc:sldMk cId="3144834754" sldId="2147469909"/>
            <ac:spMk id="16" creationId="{E2EF156F-EAE0-A6C1-2709-C464046BD994}"/>
          </ac:spMkLst>
        </pc:spChg>
        <pc:spChg chg="mod">
          <ac:chgData name="Simone NERI" userId="2a00f2ad-68d9-45e6-b604-268bfad9cc5e" providerId="ADAL" clId="{D888A4E8-4B4E-4F9E-AD90-7B2ECDAE1265}" dt="2023-03-08T09:38:33.318" v="9858" actId="1035"/>
          <ac:spMkLst>
            <pc:docMk/>
            <pc:sldMk cId="3144834754" sldId="2147469909"/>
            <ac:spMk id="17" creationId="{DF5BC537-5909-81E7-1776-95A1488B62AB}"/>
          </ac:spMkLst>
        </pc:spChg>
        <pc:spChg chg="mod">
          <ac:chgData name="Simone NERI" userId="2a00f2ad-68d9-45e6-b604-268bfad9cc5e" providerId="ADAL" clId="{D888A4E8-4B4E-4F9E-AD90-7B2ECDAE1265}" dt="2023-03-08T09:38:33.318" v="9858" actId="1035"/>
          <ac:spMkLst>
            <pc:docMk/>
            <pc:sldMk cId="3144834754" sldId="2147469909"/>
            <ac:spMk id="18" creationId="{A1E8DA8D-DDA9-9516-4600-D91AAD8CD040}"/>
          </ac:spMkLst>
        </pc:spChg>
        <pc:spChg chg="add mod">
          <ac:chgData name="Simone NERI" userId="2a00f2ad-68d9-45e6-b604-268bfad9cc5e" providerId="ADAL" clId="{D888A4E8-4B4E-4F9E-AD90-7B2ECDAE1265}" dt="2023-03-08T09:39:09.485" v="9871" actId="1035"/>
          <ac:spMkLst>
            <pc:docMk/>
            <pc:sldMk cId="3144834754" sldId="2147469909"/>
            <ac:spMk id="19" creationId="{6ECA1E0C-821E-7F18-5339-06BB3471EC45}"/>
          </ac:spMkLst>
        </pc:spChg>
        <pc:spChg chg="mod">
          <ac:chgData name="Simone NERI" userId="2a00f2ad-68d9-45e6-b604-268bfad9cc5e" providerId="ADAL" clId="{D888A4E8-4B4E-4F9E-AD90-7B2ECDAE1265}" dt="2023-03-08T09:38:33.318" v="9858" actId="1035"/>
          <ac:spMkLst>
            <pc:docMk/>
            <pc:sldMk cId="3144834754" sldId="2147469909"/>
            <ac:spMk id="21" creationId="{CE7191A5-2FC4-3492-A6B8-BA3E8C65D576}"/>
          </ac:spMkLst>
        </pc:spChg>
        <pc:spChg chg="mod">
          <ac:chgData name="Simone NERI" userId="2a00f2ad-68d9-45e6-b604-268bfad9cc5e" providerId="ADAL" clId="{D888A4E8-4B4E-4F9E-AD90-7B2ECDAE1265}" dt="2023-03-08T09:38:33.318" v="9858" actId="1035"/>
          <ac:spMkLst>
            <pc:docMk/>
            <pc:sldMk cId="3144834754" sldId="2147469909"/>
            <ac:spMk id="23" creationId="{DB6C3D9F-349A-844B-ED6B-5E26B0117BB7}"/>
          </ac:spMkLst>
        </pc:spChg>
        <pc:spChg chg="mod">
          <ac:chgData name="Simone NERI" userId="2a00f2ad-68d9-45e6-b604-268bfad9cc5e" providerId="ADAL" clId="{D888A4E8-4B4E-4F9E-AD90-7B2ECDAE1265}" dt="2023-03-08T09:38:40.101" v="9868" actId="1035"/>
          <ac:spMkLst>
            <pc:docMk/>
            <pc:sldMk cId="3144834754" sldId="2147469909"/>
            <ac:spMk id="25" creationId="{ED42A14E-AA65-2244-0FAC-744C00CCE5DB}"/>
          </ac:spMkLst>
        </pc:spChg>
        <pc:spChg chg="mod">
          <ac:chgData name="Simone NERI" userId="2a00f2ad-68d9-45e6-b604-268bfad9cc5e" providerId="ADAL" clId="{D888A4E8-4B4E-4F9E-AD90-7B2ECDAE1265}" dt="2023-03-08T09:38:33.318" v="9858" actId="1035"/>
          <ac:spMkLst>
            <pc:docMk/>
            <pc:sldMk cId="3144834754" sldId="2147469909"/>
            <ac:spMk id="27" creationId="{0BEF3F4B-E618-1494-3421-260AB0EC87CF}"/>
          </ac:spMkLst>
        </pc:spChg>
        <pc:spChg chg="mod">
          <ac:chgData name="Simone NERI" userId="2a00f2ad-68d9-45e6-b604-268bfad9cc5e" providerId="ADAL" clId="{D888A4E8-4B4E-4F9E-AD90-7B2ECDAE1265}" dt="2023-03-08T09:38:33.318" v="9858" actId="1035"/>
          <ac:spMkLst>
            <pc:docMk/>
            <pc:sldMk cId="3144834754" sldId="2147469909"/>
            <ac:spMk id="29" creationId="{B54F31AE-AFB7-514D-4F49-9EB53C412810}"/>
          </ac:spMkLst>
        </pc:spChg>
        <pc:spChg chg="mod">
          <ac:chgData name="Simone NERI" userId="2a00f2ad-68d9-45e6-b604-268bfad9cc5e" providerId="ADAL" clId="{D888A4E8-4B4E-4F9E-AD90-7B2ECDAE1265}" dt="2023-03-08T09:38:33.318" v="9858" actId="1035"/>
          <ac:spMkLst>
            <pc:docMk/>
            <pc:sldMk cId="3144834754" sldId="2147469909"/>
            <ac:spMk id="31" creationId="{7D855857-B854-9CE9-D239-CF3F02B1F8FF}"/>
          </ac:spMkLst>
        </pc:spChg>
        <pc:spChg chg="mod">
          <ac:chgData name="Simone NERI" userId="2a00f2ad-68d9-45e6-b604-268bfad9cc5e" providerId="ADAL" clId="{D888A4E8-4B4E-4F9E-AD90-7B2ECDAE1265}" dt="2023-03-08T09:38:33.318" v="9858" actId="1035"/>
          <ac:spMkLst>
            <pc:docMk/>
            <pc:sldMk cId="3144834754" sldId="2147469909"/>
            <ac:spMk id="33" creationId="{528BEFE3-04F8-F05B-0218-E36BA59F9C53}"/>
          </ac:spMkLst>
        </pc:spChg>
        <pc:spChg chg="mod">
          <ac:chgData name="Simone NERI" userId="2a00f2ad-68d9-45e6-b604-268bfad9cc5e" providerId="ADAL" clId="{D888A4E8-4B4E-4F9E-AD90-7B2ECDAE1265}" dt="2023-03-08T09:38:33.318" v="9858" actId="1035"/>
          <ac:spMkLst>
            <pc:docMk/>
            <pc:sldMk cId="3144834754" sldId="2147469909"/>
            <ac:spMk id="52" creationId="{81A49D45-97C4-1B65-8E17-7BA505A2960F}"/>
          </ac:spMkLst>
        </pc:spChg>
        <pc:spChg chg="mod">
          <ac:chgData name="Simone NERI" userId="2a00f2ad-68d9-45e6-b604-268bfad9cc5e" providerId="ADAL" clId="{D888A4E8-4B4E-4F9E-AD90-7B2ECDAE1265}" dt="2023-03-08T09:38:33.318" v="9858" actId="1035"/>
          <ac:spMkLst>
            <pc:docMk/>
            <pc:sldMk cId="3144834754" sldId="2147469909"/>
            <ac:spMk id="54" creationId="{E3CE89A1-A135-73F5-4042-F24952E33E1E}"/>
          </ac:spMkLst>
        </pc:spChg>
        <pc:spChg chg="mod">
          <ac:chgData name="Simone NERI" userId="2a00f2ad-68d9-45e6-b604-268bfad9cc5e" providerId="ADAL" clId="{D888A4E8-4B4E-4F9E-AD90-7B2ECDAE1265}" dt="2023-03-08T09:38:33.318" v="9858" actId="1035"/>
          <ac:spMkLst>
            <pc:docMk/>
            <pc:sldMk cId="3144834754" sldId="2147469909"/>
            <ac:spMk id="56" creationId="{BAA62C19-6564-9887-D19E-CFB7E2BBB02B}"/>
          </ac:spMkLst>
        </pc:spChg>
        <pc:spChg chg="mod">
          <ac:chgData name="Simone NERI" userId="2a00f2ad-68d9-45e6-b604-268bfad9cc5e" providerId="ADAL" clId="{D888A4E8-4B4E-4F9E-AD90-7B2ECDAE1265}" dt="2023-03-08T09:38:33.318" v="9858" actId="1035"/>
          <ac:spMkLst>
            <pc:docMk/>
            <pc:sldMk cId="3144834754" sldId="2147469909"/>
            <ac:spMk id="58" creationId="{60D9FC39-D4AE-D046-C356-F79D0EEF7DC5}"/>
          </ac:spMkLst>
        </pc:spChg>
        <pc:grpChg chg="mod">
          <ac:chgData name="Simone NERI" userId="2a00f2ad-68d9-45e6-b604-268bfad9cc5e" providerId="ADAL" clId="{D888A4E8-4B4E-4F9E-AD90-7B2ECDAE1265}" dt="2023-03-08T09:38:33.318" v="9858" actId="1035"/>
          <ac:grpSpMkLst>
            <pc:docMk/>
            <pc:sldMk cId="3144834754" sldId="2147469909"/>
            <ac:grpSpMk id="35" creationId="{3303A056-8AD0-3799-CE11-75F7348B4975}"/>
          </ac:grpSpMkLst>
        </pc:grpChg>
        <pc:grpChg chg="mod">
          <ac:chgData name="Simone NERI" userId="2a00f2ad-68d9-45e6-b604-268bfad9cc5e" providerId="ADAL" clId="{D888A4E8-4B4E-4F9E-AD90-7B2ECDAE1265}" dt="2023-03-08T09:38:33.318" v="9858" actId="1035"/>
          <ac:grpSpMkLst>
            <pc:docMk/>
            <pc:sldMk cId="3144834754" sldId="2147469909"/>
            <ac:grpSpMk id="46" creationId="{0283FBDD-5329-90C6-51B9-874F4EF6D6AA}"/>
          </ac:grpSpMkLst>
        </pc:grpChg>
        <pc:cxnChg chg="mod">
          <ac:chgData name="Simone NERI" userId="2a00f2ad-68d9-45e6-b604-268bfad9cc5e" providerId="ADAL" clId="{D888A4E8-4B4E-4F9E-AD90-7B2ECDAE1265}" dt="2023-03-08T09:38:33.318" v="9858" actId="1035"/>
          <ac:cxnSpMkLst>
            <pc:docMk/>
            <pc:sldMk cId="3144834754" sldId="2147469909"/>
            <ac:cxnSpMk id="11" creationId="{762012A7-FCA6-9A08-1A77-D16D4F1FC073}"/>
          </ac:cxnSpMkLst>
        </pc:cxnChg>
      </pc:sldChg>
      <pc:sldChg chg="addSp delSp modSp mod">
        <pc:chgData name="Simone NERI" userId="2a00f2ad-68d9-45e6-b604-268bfad9cc5e" providerId="ADAL" clId="{D888A4E8-4B4E-4F9E-AD90-7B2ECDAE1265}" dt="2023-03-08T10:01:41.025" v="9929" actId="20577"/>
        <pc:sldMkLst>
          <pc:docMk/>
          <pc:sldMk cId="2537092080" sldId="2147469915"/>
        </pc:sldMkLst>
        <pc:spChg chg="add del mod">
          <ac:chgData name="Simone NERI" userId="2a00f2ad-68d9-45e6-b604-268bfad9cc5e" providerId="ADAL" clId="{D888A4E8-4B4E-4F9E-AD90-7B2ECDAE1265}" dt="2023-03-03T16:33:36.728" v="4262" actId="478"/>
          <ac:spMkLst>
            <pc:docMk/>
            <pc:sldMk cId="2537092080" sldId="2147469915"/>
            <ac:spMk id="2" creationId="{28D526B6-54E3-4D50-CF12-7B0DDC69A2D9}"/>
          </ac:spMkLst>
        </pc:spChg>
        <pc:spChg chg="del">
          <ac:chgData name="Simone NERI" userId="2a00f2ad-68d9-45e6-b604-268bfad9cc5e" providerId="ADAL" clId="{D888A4E8-4B4E-4F9E-AD90-7B2ECDAE1265}" dt="2023-03-03T16:33:11.987" v="4206" actId="478"/>
          <ac:spMkLst>
            <pc:docMk/>
            <pc:sldMk cId="2537092080" sldId="2147469915"/>
            <ac:spMk id="3" creationId="{95204A0D-BADF-DF30-3E2C-B55A2450B951}"/>
          </ac:spMkLst>
        </pc:spChg>
        <pc:spChg chg="add del mod">
          <ac:chgData name="Simone NERI" userId="2a00f2ad-68d9-45e6-b604-268bfad9cc5e" providerId="ADAL" clId="{D888A4E8-4B4E-4F9E-AD90-7B2ECDAE1265}" dt="2023-03-03T16:33:13.618" v="4207" actId="478"/>
          <ac:spMkLst>
            <pc:docMk/>
            <pc:sldMk cId="2537092080" sldId="2147469915"/>
            <ac:spMk id="6" creationId="{9D2089A3-4BFF-F201-25DA-A18483C11AED}"/>
          </ac:spMkLst>
        </pc:spChg>
        <pc:spChg chg="add mod">
          <ac:chgData name="Simone NERI" userId="2a00f2ad-68d9-45e6-b604-268bfad9cc5e" providerId="ADAL" clId="{D888A4E8-4B4E-4F9E-AD90-7B2ECDAE1265}" dt="2023-03-08T10:01:41.025" v="9929" actId="20577"/>
          <ac:spMkLst>
            <pc:docMk/>
            <pc:sldMk cId="2537092080" sldId="2147469915"/>
            <ac:spMk id="7" creationId="{B1D764E1-3BDB-3442-095C-D35FC116C602}"/>
          </ac:spMkLst>
        </pc:spChg>
        <pc:spChg chg="add mod">
          <ac:chgData name="Simone NERI" userId="2a00f2ad-68d9-45e6-b604-268bfad9cc5e" providerId="ADAL" clId="{D888A4E8-4B4E-4F9E-AD90-7B2ECDAE1265}" dt="2023-03-03T16:33:15.744" v="4208"/>
          <ac:spMkLst>
            <pc:docMk/>
            <pc:sldMk cId="2537092080" sldId="2147469915"/>
            <ac:spMk id="8" creationId="{D1A0BC56-5570-830B-F337-BC9B2349E334}"/>
          </ac:spMkLst>
        </pc:spChg>
        <pc:spChg chg="add del mod">
          <ac:chgData name="Simone NERI" userId="2a00f2ad-68d9-45e6-b604-268bfad9cc5e" providerId="ADAL" clId="{D888A4E8-4B4E-4F9E-AD90-7B2ECDAE1265}" dt="2023-03-06T09:34:30.591" v="5040" actId="478"/>
          <ac:spMkLst>
            <pc:docMk/>
            <pc:sldMk cId="2537092080" sldId="2147469915"/>
            <ac:spMk id="9" creationId="{60347675-398D-0A01-9ECB-C6D134F0496E}"/>
          </ac:spMkLst>
        </pc:spChg>
        <pc:spChg chg="add mod">
          <ac:chgData name="Simone NERI" userId="2a00f2ad-68d9-45e6-b604-268bfad9cc5e" providerId="ADAL" clId="{D888A4E8-4B4E-4F9E-AD90-7B2ECDAE1265}" dt="2023-03-03T17:27:18.642" v="4761" actId="122"/>
          <ac:spMkLst>
            <pc:docMk/>
            <pc:sldMk cId="2537092080" sldId="2147469915"/>
            <ac:spMk id="12" creationId="{6119C6BA-2AB4-E701-C1B1-72263835FDF4}"/>
          </ac:spMkLst>
        </pc:spChg>
        <pc:spChg chg="add mod">
          <ac:chgData name="Simone NERI" userId="2a00f2ad-68d9-45e6-b604-268bfad9cc5e" providerId="ADAL" clId="{D888A4E8-4B4E-4F9E-AD90-7B2ECDAE1265}" dt="2023-03-06T09:35:04.403" v="5049" actId="1076"/>
          <ac:spMkLst>
            <pc:docMk/>
            <pc:sldMk cId="2537092080" sldId="2147469915"/>
            <ac:spMk id="13" creationId="{4D3430F3-826E-7FCC-722A-3961E5CF58D2}"/>
          </ac:spMkLst>
        </pc:spChg>
        <pc:spChg chg="add del mod">
          <ac:chgData name="Simone NERI" userId="2a00f2ad-68d9-45e6-b604-268bfad9cc5e" providerId="ADAL" clId="{D888A4E8-4B4E-4F9E-AD90-7B2ECDAE1265}" dt="2023-03-03T17:19:44.937" v="4572" actId="478"/>
          <ac:spMkLst>
            <pc:docMk/>
            <pc:sldMk cId="2537092080" sldId="2147469915"/>
            <ac:spMk id="14" creationId="{1E0BBE5E-7D1E-BC25-1484-7C961CC467F9}"/>
          </ac:spMkLst>
        </pc:spChg>
        <pc:spChg chg="add del mod ord">
          <ac:chgData name="Simone NERI" userId="2a00f2ad-68d9-45e6-b604-268bfad9cc5e" providerId="ADAL" clId="{D888A4E8-4B4E-4F9E-AD90-7B2ECDAE1265}" dt="2023-03-03T17:26:18.177" v="4747" actId="478"/>
          <ac:spMkLst>
            <pc:docMk/>
            <pc:sldMk cId="2537092080" sldId="2147469915"/>
            <ac:spMk id="17" creationId="{618C2A73-80A9-E815-D5A3-AF217395C922}"/>
          </ac:spMkLst>
        </pc:spChg>
        <pc:spChg chg="add del mod ord">
          <ac:chgData name="Simone NERI" userId="2a00f2ad-68d9-45e6-b604-268bfad9cc5e" providerId="ADAL" clId="{D888A4E8-4B4E-4F9E-AD90-7B2ECDAE1265}" dt="2023-03-03T17:26:17.066" v="4746" actId="478"/>
          <ac:spMkLst>
            <pc:docMk/>
            <pc:sldMk cId="2537092080" sldId="2147469915"/>
            <ac:spMk id="18" creationId="{E8F0642F-F3B2-694F-08E4-97F9ACA0D46E}"/>
          </ac:spMkLst>
        </pc:spChg>
        <pc:spChg chg="add mod">
          <ac:chgData name="Simone NERI" userId="2a00f2ad-68d9-45e6-b604-268bfad9cc5e" providerId="ADAL" clId="{D888A4E8-4B4E-4F9E-AD90-7B2ECDAE1265}" dt="2023-03-06T09:34:56.784" v="5048" actId="1076"/>
          <ac:spMkLst>
            <pc:docMk/>
            <pc:sldMk cId="2537092080" sldId="2147469915"/>
            <ac:spMk id="19" creationId="{59771979-E362-5502-1EB8-F416F8860057}"/>
          </ac:spMkLst>
        </pc:spChg>
        <pc:spChg chg="add mod">
          <ac:chgData name="Simone NERI" userId="2a00f2ad-68d9-45e6-b604-268bfad9cc5e" providerId="ADAL" clId="{D888A4E8-4B4E-4F9E-AD90-7B2ECDAE1265}" dt="2023-03-06T12:27:55.718" v="6527"/>
          <ac:spMkLst>
            <pc:docMk/>
            <pc:sldMk cId="2537092080" sldId="2147469915"/>
            <ac:spMk id="22" creationId="{620F35FE-A089-12AD-3E29-472DAB43DF91}"/>
          </ac:spMkLst>
        </pc:spChg>
        <pc:graphicFrameChg chg="del">
          <ac:chgData name="Simone NERI" userId="2a00f2ad-68d9-45e6-b604-268bfad9cc5e" providerId="ADAL" clId="{D888A4E8-4B4E-4F9E-AD90-7B2ECDAE1265}" dt="2023-03-03T16:33:38.681" v="4263" actId="478"/>
          <ac:graphicFrameMkLst>
            <pc:docMk/>
            <pc:sldMk cId="2537092080" sldId="2147469915"/>
            <ac:graphicFrameMk id="4" creationId="{FC6AF288-0C48-8AEE-605F-96ABF7E71BA2}"/>
          </ac:graphicFrameMkLst>
        </pc:graphicFrameChg>
        <pc:picChg chg="add mod">
          <ac:chgData name="Simone NERI" userId="2a00f2ad-68d9-45e6-b604-268bfad9cc5e" providerId="ADAL" clId="{D888A4E8-4B4E-4F9E-AD90-7B2ECDAE1265}" dt="2023-03-03T17:27:20.490" v="4762" actId="1076"/>
          <ac:picMkLst>
            <pc:docMk/>
            <pc:sldMk cId="2537092080" sldId="2147469915"/>
            <ac:picMk id="10" creationId="{15F60516-506D-49D9-E494-4C22DD299EE4}"/>
          </ac:picMkLst>
        </pc:picChg>
        <pc:picChg chg="add mod">
          <ac:chgData name="Simone NERI" userId="2a00f2ad-68d9-45e6-b604-268bfad9cc5e" providerId="ADAL" clId="{D888A4E8-4B4E-4F9E-AD90-7B2ECDAE1265}" dt="2023-03-06T09:35:04.403" v="5049" actId="1076"/>
          <ac:picMkLst>
            <pc:docMk/>
            <pc:sldMk cId="2537092080" sldId="2147469915"/>
            <ac:picMk id="16" creationId="{A0A2335B-ABD3-00E1-2275-769D42F405D3}"/>
          </ac:picMkLst>
        </pc:picChg>
        <pc:picChg chg="add mod">
          <ac:chgData name="Simone NERI" userId="2a00f2ad-68d9-45e6-b604-268bfad9cc5e" providerId="ADAL" clId="{D888A4E8-4B4E-4F9E-AD90-7B2ECDAE1265}" dt="2023-03-06T09:34:51.436" v="5047" actId="1076"/>
          <ac:picMkLst>
            <pc:docMk/>
            <pc:sldMk cId="2537092080" sldId="2147469915"/>
            <ac:picMk id="21" creationId="{D78B97C5-3381-3736-0449-CEDE6B46C9B6}"/>
          </ac:picMkLst>
        </pc:picChg>
      </pc:sldChg>
      <pc:sldChg chg="addSp modSp del mod">
        <pc:chgData name="Simone NERI" userId="2a00f2ad-68d9-45e6-b604-268bfad9cc5e" providerId="ADAL" clId="{D888A4E8-4B4E-4F9E-AD90-7B2ECDAE1265}" dt="2023-03-06T12:28:14.946" v="6530" actId="47"/>
        <pc:sldMkLst>
          <pc:docMk/>
          <pc:sldMk cId="4203705604" sldId="2147469916"/>
        </pc:sldMkLst>
        <pc:spChg chg="add mod">
          <ac:chgData name="Simone NERI" userId="2a00f2ad-68d9-45e6-b604-268bfad9cc5e" providerId="ADAL" clId="{D888A4E8-4B4E-4F9E-AD90-7B2ECDAE1265}" dt="2023-03-03T17:00:24.001" v="4373" actId="1076"/>
          <ac:spMkLst>
            <pc:docMk/>
            <pc:sldMk cId="4203705604" sldId="2147469916"/>
            <ac:spMk id="2" creationId="{E7BDFD65-0522-F31D-9701-EDCF4A584399}"/>
          </ac:spMkLst>
        </pc:spChg>
      </pc:sldChg>
      <pc:sldChg chg="addSp modSp del">
        <pc:chgData name="Simone NERI" userId="2a00f2ad-68d9-45e6-b604-268bfad9cc5e" providerId="ADAL" clId="{D888A4E8-4B4E-4F9E-AD90-7B2ECDAE1265}" dt="2023-03-06T12:28:17.006" v="6531" actId="47"/>
        <pc:sldMkLst>
          <pc:docMk/>
          <pc:sldMk cId="531415365" sldId="2147469927"/>
        </pc:sldMkLst>
        <pc:spChg chg="add mod">
          <ac:chgData name="Simone NERI" userId="2a00f2ad-68d9-45e6-b604-268bfad9cc5e" providerId="ADAL" clId="{D888A4E8-4B4E-4F9E-AD90-7B2ECDAE1265}" dt="2023-03-03T15:56:25.306" v="3947"/>
          <ac:spMkLst>
            <pc:docMk/>
            <pc:sldMk cId="531415365" sldId="2147469927"/>
            <ac:spMk id="2" creationId="{87DCE342-07BC-D187-59F8-12C11827602B}"/>
          </ac:spMkLst>
        </pc:spChg>
      </pc:sldChg>
      <pc:sldChg chg="addSp modSp mod">
        <pc:chgData name="Simone NERI" userId="2a00f2ad-68d9-45e6-b604-268bfad9cc5e" providerId="ADAL" clId="{D888A4E8-4B4E-4F9E-AD90-7B2ECDAE1265}" dt="2023-02-28T15:08:56.256" v="100" actId="20577"/>
        <pc:sldMkLst>
          <pc:docMk/>
          <pc:sldMk cId="969046141" sldId="2147469928"/>
        </pc:sldMkLst>
        <pc:spChg chg="add mod">
          <ac:chgData name="Simone NERI" userId="2a00f2ad-68d9-45e6-b604-268bfad9cc5e" providerId="ADAL" clId="{D888A4E8-4B4E-4F9E-AD90-7B2ECDAE1265}" dt="2023-02-28T15:08:46.968" v="74" actId="1076"/>
          <ac:spMkLst>
            <pc:docMk/>
            <pc:sldMk cId="969046141" sldId="2147469928"/>
            <ac:spMk id="3" creationId="{A13CE5F4-3105-1BF6-BC04-36439C68725D}"/>
          </ac:spMkLst>
        </pc:spChg>
        <pc:spChg chg="add mod">
          <ac:chgData name="Simone NERI" userId="2a00f2ad-68d9-45e6-b604-268bfad9cc5e" providerId="ADAL" clId="{D888A4E8-4B4E-4F9E-AD90-7B2ECDAE1265}" dt="2023-02-28T15:08:56.256" v="100" actId="20577"/>
          <ac:spMkLst>
            <pc:docMk/>
            <pc:sldMk cId="969046141" sldId="2147469928"/>
            <ac:spMk id="4" creationId="{D64FC195-6AD5-2492-3B44-E7A1EE9DD841}"/>
          </ac:spMkLst>
        </pc:spChg>
      </pc:sldChg>
      <pc:sldChg chg="addSp modSp">
        <pc:chgData name="Simone NERI" userId="2a00f2ad-68d9-45e6-b604-268bfad9cc5e" providerId="ADAL" clId="{D888A4E8-4B4E-4F9E-AD90-7B2ECDAE1265}" dt="2023-02-28T15:07:02.772" v="72"/>
        <pc:sldMkLst>
          <pc:docMk/>
          <pc:sldMk cId="624835803" sldId="2147469958"/>
        </pc:sldMkLst>
        <pc:spChg chg="add mod">
          <ac:chgData name="Simone NERI" userId="2a00f2ad-68d9-45e6-b604-268bfad9cc5e" providerId="ADAL" clId="{D888A4E8-4B4E-4F9E-AD90-7B2ECDAE1265}" dt="2023-02-28T15:07:02.772" v="72"/>
          <ac:spMkLst>
            <pc:docMk/>
            <pc:sldMk cId="624835803" sldId="2147469958"/>
            <ac:spMk id="36" creationId="{72C0ED6E-69E8-9600-1D18-C8D4DA21E9EA}"/>
          </ac:spMkLst>
        </pc:spChg>
      </pc:sldChg>
      <pc:sldChg chg="addSp modSp">
        <pc:chgData name="Simone NERI" userId="2a00f2ad-68d9-45e6-b604-268bfad9cc5e" providerId="ADAL" clId="{D888A4E8-4B4E-4F9E-AD90-7B2ECDAE1265}" dt="2023-03-08T09:20:55.186" v="9354"/>
        <pc:sldMkLst>
          <pc:docMk/>
          <pc:sldMk cId="404304486" sldId="2147469961"/>
        </pc:sldMkLst>
        <pc:spChg chg="add mod">
          <ac:chgData name="Simone NERI" userId="2a00f2ad-68d9-45e6-b604-268bfad9cc5e" providerId="ADAL" clId="{D888A4E8-4B4E-4F9E-AD90-7B2ECDAE1265}" dt="2023-03-08T09:20:55.186" v="9354"/>
          <ac:spMkLst>
            <pc:docMk/>
            <pc:sldMk cId="404304486" sldId="2147469961"/>
            <ac:spMk id="6" creationId="{7AE21BCE-9C87-DFAE-52CD-0DFE56672E2B}"/>
          </ac:spMkLst>
        </pc:spChg>
      </pc:sldChg>
      <pc:sldChg chg="addSp modSp new mod">
        <pc:chgData name="Simone NERI" userId="2a00f2ad-68d9-45e6-b604-268bfad9cc5e" providerId="ADAL" clId="{D888A4E8-4B4E-4F9E-AD90-7B2ECDAE1265}" dt="2023-02-28T15:06:54.970" v="70"/>
        <pc:sldMkLst>
          <pc:docMk/>
          <pc:sldMk cId="846647049" sldId="2147469961"/>
        </pc:sldMkLst>
        <pc:spChg chg="mod">
          <ac:chgData name="Simone NERI" userId="2a00f2ad-68d9-45e6-b604-268bfad9cc5e" providerId="ADAL" clId="{D888A4E8-4B4E-4F9E-AD90-7B2ECDAE1265}" dt="2023-02-28T14:50:53.965" v="28" actId="20577"/>
          <ac:spMkLst>
            <pc:docMk/>
            <pc:sldMk cId="846647049" sldId="2147469961"/>
            <ac:spMk id="2" creationId="{AB53A934-65D5-BCF6-DCD4-8D3180660FE9}"/>
          </ac:spMkLst>
        </pc:spChg>
        <pc:spChg chg="add mod">
          <ac:chgData name="Simone NERI" userId="2a00f2ad-68d9-45e6-b604-268bfad9cc5e" providerId="ADAL" clId="{D888A4E8-4B4E-4F9E-AD90-7B2ECDAE1265}" dt="2023-02-28T15:06:54.970" v="70"/>
          <ac:spMkLst>
            <pc:docMk/>
            <pc:sldMk cId="846647049" sldId="2147469961"/>
            <ac:spMk id="4" creationId="{72AE39A3-CC7E-2FDD-06C2-ACDC66E0838A}"/>
          </ac:spMkLst>
        </pc:spChg>
      </pc:sldChg>
      <pc:sldChg chg="addSp modSp add mod">
        <pc:chgData name="Simone NERI" userId="2a00f2ad-68d9-45e6-b604-268bfad9cc5e" providerId="ADAL" clId="{D888A4E8-4B4E-4F9E-AD90-7B2ECDAE1265}" dt="2023-02-28T15:06:52.338" v="68"/>
        <pc:sldMkLst>
          <pc:docMk/>
          <pc:sldMk cId="1111061792" sldId="2147469962"/>
        </pc:sldMkLst>
        <pc:spChg chg="mod">
          <ac:chgData name="Simone NERI" userId="2a00f2ad-68d9-45e6-b604-268bfad9cc5e" providerId="ADAL" clId="{D888A4E8-4B4E-4F9E-AD90-7B2ECDAE1265}" dt="2023-02-28T14:51:15.198" v="54" actId="20577"/>
          <ac:spMkLst>
            <pc:docMk/>
            <pc:sldMk cId="1111061792" sldId="2147469962"/>
            <ac:spMk id="2" creationId="{AB53A934-65D5-BCF6-DCD4-8D3180660FE9}"/>
          </ac:spMkLst>
        </pc:spChg>
        <pc:spChg chg="add mod">
          <ac:chgData name="Simone NERI" userId="2a00f2ad-68d9-45e6-b604-268bfad9cc5e" providerId="ADAL" clId="{D888A4E8-4B4E-4F9E-AD90-7B2ECDAE1265}" dt="2023-02-28T15:06:52.338" v="68"/>
          <ac:spMkLst>
            <pc:docMk/>
            <pc:sldMk cId="1111061792" sldId="2147469962"/>
            <ac:spMk id="4" creationId="{864C2912-A70D-AC2C-8B20-19C96CBA9585}"/>
          </ac:spMkLst>
        </pc:spChg>
      </pc:sldChg>
      <pc:sldChg chg="addSp modSp add">
        <pc:chgData name="Simone NERI" userId="2a00f2ad-68d9-45e6-b604-268bfad9cc5e" providerId="ADAL" clId="{D888A4E8-4B4E-4F9E-AD90-7B2ECDAE1265}" dt="2023-02-28T15:06:53.820" v="69"/>
        <pc:sldMkLst>
          <pc:docMk/>
          <pc:sldMk cId="3397114460" sldId="2147469963"/>
        </pc:sldMkLst>
        <pc:spChg chg="add mod">
          <ac:chgData name="Simone NERI" userId="2a00f2ad-68d9-45e6-b604-268bfad9cc5e" providerId="ADAL" clId="{D888A4E8-4B4E-4F9E-AD90-7B2ECDAE1265}" dt="2023-02-28T15:06:53.820" v="69"/>
          <ac:spMkLst>
            <pc:docMk/>
            <pc:sldMk cId="3397114460" sldId="2147469963"/>
            <ac:spMk id="4" creationId="{B69E885B-7E85-A48D-2EE8-0589E1C391ED}"/>
          </ac:spMkLst>
        </pc:spChg>
      </pc:sldChg>
      <pc:sldChg chg="addSp modSp mod">
        <pc:chgData name="Simone NERI" userId="2a00f2ad-68d9-45e6-b604-268bfad9cc5e" providerId="ADAL" clId="{D888A4E8-4B4E-4F9E-AD90-7B2ECDAE1265}" dt="2023-03-08T09:12:16.532" v="9304" actId="1076"/>
        <pc:sldMkLst>
          <pc:docMk/>
          <pc:sldMk cId="2990160546" sldId="2147469966"/>
        </pc:sldMkLst>
        <pc:spChg chg="add mod">
          <ac:chgData name="Simone NERI" userId="2a00f2ad-68d9-45e6-b604-268bfad9cc5e" providerId="ADAL" clId="{D888A4E8-4B4E-4F9E-AD90-7B2ECDAE1265}" dt="2023-03-08T09:12:16.532" v="9304" actId="1076"/>
          <ac:spMkLst>
            <pc:docMk/>
            <pc:sldMk cId="2990160546" sldId="2147469966"/>
            <ac:spMk id="2" creationId="{9D2B7B90-ACBE-3AAB-2D9B-8F5CF7CFDFA5}"/>
          </ac:spMkLst>
        </pc:spChg>
        <pc:spChg chg="mod">
          <ac:chgData name="Simone NERI" userId="2a00f2ad-68d9-45e6-b604-268bfad9cc5e" providerId="ADAL" clId="{D888A4E8-4B4E-4F9E-AD90-7B2ECDAE1265}" dt="2023-03-08T09:11:42.140" v="9300" actId="3064"/>
          <ac:spMkLst>
            <pc:docMk/>
            <pc:sldMk cId="2990160546" sldId="2147469966"/>
            <ac:spMk id="21" creationId="{613F941B-E09F-4E91-9C75-F074E7D538F6}"/>
          </ac:spMkLst>
        </pc:spChg>
      </pc:sldChg>
      <pc:sldChg chg="addSp delSp modSp add mod ord addCm">
        <pc:chgData name="Simone NERI" userId="2a00f2ad-68d9-45e6-b604-268bfad9cc5e" providerId="ADAL" clId="{D888A4E8-4B4E-4F9E-AD90-7B2ECDAE1265}" dt="2023-03-08T09:34:08.498" v="9802" actId="20577"/>
        <pc:sldMkLst>
          <pc:docMk/>
          <pc:sldMk cId="2966111978" sldId="2147469968"/>
        </pc:sldMkLst>
        <pc:spChg chg="add mod">
          <ac:chgData name="Simone NERI" userId="2a00f2ad-68d9-45e6-b604-268bfad9cc5e" providerId="ADAL" clId="{D888A4E8-4B4E-4F9E-AD90-7B2ECDAE1265}" dt="2023-03-08T09:30:50.043" v="9527" actId="1035"/>
          <ac:spMkLst>
            <pc:docMk/>
            <pc:sldMk cId="2966111978" sldId="2147469968"/>
            <ac:spMk id="3" creationId="{F689934E-F255-B83D-E481-A43132A1137F}"/>
          </ac:spMkLst>
        </pc:spChg>
        <pc:spChg chg="mod">
          <ac:chgData name="Simone NERI" userId="2a00f2ad-68d9-45e6-b604-268bfad9cc5e" providerId="ADAL" clId="{D888A4E8-4B4E-4F9E-AD90-7B2ECDAE1265}" dt="2023-03-08T09:30:55.741" v="9528" actId="1076"/>
          <ac:spMkLst>
            <pc:docMk/>
            <pc:sldMk cId="2966111978" sldId="2147469968"/>
            <ac:spMk id="4" creationId="{C3360914-888F-4B4E-8289-037CF9A468AE}"/>
          </ac:spMkLst>
        </pc:spChg>
        <pc:spChg chg="mod ord">
          <ac:chgData name="Simone NERI" userId="2a00f2ad-68d9-45e6-b604-268bfad9cc5e" providerId="ADAL" clId="{D888A4E8-4B4E-4F9E-AD90-7B2ECDAE1265}" dt="2023-03-08T09:30:50.043" v="9527" actId="1035"/>
          <ac:spMkLst>
            <pc:docMk/>
            <pc:sldMk cId="2966111978" sldId="2147469968"/>
            <ac:spMk id="5" creationId="{F2D2DC74-BB2C-4450-9D59-E2FE06BDAA3A}"/>
          </ac:spMkLst>
        </pc:spChg>
        <pc:spChg chg="mod ord">
          <ac:chgData name="Simone NERI" userId="2a00f2ad-68d9-45e6-b604-268bfad9cc5e" providerId="ADAL" clId="{D888A4E8-4B4E-4F9E-AD90-7B2ECDAE1265}" dt="2023-03-08T09:30:50.043" v="9527" actId="1035"/>
          <ac:spMkLst>
            <pc:docMk/>
            <pc:sldMk cId="2966111978" sldId="2147469968"/>
            <ac:spMk id="6" creationId="{6D146384-3147-4EAC-BBA3-7E9397C2F3AF}"/>
          </ac:spMkLst>
        </pc:spChg>
        <pc:spChg chg="add mod">
          <ac:chgData name="Simone NERI" userId="2a00f2ad-68d9-45e6-b604-268bfad9cc5e" providerId="ADAL" clId="{D888A4E8-4B4E-4F9E-AD90-7B2ECDAE1265}" dt="2023-03-08T09:25:00.476" v="9466"/>
          <ac:spMkLst>
            <pc:docMk/>
            <pc:sldMk cId="2966111978" sldId="2147469968"/>
            <ac:spMk id="7" creationId="{1FEC3FA8-C03F-2223-219C-33E91202BAFB}"/>
          </ac:spMkLst>
        </pc:spChg>
        <pc:spChg chg="mod">
          <ac:chgData name="Simone NERI" userId="2a00f2ad-68d9-45e6-b604-268bfad9cc5e" providerId="ADAL" clId="{D888A4E8-4B4E-4F9E-AD90-7B2ECDAE1265}" dt="2023-03-01T14:37:07.873" v="611" actId="790"/>
          <ac:spMkLst>
            <pc:docMk/>
            <pc:sldMk cId="2966111978" sldId="2147469968"/>
            <ac:spMk id="7" creationId="{A0D5BAE4-0F6B-A66B-F36D-599C7FFFBF05}"/>
          </ac:spMkLst>
        </pc:spChg>
        <pc:spChg chg="mod ord">
          <ac:chgData name="Simone NERI" userId="2a00f2ad-68d9-45e6-b604-268bfad9cc5e" providerId="ADAL" clId="{D888A4E8-4B4E-4F9E-AD90-7B2ECDAE1265}" dt="2023-03-08T09:30:50.043" v="9527" actId="1035"/>
          <ac:spMkLst>
            <pc:docMk/>
            <pc:sldMk cId="2966111978" sldId="2147469968"/>
            <ac:spMk id="8" creationId="{9CF189FE-387F-42CC-8892-5A0C55C3DD94}"/>
          </ac:spMkLst>
        </pc:spChg>
        <pc:spChg chg="mod">
          <ac:chgData name="Simone NERI" userId="2a00f2ad-68d9-45e6-b604-268bfad9cc5e" providerId="ADAL" clId="{D888A4E8-4B4E-4F9E-AD90-7B2ECDAE1265}" dt="2023-03-08T09:30:50.043" v="9527" actId="1035"/>
          <ac:spMkLst>
            <pc:docMk/>
            <pc:sldMk cId="2966111978" sldId="2147469968"/>
            <ac:spMk id="9" creationId="{4CFEFC9D-7FD9-4632-998D-19528D9740AA}"/>
          </ac:spMkLst>
        </pc:spChg>
        <pc:spChg chg="mod">
          <ac:chgData name="Simone NERI" userId="2a00f2ad-68d9-45e6-b604-268bfad9cc5e" providerId="ADAL" clId="{D888A4E8-4B4E-4F9E-AD90-7B2ECDAE1265}" dt="2023-03-08T09:30:50.043" v="9527" actId="1035"/>
          <ac:spMkLst>
            <pc:docMk/>
            <pc:sldMk cId="2966111978" sldId="2147469968"/>
            <ac:spMk id="10" creationId="{88414BFC-8B9E-438A-BF5D-28B608CA5129}"/>
          </ac:spMkLst>
        </pc:spChg>
        <pc:spChg chg="add mod">
          <ac:chgData name="Simone NERI" userId="2a00f2ad-68d9-45e6-b604-268bfad9cc5e" providerId="ADAL" clId="{D888A4E8-4B4E-4F9E-AD90-7B2ECDAE1265}" dt="2023-03-08T09:30:50.043" v="9527" actId="1035"/>
          <ac:spMkLst>
            <pc:docMk/>
            <pc:sldMk cId="2966111978" sldId="2147469968"/>
            <ac:spMk id="11" creationId="{AAFFFC7C-F8DA-0E78-1033-9D71895BC501}"/>
          </ac:spMkLst>
        </pc:spChg>
        <pc:spChg chg="mod">
          <ac:chgData name="Simone NERI" userId="2a00f2ad-68d9-45e6-b604-268bfad9cc5e" providerId="ADAL" clId="{D888A4E8-4B4E-4F9E-AD90-7B2ECDAE1265}" dt="2023-03-08T09:30:50.043" v="9527" actId="1035"/>
          <ac:spMkLst>
            <pc:docMk/>
            <pc:sldMk cId="2966111978" sldId="2147469968"/>
            <ac:spMk id="12" creationId="{BE686EBE-AAD3-4FB8-1568-EA2ACB0ACE00}"/>
          </ac:spMkLst>
        </pc:spChg>
        <pc:spChg chg="mod">
          <ac:chgData name="Simone NERI" userId="2a00f2ad-68d9-45e6-b604-268bfad9cc5e" providerId="ADAL" clId="{D888A4E8-4B4E-4F9E-AD90-7B2ECDAE1265}" dt="2023-03-08T09:30:50.043" v="9527" actId="1035"/>
          <ac:spMkLst>
            <pc:docMk/>
            <pc:sldMk cId="2966111978" sldId="2147469968"/>
            <ac:spMk id="13" creationId="{B186FEDB-F987-8C3F-9FF4-4CD95065EE48}"/>
          </ac:spMkLst>
        </pc:spChg>
        <pc:spChg chg="mod ord">
          <ac:chgData name="Simone NERI" userId="2a00f2ad-68d9-45e6-b604-268bfad9cc5e" providerId="ADAL" clId="{D888A4E8-4B4E-4F9E-AD90-7B2ECDAE1265}" dt="2023-03-08T09:30:50.043" v="9527" actId="1035"/>
          <ac:spMkLst>
            <pc:docMk/>
            <pc:sldMk cId="2966111978" sldId="2147469968"/>
            <ac:spMk id="14" creationId="{2E4083A8-A0CB-6716-9E2D-27143D4AD462}"/>
          </ac:spMkLst>
        </pc:spChg>
        <pc:spChg chg="mod">
          <ac:chgData name="Simone NERI" userId="2a00f2ad-68d9-45e6-b604-268bfad9cc5e" providerId="ADAL" clId="{D888A4E8-4B4E-4F9E-AD90-7B2ECDAE1265}" dt="2023-03-08T09:30:50.043" v="9527" actId="1035"/>
          <ac:spMkLst>
            <pc:docMk/>
            <pc:sldMk cId="2966111978" sldId="2147469968"/>
            <ac:spMk id="15" creationId="{FC9B7A82-4824-6A00-CE61-78FB9D481CD1}"/>
          </ac:spMkLst>
        </pc:spChg>
        <pc:spChg chg="mod">
          <ac:chgData name="Simone NERI" userId="2a00f2ad-68d9-45e6-b604-268bfad9cc5e" providerId="ADAL" clId="{D888A4E8-4B4E-4F9E-AD90-7B2ECDAE1265}" dt="2023-03-08T09:30:50.043" v="9527" actId="1035"/>
          <ac:spMkLst>
            <pc:docMk/>
            <pc:sldMk cId="2966111978" sldId="2147469968"/>
            <ac:spMk id="16" creationId="{B36437D6-51E8-4436-A440-732FDD660C60}"/>
          </ac:spMkLst>
        </pc:spChg>
        <pc:spChg chg="mod">
          <ac:chgData name="Simone NERI" userId="2a00f2ad-68d9-45e6-b604-268bfad9cc5e" providerId="ADAL" clId="{D888A4E8-4B4E-4F9E-AD90-7B2ECDAE1265}" dt="2023-03-08T09:30:50.043" v="9527" actId="1035"/>
          <ac:spMkLst>
            <pc:docMk/>
            <pc:sldMk cId="2966111978" sldId="2147469968"/>
            <ac:spMk id="17" creationId="{A5ED3561-CBB2-0CD2-9B98-CB691EB759BA}"/>
          </ac:spMkLst>
        </pc:spChg>
        <pc:spChg chg="add mod ord">
          <ac:chgData name="Simone NERI" userId="2a00f2ad-68d9-45e6-b604-268bfad9cc5e" providerId="ADAL" clId="{D888A4E8-4B4E-4F9E-AD90-7B2ECDAE1265}" dt="2023-03-08T09:30:50.043" v="9527" actId="1035"/>
          <ac:spMkLst>
            <pc:docMk/>
            <pc:sldMk cId="2966111978" sldId="2147469968"/>
            <ac:spMk id="18" creationId="{9FCC7F35-99CA-D64F-A986-4E0E3890F4B0}"/>
          </ac:spMkLst>
        </pc:spChg>
        <pc:spChg chg="add del mod">
          <ac:chgData name="Simone NERI" userId="2a00f2ad-68d9-45e6-b604-268bfad9cc5e" providerId="ADAL" clId="{D888A4E8-4B4E-4F9E-AD90-7B2ECDAE1265}" dt="2023-03-08T09:30:38.016" v="9509" actId="478"/>
          <ac:spMkLst>
            <pc:docMk/>
            <pc:sldMk cId="2966111978" sldId="2147469968"/>
            <ac:spMk id="19" creationId="{D613ABA6-92DE-BA83-3126-472A20A35C61}"/>
          </ac:spMkLst>
        </pc:spChg>
        <pc:spChg chg="del">
          <ac:chgData name="Simone NERI" userId="2a00f2ad-68d9-45e6-b604-268bfad9cc5e" providerId="ADAL" clId="{D888A4E8-4B4E-4F9E-AD90-7B2ECDAE1265}" dt="2023-03-01T11:05:06.586" v="212" actId="478"/>
          <ac:spMkLst>
            <pc:docMk/>
            <pc:sldMk cId="2966111978" sldId="2147469968"/>
            <ac:spMk id="20" creationId="{557CA391-2F0D-433F-DEC2-63F1B3E1875B}"/>
          </ac:spMkLst>
        </pc:spChg>
        <pc:spChg chg="add mod">
          <ac:chgData name="Simone NERI" userId="2a00f2ad-68d9-45e6-b604-268bfad9cc5e" providerId="ADAL" clId="{D888A4E8-4B4E-4F9E-AD90-7B2ECDAE1265}" dt="2023-03-08T09:34:08.498" v="9802" actId="20577"/>
          <ac:spMkLst>
            <pc:docMk/>
            <pc:sldMk cId="2966111978" sldId="2147469968"/>
            <ac:spMk id="20" creationId="{80199D23-5ABE-8C68-32FF-386CC63C6FFB}"/>
          </ac:spMkLst>
        </pc:spChg>
        <pc:spChg chg="add del mod">
          <ac:chgData name="Simone NERI" userId="2a00f2ad-68d9-45e6-b604-268bfad9cc5e" providerId="ADAL" clId="{D888A4E8-4B4E-4F9E-AD90-7B2ECDAE1265}" dt="2023-03-06T12:39:50.138" v="6923" actId="478"/>
          <ac:spMkLst>
            <pc:docMk/>
            <pc:sldMk cId="2966111978" sldId="2147469968"/>
            <ac:spMk id="20" creationId="{FABA36DD-3790-0BB7-655C-831A68AB265D}"/>
          </ac:spMkLst>
        </pc:spChg>
        <pc:spChg chg="mod">
          <ac:chgData name="Simone NERI" userId="2a00f2ad-68d9-45e6-b604-268bfad9cc5e" providerId="ADAL" clId="{D888A4E8-4B4E-4F9E-AD90-7B2ECDAE1265}" dt="2023-03-08T09:30:50.043" v="9527" actId="1035"/>
          <ac:spMkLst>
            <pc:docMk/>
            <pc:sldMk cId="2966111978" sldId="2147469968"/>
            <ac:spMk id="21" creationId="{644EB278-9CD3-5494-CC1C-6D524FA4FBE3}"/>
          </ac:spMkLst>
        </pc:spChg>
        <pc:spChg chg="del">
          <ac:chgData name="Simone NERI" userId="2a00f2ad-68d9-45e6-b604-268bfad9cc5e" providerId="ADAL" clId="{D888A4E8-4B4E-4F9E-AD90-7B2ECDAE1265}" dt="2023-03-01T11:05:09.694" v="213" actId="478"/>
          <ac:spMkLst>
            <pc:docMk/>
            <pc:sldMk cId="2966111978" sldId="2147469968"/>
            <ac:spMk id="21" creationId="{E4EEE5A1-B056-21CF-F18D-32B9F9D3AF73}"/>
          </ac:spMkLst>
        </pc:spChg>
        <pc:spChg chg="add del mod">
          <ac:chgData name="Simone NERI" userId="2a00f2ad-68d9-45e6-b604-268bfad9cc5e" providerId="ADAL" clId="{D888A4E8-4B4E-4F9E-AD90-7B2ECDAE1265}" dt="2023-03-06T12:40:59.755" v="6931" actId="478"/>
          <ac:spMkLst>
            <pc:docMk/>
            <pc:sldMk cId="2966111978" sldId="2147469968"/>
            <ac:spMk id="22" creationId="{7AAD8BBA-5016-8EE4-3BDE-22E824D55AD1}"/>
          </ac:spMkLst>
        </pc:spChg>
        <pc:spChg chg="add del mod">
          <ac:chgData name="Simone NERI" userId="2a00f2ad-68d9-45e6-b604-268bfad9cc5e" providerId="ADAL" clId="{D888A4E8-4B4E-4F9E-AD90-7B2ECDAE1265}" dt="2023-03-06T12:41:01.050" v="6932" actId="478"/>
          <ac:spMkLst>
            <pc:docMk/>
            <pc:sldMk cId="2966111978" sldId="2147469968"/>
            <ac:spMk id="23" creationId="{EB733E06-3060-8926-FD04-F8368DA4BEA5}"/>
          </ac:spMkLst>
        </pc:spChg>
        <pc:spChg chg="add del mod">
          <ac:chgData name="Simone NERI" userId="2a00f2ad-68d9-45e6-b604-268bfad9cc5e" providerId="ADAL" clId="{D888A4E8-4B4E-4F9E-AD90-7B2ECDAE1265}" dt="2023-03-06T12:39:50.138" v="6923" actId="478"/>
          <ac:spMkLst>
            <pc:docMk/>
            <pc:sldMk cId="2966111978" sldId="2147469968"/>
            <ac:spMk id="24" creationId="{6F5F1E5F-940F-EDB4-3AED-02214D3799F4}"/>
          </ac:spMkLst>
        </pc:spChg>
        <pc:spChg chg="del mod">
          <ac:chgData name="Simone NERI" userId="2a00f2ad-68d9-45e6-b604-268bfad9cc5e" providerId="ADAL" clId="{D888A4E8-4B4E-4F9E-AD90-7B2ECDAE1265}" dt="2023-03-01T11:06:27.855" v="230" actId="478"/>
          <ac:spMkLst>
            <pc:docMk/>
            <pc:sldMk cId="2966111978" sldId="2147469968"/>
            <ac:spMk id="24" creationId="{C52DC41B-43F9-DB78-62F7-3797B33BC2F8}"/>
          </ac:spMkLst>
        </pc:spChg>
        <pc:spChg chg="mod">
          <ac:chgData name="Simone NERI" userId="2a00f2ad-68d9-45e6-b604-268bfad9cc5e" providerId="ADAL" clId="{D888A4E8-4B4E-4F9E-AD90-7B2ECDAE1265}" dt="2023-03-08T09:30:50.043" v="9527" actId="1035"/>
          <ac:spMkLst>
            <pc:docMk/>
            <pc:sldMk cId="2966111978" sldId="2147469968"/>
            <ac:spMk id="24" creationId="{D08465D6-F162-8078-BC09-B3AC48192AAF}"/>
          </ac:spMkLst>
        </pc:spChg>
        <pc:spChg chg="add mod ord">
          <ac:chgData name="Simone NERI" userId="2a00f2ad-68d9-45e6-b604-268bfad9cc5e" providerId="ADAL" clId="{D888A4E8-4B4E-4F9E-AD90-7B2ECDAE1265}" dt="2023-03-08T09:30:50.043" v="9527" actId="1035"/>
          <ac:spMkLst>
            <pc:docMk/>
            <pc:sldMk cId="2966111978" sldId="2147469968"/>
            <ac:spMk id="26" creationId="{6B45B450-36BB-6CDA-280E-2BFF6D4D8421}"/>
          </ac:spMkLst>
        </pc:spChg>
        <pc:spChg chg="add mod ord">
          <ac:chgData name="Simone NERI" userId="2a00f2ad-68d9-45e6-b604-268bfad9cc5e" providerId="ADAL" clId="{D888A4E8-4B4E-4F9E-AD90-7B2ECDAE1265}" dt="2023-03-08T09:30:50.043" v="9527" actId="1035"/>
          <ac:spMkLst>
            <pc:docMk/>
            <pc:sldMk cId="2966111978" sldId="2147469968"/>
            <ac:spMk id="27" creationId="{D4707CF2-43F9-D49E-CFFD-AEA85D21316E}"/>
          </ac:spMkLst>
        </pc:spChg>
        <pc:spChg chg="add del mod">
          <ac:chgData name="Simone NERI" userId="2a00f2ad-68d9-45e6-b604-268bfad9cc5e" providerId="ADAL" clId="{D888A4E8-4B4E-4F9E-AD90-7B2ECDAE1265}" dt="2023-03-06T12:39:50.138" v="6923" actId="478"/>
          <ac:spMkLst>
            <pc:docMk/>
            <pc:sldMk cId="2966111978" sldId="2147469968"/>
            <ac:spMk id="28" creationId="{7B68747D-244C-00D5-FE64-9EB719521F7A}"/>
          </ac:spMkLst>
        </pc:spChg>
        <pc:spChg chg="del mod">
          <ac:chgData name="Simone NERI" userId="2a00f2ad-68d9-45e6-b604-268bfad9cc5e" providerId="ADAL" clId="{D888A4E8-4B4E-4F9E-AD90-7B2ECDAE1265}" dt="2023-03-01T11:08:19.752" v="283" actId="478"/>
          <ac:spMkLst>
            <pc:docMk/>
            <pc:sldMk cId="2966111978" sldId="2147469968"/>
            <ac:spMk id="28" creationId="{FF7C4491-4892-4141-9CF1-C0CAC9DC0E9E}"/>
          </ac:spMkLst>
        </pc:spChg>
        <pc:spChg chg="add del mod">
          <ac:chgData name="Simone NERI" userId="2a00f2ad-68d9-45e6-b604-268bfad9cc5e" providerId="ADAL" clId="{D888A4E8-4B4E-4F9E-AD90-7B2ECDAE1265}" dt="2023-03-06T12:32:15.138" v="6550" actId="478"/>
          <ac:spMkLst>
            <pc:docMk/>
            <pc:sldMk cId="2966111978" sldId="2147469968"/>
            <ac:spMk id="29" creationId="{957839F1-61D0-A60B-7D36-8C918FCE2C17}"/>
          </ac:spMkLst>
        </pc:spChg>
        <pc:spChg chg="add del mod">
          <ac:chgData name="Simone NERI" userId="2a00f2ad-68d9-45e6-b604-268bfad9cc5e" providerId="ADAL" clId="{D888A4E8-4B4E-4F9E-AD90-7B2ECDAE1265}" dt="2023-03-06T12:32:15.138" v="6550" actId="478"/>
          <ac:spMkLst>
            <pc:docMk/>
            <pc:sldMk cId="2966111978" sldId="2147469968"/>
            <ac:spMk id="33" creationId="{67B46EA2-3B7C-C5A3-CE6D-92B17DCDAE82}"/>
          </ac:spMkLst>
        </pc:spChg>
        <pc:spChg chg="del mod">
          <ac:chgData name="Simone NERI" userId="2a00f2ad-68d9-45e6-b604-268bfad9cc5e" providerId="ADAL" clId="{D888A4E8-4B4E-4F9E-AD90-7B2ECDAE1265}" dt="2023-03-01T11:06:25.667" v="228" actId="478"/>
          <ac:spMkLst>
            <pc:docMk/>
            <pc:sldMk cId="2966111978" sldId="2147469968"/>
            <ac:spMk id="34" creationId="{4995EC49-76E0-4E17-83E2-B985C5E42566}"/>
          </ac:spMkLst>
        </pc:spChg>
        <pc:spChg chg="add del mod">
          <ac:chgData name="Simone NERI" userId="2a00f2ad-68d9-45e6-b604-268bfad9cc5e" providerId="ADAL" clId="{D888A4E8-4B4E-4F9E-AD90-7B2ECDAE1265}" dt="2023-03-06T12:39:50.138" v="6923" actId="478"/>
          <ac:spMkLst>
            <pc:docMk/>
            <pc:sldMk cId="2966111978" sldId="2147469968"/>
            <ac:spMk id="34" creationId="{7C70198A-3F30-7A40-DD89-2D4146D067B4}"/>
          </ac:spMkLst>
        </pc:spChg>
        <pc:spChg chg="add mod">
          <ac:chgData name="Simone NERI" userId="2a00f2ad-68d9-45e6-b604-268bfad9cc5e" providerId="ADAL" clId="{D888A4E8-4B4E-4F9E-AD90-7B2ECDAE1265}" dt="2023-03-08T09:30:50.043" v="9527" actId="1035"/>
          <ac:spMkLst>
            <pc:docMk/>
            <pc:sldMk cId="2966111978" sldId="2147469968"/>
            <ac:spMk id="36" creationId="{7E126A51-A572-AA79-BA06-8F23BC0FE883}"/>
          </ac:spMkLst>
        </pc:spChg>
        <pc:spChg chg="add mod">
          <ac:chgData name="Simone NERI" userId="2a00f2ad-68d9-45e6-b604-268bfad9cc5e" providerId="ADAL" clId="{D888A4E8-4B4E-4F9E-AD90-7B2ECDAE1265}" dt="2023-03-08T09:32:15.078" v="9780" actId="208"/>
          <ac:spMkLst>
            <pc:docMk/>
            <pc:sldMk cId="2966111978" sldId="2147469968"/>
            <ac:spMk id="37" creationId="{3432EC1B-8755-323B-7E63-F6870B01F2C7}"/>
          </ac:spMkLst>
        </pc:spChg>
        <pc:spChg chg="add del mod">
          <ac:chgData name="Simone NERI" userId="2a00f2ad-68d9-45e6-b604-268bfad9cc5e" providerId="ADAL" clId="{D888A4E8-4B4E-4F9E-AD90-7B2ECDAE1265}" dt="2023-03-06T12:41:25.129" v="6941" actId="478"/>
          <ac:spMkLst>
            <pc:docMk/>
            <pc:sldMk cId="2966111978" sldId="2147469968"/>
            <ac:spMk id="38" creationId="{90F0C10A-167E-AF32-5142-BC44A808DB77}"/>
          </ac:spMkLst>
        </pc:spChg>
        <pc:spChg chg="add mod ord">
          <ac:chgData name="Simone NERI" userId="2a00f2ad-68d9-45e6-b604-268bfad9cc5e" providerId="ADAL" clId="{D888A4E8-4B4E-4F9E-AD90-7B2ECDAE1265}" dt="2023-03-08T09:32:18.303" v="9781" actId="208"/>
          <ac:spMkLst>
            <pc:docMk/>
            <pc:sldMk cId="2966111978" sldId="2147469968"/>
            <ac:spMk id="40" creationId="{0C7D52A7-5F5E-A1AC-2FC9-99920D3730F7}"/>
          </ac:spMkLst>
        </pc:spChg>
        <pc:spChg chg="add del mod">
          <ac:chgData name="Simone NERI" userId="2a00f2ad-68d9-45e6-b604-268bfad9cc5e" providerId="ADAL" clId="{D888A4E8-4B4E-4F9E-AD90-7B2ECDAE1265}" dt="2023-03-06T12:32:15.138" v="6550" actId="478"/>
          <ac:spMkLst>
            <pc:docMk/>
            <pc:sldMk cId="2966111978" sldId="2147469968"/>
            <ac:spMk id="41" creationId="{83512F03-E651-093E-F095-66C45A4563A4}"/>
          </ac:spMkLst>
        </pc:spChg>
        <pc:spChg chg="add mod">
          <ac:chgData name="Simone NERI" userId="2a00f2ad-68d9-45e6-b604-268bfad9cc5e" providerId="ADAL" clId="{D888A4E8-4B4E-4F9E-AD90-7B2ECDAE1265}" dt="2023-03-06T12:38:14.785" v="6890" actId="1076"/>
          <ac:spMkLst>
            <pc:docMk/>
            <pc:sldMk cId="2966111978" sldId="2147469968"/>
            <ac:spMk id="43" creationId="{B76A8309-6F20-926E-9004-B3DFA0ED7607}"/>
          </ac:spMkLst>
        </pc:spChg>
        <pc:spChg chg="add mod">
          <ac:chgData name="Simone NERI" userId="2a00f2ad-68d9-45e6-b604-268bfad9cc5e" providerId="ADAL" clId="{D888A4E8-4B4E-4F9E-AD90-7B2ECDAE1265}" dt="2023-03-06T12:46:13.100" v="7001" actId="1076"/>
          <ac:spMkLst>
            <pc:docMk/>
            <pc:sldMk cId="2966111978" sldId="2147469968"/>
            <ac:spMk id="44" creationId="{CC82F256-01DF-6582-E49E-1B3BC0E3E00D}"/>
          </ac:spMkLst>
        </pc:spChg>
        <pc:spChg chg="add del mod">
          <ac:chgData name="Simone NERI" userId="2a00f2ad-68d9-45e6-b604-268bfad9cc5e" providerId="ADAL" clId="{D888A4E8-4B4E-4F9E-AD90-7B2ECDAE1265}" dt="2023-03-06T12:49:08.010" v="7366" actId="478"/>
          <ac:spMkLst>
            <pc:docMk/>
            <pc:sldMk cId="2966111978" sldId="2147469968"/>
            <ac:spMk id="45" creationId="{9DFF3F99-A468-8F41-2C48-2BE855DD9B23}"/>
          </ac:spMkLst>
        </pc:spChg>
        <pc:spChg chg="add del mod">
          <ac:chgData name="Simone NERI" userId="2a00f2ad-68d9-45e6-b604-268bfad9cc5e" providerId="ADAL" clId="{D888A4E8-4B4E-4F9E-AD90-7B2ECDAE1265}" dt="2023-03-06T12:49:08.819" v="7367" actId="478"/>
          <ac:spMkLst>
            <pc:docMk/>
            <pc:sldMk cId="2966111978" sldId="2147469968"/>
            <ac:spMk id="46" creationId="{189967E2-5006-F9C0-A660-80F7091A3DF9}"/>
          </ac:spMkLst>
        </pc:spChg>
        <pc:spChg chg="add mod">
          <ac:chgData name="Simone NERI" userId="2a00f2ad-68d9-45e6-b604-268bfad9cc5e" providerId="ADAL" clId="{D888A4E8-4B4E-4F9E-AD90-7B2ECDAE1265}" dt="2023-03-08T09:30:50.043" v="9527" actId="1035"/>
          <ac:spMkLst>
            <pc:docMk/>
            <pc:sldMk cId="2966111978" sldId="2147469968"/>
            <ac:spMk id="50" creationId="{DA223C4C-76D2-4200-AB66-0940EB2F3765}"/>
          </ac:spMkLst>
        </pc:spChg>
        <pc:spChg chg="add mod">
          <ac:chgData name="Simone NERI" userId="2a00f2ad-68d9-45e6-b604-268bfad9cc5e" providerId="ADAL" clId="{D888A4E8-4B4E-4F9E-AD90-7B2ECDAE1265}" dt="2023-03-08T09:30:50.043" v="9527" actId="1035"/>
          <ac:spMkLst>
            <pc:docMk/>
            <pc:sldMk cId="2966111978" sldId="2147469968"/>
            <ac:spMk id="51" creationId="{AB1C3439-9156-1248-22EE-F16F6F6BFAFD}"/>
          </ac:spMkLst>
        </pc:spChg>
        <pc:spChg chg="add mod">
          <ac:chgData name="Simone NERI" userId="2a00f2ad-68d9-45e6-b604-268bfad9cc5e" providerId="ADAL" clId="{D888A4E8-4B4E-4F9E-AD90-7B2ECDAE1265}" dt="2023-03-08T09:30:50.043" v="9527" actId="1035"/>
          <ac:spMkLst>
            <pc:docMk/>
            <pc:sldMk cId="2966111978" sldId="2147469968"/>
            <ac:spMk id="52" creationId="{15CFE7AE-447D-647B-8C8B-D90C5159B1BC}"/>
          </ac:spMkLst>
        </pc:spChg>
        <pc:spChg chg="add mod">
          <ac:chgData name="Simone NERI" userId="2a00f2ad-68d9-45e6-b604-268bfad9cc5e" providerId="ADAL" clId="{D888A4E8-4B4E-4F9E-AD90-7B2ECDAE1265}" dt="2023-03-08T09:30:50.043" v="9527" actId="1035"/>
          <ac:spMkLst>
            <pc:docMk/>
            <pc:sldMk cId="2966111978" sldId="2147469968"/>
            <ac:spMk id="54" creationId="{6DDE399D-4579-8C77-7106-12C3659DA88F}"/>
          </ac:spMkLst>
        </pc:spChg>
        <pc:spChg chg="add mod">
          <ac:chgData name="Simone NERI" userId="2a00f2ad-68d9-45e6-b604-268bfad9cc5e" providerId="ADAL" clId="{D888A4E8-4B4E-4F9E-AD90-7B2ECDAE1265}" dt="2023-03-08T09:30:50.043" v="9527" actId="1035"/>
          <ac:spMkLst>
            <pc:docMk/>
            <pc:sldMk cId="2966111978" sldId="2147469968"/>
            <ac:spMk id="58" creationId="{5BE98F25-BA9F-4AFF-F335-9B2EB1BB472F}"/>
          </ac:spMkLst>
        </pc:spChg>
        <pc:spChg chg="add mod">
          <ac:chgData name="Simone NERI" userId="2a00f2ad-68d9-45e6-b604-268bfad9cc5e" providerId="ADAL" clId="{D888A4E8-4B4E-4F9E-AD90-7B2ECDAE1265}" dt="2023-03-08T09:30:50.043" v="9527" actId="1035"/>
          <ac:spMkLst>
            <pc:docMk/>
            <pc:sldMk cId="2966111978" sldId="2147469968"/>
            <ac:spMk id="59" creationId="{279ABEF7-8A60-6FCF-1202-4BAA373923E1}"/>
          </ac:spMkLst>
        </pc:spChg>
        <pc:spChg chg="add mod">
          <ac:chgData name="Simone NERI" userId="2a00f2ad-68d9-45e6-b604-268bfad9cc5e" providerId="ADAL" clId="{D888A4E8-4B4E-4F9E-AD90-7B2ECDAE1265}" dt="2023-03-08T09:30:50.043" v="9527" actId="1035"/>
          <ac:spMkLst>
            <pc:docMk/>
            <pc:sldMk cId="2966111978" sldId="2147469968"/>
            <ac:spMk id="60" creationId="{A63E2F5A-3053-DB59-4E60-7CC46A615F2D}"/>
          </ac:spMkLst>
        </pc:spChg>
        <pc:spChg chg="add mod">
          <ac:chgData name="Simone NERI" userId="2a00f2ad-68d9-45e6-b604-268bfad9cc5e" providerId="ADAL" clId="{D888A4E8-4B4E-4F9E-AD90-7B2ECDAE1265}" dt="2023-03-08T09:30:50.043" v="9527" actId="1035"/>
          <ac:spMkLst>
            <pc:docMk/>
            <pc:sldMk cId="2966111978" sldId="2147469968"/>
            <ac:spMk id="61" creationId="{F05E58FD-C2C7-DC73-DCA1-0100A95D2D74}"/>
          </ac:spMkLst>
        </pc:spChg>
        <pc:spChg chg="add mod">
          <ac:chgData name="Simone NERI" userId="2a00f2ad-68d9-45e6-b604-268bfad9cc5e" providerId="ADAL" clId="{D888A4E8-4B4E-4F9E-AD90-7B2ECDAE1265}" dt="2023-03-08T09:30:50.043" v="9527" actId="1035"/>
          <ac:spMkLst>
            <pc:docMk/>
            <pc:sldMk cId="2966111978" sldId="2147469968"/>
            <ac:spMk id="62" creationId="{A744192B-F90E-9850-74A6-5789B2870D24}"/>
          </ac:spMkLst>
        </pc:spChg>
        <pc:cxnChg chg="del mod">
          <ac:chgData name="Simone NERI" userId="2a00f2ad-68d9-45e6-b604-268bfad9cc5e" providerId="ADAL" clId="{D888A4E8-4B4E-4F9E-AD90-7B2ECDAE1265}" dt="2023-03-06T12:32:15.138" v="6550" actId="478"/>
          <ac:cxnSpMkLst>
            <pc:docMk/>
            <pc:sldMk cId="2966111978" sldId="2147469968"/>
            <ac:cxnSpMk id="19" creationId="{991761CB-B2F7-074C-639B-4F5E2E871872}"/>
          </ac:cxnSpMkLst>
        </pc:cxnChg>
        <pc:cxnChg chg="add del mod">
          <ac:chgData name="Simone NERI" userId="2a00f2ad-68d9-45e6-b604-268bfad9cc5e" providerId="ADAL" clId="{D888A4E8-4B4E-4F9E-AD90-7B2ECDAE1265}" dt="2023-03-06T12:39:50.138" v="6923" actId="478"/>
          <ac:cxnSpMkLst>
            <pc:docMk/>
            <pc:sldMk cId="2966111978" sldId="2147469968"/>
            <ac:cxnSpMk id="21" creationId="{7E691510-CFD0-8F1D-9877-8420ABC33BB4}"/>
          </ac:cxnSpMkLst>
        </pc:cxnChg>
        <pc:cxnChg chg="add mod">
          <ac:chgData name="Simone NERI" userId="2a00f2ad-68d9-45e6-b604-268bfad9cc5e" providerId="ADAL" clId="{D888A4E8-4B4E-4F9E-AD90-7B2ECDAE1265}" dt="2023-03-08T09:30:50.043" v="9527" actId="1035"/>
          <ac:cxnSpMkLst>
            <pc:docMk/>
            <pc:sldMk cId="2966111978" sldId="2147469968"/>
            <ac:cxnSpMk id="25" creationId="{3BCEDFCD-6D73-EB79-41A2-B606EFB41D64}"/>
          </ac:cxnSpMkLst>
        </pc:cxnChg>
        <pc:cxnChg chg="mod">
          <ac:chgData name="Simone NERI" userId="2a00f2ad-68d9-45e6-b604-268bfad9cc5e" providerId="ADAL" clId="{D888A4E8-4B4E-4F9E-AD90-7B2ECDAE1265}" dt="2023-03-08T09:30:50.043" v="9527" actId="1035"/>
          <ac:cxnSpMkLst>
            <pc:docMk/>
            <pc:sldMk cId="2966111978" sldId="2147469968"/>
            <ac:cxnSpMk id="30" creationId="{386579D3-8901-40BF-9E07-E7E66A56C7E3}"/>
          </ac:cxnSpMkLst>
        </pc:cxnChg>
        <pc:cxnChg chg="add del mod">
          <ac:chgData name="Simone NERI" userId="2a00f2ad-68d9-45e6-b604-268bfad9cc5e" providerId="ADAL" clId="{D888A4E8-4B4E-4F9E-AD90-7B2ECDAE1265}" dt="2023-03-06T12:32:15.138" v="6550" actId="478"/>
          <ac:cxnSpMkLst>
            <pc:docMk/>
            <pc:sldMk cId="2966111978" sldId="2147469968"/>
            <ac:cxnSpMk id="31" creationId="{B98B56E3-4B2B-BD51-524F-6542D944F692}"/>
          </ac:cxnSpMkLst>
        </pc:cxnChg>
        <pc:cxnChg chg="add del mod">
          <ac:chgData name="Simone NERI" userId="2a00f2ad-68d9-45e6-b604-268bfad9cc5e" providerId="ADAL" clId="{D888A4E8-4B4E-4F9E-AD90-7B2ECDAE1265}" dt="2023-03-06T12:39:50.138" v="6923" actId="478"/>
          <ac:cxnSpMkLst>
            <pc:docMk/>
            <pc:sldMk cId="2966111978" sldId="2147469968"/>
            <ac:cxnSpMk id="32" creationId="{1F484265-D20F-6F85-91EB-3FCC0BCB36F8}"/>
          </ac:cxnSpMkLst>
        </pc:cxnChg>
        <pc:cxnChg chg="del mod">
          <ac:chgData name="Simone NERI" userId="2a00f2ad-68d9-45e6-b604-268bfad9cc5e" providerId="ADAL" clId="{D888A4E8-4B4E-4F9E-AD90-7B2ECDAE1265}" dt="2023-03-01T11:06:26.579" v="229" actId="478"/>
          <ac:cxnSpMkLst>
            <pc:docMk/>
            <pc:sldMk cId="2966111978" sldId="2147469968"/>
            <ac:cxnSpMk id="32" creationId="{B5D18D65-5DEE-4656-B0D3-12F2A89EF1E8}"/>
          </ac:cxnSpMkLst>
        </pc:cxnChg>
        <pc:cxnChg chg="add del mod">
          <ac:chgData name="Simone NERI" userId="2a00f2ad-68d9-45e6-b604-268bfad9cc5e" providerId="ADAL" clId="{D888A4E8-4B4E-4F9E-AD90-7B2ECDAE1265}" dt="2023-03-06T12:32:15.138" v="6550" actId="478"/>
          <ac:cxnSpMkLst>
            <pc:docMk/>
            <pc:sldMk cId="2966111978" sldId="2147469968"/>
            <ac:cxnSpMk id="35" creationId="{94F2E53C-107F-7738-3D9A-DE561B56A4C1}"/>
          </ac:cxnSpMkLst>
        </pc:cxnChg>
        <pc:cxnChg chg="add mod">
          <ac:chgData name="Simone NERI" userId="2a00f2ad-68d9-45e6-b604-268bfad9cc5e" providerId="ADAL" clId="{D888A4E8-4B4E-4F9E-AD90-7B2ECDAE1265}" dt="2023-03-08T09:30:50.043" v="9527" actId="1035"/>
          <ac:cxnSpMkLst>
            <pc:docMk/>
            <pc:sldMk cId="2966111978" sldId="2147469968"/>
            <ac:cxnSpMk id="39" creationId="{F8CE4B1A-E374-F8F7-29CB-BE3A1167A4F0}"/>
          </ac:cxnSpMkLst>
        </pc:cxnChg>
        <pc:cxnChg chg="add del mod">
          <ac:chgData name="Simone NERI" userId="2a00f2ad-68d9-45e6-b604-268bfad9cc5e" providerId="ADAL" clId="{D888A4E8-4B4E-4F9E-AD90-7B2ECDAE1265}" dt="2023-03-06T12:32:15.138" v="6550" actId="478"/>
          <ac:cxnSpMkLst>
            <pc:docMk/>
            <pc:sldMk cId="2966111978" sldId="2147469968"/>
            <ac:cxnSpMk id="42" creationId="{46DCB69F-D7FB-67FC-4D6F-1EE279A207D3}"/>
          </ac:cxnSpMkLst>
        </pc:cxnChg>
        <pc:cxnChg chg="add del mod">
          <ac:chgData name="Simone NERI" userId="2a00f2ad-68d9-45e6-b604-268bfad9cc5e" providerId="ADAL" clId="{D888A4E8-4B4E-4F9E-AD90-7B2ECDAE1265}" dt="2023-03-06T12:39:50.138" v="6923" actId="478"/>
          <ac:cxnSpMkLst>
            <pc:docMk/>
            <pc:sldMk cId="2966111978" sldId="2147469968"/>
            <ac:cxnSpMk id="47" creationId="{380FD80D-F69A-A672-D875-EE5B3FF1F902}"/>
          </ac:cxnSpMkLst>
        </pc:cxnChg>
        <pc:cxnChg chg="add mod ord">
          <ac:chgData name="Simone NERI" userId="2a00f2ad-68d9-45e6-b604-268bfad9cc5e" providerId="ADAL" clId="{D888A4E8-4B4E-4F9E-AD90-7B2ECDAE1265}" dt="2023-03-08T09:30:50.043" v="9527" actId="1035"/>
          <ac:cxnSpMkLst>
            <pc:docMk/>
            <pc:sldMk cId="2966111978" sldId="2147469968"/>
            <ac:cxnSpMk id="48" creationId="{46904D7D-159D-996F-7E37-A0C4C7F1A37F}"/>
          </ac:cxnSpMkLst>
        </pc:cxnChg>
        <pc:cxnChg chg="add mod">
          <ac:chgData name="Simone NERI" userId="2a00f2ad-68d9-45e6-b604-268bfad9cc5e" providerId="ADAL" clId="{D888A4E8-4B4E-4F9E-AD90-7B2ECDAE1265}" dt="2023-03-08T09:30:50.043" v="9527" actId="1035"/>
          <ac:cxnSpMkLst>
            <pc:docMk/>
            <pc:sldMk cId="2966111978" sldId="2147469968"/>
            <ac:cxnSpMk id="55" creationId="{7FF90C3D-91B0-28BB-B3C7-DAA3458B811A}"/>
          </ac:cxnSpMkLst>
        </pc:cxnChg>
        <pc:cxnChg chg="add mod">
          <ac:chgData name="Simone NERI" userId="2a00f2ad-68d9-45e6-b604-268bfad9cc5e" providerId="ADAL" clId="{D888A4E8-4B4E-4F9E-AD90-7B2ECDAE1265}" dt="2023-03-08T09:30:50.043" v="9527" actId="1035"/>
          <ac:cxnSpMkLst>
            <pc:docMk/>
            <pc:sldMk cId="2966111978" sldId="2147469968"/>
            <ac:cxnSpMk id="56" creationId="{71E7500D-4E9D-6EA4-73CB-E00BE8DAF541}"/>
          </ac:cxnSpMkLst>
        </pc:cxnChg>
        <pc:cxnChg chg="add mod">
          <ac:chgData name="Simone NERI" userId="2a00f2ad-68d9-45e6-b604-268bfad9cc5e" providerId="ADAL" clId="{D888A4E8-4B4E-4F9E-AD90-7B2ECDAE1265}" dt="2023-03-08T09:30:50.043" v="9527" actId="1035"/>
          <ac:cxnSpMkLst>
            <pc:docMk/>
            <pc:sldMk cId="2966111978" sldId="2147469968"/>
            <ac:cxnSpMk id="57" creationId="{A0156D2E-DC68-3F3F-52C0-5E0BBD25724A}"/>
          </ac:cxnSpMkLst>
        </pc:cxnChg>
        <pc:extLst>
          <p:ext xmlns:p="http://schemas.openxmlformats.org/presentationml/2006/main" uri="{D6D511B9-2390-475A-947B-AFAB55BFBCF1}">
            <pc226:cmChg xmlns:pc226="http://schemas.microsoft.com/office/powerpoint/2022/06/main/command" chg="add">
              <pc226:chgData name="Simone NERI" userId="2a00f2ad-68d9-45e6-b604-268bfad9cc5e" providerId="ADAL" clId="{D888A4E8-4B4E-4F9E-AD90-7B2ECDAE1265}" dt="2023-03-06T12:50:39.041" v="7374"/>
              <pc2:cmMkLst xmlns:pc2="http://schemas.microsoft.com/office/powerpoint/2019/9/main/command">
                <pc:docMk/>
                <pc:sldMk cId="2966111978" sldId="2147469968"/>
                <pc2:cmMk id="{EF43825D-2073-400F-8139-11E4FFA90846}"/>
              </pc2:cmMkLst>
            </pc226:cmChg>
          </p:ext>
        </pc:extLst>
      </pc:sldChg>
      <pc:sldChg chg="addSp delSp modSp add mod ord modNotesTx">
        <pc:chgData name="Simone NERI" userId="2a00f2ad-68d9-45e6-b604-268bfad9cc5e" providerId="ADAL" clId="{D888A4E8-4B4E-4F9E-AD90-7B2ECDAE1265}" dt="2023-03-08T09:37:30.340" v="9848"/>
        <pc:sldMkLst>
          <pc:docMk/>
          <pc:sldMk cId="3159731328" sldId="2147469969"/>
        </pc:sldMkLst>
        <pc:spChg chg="mod">
          <ac:chgData name="Simone NERI" userId="2a00f2ad-68d9-45e6-b604-268bfad9cc5e" providerId="ADAL" clId="{D888A4E8-4B4E-4F9E-AD90-7B2ECDAE1265}" dt="2023-03-03T16:35:54.537" v="4339"/>
          <ac:spMkLst>
            <pc:docMk/>
            <pc:sldMk cId="3159731328" sldId="2147469969"/>
            <ac:spMk id="2" creationId="{E11BF5BD-75C4-4E77-9598-7225EFF82CC5}"/>
          </ac:spMkLst>
        </pc:spChg>
        <pc:spChg chg="add mod">
          <ac:chgData name="Simone NERI" userId="2a00f2ad-68d9-45e6-b604-268bfad9cc5e" providerId="ADAL" clId="{D888A4E8-4B4E-4F9E-AD90-7B2ECDAE1265}" dt="2023-03-08T09:37:30.340" v="9848"/>
          <ac:spMkLst>
            <pc:docMk/>
            <pc:sldMk cId="3159731328" sldId="2147469969"/>
            <ac:spMk id="3" creationId="{2BA9E322-DC74-3F02-31D6-2F4DC5759650}"/>
          </ac:spMkLst>
        </pc:spChg>
        <pc:spChg chg="add mod">
          <ac:chgData name="Simone NERI" userId="2a00f2ad-68d9-45e6-b604-268bfad9cc5e" providerId="ADAL" clId="{D888A4E8-4B4E-4F9E-AD90-7B2ECDAE1265}" dt="2023-03-03T16:36:28.091" v="4341" actId="20577"/>
          <ac:spMkLst>
            <pc:docMk/>
            <pc:sldMk cId="3159731328" sldId="2147469969"/>
            <ac:spMk id="3" creationId="{A4EA183B-BA85-9F86-35DA-5274AEC6D969}"/>
          </ac:spMkLst>
        </pc:spChg>
        <pc:spChg chg="mod">
          <ac:chgData name="Simone NERI" userId="2a00f2ad-68d9-45e6-b604-268bfad9cc5e" providerId="ADAL" clId="{D888A4E8-4B4E-4F9E-AD90-7B2ECDAE1265}" dt="2023-03-02T14:09:54.719" v="1244" actId="20577"/>
          <ac:spMkLst>
            <pc:docMk/>
            <pc:sldMk cId="3159731328" sldId="2147469969"/>
            <ac:spMk id="4" creationId="{DFE4ECB6-193A-41CD-8C1D-5A9AA8C9E006}"/>
          </ac:spMkLst>
        </pc:spChg>
        <pc:spChg chg="mod">
          <ac:chgData name="Simone NERI" userId="2a00f2ad-68d9-45e6-b604-268bfad9cc5e" providerId="ADAL" clId="{D888A4E8-4B4E-4F9E-AD90-7B2ECDAE1265}" dt="2023-03-02T14:10:02.446" v="1246" actId="20577"/>
          <ac:spMkLst>
            <pc:docMk/>
            <pc:sldMk cId="3159731328" sldId="2147469969"/>
            <ac:spMk id="13" creationId="{E22D3A68-8C63-4250-BAEB-59D55544985D}"/>
          </ac:spMkLst>
        </pc:spChg>
        <pc:spChg chg="mod">
          <ac:chgData name="Simone NERI" userId="2a00f2ad-68d9-45e6-b604-268bfad9cc5e" providerId="ADAL" clId="{D888A4E8-4B4E-4F9E-AD90-7B2ECDAE1265}" dt="2023-03-02T14:10:05.472" v="1247" actId="20577"/>
          <ac:spMkLst>
            <pc:docMk/>
            <pc:sldMk cId="3159731328" sldId="2147469969"/>
            <ac:spMk id="17" creationId="{081C14F2-F0CF-453C-B5E6-3AB28B427042}"/>
          </ac:spMkLst>
        </pc:spChg>
        <pc:spChg chg="add del">
          <ac:chgData name="Simone NERI" userId="2a00f2ad-68d9-45e6-b604-268bfad9cc5e" providerId="ADAL" clId="{D888A4E8-4B4E-4F9E-AD90-7B2ECDAE1265}" dt="2023-03-01T11:14:58.808" v="353" actId="478"/>
          <ac:spMkLst>
            <pc:docMk/>
            <pc:sldMk cId="3159731328" sldId="2147469969"/>
            <ac:spMk id="19" creationId="{B12A667E-79F8-2F12-DAEB-0F51C7A469BB}"/>
          </ac:spMkLst>
        </pc:spChg>
        <pc:spChg chg="mod">
          <ac:chgData name="Simone NERI" userId="2a00f2ad-68d9-45e6-b604-268bfad9cc5e" providerId="ADAL" clId="{D888A4E8-4B4E-4F9E-AD90-7B2ECDAE1265}" dt="2023-03-08T09:36:55.739" v="9847" actId="20577"/>
          <ac:spMkLst>
            <pc:docMk/>
            <pc:sldMk cId="3159731328" sldId="2147469969"/>
            <ac:spMk id="61" creationId="{7352CFF2-FBA9-70C9-3F62-89C7962BEDEF}"/>
          </ac:spMkLst>
        </pc:spChg>
        <pc:spChg chg="add del">
          <ac:chgData name="Simone NERI" userId="2a00f2ad-68d9-45e6-b604-268bfad9cc5e" providerId="ADAL" clId="{D888A4E8-4B4E-4F9E-AD90-7B2ECDAE1265}" dt="2023-03-01T11:14:58.808" v="353" actId="478"/>
          <ac:spMkLst>
            <pc:docMk/>
            <pc:sldMk cId="3159731328" sldId="2147469969"/>
            <ac:spMk id="66" creationId="{ECC4F88C-2DAE-43FF-A09E-62246991AFF6}"/>
          </ac:spMkLst>
        </pc:spChg>
        <pc:spChg chg="add del">
          <ac:chgData name="Simone NERI" userId="2a00f2ad-68d9-45e6-b604-268bfad9cc5e" providerId="ADAL" clId="{D888A4E8-4B4E-4F9E-AD90-7B2ECDAE1265}" dt="2023-03-01T11:14:58.808" v="353" actId="478"/>
          <ac:spMkLst>
            <pc:docMk/>
            <pc:sldMk cId="3159731328" sldId="2147469969"/>
            <ac:spMk id="67" creationId="{6AD499E5-FBF9-4676-A7FB-3C7EDC6F2537}"/>
          </ac:spMkLst>
        </pc:spChg>
        <pc:spChg chg="add del">
          <ac:chgData name="Simone NERI" userId="2a00f2ad-68d9-45e6-b604-268bfad9cc5e" providerId="ADAL" clId="{D888A4E8-4B4E-4F9E-AD90-7B2ECDAE1265}" dt="2023-03-01T11:14:58.808" v="353" actId="478"/>
          <ac:spMkLst>
            <pc:docMk/>
            <pc:sldMk cId="3159731328" sldId="2147469969"/>
            <ac:spMk id="68" creationId="{6E8D7EEE-485F-48F1-9E3E-D7783378287C}"/>
          </ac:spMkLst>
        </pc:spChg>
        <pc:spChg chg="add del">
          <ac:chgData name="Simone NERI" userId="2a00f2ad-68d9-45e6-b604-268bfad9cc5e" providerId="ADAL" clId="{D888A4E8-4B4E-4F9E-AD90-7B2ECDAE1265}" dt="2023-03-01T11:14:58.808" v="353" actId="478"/>
          <ac:spMkLst>
            <pc:docMk/>
            <pc:sldMk cId="3159731328" sldId="2147469969"/>
            <ac:spMk id="69" creationId="{368347AB-C36F-4A27-BE41-C80B222FB528}"/>
          </ac:spMkLst>
        </pc:spChg>
        <pc:spChg chg="add del">
          <ac:chgData name="Simone NERI" userId="2a00f2ad-68d9-45e6-b604-268bfad9cc5e" providerId="ADAL" clId="{D888A4E8-4B4E-4F9E-AD90-7B2ECDAE1265}" dt="2023-03-01T11:14:58.808" v="353" actId="478"/>
          <ac:spMkLst>
            <pc:docMk/>
            <pc:sldMk cId="3159731328" sldId="2147469969"/>
            <ac:spMk id="70" creationId="{653832C0-1979-4226-84DD-C477D81CEAD0}"/>
          </ac:spMkLst>
        </pc:spChg>
        <pc:spChg chg="add del">
          <ac:chgData name="Simone NERI" userId="2a00f2ad-68d9-45e6-b604-268bfad9cc5e" providerId="ADAL" clId="{D888A4E8-4B4E-4F9E-AD90-7B2ECDAE1265}" dt="2023-03-01T11:14:58.808" v="353" actId="478"/>
          <ac:spMkLst>
            <pc:docMk/>
            <pc:sldMk cId="3159731328" sldId="2147469969"/>
            <ac:spMk id="71" creationId="{0190502C-83D8-49CB-BB87-38DE832B2ED2}"/>
          </ac:spMkLst>
        </pc:spChg>
        <pc:spChg chg="add del">
          <ac:chgData name="Simone NERI" userId="2a00f2ad-68d9-45e6-b604-268bfad9cc5e" providerId="ADAL" clId="{D888A4E8-4B4E-4F9E-AD90-7B2ECDAE1265}" dt="2023-03-01T11:14:58.808" v="353" actId="478"/>
          <ac:spMkLst>
            <pc:docMk/>
            <pc:sldMk cId="3159731328" sldId="2147469969"/>
            <ac:spMk id="75" creationId="{6A78E067-F920-4351-B2BA-5FF8C37A1940}"/>
          </ac:spMkLst>
        </pc:spChg>
        <pc:spChg chg="add del">
          <ac:chgData name="Simone NERI" userId="2a00f2ad-68d9-45e6-b604-268bfad9cc5e" providerId="ADAL" clId="{D888A4E8-4B4E-4F9E-AD90-7B2ECDAE1265}" dt="2023-03-01T11:14:58.808" v="353" actId="478"/>
          <ac:spMkLst>
            <pc:docMk/>
            <pc:sldMk cId="3159731328" sldId="2147469969"/>
            <ac:spMk id="76" creationId="{E08CCC57-3419-429B-A046-EA3E6DC009A8}"/>
          </ac:spMkLst>
        </pc:spChg>
        <pc:spChg chg="add del">
          <ac:chgData name="Simone NERI" userId="2a00f2ad-68d9-45e6-b604-268bfad9cc5e" providerId="ADAL" clId="{D888A4E8-4B4E-4F9E-AD90-7B2ECDAE1265}" dt="2023-03-01T11:14:58.808" v="353" actId="478"/>
          <ac:spMkLst>
            <pc:docMk/>
            <pc:sldMk cId="3159731328" sldId="2147469969"/>
            <ac:spMk id="77" creationId="{B3493588-3023-4722-B574-A5FDEBF67FBF}"/>
          </ac:spMkLst>
        </pc:spChg>
        <pc:spChg chg="add del">
          <ac:chgData name="Simone NERI" userId="2a00f2ad-68d9-45e6-b604-268bfad9cc5e" providerId="ADAL" clId="{D888A4E8-4B4E-4F9E-AD90-7B2ECDAE1265}" dt="2023-03-01T11:14:58.808" v="353" actId="478"/>
          <ac:spMkLst>
            <pc:docMk/>
            <pc:sldMk cId="3159731328" sldId="2147469969"/>
            <ac:spMk id="78" creationId="{A8ADBFCC-5403-447B-A3A3-C05CBF533DB2}"/>
          </ac:spMkLst>
        </pc:spChg>
        <pc:spChg chg="add del">
          <ac:chgData name="Simone NERI" userId="2a00f2ad-68d9-45e6-b604-268bfad9cc5e" providerId="ADAL" clId="{D888A4E8-4B4E-4F9E-AD90-7B2ECDAE1265}" dt="2023-03-01T11:14:58.808" v="353" actId="478"/>
          <ac:spMkLst>
            <pc:docMk/>
            <pc:sldMk cId="3159731328" sldId="2147469969"/>
            <ac:spMk id="79" creationId="{7A5D85F0-9642-411C-A3B2-613FB459A902}"/>
          </ac:spMkLst>
        </pc:spChg>
        <pc:spChg chg="add del">
          <ac:chgData name="Simone NERI" userId="2a00f2ad-68d9-45e6-b604-268bfad9cc5e" providerId="ADAL" clId="{D888A4E8-4B4E-4F9E-AD90-7B2ECDAE1265}" dt="2023-03-01T11:14:58.808" v="353" actId="478"/>
          <ac:spMkLst>
            <pc:docMk/>
            <pc:sldMk cId="3159731328" sldId="2147469969"/>
            <ac:spMk id="80" creationId="{89E3E440-380E-4054-AD01-353D21A9D9DE}"/>
          </ac:spMkLst>
        </pc:spChg>
        <pc:spChg chg="add del">
          <ac:chgData name="Simone NERI" userId="2a00f2ad-68d9-45e6-b604-268bfad9cc5e" providerId="ADAL" clId="{D888A4E8-4B4E-4F9E-AD90-7B2ECDAE1265}" dt="2023-03-01T11:14:58.808" v="353" actId="478"/>
          <ac:spMkLst>
            <pc:docMk/>
            <pc:sldMk cId="3159731328" sldId="2147469969"/>
            <ac:spMk id="81" creationId="{091C2E65-F044-4E30-B6E7-6E59B4B2ACEF}"/>
          </ac:spMkLst>
        </pc:spChg>
        <pc:spChg chg="add del">
          <ac:chgData name="Simone NERI" userId="2a00f2ad-68d9-45e6-b604-268bfad9cc5e" providerId="ADAL" clId="{D888A4E8-4B4E-4F9E-AD90-7B2ECDAE1265}" dt="2023-03-01T11:14:58.808" v="353" actId="478"/>
          <ac:spMkLst>
            <pc:docMk/>
            <pc:sldMk cId="3159731328" sldId="2147469969"/>
            <ac:spMk id="82" creationId="{2967F291-0F81-4160-95DE-FAA8D88D720E}"/>
          </ac:spMkLst>
        </pc:spChg>
        <pc:spChg chg="add del">
          <ac:chgData name="Simone NERI" userId="2a00f2ad-68d9-45e6-b604-268bfad9cc5e" providerId="ADAL" clId="{D888A4E8-4B4E-4F9E-AD90-7B2ECDAE1265}" dt="2023-03-01T11:14:58.808" v="353" actId="478"/>
          <ac:spMkLst>
            <pc:docMk/>
            <pc:sldMk cId="3159731328" sldId="2147469969"/>
            <ac:spMk id="83" creationId="{8EA6288F-F62A-48ED-82D5-ACB5BE438057}"/>
          </ac:spMkLst>
        </pc:spChg>
        <pc:spChg chg="add del">
          <ac:chgData name="Simone NERI" userId="2a00f2ad-68d9-45e6-b604-268bfad9cc5e" providerId="ADAL" clId="{D888A4E8-4B4E-4F9E-AD90-7B2ECDAE1265}" dt="2023-03-01T11:14:58.808" v="353" actId="478"/>
          <ac:spMkLst>
            <pc:docMk/>
            <pc:sldMk cId="3159731328" sldId="2147469969"/>
            <ac:spMk id="84" creationId="{1D94DFED-9E5A-48ED-A841-E22B223445CE}"/>
          </ac:spMkLst>
        </pc:spChg>
        <pc:spChg chg="add del">
          <ac:chgData name="Simone NERI" userId="2a00f2ad-68d9-45e6-b604-268bfad9cc5e" providerId="ADAL" clId="{D888A4E8-4B4E-4F9E-AD90-7B2ECDAE1265}" dt="2023-03-01T11:14:58.808" v="353" actId="478"/>
          <ac:spMkLst>
            <pc:docMk/>
            <pc:sldMk cId="3159731328" sldId="2147469969"/>
            <ac:spMk id="85" creationId="{310BB91A-1ACE-4D06-B9FC-8D8690E14424}"/>
          </ac:spMkLst>
        </pc:spChg>
        <pc:spChg chg="add del">
          <ac:chgData name="Simone NERI" userId="2a00f2ad-68d9-45e6-b604-268bfad9cc5e" providerId="ADAL" clId="{D888A4E8-4B4E-4F9E-AD90-7B2ECDAE1265}" dt="2023-03-01T11:14:58.808" v="353" actId="478"/>
          <ac:spMkLst>
            <pc:docMk/>
            <pc:sldMk cId="3159731328" sldId="2147469969"/>
            <ac:spMk id="86" creationId="{4C1F6443-59EE-44D6-8C70-6CE13C29D9A4}"/>
          </ac:spMkLst>
        </pc:spChg>
        <pc:spChg chg="add del">
          <ac:chgData name="Simone NERI" userId="2a00f2ad-68d9-45e6-b604-268bfad9cc5e" providerId="ADAL" clId="{D888A4E8-4B4E-4F9E-AD90-7B2ECDAE1265}" dt="2023-03-01T11:14:58.808" v="353" actId="478"/>
          <ac:spMkLst>
            <pc:docMk/>
            <pc:sldMk cId="3159731328" sldId="2147469969"/>
            <ac:spMk id="87" creationId="{6FEDB3A0-80A2-4DBB-A7C8-17D04C0CCE5D}"/>
          </ac:spMkLst>
        </pc:spChg>
        <pc:spChg chg="add del">
          <ac:chgData name="Simone NERI" userId="2a00f2ad-68d9-45e6-b604-268bfad9cc5e" providerId="ADAL" clId="{D888A4E8-4B4E-4F9E-AD90-7B2ECDAE1265}" dt="2023-03-01T11:14:58.808" v="353" actId="478"/>
          <ac:spMkLst>
            <pc:docMk/>
            <pc:sldMk cId="3159731328" sldId="2147469969"/>
            <ac:spMk id="88" creationId="{920A9DC2-C2BA-498F-A6AA-78EA37327AFF}"/>
          </ac:spMkLst>
        </pc:spChg>
        <pc:spChg chg="add del">
          <ac:chgData name="Simone NERI" userId="2a00f2ad-68d9-45e6-b604-268bfad9cc5e" providerId="ADAL" clId="{D888A4E8-4B4E-4F9E-AD90-7B2ECDAE1265}" dt="2023-03-01T11:14:58.808" v="353" actId="478"/>
          <ac:spMkLst>
            <pc:docMk/>
            <pc:sldMk cId="3159731328" sldId="2147469969"/>
            <ac:spMk id="89" creationId="{49946882-CE5A-4D05-8104-7FAEAA058734}"/>
          </ac:spMkLst>
        </pc:spChg>
        <pc:spChg chg="add del">
          <ac:chgData name="Simone NERI" userId="2a00f2ad-68d9-45e6-b604-268bfad9cc5e" providerId="ADAL" clId="{D888A4E8-4B4E-4F9E-AD90-7B2ECDAE1265}" dt="2023-03-01T11:14:58.808" v="353" actId="478"/>
          <ac:spMkLst>
            <pc:docMk/>
            <pc:sldMk cId="3159731328" sldId="2147469969"/>
            <ac:spMk id="90" creationId="{8A3130DE-44EB-4876-9E37-80341B6DFDA9}"/>
          </ac:spMkLst>
        </pc:spChg>
        <pc:spChg chg="add del">
          <ac:chgData name="Simone NERI" userId="2a00f2ad-68d9-45e6-b604-268bfad9cc5e" providerId="ADAL" clId="{D888A4E8-4B4E-4F9E-AD90-7B2ECDAE1265}" dt="2023-03-01T11:14:58.808" v="353" actId="478"/>
          <ac:spMkLst>
            <pc:docMk/>
            <pc:sldMk cId="3159731328" sldId="2147469969"/>
            <ac:spMk id="91" creationId="{164C9651-59C9-1004-F279-21925BD2A6F9}"/>
          </ac:spMkLst>
        </pc:spChg>
        <pc:spChg chg="add del">
          <ac:chgData name="Simone NERI" userId="2a00f2ad-68d9-45e6-b604-268bfad9cc5e" providerId="ADAL" clId="{D888A4E8-4B4E-4F9E-AD90-7B2ECDAE1265}" dt="2023-03-01T11:14:58.808" v="353" actId="478"/>
          <ac:spMkLst>
            <pc:docMk/>
            <pc:sldMk cId="3159731328" sldId="2147469969"/>
            <ac:spMk id="92" creationId="{4B285140-F531-08B9-9017-F9FEA0F14BB2}"/>
          </ac:spMkLst>
        </pc:spChg>
        <pc:spChg chg="del">
          <ac:chgData name="Simone NERI" userId="2a00f2ad-68d9-45e6-b604-268bfad9cc5e" providerId="ADAL" clId="{D888A4E8-4B4E-4F9E-AD90-7B2ECDAE1265}" dt="2023-03-01T11:14:12.008" v="332" actId="478"/>
          <ac:spMkLst>
            <pc:docMk/>
            <pc:sldMk cId="3159731328" sldId="2147469969"/>
            <ac:spMk id="93" creationId="{E7113763-4E72-3DEB-C4DD-2488141A07EE}"/>
          </ac:spMkLst>
        </pc:spChg>
        <pc:spChg chg="del">
          <ac:chgData name="Simone NERI" userId="2a00f2ad-68d9-45e6-b604-268bfad9cc5e" providerId="ADAL" clId="{D888A4E8-4B4E-4F9E-AD90-7B2ECDAE1265}" dt="2023-03-01T11:14:44.466" v="350" actId="478"/>
          <ac:spMkLst>
            <pc:docMk/>
            <pc:sldMk cId="3159731328" sldId="2147469969"/>
            <ac:spMk id="94" creationId="{FC56846C-04BD-4F50-1C9E-3E3106BDE231}"/>
          </ac:spMkLst>
        </pc:spChg>
        <pc:spChg chg="add mod">
          <ac:chgData name="Simone NERI" userId="2a00f2ad-68d9-45e6-b604-268bfad9cc5e" providerId="ADAL" clId="{D888A4E8-4B4E-4F9E-AD90-7B2ECDAE1265}" dt="2023-03-01T11:15:19.484" v="381" actId="20577"/>
          <ac:spMkLst>
            <pc:docMk/>
            <pc:sldMk cId="3159731328" sldId="2147469969"/>
            <ac:spMk id="95" creationId="{F41CA78C-CDA5-D835-6B0D-85F5CAC19710}"/>
          </ac:spMkLst>
        </pc:spChg>
        <pc:spChg chg="add del">
          <ac:chgData name="Simone NERI" userId="2a00f2ad-68d9-45e6-b604-268bfad9cc5e" providerId="ADAL" clId="{D888A4E8-4B4E-4F9E-AD90-7B2ECDAE1265}" dt="2023-03-02T14:20:01.676" v="1335" actId="22"/>
          <ac:spMkLst>
            <pc:docMk/>
            <pc:sldMk cId="3159731328" sldId="2147469969"/>
            <ac:spMk id="97" creationId="{475CAC12-B7D7-69C9-9FAB-BA0A1ED0E15E}"/>
          </ac:spMkLst>
        </pc:spChg>
        <pc:spChg chg="add mod">
          <ac:chgData name="Simone NERI" userId="2a00f2ad-68d9-45e6-b604-268bfad9cc5e" providerId="ADAL" clId="{D888A4E8-4B4E-4F9E-AD90-7B2ECDAE1265}" dt="2023-03-02T14:22:51.560" v="1346" actId="20577"/>
          <ac:spMkLst>
            <pc:docMk/>
            <pc:sldMk cId="3159731328" sldId="2147469969"/>
            <ac:spMk id="98" creationId="{5C400FA5-30FD-5BB0-0B0D-BB9FF8DFC2BD}"/>
          </ac:spMkLst>
        </pc:spChg>
        <pc:grpChg chg="add del">
          <ac:chgData name="Simone NERI" userId="2a00f2ad-68d9-45e6-b604-268bfad9cc5e" providerId="ADAL" clId="{D888A4E8-4B4E-4F9E-AD90-7B2ECDAE1265}" dt="2023-03-01T11:14:58.808" v="353" actId="478"/>
          <ac:grpSpMkLst>
            <pc:docMk/>
            <pc:sldMk cId="3159731328" sldId="2147469969"/>
            <ac:grpSpMk id="3" creationId="{60F7B698-F34E-4E98-A249-6BC14F0C2911}"/>
          </ac:grpSpMkLst>
        </pc:grpChg>
        <pc:grpChg chg="del">
          <ac:chgData name="Simone NERI" userId="2a00f2ad-68d9-45e6-b604-268bfad9cc5e" providerId="ADAL" clId="{D888A4E8-4B4E-4F9E-AD90-7B2ECDAE1265}" dt="2023-03-01T11:14:58.808" v="353" actId="478"/>
          <ac:grpSpMkLst>
            <pc:docMk/>
            <pc:sldMk cId="3159731328" sldId="2147469969"/>
            <ac:grpSpMk id="72" creationId="{8CE05961-C3A3-4C78-B7EC-82C37988D452}"/>
          </ac:grpSpMkLst>
        </pc:grpChg>
        <pc:picChg chg="del">
          <ac:chgData name="Simone NERI" userId="2a00f2ad-68d9-45e6-b604-268bfad9cc5e" providerId="ADAL" clId="{D888A4E8-4B4E-4F9E-AD90-7B2ECDAE1265}" dt="2023-03-02T14:09:51.078" v="1242" actId="478"/>
          <ac:picMkLst>
            <pc:docMk/>
            <pc:sldMk cId="3159731328" sldId="2147469969"/>
            <ac:picMk id="3" creationId="{DE695574-9217-8D10-2CE0-437D6A6606A6}"/>
          </ac:picMkLst>
        </pc:picChg>
        <pc:cxnChg chg="add del">
          <ac:chgData name="Simone NERI" userId="2a00f2ad-68d9-45e6-b604-268bfad9cc5e" providerId="ADAL" clId="{D888A4E8-4B4E-4F9E-AD90-7B2ECDAE1265}" dt="2023-03-01T11:14:53.361" v="352" actId="478"/>
          <ac:cxnSpMkLst>
            <pc:docMk/>
            <pc:sldMk cId="3159731328" sldId="2147469969"/>
            <ac:cxnSpMk id="12" creationId="{5FBBD91D-8660-43E8-AAAC-8ECF816A7DB7}"/>
          </ac:cxnSpMkLst>
        </pc:cxnChg>
      </pc:sldChg>
      <pc:sldChg chg="modSp mod">
        <pc:chgData name="Simone NERI" userId="2a00f2ad-68d9-45e6-b604-268bfad9cc5e" providerId="ADAL" clId="{D888A4E8-4B4E-4F9E-AD90-7B2ECDAE1265}" dt="2023-03-07T21:50:08.817" v="9223"/>
        <pc:sldMkLst>
          <pc:docMk/>
          <pc:sldMk cId="4116724848" sldId="2147469970"/>
        </pc:sldMkLst>
        <pc:graphicFrameChg chg="mod modGraphic">
          <ac:chgData name="Simone NERI" userId="2a00f2ad-68d9-45e6-b604-268bfad9cc5e" providerId="ADAL" clId="{D888A4E8-4B4E-4F9E-AD90-7B2ECDAE1265}" dt="2023-03-07T21:50:08.817" v="9223"/>
          <ac:graphicFrameMkLst>
            <pc:docMk/>
            <pc:sldMk cId="4116724848" sldId="2147469970"/>
            <ac:graphicFrameMk id="2" creationId="{7F94D593-277D-3A59-B987-BD85E51AB418}"/>
          </ac:graphicFrameMkLst>
        </pc:graphicFrameChg>
      </pc:sldChg>
      <pc:sldChg chg="addSp modSp add mod">
        <pc:chgData name="Simone NERI" userId="2a00f2ad-68d9-45e6-b604-268bfad9cc5e" providerId="ADAL" clId="{D888A4E8-4B4E-4F9E-AD90-7B2ECDAE1265}" dt="2023-03-08T09:24:14.396" v="9465"/>
        <pc:sldMkLst>
          <pc:docMk/>
          <pc:sldMk cId="1771392329" sldId="2147469971"/>
        </pc:sldMkLst>
        <pc:spChg chg="mod">
          <ac:chgData name="Simone NERI" userId="2a00f2ad-68d9-45e6-b604-268bfad9cc5e" providerId="ADAL" clId="{D888A4E8-4B4E-4F9E-AD90-7B2ECDAE1265}" dt="2023-03-07T14:12:59.065" v="7728" actId="20577"/>
          <ac:spMkLst>
            <pc:docMk/>
            <pc:sldMk cId="1771392329" sldId="2147469971"/>
            <ac:spMk id="2" creationId="{9E167DAC-04EF-8A8C-46E2-8DD01CAFA71F}"/>
          </ac:spMkLst>
        </pc:spChg>
        <pc:spChg chg="mod">
          <ac:chgData name="Simone NERI" userId="2a00f2ad-68d9-45e6-b604-268bfad9cc5e" providerId="ADAL" clId="{D888A4E8-4B4E-4F9E-AD90-7B2ECDAE1265}" dt="2023-03-07T14:10:43.450" v="7549" actId="404"/>
          <ac:spMkLst>
            <pc:docMk/>
            <pc:sldMk cId="1771392329" sldId="2147469971"/>
            <ac:spMk id="3" creationId="{9A5F46FE-E970-7C59-B32C-9892E8B7EB95}"/>
          </ac:spMkLst>
        </pc:spChg>
        <pc:spChg chg="add mod">
          <ac:chgData name="Simone NERI" userId="2a00f2ad-68d9-45e6-b604-268bfad9cc5e" providerId="ADAL" clId="{D888A4E8-4B4E-4F9E-AD90-7B2ECDAE1265}" dt="2023-03-08T09:24:14.396" v="9465"/>
          <ac:spMkLst>
            <pc:docMk/>
            <pc:sldMk cId="1771392329" sldId="2147469971"/>
            <ac:spMk id="4" creationId="{1BD75E50-8ED8-1620-4E76-F38480FA3B23}"/>
          </ac:spMkLst>
        </pc:spChg>
        <pc:spChg chg="mod">
          <ac:chgData name="Simone NERI" userId="2a00f2ad-68d9-45e6-b604-268bfad9cc5e" providerId="ADAL" clId="{D888A4E8-4B4E-4F9E-AD90-7B2ECDAE1265}" dt="2023-03-07T14:10:43.450" v="7549" actId="404"/>
          <ac:spMkLst>
            <pc:docMk/>
            <pc:sldMk cId="1771392329" sldId="2147469971"/>
            <ac:spMk id="7" creationId="{C9150FA0-04B2-36A8-1D22-3EE100BE60DF}"/>
          </ac:spMkLst>
        </pc:spChg>
        <pc:spChg chg="mod">
          <ac:chgData name="Simone NERI" userId="2a00f2ad-68d9-45e6-b604-268bfad9cc5e" providerId="ADAL" clId="{D888A4E8-4B4E-4F9E-AD90-7B2ECDAE1265}" dt="2023-03-08T09:22:45.075" v="9464" actId="6549"/>
          <ac:spMkLst>
            <pc:docMk/>
            <pc:sldMk cId="1771392329" sldId="2147469971"/>
            <ac:spMk id="8" creationId="{BBF4D369-5365-D88E-5FDF-0DECCBE4CC3E}"/>
          </ac:spMkLst>
        </pc:spChg>
        <pc:spChg chg="add mod">
          <ac:chgData name="Simone NERI" userId="2a00f2ad-68d9-45e6-b604-268bfad9cc5e" providerId="ADAL" clId="{D888A4E8-4B4E-4F9E-AD90-7B2ECDAE1265}" dt="2023-03-07T14:07:51.441" v="7515" actId="571"/>
          <ac:spMkLst>
            <pc:docMk/>
            <pc:sldMk cId="1771392329" sldId="2147469971"/>
            <ac:spMk id="9" creationId="{E3181003-62A1-558B-DFC5-54DEF02CE997}"/>
          </ac:spMkLst>
        </pc:spChg>
        <pc:spChg chg="add mod">
          <ac:chgData name="Simone NERI" userId="2a00f2ad-68d9-45e6-b604-268bfad9cc5e" providerId="ADAL" clId="{D888A4E8-4B4E-4F9E-AD90-7B2ECDAE1265}" dt="2023-03-07T14:10:57.841" v="7565" actId="1036"/>
          <ac:spMkLst>
            <pc:docMk/>
            <pc:sldMk cId="1771392329" sldId="2147469971"/>
            <ac:spMk id="11" creationId="{E91348FE-6487-E625-958A-AADD584445ED}"/>
          </ac:spMkLst>
        </pc:spChg>
        <pc:spChg chg="add mod">
          <ac:chgData name="Simone NERI" userId="2a00f2ad-68d9-45e6-b604-268bfad9cc5e" providerId="ADAL" clId="{D888A4E8-4B4E-4F9E-AD90-7B2ECDAE1265}" dt="2023-03-07T14:12:32.085" v="7703" actId="20577"/>
          <ac:spMkLst>
            <pc:docMk/>
            <pc:sldMk cId="1771392329" sldId="2147469971"/>
            <ac:spMk id="13" creationId="{3897D5CC-92F1-B331-7B4C-E01530575557}"/>
          </ac:spMkLst>
        </pc:spChg>
        <pc:spChg chg="add mod">
          <ac:chgData name="Simone NERI" userId="2a00f2ad-68d9-45e6-b604-268bfad9cc5e" providerId="ADAL" clId="{D888A4E8-4B4E-4F9E-AD90-7B2ECDAE1265}" dt="2023-03-07T20:41:09.553" v="7755"/>
          <ac:spMkLst>
            <pc:docMk/>
            <pc:sldMk cId="1771392329" sldId="2147469971"/>
            <ac:spMk id="14" creationId="{588F8358-2B82-12F2-E7DB-DA89D9FE7A01}"/>
          </ac:spMkLst>
        </pc:spChg>
        <pc:picChg chg="mod">
          <ac:chgData name="Simone NERI" userId="2a00f2ad-68d9-45e6-b604-268bfad9cc5e" providerId="ADAL" clId="{D888A4E8-4B4E-4F9E-AD90-7B2ECDAE1265}" dt="2023-03-07T14:10:57.841" v="7565" actId="1036"/>
          <ac:picMkLst>
            <pc:docMk/>
            <pc:sldMk cId="1771392329" sldId="2147469971"/>
            <ac:picMk id="6" creationId="{FF5A7C39-45FE-97BC-2E52-A5C73D224472}"/>
          </ac:picMkLst>
        </pc:picChg>
        <pc:cxnChg chg="add mod">
          <ac:chgData name="Simone NERI" userId="2a00f2ad-68d9-45e6-b604-268bfad9cc5e" providerId="ADAL" clId="{D888A4E8-4B4E-4F9E-AD90-7B2ECDAE1265}" dt="2023-03-07T14:07:41.371" v="7513" actId="1076"/>
          <ac:cxnSpMkLst>
            <pc:docMk/>
            <pc:sldMk cId="1771392329" sldId="2147469971"/>
            <ac:cxnSpMk id="5" creationId="{C174F8D8-9C12-C05A-DA6A-A3570C11F2D1}"/>
          </ac:cxnSpMkLst>
        </pc:cxnChg>
        <pc:cxnChg chg="add mod">
          <ac:chgData name="Simone NERI" userId="2a00f2ad-68d9-45e6-b604-268bfad9cc5e" providerId="ADAL" clId="{D888A4E8-4B4E-4F9E-AD90-7B2ECDAE1265}" dt="2023-03-07T14:07:51.441" v="7515" actId="571"/>
          <ac:cxnSpMkLst>
            <pc:docMk/>
            <pc:sldMk cId="1771392329" sldId="2147469971"/>
            <ac:cxnSpMk id="10" creationId="{6ADA7AF4-E7DE-6FC4-3D5F-A30EC9F23B9D}"/>
          </ac:cxnSpMkLst>
        </pc:cxnChg>
        <pc:cxnChg chg="add mod">
          <ac:chgData name="Simone NERI" userId="2a00f2ad-68d9-45e6-b604-268bfad9cc5e" providerId="ADAL" clId="{D888A4E8-4B4E-4F9E-AD90-7B2ECDAE1265}" dt="2023-03-07T14:10:57.841" v="7565" actId="1036"/>
          <ac:cxnSpMkLst>
            <pc:docMk/>
            <pc:sldMk cId="1771392329" sldId="2147469971"/>
            <ac:cxnSpMk id="12" creationId="{8AADDA62-8E9B-88A0-3C64-F2A6A8C33C46}"/>
          </ac:cxnSpMkLst>
        </pc:cxnChg>
      </pc:sldChg>
      <pc:sldChg chg="modCm">
        <pc:chgData name="Simone NERI" userId="2a00f2ad-68d9-45e6-b604-268bfad9cc5e" providerId="ADAL" clId="{D888A4E8-4B4E-4F9E-AD90-7B2ECDAE1265}" dt="2023-03-02T10:14:43.682" v="932"/>
        <pc:sldMkLst>
          <pc:docMk/>
          <pc:sldMk cId="2642809090" sldId="2147469974"/>
        </pc:sldMkLst>
        <pc:extLst>
          <p:ext xmlns:p="http://schemas.openxmlformats.org/presentationml/2006/main" uri="{D6D511B9-2390-475A-947B-AFAB55BFBCF1}">
            <pc226:cmChg xmlns:pc226="http://schemas.microsoft.com/office/powerpoint/2022/06/main/command" chg="">
              <pc226:chgData name="Simone NERI" userId="2a00f2ad-68d9-45e6-b604-268bfad9cc5e" providerId="ADAL" clId="{D888A4E8-4B4E-4F9E-AD90-7B2ECDAE1265}" dt="2023-03-02T10:14:43.682" v="932"/>
              <pc2:cmMkLst xmlns:pc2="http://schemas.microsoft.com/office/powerpoint/2019/9/main/command">
                <pc:docMk/>
                <pc:sldMk cId="2642809090" sldId="2147469974"/>
                <pc2:cmMk id="{B52A4FAD-17BC-4076-B0F0-1324EACA2686}"/>
              </pc2:cmMkLst>
              <pc226:cmRplyChg chg="add">
                <pc226:chgData name="Simone NERI" userId="2a00f2ad-68d9-45e6-b604-268bfad9cc5e" providerId="ADAL" clId="{D888A4E8-4B4E-4F9E-AD90-7B2ECDAE1265}" dt="2023-03-02T10:14:43.682" v="932"/>
                <pc2:cmRplyMkLst xmlns:pc2="http://schemas.microsoft.com/office/powerpoint/2019/9/main/command">
                  <pc:docMk/>
                  <pc:sldMk cId="2642809090" sldId="2147469974"/>
                  <pc2:cmMk id="{B52A4FAD-17BC-4076-B0F0-1324EACA2686}"/>
                  <pc2:cmRplyMk id="{3F2FD259-72AC-42A1-BC9A-8AF6741AA0CB}"/>
                </pc2:cmRplyMkLst>
              </pc226:cmRplyChg>
            </pc226:cmChg>
          </p:ext>
        </pc:extLst>
      </pc:sldChg>
      <pc:sldChg chg="addSp delSp modSp mod addCm modCm">
        <pc:chgData name="Simone NERI" userId="2a00f2ad-68d9-45e6-b604-268bfad9cc5e" providerId="ADAL" clId="{D888A4E8-4B4E-4F9E-AD90-7B2ECDAE1265}" dt="2023-03-02T17:17:57.171" v="1884" actId="2056"/>
        <pc:sldMkLst>
          <pc:docMk/>
          <pc:sldMk cId="4240600395" sldId="2147469975"/>
        </pc:sldMkLst>
        <pc:spChg chg="add del mod">
          <ac:chgData name="Simone NERI" userId="2a00f2ad-68d9-45e6-b604-268bfad9cc5e" providerId="ADAL" clId="{D888A4E8-4B4E-4F9E-AD90-7B2ECDAE1265}" dt="2023-03-02T17:15:30.348" v="1744" actId="478"/>
          <ac:spMkLst>
            <pc:docMk/>
            <pc:sldMk cId="4240600395" sldId="2147469975"/>
            <ac:spMk id="26" creationId="{F126F203-B85A-9E9D-5EC4-1A6F2F387FD7}"/>
          </ac:spMkLst>
        </pc:spChg>
        <pc:spChg chg="add del mod">
          <ac:chgData name="Simone NERI" userId="2a00f2ad-68d9-45e6-b604-268bfad9cc5e" providerId="ADAL" clId="{D888A4E8-4B4E-4F9E-AD90-7B2ECDAE1265}" dt="2023-03-02T17:17:57.169" v="1883" actId="478"/>
          <ac:spMkLst>
            <pc:docMk/>
            <pc:sldMk cId="4240600395" sldId="2147469975"/>
            <ac:spMk id="27" creationId="{C8A29162-E6CC-2DC3-ACE9-F2C851A0A005}"/>
          </ac:spMkLst>
        </pc:spChg>
        <pc:extLst>
          <p:ext xmlns:p="http://schemas.openxmlformats.org/presentationml/2006/main" uri="{D6D511B9-2390-475A-947B-AFAB55BFBCF1}">
            <pc226:cmChg xmlns:pc226="http://schemas.microsoft.com/office/powerpoint/2022/06/main/command" chg="add mod">
              <pc226:chgData name="Simone NERI" userId="2a00f2ad-68d9-45e6-b604-268bfad9cc5e" providerId="ADAL" clId="{D888A4E8-4B4E-4F9E-AD90-7B2ECDAE1265}" dt="2023-03-02T17:17:57.171" v="1884" actId="2056"/>
              <pc2:cmMkLst xmlns:pc2="http://schemas.microsoft.com/office/powerpoint/2019/9/main/command">
                <pc:docMk/>
                <pc:sldMk cId="4240600395" sldId="2147469975"/>
                <pc2:cmMk id="{7D9B7F3E-24F7-4F3C-9114-ACEA4964438C}"/>
              </pc2:cmMkLst>
            </pc226:cmChg>
          </p:ext>
        </pc:extLst>
      </pc:sldChg>
      <pc:sldChg chg="addSp delSp modSp add del mod">
        <pc:chgData name="Simone NERI" userId="2a00f2ad-68d9-45e6-b604-268bfad9cc5e" providerId="ADAL" clId="{D888A4E8-4B4E-4F9E-AD90-7B2ECDAE1265}" dt="2023-03-07T14:05:45.338" v="7491" actId="47"/>
        <pc:sldMkLst>
          <pc:docMk/>
          <pc:sldMk cId="3882133948" sldId="2147469976"/>
        </pc:sldMkLst>
        <pc:spChg chg="del">
          <ac:chgData name="Simone NERI" userId="2a00f2ad-68d9-45e6-b604-268bfad9cc5e" providerId="ADAL" clId="{D888A4E8-4B4E-4F9E-AD90-7B2ECDAE1265}" dt="2023-03-02T08:53:44.887" v="614" actId="478"/>
          <ac:spMkLst>
            <pc:docMk/>
            <pc:sldMk cId="3882133948" sldId="2147469976"/>
            <ac:spMk id="2" creationId="{A8CE909E-87DA-71CA-C3A0-3A6162FB32BB}"/>
          </ac:spMkLst>
        </pc:spChg>
        <pc:spChg chg="add mod">
          <ac:chgData name="Simone NERI" userId="2a00f2ad-68d9-45e6-b604-268bfad9cc5e" providerId="ADAL" clId="{D888A4E8-4B4E-4F9E-AD90-7B2ECDAE1265}" dt="2023-03-02T09:23:35.287" v="710" actId="113"/>
          <ac:spMkLst>
            <pc:docMk/>
            <pc:sldMk cId="3882133948" sldId="2147469976"/>
            <ac:spMk id="5" creationId="{F58AD62C-9101-269C-DEB5-C40332B621F5}"/>
          </ac:spMkLst>
        </pc:spChg>
        <pc:spChg chg="del">
          <ac:chgData name="Simone NERI" userId="2a00f2ad-68d9-45e6-b604-268bfad9cc5e" providerId="ADAL" clId="{D888A4E8-4B4E-4F9E-AD90-7B2ECDAE1265}" dt="2023-03-02T09:07:28.800" v="615" actId="478"/>
          <ac:spMkLst>
            <pc:docMk/>
            <pc:sldMk cId="3882133948" sldId="2147469976"/>
            <ac:spMk id="6" creationId="{6045B5AE-AEEA-48D4-8EB6-4D26AE82B2D3}"/>
          </ac:spMkLst>
        </pc:spChg>
        <pc:spChg chg="del">
          <ac:chgData name="Simone NERI" userId="2a00f2ad-68d9-45e6-b604-268bfad9cc5e" providerId="ADAL" clId="{D888A4E8-4B4E-4F9E-AD90-7B2ECDAE1265}" dt="2023-03-02T09:07:28.800" v="615" actId="478"/>
          <ac:spMkLst>
            <pc:docMk/>
            <pc:sldMk cId="3882133948" sldId="2147469976"/>
            <ac:spMk id="7" creationId="{09CD23FC-4420-46C7-A4E6-F7E37796B87D}"/>
          </ac:spMkLst>
        </pc:spChg>
        <pc:spChg chg="del">
          <ac:chgData name="Simone NERI" userId="2a00f2ad-68d9-45e6-b604-268bfad9cc5e" providerId="ADAL" clId="{D888A4E8-4B4E-4F9E-AD90-7B2ECDAE1265}" dt="2023-03-02T09:07:28.800" v="615" actId="478"/>
          <ac:spMkLst>
            <pc:docMk/>
            <pc:sldMk cId="3882133948" sldId="2147469976"/>
            <ac:spMk id="9" creationId="{AE6B03BC-D7B8-4CFD-80A8-53A533C2B3C4}"/>
          </ac:spMkLst>
        </pc:spChg>
        <pc:spChg chg="del">
          <ac:chgData name="Simone NERI" userId="2a00f2ad-68d9-45e6-b604-268bfad9cc5e" providerId="ADAL" clId="{D888A4E8-4B4E-4F9E-AD90-7B2ECDAE1265}" dt="2023-03-02T09:07:28.800" v="615" actId="478"/>
          <ac:spMkLst>
            <pc:docMk/>
            <pc:sldMk cId="3882133948" sldId="2147469976"/>
            <ac:spMk id="10" creationId="{31D2A00E-3033-42B8-B8D3-DB290B766782}"/>
          </ac:spMkLst>
        </pc:spChg>
        <pc:spChg chg="add mod">
          <ac:chgData name="Simone NERI" userId="2a00f2ad-68d9-45e6-b604-268bfad9cc5e" providerId="ADAL" clId="{D888A4E8-4B4E-4F9E-AD90-7B2ECDAE1265}" dt="2023-03-02T09:23:35.287" v="710" actId="113"/>
          <ac:spMkLst>
            <pc:docMk/>
            <pc:sldMk cId="3882133948" sldId="2147469976"/>
            <ac:spMk id="11" creationId="{640A3ABF-37B7-A1D9-D47B-F7D29FF26A51}"/>
          </ac:spMkLst>
        </pc:spChg>
        <pc:spChg chg="add mod">
          <ac:chgData name="Simone NERI" userId="2a00f2ad-68d9-45e6-b604-268bfad9cc5e" providerId="ADAL" clId="{D888A4E8-4B4E-4F9E-AD90-7B2ECDAE1265}" dt="2023-03-02T09:23:35.287" v="710" actId="113"/>
          <ac:spMkLst>
            <pc:docMk/>
            <pc:sldMk cId="3882133948" sldId="2147469976"/>
            <ac:spMk id="12" creationId="{DE64B3B1-B068-923D-BC2C-7FFC6FFB768C}"/>
          </ac:spMkLst>
        </pc:spChg>
        <pc:spChg chg="add mod">
          <ac:chgData name="Simone NERI" userId="2a00f2ad-68d9-45e6-b604-268bfad9cc5e" providerId="ADAL" clId="{D888A4E8-4B4E-4F9E-AD90-7B2ECDAE1265}" dt="2023-03-02T09:23:35.287" v="710" actId="113"/>
          <ac:spMkLst>
            <pc:docMk/>
            <pc:sldMk cId="3882133948" sldId="2147469976"/>
            <ac:spMk id="13" creationId="{8EF48AE1-3C2F-657C-D50B-F6BF2E89A648}"/>
          </ac:spMkLst>
        </pc:spChg>
        <pc:spChg chg="add mod">
          <ac:chgData name="Simone NERI" userId="2a00f2ad-68d9-45e6-b604-268bfad9cc5e" providerId="ADAL" clId="{D888A4E8-4B4E-4F9E-AD90-7B2ECDAE1265}" dt="2023-03-02T10:01:12.968" v="887" actId="1076"/>
          <ac:spMkLst>
            <pc:docMk/>
            <pc:sldMk cId="3882133948" sldId="2147469976"/>
            <ac:spMk id="14" creationId="{5CCE47F4-8982-1E40-D7EC-B8933BDA3651}"/>
          </ac:spMkLst>
        </pc:spChg>
        <pc:spChg chg="add mod">
          <ac:chgData name="Simone NERI" userId="2a00f2ad-68d9-45e6-b604-268bfad9cc5e" providerId="ADAL" clId="{D888A4E8-4B4E-4F9E-AD90-7B2ECDAE1265}" dt="2023-03-02T09:23:35.287" v="710" actId="113"/>
          <ac:spMkLst>
            <pc:docMk/>
            <pc:sldMk cId="3882133948" sldId="2147469976"/>
            <ac:spMk id="15" creationId="{A034BDD5-F8F0-735F-26FC-13CC728EAA57}"/>
          </ac:spMkLst>
        </pc:spChg>
        <pc:spChg chg="add mod">
          <ac:chgData name="Simone NERI" userId="2a00f2ad-68d9-45e6-b604-268bfad9cc5e" providerId="ADAL" clId="{D888A4E8-4B4E-4F9E-AD90-7B2ECDAE1265}" dt="2023-03-02T09:23:35.287" v="710" actId="113"/>
          <ac:spMkLst>
            <pc:docMk/>
            <pc:sldMk cId="3882133948" sldId="2147469976"/>
            <ac:spMk id="16" creationId="{BD2E3CE9-A1E6-80E3-9C75-91F082310B13}"/>
          </ac:spMkLst>
        </pc:spChg>
        <pc:spChg chg="add mod">
          <ac:chgData name="Simone NERI" userId="2a00f2ad-68d9-45e6-b604-268bfad9cc5e" providerId="ADAL" clId="{D888A4E8-4B4E-4F9E-AD90-7B2ECDAE1265}" dt="2023-03-02T09:45:55.153" v="843" actId="207"/>
          <ac:spMkLst>
            <pc:docMk/>
            <pc:sldMk cId="3882133948" sldId="2147469976"/>
            <ac:spMk id="17" creationId="{C038DB2F-A639-FF58-4895-25516E6F0733}"/>
          </ac:spMkLst>
        </pc:spChg>
        <pc:spChg chg="add mod">
          <ac:chgData name="Simone NERI" userId="2a00f2ad-68d9-45e6-b604-268bfad9cc5e" providerId="ADAL" clId="{D888A4E8-4B4E-4F9E-AD90-7B2ECDAE1265}" dt="2023-03-02T09:45:55.153" v="843" actId="207"/>
          <ac:spMkLst>
            <pc:docMk/>
            <pc:sldMk cId="3882133948" sldId="2147469976"/>
            <ac:spMk id="18" creationId="{EB54B1D9-A5C7-5F53-5C92-CBCEEE2296A6}"/>
          </ac:spMkLst>
        </pc:spChg>
        <pc:spChg chg="add mod">
          <ac:chgData name="Simone NERI" userId="2a00f2ad-68d9-45e6-b604-268bfad9cc5e" providerId="ADAL" clId="{D888A4E8-4B4E-4F9E-AD90-7B2ECDAE1265}" dt="2023-03-02T09:23:35.287" v="710" actId="113"/>
          <ac:spMkLst>
            <pc:docMk/>
            <pc:sldMk cId="3882133948" sldId="2147469976"/>
            <ac:spMk id="19" creationId="{A9A22FDF-EF74-5548-AD21-48198B374611}"/>
          </ac:spMkLst>
        </pc:spChg>
        <pc:spChg chg="add mod">
          <ac:chgData name="Simone NERI" userId="2a00f2ad-68d9-45e6-b604-268bfad9cc5e" providerId="ADAL" clId="{D888A4E8-4B4E-4F9E-AD90-7B2ECDAE1265}" dt="2023-03-02T09:23:35.287" v="710" actId="113"/>
          <ac:spMkLst>
            <pc:docMk/>
            <pc:sldMk cId="3882133948" sldId="2147469976"/>
            <ac:spMk id="20" creationId="{E81F41EA-5413-2711-8F40-EE10D33A1809}"/>
          </ac:spMkLst>
        </pc:spChg>
        <pc:spChg chg="add mod">
          <ac:chgData name="Simone NERI" userId="2a00f2ad-68d9-45e6-b604-268bfad9cc5e" providerId="ADAL" clId="{D888A4E8-4B4E-4F9E-AD90-7B2ECDAE1265}" dt="2023-03-02T09:23:35.287" v="710" actId="113"/>
          <ac:spMkLst>
            <pc:docMk/>
            <pc:sldMk cId="3882133948" sldId="2147469976"/>
            <ac:spMk id="21" creationId="{1EEC4CCF-563A-4B9C-2492-5E3D2C0C49DE}"/>
          </ac:spMkLst>
        </pc:spChg>
        <pc:spChg chg="add mod">
          <ac:chgData name="Simone NERI" userId="2a00f2ad-68d9-45e6-b604-268bfad9cc5e" providerId="ADAL" clId="{D888A4E8-4B4E-4F9E-AD90-7B2ECDAE1265}" dt="2023-03-02T09:23:12.959" v="701" actId="1076"/>
          <ac:spMkLst>
            <pc:docMk/>
            <pc:sldMk cId="3882133948" sldId="2147469976"/>
            <ac:spMk id="22" creationId="{40082AB8-74E5-873C-0445-F7D7E26AB850}"/>
          </ac:spMkLst>
        </pc:spChg>
        <pc:spChg chg="add mod ord">
          <ac:chgData name="Simone NERI" userId="2a00f2ad-68d9-45e6-b604-268bfad9cc5e" providerId="ADAL" clId="{D888A4E8-4B4E-4F9E-AD90-7B2ECDAE1265}" dt="2023-03-02T09:47:57.576" v="865" actId="6549"/>
          <ac:spMkLst>
            <pc:docMk/>
            <pc:sldMk cId="3882133948" sldId="2147469976"/>
            <ac:spMk id="23" creationId="{306F45C1-8671-DE8C-498F-FB6017D7FB30}"/>
          </ac:spMkLst>
        </pc:spChg>
        <pc:spChg chg="add mod ord">
          <ac:chgData name="Simone NERI" userId="2a00f2ad-68d9-45e6-b604-268bfad9cc5e" providerId="ADAL" clId="{D888A4E8-4B4E-4F9E-AD90-7B2ECDAE1265}" dt="2023-03-02T10:01:03.273" v="885" actId="1076"/>
          <ac:spMkLst>
            <pc:docMk/>
            <pc:sldMk cId="3882133948" sldId="2147469976"/>
            <ac:spMk id="25" creationId="{0F957868-4AF9-26AD-E92C-763588A65DC1}"/>
          </ac:spMkLst>
        </pc:spChg>
        <pc:spChg chg="add mod">
          <ac:chgData name="Simone NERI" userId="2a00f2ad-68d9-45e6-b604-268bfad9cc5e" providerId="ADAL" clId="{D888A4E8-4B4E-4F9E-AD90-7B2ECDAE1265}" dt="2023-03-02T14:03:33.661" v="1194" actId="14100"/>
          <ac:spMkLst>
            <pc:docMk/>
            <pc:sldMk cId="3882133948" sldId="2147469976"/>
            <ac:spMk id="26" creationId="{9A9AA191-88F1-4157-9DDE-5AFF5B604D3F}"/>
          </ac:spMkLst>
        </pc:spChg>
        <pc:spChg chg="add mod">
          <ac:chgData name="Simone NERI" userId="2a00f2ad-68d9-45e6-b604-268bfad9cc5e" providerId="ADAL" clId="{D888A4E8-4B4E-4F9E-AD90-7B2ECDAE1265}" dt="2023-03-02T10:01:14.999" v="888" actId="1076"/>
          <ac:spMkLst>
            <pc:docMk/>
            <pc:sldMk cId="3882133948" sldId="2147469976"/>
            <ac:spMk id="27" creationId="{88935AFF-B965-2848-D129-F5EA9EFEB183}"/>
          </ac:spMkLst>
        </pc:spChg>
        <pc:spChg chg="del">
          <ac:chgData name="Simone NERI" userId="2a00f2ad-68d9-45e6-b604-268bfad9cc5e" providerId="ADAL" clId="{D888A4E8-4B4E-4F9E-AD90-7B2ECDAE1265}" dt="2023-03-02T09:07:28.800" v="615" actId="478"/>
          <ac:spMkLst>
            <pc:docMk/>
            <pc:sldMk cId="3882133948" sldId="2147469976"/>
            <ac:spMk id="28" creationId="{E9C40719-EF26-4E17-B574-6F13639551A4}"/>
          </ac:spMkLst>
        </pc:spChg>
        <pc:spChg chg="add mod">
          <ac:chgData name="Simone NERI" userId="2a00f2ad-68d9-45e6-b604-268bfad9cc5e" providerId="ADAL" clId="{D888A4E8-4B4E-4F9E-AD90-7B2ECDAE1265}" dt="2023-03-02T09:47:20.975" v="854" actId="14100"/>
          <ac:spMkLst>
            <pc:docMk/>
            <pc:sldMk cId="3882133948" sldId="2147469976"/>
            <ac:spMk id="29" creationId="{63D95963-432F-75F8-A05D-A52C9A0E8A5E}"/>
          </ac:spMkLst>
        </pc:spChg>
        <pc:spChg chg="add mod">
          <ac:chgData name="Simone NERI" userId="2a00f2ad-68d9-45e6-b604-268bfad9cc5e" providerId="ADAL" clId="{D888A4E8-4B4E-4F9E-AD90-7B2ECDAE1265}" dt="2023-03-02T09:48:10.462" v="868" actId="20577"/>
          <ac:spMkLst>
            <pc:docMk/>
            <pc:sldMk cId="3882133948" sldId="2147469976"/>
            <ac:spMk id="30" creationId="{51AE8ED5-0247-282F-35C9-6DED975433A5}"/>
          </ac:spMkLst>
        </pc:spChg>
        <pc:spChg chg="del">
          <ac:chgData name="Simone NERI" userId="2a00f2ad-68d9-45e6-b604-268bfad9cc5e" providerId="ADAL" clId="{D888A4E8-4B4E-4F9E-AD90-7B2ECDAE1265}" dt="2023-03-02T09:07:28.800" v="615" actId="478"/>
          <ac:spMkLst>
            <pc:docMk/>
            <pc:sldMk cId="3882133948" sldId="2147469976"/>
            <ac:spMk id="31" creationId="{8BF6ED58-BA20-45F4-B01A-1B1E340623F2}"/>
          </ac:spMkLst>
        </pc:spChg>
        <pc:spChg chg="del">
          <ac:chgData name="Simone NERI" userId="2a00f2ad-68d9-45e6-b604-268bfad9cc5e" providerId="ADAL" clId="{D888A4E8-4B4E-4F9E-AD90-7B2ECDAE1265}" dt="2023-03-02T09:07:28.800" v="615" actId="478"/>
          <ac:spMkLst>
            <pc:docMk/>
            <pc:sldMk cId="3882133948" sldId="2147469976"/>
            <ac:spMk id="32" creationId="{20F804F6-C4AB-4550-AC91-61C4637A6868}"/>
          </ac:spMkLst>
        </pc:spChg>
        <pc:spChg chg="add mod">
          <ac:chgData name="Simone NERI" userId="2a00f2ad-68d9-45e6-b604-268bfad9cc5e" providerId="ADAL" clId="{D888A4E8-4B4E-4F9E-AD90-7B2ECDAE1265}" dt="2023-03-02T09:49:44.914" v="873" actId="20577"/>
          <ac:spMkLst>
            <pc:docMk/>
            <pc:sldMk cId="3882133948" sldId="2147469976"/>
            <ac:spMk id="33" creationId="{8715D0D0-0836-1569-A20E-1E1526E41E23}"/>
          </ac:spMkLst>
        </pc:spChg>
        <pc:spChg chg="add mod">
          <ac:chgData name="Simone NERI" userId="2a00f2ad-68d9-45e6-b604-268bfad9cc5e" providerId="ADAL" clId="{D888A4E8-4B4E-4F9E-AD90-7B2ECDAE1265}" dt="2023-03-02T09:49:52.203" v="878" actId="20577"/>
          <ac:spMkLst>
            <pc:docMk/>
            <pc:sldMk cId="3882133948" sldId="2147469976"/>
            <ac:spMk id="34" creationId="{61A44764-DB08-DB9E-C175-1CB477C76EFA}"/>
          </ac:spMkLst>
        </pc:spChg>
        <pc:spChg chg="add mod">
          <ac:chgData name="Simone NERI" userId="2a00f2ad-68d9-45e6-b604-268bfad9cc5e" providerId="ADAL" clId="{D888A4E8-4B4E-4F9E-AD90-7B2ECDAE1265}" dt="2023-03-02T10:00:07.493" v="879" actId="571"/>
          <ac:spMkLst>
            <pc:docMk/>
            <pc:sldMk cId="3882133948" sldId="2147469976"/>
            <ac:spMk id="35" creationId="{8BBFA68A-92B7-B0CF-6879-639755FB5ABE}"/>
          </ac:spMkLst>
        </pc:spChg>
        <pc:spChg chg="add mod">
          <ac:chgData name="Simone NERI" userId="2a00f2ad-68d9-45e6-b604-268bfad9cc5e" providerId="ADAL" clId="{D888A4E8-4B4E-4F9E-AD90-7B2ECDAE1265}" dt="2023-03-02T13:58:03.293" v="933" actId="108"/>
          <ac:spMkLst>
            <pc:docMk/>
            <pc:sldMk cId="3882133948" sldId="2147469976"/>
            <ac:spMk id="36" creationId="{6BD027B9-5122-433D-42C1-02E4FD8DB041}"/>
          </ac:spMkLst>
        </pc:spChg>
        <pc:spChg chg="add mod">
          <ac:chgData name="Simone NERI" userId="2a00f2ad-68d9-45e6-b604-268bfad9cc5e" providerId="ADAL" clId="{D888A4E8-4B4E-4F9E-AD90-7B2ECDAE1265}" dt="2023-03-02T10:02:24.884" v="897" actId="6549"/>
          <ac:spMkLst>
            <pc:docMk/>
            <pc:sldMk cId="3882133948" sldId="2147469976"/>
            <ac:spMk id="37" creationId="{50149675-88CA-7048-988B-5D7E2231A1DE}"/>
          </ac:spMkLst>
        </pc:spChg>
        <pc:spChg chg="add mod">
          <ac:chgData name="Simone NERI" userId="2a00f2ad-68d9-45e6-b604-268bfad9cc5e" providerId="ADAL" clId="{D888A4E8-4B4E-4F9E-AD90-7B2ECDAE1265}" dt="2023-03-02T10:04:49.051" v="912"/>
          <ac:spMkLst>
            <pc:docMk/>
            <pc:sldMk cId="3882133948" sldId="2147469976"/>
            <ac:spMk id="38" creationId="{7550E6D2-DAA3-4B0B-7B74-D78C2DDB326E}"/>
          </ac:spMkLst>
        </pc:spChg>
        <pc:spChg chg="add mod">
          <ac:chgData name="Simone NERI" userId="2a00f2ad-68d9-45e6-b604-268bfad9cc5e" providerId="ADAL" clId="{D888A4E8-4B4E-4F9E-AD90-7B2ECDAE1265}" dt="2023-03-02T13:58:04.411" v="934" actId="108"/>
          <ac:spMkLst>
            <pc:docMk/>
            <pc:sldMk cId="3882133948" sldId="2147469976"/>
            <ac:spMk id="39" creationId="{7D701D53-1062-C598-E107-7C2A0E4D0410}"/>
          </ac:spMkLst>
        </pc:spChg>
        <pc:spChg chg="add mod">
          <ac:chgData name="Simone NERI" userId="2a00f2ad-68d9-45e6-b604-268bfad9cc5e" providerId="ADAL" clId="{D888A4E8-4B4E-4F9E-AD90-7B2ECDAE1265}" dt="2023-03-02T10:05:33.783" v="918"/>
          <ac:spMkLst>
            <pc:docMk/>
            <pc:sldMk cId="3882133948" sldId="2147469976"/>
            <ac:spMk id="41" creationId="{05B8093D-8C67-67E1-9CE6-3262C269DD08}"/>
          </ac:spMkLst>
        </pc:spChg>
        <pc:spChg chg="add mod">
          <ac:chgData name="Simone NERI" userId="2a00f2ad-68d9-45e6-b604-268bfad9cc5e" providerId="ADAL" clId="{D888A4E8-4B4E-4F9E-AD90-7B2ECDAE1265}" dt="2023-03-02T10:06:05.154" v="931" actId="20577"/>
          <ac:spMkLst>
            <pc:docMk/>
            <pc:sldMk cId="3882133948" sldId="2147469976"/>
            <ac:spMk id="42" creationId="{C47610D3-593E-F2D9-0F1D-8925283EFB5C}"/>
          </ac:spMkLst>
        </pc:spChg>
        <pc:spChg chg="add mod">
          <ac:chgData name="Simone NERI" userId="2a00f2ad-68d9-45e6-b604-268bfad9cc5e" providerId="ADAL" clId="{D888A4E8-4B4E-4F9E-AD90-7B2ECDAE1265}" dt="2023-03-02T13:58:29.324" v="938" actId="1076"/>
          <ac:spMkLst>
            <pc:docMk/>
            <pc:sldMk cId="3882133948" sldId="2147469976"/>
            <ac:spMk id="45" creationId="{1E8D5410-8E8A-D322-5803-D579E23CF0F9}"/>
          </ac:spMkLst>
        </pc:spChg>
        <pc:spChg chg="add mod">
          <ac:chgData name="Simone NERI" userId="2a00f2ad-68d9-45e6-b604-268bfad9cc5e" providerId="ADAL" clId="{D888A4E8-4B4E-4F9E-AD90-7B2ECDAE1265}" dt="2023-03-02T13:58:34.256" v="939" actId="571"/>
          <ac:spMkLst>
            <pc:docMk/>
            <pc:sldMk cId="3882133948" sldId="2147469976"/>
            <ac:spMk id="46" creationId="{F94A6638-5E7F-B106-580E-D657DD4D2CA2}"/>
          </ac:spMkLst>
        </pc:spChg>
        <pc:spChg chg="add mod">
          <ac:chgData name="Simone NERI" userId="2a00f2ad-68d9-45e6-b604-268bfad9cc5e" providerId="ADAL" clId="{D888A4E8-4B4E-4F9E-AD90-7B2ECDAE1265}" dt="2023-03-02T13:59:10.111" v="942" actId="14100"/>
          <ac:spMkLst>
            <pc:docMk/>
            <pc:sldMk cId="3882133948" sldId="2147469976"/>
            <ac:spMk id="47" creationId="{9B9E4505-EF23-D55F-5E19-437DF3AC37BA}"/>
          </ac:spMkLst>
        </pc:spChg>
        <pc:spChg chg="add mod">
          <ac:chgData name="Simone NERI" userId="2a00f2ad-68d9-45e6-b604-268bfad9cc5e" providerId="ADAL" clId="{D888A4E8-4B4E-4F9E-AD90-7B2ECDAE1265}" dt="2023-03-02T14:00:29.618" v="1051" actId="20577"/>
          <ac:spMkLst>
            <pc:docMk/>
            <pc:sldMk cId="3882133948" sldId="2147469976"/>
            <ac:spMk id="48" creationId="{E76447A8-4153-BF78-377D-2C0AB3887C7B}"/>
          </ac:spMkLst>
        </pc:spChg>
        <pc:spChg chg="add mod">
          <ac:chgData name="Simone NERI" userId="2a00f2ad-68d9-45e6-b604-268bfad9cc5e" providerId="ADAL" clId="{D888A4E8-4B4E-4F9E-AD90-7B2ECDAE1265}" dt="2023-03-02T14:00:53.695" v="1054" actId="20577"/>
          <ac:spMkLst>
            <pc:docMk/>
            <pc:sldMk cId="3882133948" sldId="2147469976"/>
            <ac:spMk id="49" creationId="{0548255A-F58B-1F25-379C-126B24AC42DD}"/>
          </ac:spMkLst>
        </pc:spChg>
        <pc:spChg chg="add mod">
          <ac:chgData name="Simone NERI" userId="2a00f2ad-68d9-45e6-b604-268bfad9cc5e" providerId="ADAL" clId="{D888A4E8-4B4E-4F9E-AD90-7B2ECDAE1265}" dt="2023-03-02T14:01:45.913" v="1170" actId="20577"/>
          <ac:spMkLst>
            <pc:docMk/>
            <pc:sldMk cId="3882133948" sldId="2147469976"/>
            <ac:spMk id="50" creationId="{6061ED70-1984-6118-74EF-1F6DB17390CD}"/>
          </ac:spMkLst>
        </pc:spChg>
        <pc:spChg chg="add mod">
          <ac:chgData name="Simone NERI" userId="2a00f2ad-68d9-45e6-b604-268bfad9cc5e" providerId="ADAL" clId="{D888A4E8-4B4E-4F9E-AD90-7B2ECDAE1265}" dt="2023-03-02T14:03:12.354" v="1193" actId="1038"/>
          <ac:spMkLst>
            <pc:docMk/>
            <pc:sldMk cId="3882133948" sldId="2147469976"/>
            <ac:spMk id="51" creationId="{4D9C904E-F5DF-7116-A370-3B66281A0E4D}"/>
          </ac:spMkLst>
        </pc:spChg>
        <pc:spChg chg="add mod">
          <ac:chgData name="Simone NERI" userId="2a00f2ad-68d9-45e6-b604-268bfad9cc5e" providerId="ADAL" clId="{D888A4E8-4B4E-4F9E-AD90-7B2ECDAE1265}" dt="2023-03-02T14:03:56.826" v="1196" actId="1076"/>
          <ac:spMkLst>
            <pc:docMk/>
            <pc:sldMk cId="3882133948" sldId="2147469976"/>
            <ac:spMk id="52" creationId="{53963CA7-2604-94EF-89E4-DEC715F6895A}"/>
          </ac:spMkLst>
        </pc:spChg>
        <pc:spChg chg="add mod ord">
          <ac:chgData name="Simone NERI" userId="2a00f2ad-68d9-45e6-b604-268bfad9cc5e" providerId="ADAL" clId="{D888A4E8-4B4E-4F9E-AD90-7B2ECDAE1265}" dt="2023-03-02T14:04:34.262" v="1201" actId="170"/>
          <ac:spMkLst>
            <pc:docMk/>
            <pc:sldMk cId="3882133948" sldId="2147469976"/>
            <ac:spMk id="53" creationId="{7AAF5136-FC8A-B06A-D197-8D23A0ACB547}"/>
          </ac:spMkLst>
        </pc:spChg>
        <pc:spChg chg="add mod">
          <ac:chgData name="Simone NERI" userId="2a00f2ad-68d9-45e6-b604-268bfad9cc5e" providerId="ADAL" clId="{D888A4E8-4B4E-4F9E-AD90-7B2ECDAE1265}" dt="2023-03-02T14:04:44.557" v="1203" actId="948"/>
          <ac:spMkLst>
            <pc:docMk/>
            <pc:sldMk cId="3882133948" sldId="2147469976"/>
            <ac:spMk id="54" creationId="{764DD616-AA12-5225-87B3-4195C941465D}"/>
          </ac:spMkLst>
        </pc:spChg>
        <pc:spChg chg="add mod">
          <ac:chgData name="Simone NERI" userId="2a00f2ad-68d9-45e6-b604-268bfad9cc5e" providerId="ADAL" clId="{D888A4E8-4B4E-4F9E-AD90-7B2ECDAE1265}" dt="2023-03-02T14:16:36.895" v="1324" actId="20577"/>
          <ac:spMkLst>
            <pc:docMk/>
            <pc:sldMk cId="3882133948" sldId="2147469976"/>
            <ac:spMk id="56" creationId="{89BA94E7-8A26-48D6-3036-1E4D6EE3B020}"/>
          </ac:spMkLst>
        </pc:spChg>
        <pc:spChg chg="add mod">
          <ac:chgData name="Simone NERI" userId="2a00f2ad-68d9-45e6-b604-268bfad9cc5e" providerId="ADAL" clId="{D888A4E8-4B4E-4F9E-AD90-7B2ECDAE1265}" dt="2023-03-02T14:16:20.423" v="1320" actId="20577"/>
          <ac:spMkLst>
            <pc:docMk/>
            <pc:sldMk cId="3882133948" sldId="2147469976"/>
            <ac:spMk id="65" creationId="{351E43B6-1C0E-1AAF-2678-7FD3A7A4D602}"/>
          </ac:spMkLst>
        </pc:spChg>
        <pc:spChg chg="add mod">
          <ac:chgData name="Simone NERI" userId="2a00f2ad-68d9-45e6-b604-268bfad9cc5e" providerId="ADAL" clId="{D888A4E8-4B4E-4F9E-AD90-7B2ECDAE1265}" dt="2023-03-02T14:16:29.121" v="1321"/>
          <ac:spMkLst>
            <pc:docMk/>
            <pc:sldMk cId="3882133948" sldId="2147469976"/>
            <ac:spMk id="68" creationId="{F1616B12-F412-969D-13B3-5DC8F2745D76}"/>
          </ac:spMkLst>
        </pc:spChg>
        <pc:spChg chg="add mod">
          <ac:chgData name="Simone NERI" userId="2a00f2ad-68d9-45e6-b604-268bfad9cc5e" providerId="ADAL" clId="{D888A4E8-4B4E-4F9E-AD90-7B2ECDAE1265}" dt="2023-03-02T16:19:50.308" v="1514" actId="1076"/>
          <ac:spMkLst>
            <pc:docMk/>
            <pc:sldMk cId="3882133948" sldId="2147469976"/>
            <ac:spMk id="69" creationId="{513ADE75-4B3F-982E-AEFA-C84A04AC5F96}"/>
          </ac:spMkLst>
        </pc:spChg>
        <pc:spChg chg="del">
          <ac:chgData name="Simone NERI" userId="2a00f2ad-68d9-45e6-b604-268bfad9cc5e" providerId="ADAL" clId="{D888A4E8-4B4E-4F9E-AD90-7B2ECDAE1265}" dt="2023-03-02T09:07:28.800" v="615" actId="478"/>
          <ac:spMkLst>
            <pc:docMk/>
            <pc:sldMk cId="3882133948" sldId="2147469976"/>
            <ac:spMk id="136" creationId="{8150604B-0053-3843-8532-509B640AFE11}"/>
          </ac:spMkLst>
        </pc:spChg>
        <pc:spChg chg="del">
          <ac:chgData name="Simone NERI" userId="2a00f2ad-68d9-45e6-b604-268bfad9cc5e" providerId="ADAL" clId="{D888A4E8-4B4E-4F9E-AD90-7B2ECDAE1265}" dt="2023-03-02T09:07:28.800" v="615" actId="478"/>
          <ac:spMkLst>
            <pc:docMk/>
            <pc:sldMk cId="3882133948" sldId="2147469976"/>
            <ac:spMk id="137" creationId="{FF49CCCB-39CE-85D5-C468-9486D0476B36}"/>
          </ac:spMkLst>
        </pc:spChg>
        <pc:spChg chg="del">
          <ac:chgData name="Simone NERI" userId="2a00f2ad-68d9-45e6-b604-268bfad9cc5e" providerId="ADAL" clId="{D888A4E8-4B4E-4F9E-AD90-7B2ECDAE1265}" dt="2023-03-02T09:07:28.800" v="615" actId="478"/>
          <ac:spMkLst>
            <pc:docMk/>
            <pc:sldMk cId="3882133948" sldId="2147469976"/>
            <ac:spMk id="139" creationId="{5CE4BF7E-6D2B-5A05-D568-FE581CF199DE}"/>
          </ac:spMkLst>
        </pc:spChg>
        <pc:spChg chg="del">
          <ac:chgData name="Simone NERI" userId="2a00f2ad-68d9-45e6-b604-268bfad9cc5e" providerId="ADAL" clId="{D888A4E8-4B4E-4F9E-AD90-7B2ECDAE1265}" dt="2023-03-02T09:07:28.800" v="615" actId="478"/>
          <ac:spMkLst>
            <pc:docMk/>
            <pc:sldMk cId="3882133948" sldId="2147469976"/>
            <ac:spMk id="140" creationId="{10EE6540-BE2B-ED8A-1A48-7835EA09E790}"/>
          </ac:spMkLst>
        </pc:spChg>
        <pc:spChg chg="del">
          <ac:chgData name="Simone NERI" userId="2a00f2ad-68d9-45e6-b604-268bfad9cc5e" providerId="ADAL" clId="{D888A4E8-4B4E-4F9E-AD90-7B2ECDAE1265}" dt="2023-03-02T09:07:28.800" v="615" actId="478"/>
          <ac:spMkLst>
            <pc:docMk/>
            <pc:sldMk cId="3882133948" sldId="2147469976"/>
            <ac:spMk id="141" creationId="{D4C6ABC3-F354-31FE-6723-CAB1E80731A6}"/>
          </ac:spMkLst>
        </pc:spChg>
        <pc:spChg chg="del">
          <ac:chgData name="Simone NERI" userId="2a00f2ad-68d9-45e6-b604-268bfad9cc5e" providerId="ADAL" clId="{D888A4E8-4B4E-4F9E-AD90-7B2ECDAE1265}" dt="2023-03-02T09:07:28.800" v="615" actId="478"/>
          <ac:spMkLst>
            <pc:docMk/>
            <pc:sldMk cId="3882133948" sldId="2147469976"/>
            <ac:spMk id="142" creationId="{4BABBFB7-C8F6-589B-747D-2F7A027F58EA}"/>
          </ac:spMkLst>
        </pc:spChg>
        <pc:spChg chg="del">
          <ac:chgData name="Simone NERI" userId="2a00f2ad-68d9-45e6-b604-268bfad9cc5e" providerId="ADAL" clId="{D888A4E8-4B4E-4F9E-AD90-7B2ECDAE1265}" dt="2023-03-02T09:07:28.800" v="615" actId="478"/>
          <ac:spMkLst>
            <pc:docMk/>
            <pc:sldMk cId="3882133948" sldId="2147469976"/>
            <ac:spMk id="143" creationId="{4E38632D-5CE8-218A-7C13-8BCCB9667B02}"/>
          </ac:spMkLst>
        </pc:spChg>
        <pc:spChg chg="del">
          <ac:chgData name="Simone NERI" userId="2a00f2ad-68d9-45e6-b604-268bfad9cc5e" providerId="ADAL" clId="{D888A4E8-4B4E-4F9E-AD90-7B2ECDAE1265}" dt="2023-03-02T09:07:28.800" v="615" actId="478"/>
          <ac:spMkLst>
            <pc:docMk/>
            <pc:sldMk cId="3882133948" sldId="2147469976"/>
            <ac:spMk id="144" creationId="{D1024A03-F9E3-54A1-243A-4EBDAF497C1F}"/>
          </ac:spMkLst>
        </pc:spChg>
        <pc:spChg chg="del">
          <ac:chgData name="Simone NERI" userId="2a00f2ad-68d9-45e6-b604-268bfad9cc5e" providerId="ADAL" clId="{D888A4E8-4B4E-4F9E-AD90-7B2ECDAE1265}" dt="2023-03-02T09:07:28.800" v="615" actId="478"/>
          <ac:spMkLst>
            <pc:docMk/>
            <pc:sldMk cId="3882133948" sldId="2147469976"/>
            <ac:spMk id="145" creationId="{4217BED4-AD32-20F5-A362-51677DBF3A3E}"/>
          </ac:spMkLst>
        </pc:spChg>
        <pc:spChg chg="del">
          <ac:chgData name="Simone NERI" userId="2a00f2ad-68d9-45e6-b604-268bfad9cc5e" providerId="ADAL" clId="{D888A4E8-4B4E-4F9E-AD90-7B2ECDAE1265}" dt="2023-03-02T09:07:28.800" v="615" actId="478"/>
          <ac:spMkLst>
            <pc:docMk/>
            <pc:sldMk cId="3882133948" sldId="2147469976"/>
            <ac:spMk id="146" creationId="{24B4C1F6-ED42-02DF-FCC6-77D5E06DF484}"/>
          </ac:spMkLst>
        </pc:spChg>
        <pc:spChg chg="del">
          <ac:chgData name="Simone NERI" userId="2a00f2ad-68d9-45e6-b604-268bfad9cc5e" providerId="ADAL" clId="{D888A4E8-4B4E-4F9E-AD90-7B2ECDAE1265}" dt="2023-03-02T09:07:28.800" v="615" actId="478"/>
          <ac:spMkLst>
            <pc:docMk/>
            <pc:sldMk cId="3882133948" sldId="2147469976"/>
            <ac:spMk id="147" creationId="{56736C8E-E81A-2996-9F70-FD105C1AB93C}"/>
          </ac:spMkLst>
        </pc:spChg>
        <pc:spChg chg="del">
          <ac:chgData name="Simone NERI" userId="2a00f2ad-68d9-45e6-b604-268bfad9cc5e" providerId="ADAL" clId="{D888A4E8-4B4E-4F9E-AD90-7B2ECDAE1265}" dt="2023-03-02T09:07:28.800" v="615" actId="478"/>
          <ac:spMkLst>
            <pc:docMk/>
            <pc:sldMk cId="3882133948" sldId="2147469976"/>
            <ac:spMk id="148" creationId="{E9911E6E-9079-1D2A-838F-0895B1ACC48E}"/>
          </ac:spMkLst>
        </pc:spChg>
        <pc:spChg chg="del">
          <ac:chgData name="Simone NERI" userId="2a00f2ad-68d9-45e6-b604-268bfad9cc5e" providerId="ADAL" clId="{D888A4E8-4B4E-4F9E-AD90-7B2ECDAE1265}" dt="2023-03-02T09:07:28.800" v="615" actId="478"/>
          <ac:spMkLst>
            <pc:docMk/>
            <pc:sldMk cId="3882133948" sldId="2147469976"/>
            <ac:spMk id="156" creationId="{C5C95E6B-DB5F-E778-3CA7-5867F32F94DD}"/>
          </ac:spMkLst>
        </pc:spChg>
        <pc:spChg chg="del">
          <ac:chgData name="Simone NERI" userId="2a00f2ad-68d9-45e6-b604-268bfad9cc5e" providerId="ADAL" clId="{D888A4E8-4B4E-4F9E-AD90-7B2ECDAE1265}" dt="2023-03-02T09:07:28.800" v="615" actId="478"/>
          <ac:spMkLst>
            <pc:docMk/>
            <pc:sldMk cId="3882133948" sldId="2147469976"/>
            <ac:spMk id="160" creationId="{29B8BE05-7DFF-8C6B-7B4E-564E956B5347}"/>
          </ac:spMkLst>
        </pc:spChg>
        <pc:spChg chg="del">
          <ac:chgData name="Simone NERI" userId="2a00f2ad-68d9-45e6-b604-268bfad9cc5e" providerId="ADAL" clId="{D888A4E8-4B4E-4F9E-AD90-7B2ECDAE1265}" dt="2023-03-02T09:07:28.800" v="615" actId="478"/>
          <ac:spMkLst>
            <pc:docMk/>
            <pc:sldMk cId="3882133948" sldId="2147469976"/>
            <ac:spMk id="164" creationId="{AAE8C009-2233-7A19-C1F7-8DC44002EC9B}"/>
          </ac:spMkLst>
        </pc:spChg>
        <pc:grpChg chg="del">
          <ac:chgData name="Simone NERI" userId="2a00f2ad-68d9-45e6-b604-268bfad9cc5e" providerId="ADAL" clId="{D888A4E8-4B4E-4F9E-AD90-7B2ECDAE1265}" dt="2023-03-02T09:07:28.800" v="615" actId="478"/>
          <ac:grpSpMkLst>
            <pc:docMk/>
            <pc:sldMk cId="3882133948" sldId="2147469976"/>
            <ac:grpSpMk id="59" creationId="{36007877-CCC4-4404-91D3-EE9EF5B5B031}"/>
          </ac:grpSpMkLst>
        </pc:grpChg>
        <pc:grpChg chg="del">
          <ac:chgData name="Simone NERI" userId="2a00f2ad-68d9-45e6-b604-268bfad9cc5e" providerId="ADAL" clId="{D888A4E8-4B4E-4F9E-AD90-7B2ECDAE1265}" dt="2023-03-02T09:07:28.800" v="615" actId="478"/>
          <ac:grpSpMkLst>
            <pc:docMk/>
            <pc:sldMk cId="3882133948" sldId="2147469976"/>
            <ac:grpSpMk id="62" creationId="{E64CF32D-0C6C-441D-B069-2F58E0A3A471}"/>
          </ac:grpSpMkLst>
        </pc:grpChg>
        <pc:grpChg chg="del">
          <ac:chgData name="Simone NERI" userId="2a00f2ad-68d9-45e6-b604-268bfad9cc5e" providerId="ADAL" clId="{D888A4E8-4B4E-4F9E-AD90-7B2ECDAE1265}" dt="2023-03-02T09:07:28.800" v="615" actId="478"/>
          <ac:grpSpMkLst>
            <pc:docMk/>
            <pc:sldMk cId="3882133948" sldId="2147469976"/>
            <ac:grpSpMk id="133" creationId="{B7FCF5A6-139F-61ED-6B0C-744AE0E84CF0}"/>
          </ac:grpSpMkLst>
        </pc:grpChg>
        <pc:grpChg chg="del">
          <ac:chgData name="Simone NERI" userId="2a00f2ad-68d9-45e6-b604-268bfad9cc5e" providerId="ADAL" clId="{D888A4E8-4B4E-4F9E-AD90-7B2ECDAE1265}" dt="2023-03-02T09:07:28.800" v="615" actId="478"/>
          <ac:grpSpMkLst>
            <pc:docMk/>
            <pc:sldMk cId="3882133948" sldId="2147469976"/>
            <ac:grpSpMk id="153" creationId="{D8A399F8-6FF6-026B-CB69-962397AEC5FC}"/>
          </ac:grpSpMkLst>
        </pc:grpChg>
        <pc:grpChg chg="del">
          <ac:chgData name="Simone NERI" userId="2a00f2ad-68d9-45e6-b604-268bfad9cc5e" providerId="ADAL" clId="{D888A4E8-4B4E-4F9E-AD90-7B2ECDAE1265}" dt="2023-03-02T09:07:28.800" v="615" actId="478"/>
          <ac:grpSpMkLst>
            <pc:docMk/>
            <pc:sldMk cId="3882133948" sldId="2147469976"/>
            <ac:grpSpMk id="157" creationId="{FB1CC42A-03E6-201F-8784-63F1A8048DAF}"/>
          </ac:grpSpMkLst>
        </pc:grpChg>
        <pc:grpChg chg="del">
          <ac:chgData name="Simone NERI" userId="2a00f2ad-68d9-45e6-b604-268bfad9cc5e" providerId="ADAL" clId="{D888A4E8-4B4E-4F9E-AD90-7B2ECDAE1265}" dt="2023-03-02T09:07:28.800" v="615" actId="478"/>
          <ac:grpSpMkLst>
            <pc:docMk/>
            <pc:sldMk cId="3882133948" sldId="2147469976"/>
            <ac:grpSpMk id="161" creationId="{7DB7AA32-F3B7-74E8-EA09-25EF1BA2A955}"/>
          </ac:grpSpMkLst>
        </pc:grpChg>
        <pc:graphicFrameChg chg="mod modGraphic">
          <ac:chgData name="Simone NERI" userId="2a00f2ad-68d9-45e6-b604-268bfad9cc5e" providerId="ADAL" clId="{D888A4E8-4B4E-4F9E-AD90-7B2ECDAE1265}" dt="2023-03-02T14:07:21.275" v="1204" actId="14100"/>
          <ac:graphicFrameMkLst>
            <pc:docMk/>
            <pc:sldMk cId="3882133948" sldId="2147469976"/>
            <ac:graphicFrameMk id="4" creationId="{437AB2C6-1962-48D7-BBBD-E467214EDE31}"/>
          </ac:graphicFrameMkLst>
        </pc:graphicFrameChg>
        <pc:picChg chg="add del">
          <ac:chgData name="Simone NERI" userId="2a00f2ad-68d9-45e6-b604-268bfad9cc5e" providerId="ADAL" clId="{D888A4E8-4B4E-4F9E-AD90-7B2ECDAE1265}" dt="2023-03-02T13:58:21.822" v="936" actId="22"/>
          <ac:picMkLst>
            <pc:docMk/>
            <pc:sldMk cId="3882133948" sldId="2147469976"/>
            <ac:picMk id="44" creationId="{2EA0E0F7-E20C-F221-FBE6-0D429C1E4C0C}"/>
          </ac:picMkLst>
        </pc:picChg>
        <pc:cxnChg chg="add mod">
          <ac:chgData name="Simone NERI" userId="2a00f2ad-68d9-45e6-b604-268bfad9cc5e" providerId="ADAL" clId="{D888A4E8-4B4E-4F9E-AD90-7B2ECDAE1265}" dt="2023-03-02T14:15:14.132" v="1258" actId="1076"/>
          <ac:cxnSpMkLst>
            <pc:docMk/>
            <pc:sldMk cId="3882133948" sldId="2147469976"/>
            <ac:cxnSpMk id="55" creationId="{40207ED0-67B1-4DC2-F672-879E6AF13086}"/>
          </ac:cxnSpMkLst>
        </pc:cxnChg>
        <pc:cxnChg chg="add mod">
          <ac:chgData name="Simone NERI" userId="2a00f2ad-68d9-45e6-b604-268bfad9cc5e" providerId="ADAL" clId="{D888A4E8-4B4E-4F9E-AD90-7B2ECDAE1265}" dt="2023-03-02T14:15:58.788" v="1301" actId="1038"/>
          <ac:cxnSpMkLst>
            <pc:docMk/>
            <pc:sldMk cId="3882133948" sldId="2147469976"/>
            <ac:cxnSpMk id="58" creationId="{C1F0B02E-B961-E4FE-8FED-CE7083993469}"/>
          </ac:cxnSpMkLst>
        </pc:cxnChg>
        <pc:cxnChg chg="add mod">
          <ac:chgData name="Simone NERI" userId="2a00f2ad-68d9-45e6-b604-268bfad9cc5e" providerId="ADAL" clId="{D888A4E8-4B4E-4F9E-AD90-7B2ECDAE1265}" dt="2023-03-02T14:16:08.698" v="1302" actId="571"/>
          <ac:cxnSpMkLst>
            <pc:docMk/>
            <pc:sldMk cId="3882133948" sldId="2147469976"/>
            <ac:cxnSpMk id="67" creationId="{71173626-3836-E7E5-556A-33E1A2BD6605}"/>
          </ac:cxnSpMkLst>
        </pc:cxnChg>
        <pc:cxnChg chg="del">
          <ac:chgData name="Simone NERI" userId="2a00f2ad-68d9-45e6-b604-268bfad9cc5e" providerId="ADAL" clId="{D888A4E8-4B4E-4F9E-AD90-7B2ECDAE1265}" dt="2023-03-02T09:07:28.800" v="615" actId="478"/>
          <ac:cxnSpMkLst>
            <pc:docMk/>
            <pc:sldMk cId="3882133948" sldId="2147469976"/>
            <ac:cxnSpMk id="135" creationId="{FDA19EC8-365C-CA78-A2FB-4D869CAE4AEB}"/>
          </ac:cxnSpMkLst>
        </pc:cxnChg>
        <pc:cxnChg chg="del">
          <ac:chgData name="Simone NERI" userId="2a00f2ad-68d9-45e6-b604-268bfad9cc5e" providerId="ADAL" clId="{D888A4E8-4B4E-4F9E-AD90-7B2ECDAE1265}" dt="2023-03-02T09:07:28.800" v="615" actId="478"/>
          <ac:cxnSpMkLst>
            <pc:docMk/>
            <pc:sldMk cId="3882133948" sldId="2147469976"/>
            <ac:cxnSpMk id="138" creationId="{5B22636B-24BB-79E8-EA78-7B8E9E2D2CB7}"/>
          </ac:cxnSpMkLst>
        </pc:cxnChg>
      </pc:sldChg>
      <pc:sldChg chg="addSp delSp modSp add mod modNotesTx">
        <pc:chgData name="Simone NERI" userId="2a00f2ad-68d9-45e6-b604-268bfad9cc5e" providerId="ADAL" clId="{D888A4E8-4B4E-4F9E-AD90-7B2ECDAE1265}" dt="2023-03-08T09:35:51.614" v="9810"/>
        <pc:sldMkLst>
          <pc:docMk/>
          <pc:sldMk cId="1895821880" sldId="2147469978"/>
        </pc:sldMkLst>
        <pc:spChg chg="mod">
          <ac:chgData name="Simone NERI" userId="2a00f2ad-68d9-45e6-b604-268bfad9cc5e" providerId="ADAL" clId="{D888A4E8-4B4E-4F9E-AD90-7B2ECDAE1265}" dt="2023-03-03T16:19:10.495" v="3968"/>
          <ac:spMkLst>
            <pc:docMk/>
            <pc:sldMk cId="1895821880" sldId="2147469978"/>
            <ac:spMk id="2" creationId="{E11BF5BD-75C4-4E77-9598-7225EFF82CC5}"/>
          </ac:spMkLst>
        </pc:spChg>
        <pc:spChg chg="add mod">
          <ac:chgData name="Simone NERI" userId="2a00f2ad-68d9-45e6-b604-268bfad9cc5e" providerId="ADAL" clId="{D888A4E8-4B4E-4F9E-AD90-7B2ECDAE1265}" dt="2023-03-07T13:59:56.602" v="7445"/>
          <ac:spMkLst>
            <pc:docMk/>
            <pc:sldMk cId="1895821880" sldId="2147469978"/>
            <ac:spMk id="3" creationId="{592E8EDC-4278-5C67-4580-18FFCFAC667E}"/>
          </ac:spMkLst>
        </pc:spChg>
        <pc:spChg chg="add mod">
          <ac:chgData name="Simone NERI" userId="2a00f2ad-68d9-45e6-b604-268bfad9cc5e" providerId="ADAL" clId="{D888A4E8-4B4E-4F9E-AD90-7B2ECDAE1265}" dt="2023-03-07T11:15:37.933" v="7405" actId="1076"/>
          <ac:spMkLst>
            <pc:docMk/>
            <pc:sldMk cId="1895821880" sldId="2147469978"/>
            <ac:spMk id="3" creationId="{7037FE60-0AD7-7668-E182-5F35B0D5590B}"/>
          </ac:spMkLst>
        </pc:spChg>
        <pc:spChg chg="mod">
          <ac:chgData name="Simone NERI" userId="2a00f2ad-68d9-45e6-b604-268bfad9cc5e" providerId="ADAL" clId="{D888A4E8-4B4E-4F9E-AD90-7B2ECDAE1265}" dt="2023-03-03T16:20:55.557" v="3986" actId="20577"/>
          <ac:spMkLst>
            <pc:docMk/>
            <pc:sldMk cId="1895821880" sldId="2147469978"/>
            <ac:spMk id="4" creationId="{DFE4ECB6-193A-41CD-8C1D-5A9AA8C9E006}"/>
          </ac:spMkLst>
        </pc:spChg>
        <pc:spChg chg="mod">
          <ac:chgData name="Simone NERI" userId="2a00f2ad-68d9-45e6-b604-268bfad9cc5e" providerId="ADAL" clId="{D888A4E8-4B4E-4F9E-AD90-7B2ECDAE1265}" dt="2023-03-03T09:58:33.023" v="3651" actId="1036"/>
          <ac:spMkLst>
            <pc:docMk/>
            <pc:sldMk cId="1895821880" sldId="2147469978"/>
            <ac:spMk id="10" creationId="{2C1BE3D3-AF86-4F00-99E9-C106820D1EEC}"/>
          </ac:spMkLst>
        </pc:spChg>
        <pc:spChg chg="mod">
          <ac:chgData name="Simone NERI" userId="2a00f2ad-68d9-45e6-b604-268bfad9cc5e" providerId="ADAL" clId="{D888A4E8-4B4E-4F9E-AD90-7B2ECDAE1265}" dt="2023-03-03T09:58:33.023" v="3651" actId="1036"/>
          <ac:spMkLst>
            <pc:docMk/>
            <pc:sldMk cId="1895821880" sldId="2147469978"/>
            <ac:spMk id="13" creationId="{E22D3A68-8C63-4250-BAEB-59D55544985D}"/>
          </ac:spMkLst>
        </pc:spChg>
        <pc:spChg chg="mod">
          <ac:chgData name="Simone NERI" userId="2a00f2ad-68d9-45e6-b604-268bfad9cc5e" providerId="ADAL" clId="{D888A4E8-4B4E-4F9E-AD90-7B2ECDAE1265}" dt="2023-03-03T09:58:24.262" v="3645" actId="1036"/>
          <ac:spMkLst>
            <pc:docMk/>
            <pc:sldMk cId="1895821880" sldId="2147469978"/>
            <ac:spMk id="15" creationId="{864E3EB6-63A0-4187-87C2-15847F11EF55}"/>
          </ac:spMkLst>
        </pc:spChg>
        <pc:spChg chg="mod">
          <ac:chgData name="Simone NERI" userId="2a00f2ad-68d9-45e6-b604-268bfad9cc5e" providerId="ADAL" clId="{D888A4E8-4B4E-4F9E-AD90-7B2ECDAE1265}" dt="2023-03-03T09:58:24.262" v="3645" actId="1036"/>
          <ac:spMkLst>
            <pc:docMk/>
            <pc:sldMk cId="1895821880" sldId="2147469978"/>
            <ac:spMk id="17" creationId="{081C14F2-F0CF-453C-B5E6-3AB28B427042}"/>
          </ac:spMkLst>
        </pc:spChg>
        <pc:spChg chg="del mod">
          <ac:chgData name="Simone NERI" userId="2a00f2ad-68d9-45e6-b604-268bfad9cc5e" providerId="ADAL" clId="{D888A4E8-4B4E-4F9E-AD90-7B2ECDAE1265}" dt="2023-03-03T09:58:01.172" v="3611" actId="478"/>
          <ac:spMkLst>
            <pc:docMk/>
            <pc:sldMk cId="1895821880" sldId="2147469978"/>
            <ac:spMk id="18" creationId="{BDCB2577-DAD6-BF9E-8070-A450A0CD0FED}"/>
          </ac:spMkLst>
        </pc:spChg>
        <pc:spChg chg="del">
          <ac:chgData name="Simone NERI" userId="2a00f2ad-68d9-45e6-b604-268bfad9cc5e" providerId="ADAL" clId="{D888A4E8-4B4E-4F9E-AD90-7B2ECDAE1265}" dt="2023-03-03T16:34:18.592" v="4265" actId="478"/>
          <ac:spMkLst>
            <pc:docMk/>
            <pc:sldMk cId="1895821880" sldId="2147469978"/>
            <ac:spMk id="19" creationId="{0D042420-3F2C-B24C-F518-452B5B9DF8E0}"/>
          </ac:spMkLst>
        </pc:spChg>
        <pc:spChg chg="add mod">
          <ac:chgData name="Simone NERI" userId="2a00f2ad-68d9-45e6-b604-268bfad9cc5e" providerId="ADAL" clId="{D888A4E8-4B4E-4F9E-AD90-7B2ECDAE1265}" dt="2023-03-08T09:35:51.614" v="9810"/>
          <ac:spMkLst>
            <pc:docMk/>
            <pc:sldMk cId="1895821880" sldId="2147469978"/>
            <ac:spMk id="19" creationId="{8642027C-EC03-B36F-0299-31FAE1BF8454}"/>
          </ac:spMkLst>
        </pc:spChg>
        <pc:spChg chg="add del mod">
          <ac:chgData name="Simone NERI" userId="2a00f2ad-68d9-45e6-b604-268bfad9cc5e" providerId="ADAL" clId="{D888A4E8-4B4E-4F9E-AD90-7B2ECDAE1265}" dt="2023-03-07T13:59:55.890" v="7444" actId="478"/>
          <ac:spMkLst>
            <pc:docMk/>
            <pc:sldMk cId="1895821880" sldId="2147469978"/>
            <ac:spMk id="20" creationId="{8192D23A-24F1-625D-9F21-BE027EA472A1}"/>
          </ac:spMkLst>
        </pc:spChg>
        <pc:spChg chg="add mod">
          <ac:chgData name="Simone NERI" userId="2a00f2ad-68d9-45e6-b604-268bfad9cc5e" providerId="ADAL" clId="{D888A4E8-4B4E-4F9E-AD90-7B2ECDAE1265}" dt="2023-03-03T10:02:14.384" v="3693" actId="1076"/>
          <ac:spMkLst>
            <pc:docMk/>
            <pc:sldMk cId="1895821880" sldId="2147469978"/>
            <ac:spMk id="23" creationId="{982AC655-35DA-7651-03B7-36CC0EA53EFB}"/>
          </ac:spMkLst>
        </pc:spChg>
        <pc:spChg chg="add mod">
          <ac:chgData name="Simone NERI" userId="2a00f2ad-68d9-45e6-b604-268bfad9cc5e" providerId="ADAL" clId="{D888A4E8-4B4E-4F9E-AD90-7B2ECDAE1265}" dt="2023-03-03T16:34:26.608" v="4324" actId="1037"/>
          <ac:spMkLst>
            <pc:docMk/>
            <pc:sldMk cId="1895821880" sldId="2147469978"/>
            <ac:spMk id="25" creationId="{1A15F8B7-4123-636E-B42E-DB2069DCB68B}"/>
          </ac:spMkLst>
        </pc:spChg>
        <pc:spChg chg="del">
          <ac:chgData name="Simone NERI" userId="2a00f2ad-68d9-45e6-b604-268bfad9cc5e" providerId="ADAL" clId="{D888A4E8-4B4E-4F9E-AD90-7B2ECDAE1265}" dt="2023-03-02T14:12:32.174" v="1252" actId="478"/>
          <ac:spMkLst>
            <pc:docMk/>
            <pc:sldMk cId="1895821880" sldId="2147469978"/>
            <ac:spMk id="95" creationId="{F41CA78C-CDA5-D835-6B0D-85F5CAC19710}"/>
          </ac:spMkLst>
        </pc:spChg>
        <pc:picChg chg="del mod">
          <ac:chgData name="Simone NERI" userId="2a00f2ad-68d9-45e6-b604-268bfad9cc5e" providerId="ADAL" clId="{D888A4E8-4B4E-4F9E-AD90-7B2ECDAE1265}" dt="2023-03-03T10:01:14.022" v="3656" actId="478"/>
          <ac:picMkLst>
            <pc:docMk/>
            <pc:sldMk cId="1895821880" sldId="2147469978"/>
            <ac:picMk id="3" creationId="{DE695574-9217-8D10-2CE0-437D6A6606A6}"/>
          </ac:picMkLst>
        </pc:picChg>
        <pc:picChg chg="mod">
          <ac:chgData name="Simone NERI" userId="2a00f2ad-68d9-45e6-b604-268bfad9cc5e" providerId="ADAL" clId="{D888A4E8-4B4E-4F9E-AD90-7B2ECDAE1265}" dt="2023-03-03T09:58:33.023" v="3651" actId="1036"/>
          <ac:picMkLst>
            <pc:docMk/>
            <pc:sldMk cId="1895821880" sldId="2147469978"/>
            <ac:picMk id="6" creationId="{CCA51F63-3D45-49D1-A294-FEE7069F69F3}"/>
          </ac:picMkLst>
        </pc:picChg>
        <pc:picChg chg="add mod">
          <ac:chgData name="Simone NERI" userId="2a00f2ad-68d9-45e6-b604-268bfad9cc5e" providerId="ADAL" clId="{D888A4E8-4B4E-4F9E-AD90-7B2ECDAE1265}" dt="2023-03-03T10:01:27.960" v="3660" actId="1076"/>
          <ac:picMkLst>
            <pc:docMk/>
            <pc:sldMk cId="1895821880" sldId="2147469978"/>
            <ac:picMk id="22" creationId="{A2B9ECFD-C3C4-EB10-2522-CB31C43D4A41}"/>
          </ac:picMkLst>
        </pc:picChg>
        <pc:picChg chg="mod">
          <ac:chgData name="Simone NERI" userId="2a00f2ad-68d9-45e6-b604-268bfad9cc5e" providerId="ADAL" clId="{D888A4E8-4B4E-4F9E-AD90-7B2ECDAE1265}" dt="2023-03-03T09:58:24.262" v="3645" actId="1036"/>
          <ac:picMkLst>
            <pc:docMk/>
            <pc:sldMk cId="1895821880" sldId="2147469978"/>
            <ac:picMk id="24" creationId="{07A552B2-1363-45E7-BB1D-2B6DAE61A8ED}"/>
          </ac:picMkLst>
        </pc:picChg>
        <pc:cxnChg chg="mod">
          <ac:chgData name="Simone NERI" userId="2a00f2ad-68d9-45e6-b604-268bfad9cc5e" providerId="ADAL" clId="{D888A4E8-4B4E-4F9E-AD90-7B2ECDAE1265}" dt="2023-03-03T09:58:33.023" v="3651" actId="1036"/>
          <ac:cxnSpMkLst>
            <pc:docMk/>
            <pc:sldMk cId="1895821880" sldId="2147469978"/>
            <ac:cxnSpMk id="14" creationId="{CA362DFC-94B7-4CD5-8459-C95A5EA44217}"/>
          </ac:cxnSpMkLst>
        </pc:cxnChg>
        <pc:cxnChg chg="mod">
          <ac:chgData name="Simone NERI" userId="2a00f2ad-68d9-45e6-b604-268bfad9cc5e" providerId="ADAL" clId="{D888A4E8-4B4E-4F9E-AD90-7B2ECDAE1265}" dt="2023-03-03T09:58:24.262" v="3645" actId="1036"/>
          <ac:cxnSpMkLst>
            <pc:docMk/>
            <pc:sldMk cId="1895821880" sldId="2147469978"/>
            <ac:cxnSpMk id="16" creationId="{B8AE57C4-69CE-4608-8DDB-7E6E3218F160}"/>
          </ac:cxnSpMkLst>
        </pc:cxnChg>
      </pc:sldChg>
      <pc:sldChg chg="addSp delSp modSp add mod modCm">
        <pc:chgData name="Simone NERI" userId="2a00f2ad-68d9-45e6-b604-268bfad9cc5e" providerId="ADAL" clId="{D888A4E8-4B4E-4F9E-AD90-7B2ECDAE1265}" dt="2023-03-08T09:34:51.709" v="9806"/>
        <pc:sldMkLst>
          <pc:docMk/>
          <pc:sldMk cId="3714264415" sldId="2147469979"/>
        </pc:sldMkLst>
        <pc:spChg chg="mod">
          <ac:chgData name="Simone NERI" userId="2a00f2ad-68d9-45e6-b604-268bfad9cc5e" providerId="ADAL" clId="{D888A4E8-4B4E-4F9E-AD90-7B2ECDAE1265}" dt="2023-03-02T16:35:17.395" v="1607"/>
          <ac:spMkLst>
            <pc:docMk/>
            <pc:sldMk cId="3714264415" sldId="2147469979"/>
            <ac:spMk id="2" creationId="{E11BF5BD-75C4-4E77-9598-7225EFF82CC5}"/>
          </ac:spMkLst>
        </pc:spChg>
        <pc:spChg chg="add mod">
          <ac:chgData name="Simone NERI" userId="2a00f2ad-68d9-45e6-b604-268bfad9cc5e" providerId="ADAL" clId="{D888A4E8-4B4E-4F9E-AD90-7B2ECDAE1265}" dt="2023-03-02T14:29:40.738" v="1434" actId="14100"/>
          <ac:spMkLst>
            <pc:docMk/>
            <pc:sldMk cId="3714264415" sldId="2147469979"/>
            <ac:spMk id="3" creationId="{F7A7856B-1983-4DFF-51A1-B2E593B2F3C1}"/>
          </ac:spMkLst>
        </pc:spChg>
        <pc:spChg chg="mod">
          <ac:chgData name="Simone NERI" userId="2a00f2ad-68d9-45e6-b604-268bfad9cc5e" providerId="ADAL" clId="{D888A4E8-4B4E-4F9E-AD90-7B2ECDAE1265}" dt="2023-03-02T14:25:59.949" v="1404" actId="1036"/>
          <ac:spMkLst>
            <pc:docMk/>
            <pc:sldMk cId="3714264415" sldId="2147469979"/>
            <ac:spMk id="10" creationId="{2C1BE3D3-AF86-4F00-99E9-C106820D1EEC}"/>
          </ac:spMkLst>
        </pc:spChg>
        <pc:spChg chg="mod">
          <ac:chgData name="Simone NERI" userId="2a00f2ad-68d9-45e6-b604-268bfad9cc5e" providerId="ADAL" clId="{D888A4E8-4B4E-4F9E-AD90-7B2ECDAE1265}" dt="2023-03-02T16:24:19.594" v="1591" actId="1076"/>
          <ac:spMkLst>
            <pc:docMk/>
            <pc:sldMk cId="3714264415" sldId="2147469979"/>
            <ac:spMk id="15" creationId="{864E3EB6-63A0-4187-87C2-15847F11EF55}"/>
          </ac:spMkLst>
        </pc:spChg>
        <pc:spChg chg="del">
          <ac:chgData name="Simone NERI" userId="2a00f2ad-68d9-45e6-b604-268bfad9cc5e" providerId="ADAL" clId="{D888A4E8-4B4E-4F9E-AD90-7B2ECDAE1265}" dt="2023-03-02T17:14:22.065" v="1739" actId="478"/>
          <ac:spMkLst>
            <pc:docMk/>
            <pc:sldMk cId="3714264415" sldId="2147469979"/>
            <ac:spMk id="18" creationId="{BDCB2577-DAD6-BF9E-8070-A450A0CD0FED}"/>
          </ac:spMkLst>
        </pc:spChg>
        <pc:spChg chg="add mod">
          <ac:chgData name="Simone NERI" userId="2a00f2ad-68d9-45e6-b604-268bfad9cc5e" providerId="ADAL" clId="{D888A4E8-4B4E-4F9E-AD90-7B2ECDAE1265}" dt="2023-03-08T09:34:51.709" v="9806"/>
          <ac:spMkLst>
            <pc:docMk/>
            <pc:sldMk cId="3714264415" sldId="2147469979"/>
            <ac:spMk id="18" creationId="{F5B28F1D-4658-667A-8C29-23FAD0C80711}"/>
          </ac:spMkLst>
        </pc:spChg>
        <pc:spChg chg="add mod">
          <ac:chgData name="Simone NERI" userId="2a00f2ad-68d9-45e6-b604-268bfad9cc5e" providerId="ADAL" clId="{D888A4E8-4B4E-4F9E-AD90-7B2ECDAE1265}" dt="2023-03-02T16:24:13.456" v="1590" actId="14100"/>
          <ac:spMkLst>
            <pc:docMk/>
            <pc:sldMk cId="3714264415" sldId="2147469979"/>
            <ac:spMk id="19" creationId="{25641672-7DDF-07B7-585D-3EF002201B63}"/>
          </ac:spMkLst>
        </pc:spChg>
        <pc:spChg chg="add mod">
          <ac:chgData name="Simone NERI" userId="2a00f2ad-68d9-45e6-b604-268bfad9cc5e" providerId="ADAL" clId="{D888A4E8-4B4E-4F9E-AD90-7B2ECDAE1265}" dt="2023-03-03T16:58:42.575" v="4372" actId="20577"/>
          <ac:spMkLst>
            <pc:docMk/>
            <pc:sldMk cId="3714264415" sldId="2147469979"/>
            <ac:spMk id="20" creationId="{AB555737-EC51-39A0-99D0-29EC9FEF6DAA}"/>
          </ac:spMkLst>
        </pc:spChg>
        <pc:spChg chg="add mod">
          <ac:chgData name="Simone NERI" userId="2a00f2ad-68d9-45e6-b604-268bfad9cc5e" providerId="ADAL" clId="{D888A4E8-4B4E-4F9E-AD90-7B2ECDAE1265}" dt="2023-03-02T16:41:42.092" v="1648" actId="1076"/>
          <ac:spMkLst>
            <pc:docMk/>
            <pc:sldMk cId="3714264415" sldId="2147469979"/>
            <ac:spMk id="21" creationId="{FBB04BE9-7FDD-5958-F025-C713C9B96962}"/>
          </ac:spMkLst>
        </pc:spChg>
        <pc:spChg chg="add mod">
          <ac:chgData name="Simone NERI" userId="2a00f2ad-68d9-45e6-b604-268bfad9cc5e" providerId="ADAL" clId="{D888A4E8-4B4E-4F9E-AD90-7B2ECDAE1265}" dt="2023-03-02T16:38:23.500" v="1643" actId="1036"/>
          <ac:spMkLst>
            <pc:docMk/>
            <pc:sldMk cId="3714264415" sldId="2147469979"/>
            <ac:spMk id="22" creationId="{2D175479-27D7-3EA2-826B-395747576765}"/>
          </ac:spMkLst>
        </pc:spChg>
        <pc:spChg chg="add mod">
          <ac:chgData name="Simone NERI" userId="2a00f2ad-68d9-45e6-b604-268bfad9cc5e" providerId="ADAL" clId="{D888A4E8-4B4E-4F9E-AD90-7B2ECDAE1265}" dt="2023-03-02T16:38:23.500" v="1643" actId="1036"/>
          <ac:spMkLst>
            <pc:docMk/>
            <pc:sldMk cId="3714264415" sldId="2147469979"/>
            <ac:spMk id="23" creationId="{CB49DDE4-D49B-DAE6-03AA-3B29E5C8A3E6}"/>
          </ac:spMkLst>
        </pc:spChg>
        <pc:spChg chg="add mod">
          <ac:chgData name="Simone NERI" userId="2a00f2ad-68d9-45e6-b604-268bfad9cc5e" providerId="ADAL" clId="{D888A4E8-4B4E-4F9E-AD90-7B2ECDAE1265}" dt="2023-03-02T16:38:23.500" v="1643" actId="1036"/>
          <ac:spMkLst>
            <pc:docMk/>
            <pc:sldMk cId="3714264415" sldId="2147469979"/>
            <ac:spMk id="25" creationId="{55E6BDAE-AAF2-B7BA-B72B-066E8AA47D52}"/>
          </ac:spMkLst>
        </pc:spChg>
        <pc:spChg chg="add mod">
          <ac:chgData name="Simone NERI" userId="2a00f2ad-68d9-45e6-b604-268bfad9cc5e" providerId="ADAL" clId="{D888A4E8-4B4E-4F9E-AD90-7B2ECDAE1265}" dt="2023-03-02T16:38:23.500" v="1643" actId="1036"/>
          <ac:spMkLst>
            <pc:docMk/>
            <pc:sldMk cId="3714264415" sldId="2147469979"/>
            <ac:spMk id="26" creationId="{5D693F64-5D09-232B-FE70-B581E88B0F63}"/>
          </ac:spMkLst>
        </pc:spChg>
        <pc:spChg chg="add mod">
          <ac:chgData name="Simone NERI" userId="2a00f2ad-68d9-45e6-b604-268bfad9cc5e" providerId="ADAL" clId="{D888A4E8-4B4E-4F9E-AD90-7B2ECDAE1265}" dt="2023-03-02T16:33:23.933" v="1604" actId="1076"/>
          <ac:spMkLst>
            <pc:docMk/>
            <pc:sldMk cId="3714264415" sldId="2147469979"/>
            <ac:spMk id="27" creationId="{B6B92539-4B76-BE98-28B7-33156A44AA51}"/>
          </ac:spMkLst>
        </pc:spChg>
        <pc:spChg chg="add mod">
          <ac:chgData name="Simone NERI" userId="2a00f2ad-68d9-45e6-b604-268bfad9cc5e" providerId="ADAL" clId="{D888A4E8-4B4E-4F9E-AD90-7B2ECDAE1265}" dt="2023-03-02T16:25:59.620" v="1602"/>
          <ac:spMkLst>
            <pc:docMk/>
            <pc:sldMk cId="3714264415" sldId="2147469979"/>
            <ac:spMk id="28" creationId="{63A3981F-6994-40D4-2779-C844C61D1D13}"/>
          </ac:spMkLst>
        </pc:spChg>
        <pc:spChg chg="add mod">
          <ac:chgData name="Simone NERI" userId="2a00f2ad-68d9-45e6-b604-268bfad9cc5e" providerId="ADAL" clId="{D888A4E8-4B4E-4F9E-AD90-7B2ECDAE1265}" dt="2023-03-02T16:25:59.620" v="1602"/>
          <ac:spMkLst>
            <pc:docMk/>
            <pc:sldMk cId="3714264415" sldId="2147469979"/>
            <ac:spMk id="29" creationId="{B4BA37ED-9679-88DE-23DF-9DCBDD040A3B}"/>
          </ac:spMkLst>
        </pc:spChg>
        <pc:spChg chg="add mod">
          <ac:chgData name="Simone NERI" userId="2a00f2ad-68d9-45e6-b604-268bfad9cc5e" providerId="ADAL" clId="{D888A4E8-4B4E-4F9E-AD90-7B2ECDAE1265}" dt="2023-03-02T16:25:59.620" v="1602"/>
          <ac:spMkLst>
            <pc:docMk/>
            <pc:sldMk cId="3714264415" sldId="2147469979"/>
            <ac:spMk id="30" creationId="{304FF7F7-C505-477A-BF45-885AEEB2704F}"/>
          </ac:spMkLst>
        </pc:spChg>
        <pc:spChg chg="add mod">
          <ac:chgData name="Simone NERI" userId="2a00f2ad-68d9-45e6-b604-268bfad9cc5e" providerId="ADAL" clId="{D888A4E8-4B4E-4F9E-AD90-7B2ECDAE1265}" dt="2023-03-02T16:47:54.382" v="1704" actId="2085"/>
          <ac:spMkLst>
            <pc:docMk/>
            <pc:sldMk cId="3714264415" sldId="2147469979"/>
            <ac:spMk id="32" creationId="{4F151E51-FBB0-163B-F586-EB5B8BEE8BB9}"/>
          </ac:spMkLst>
        </pc:spChg>
        <pc:spChg chg="del mod">
          <ac:chgData name="Simone NERI" userId="2a00f2ad-68d9-45e6-b604-268bfad9cc5e" providerId="ADAL" clId="{D888A4E8-4B4E-4F9E-AD90-7B2ECDAE1265}" dt="2023-03-02T14:24:49.661" v="1350" actId="478"/>
          <ac:spMkLst>
            <pc:docMk/>
            <pc:sldMk cId="3714264415" sldId="2147469979"/>
            <ac:spMk id="95" creationId="{F41CA78C-CDA5-D835-6B0D-85F5CAC19710}"/>
          </ac:spMkLst>
        </pc:spChg>
        <pc:spChg chg="mod">
          <ac:chgData name="Simone NERI" userId="2a00f2ad-68d9-45e6-b604-268bfad9cc5e" providerId="ADAL" clId="{D888A4E8-4B4E-4F9E-AD90-7B2ECDAE1265}" dt="2023-03-02T16:35:24.911" v="1608" actId="1076"/>
          <ac:spMkLst>
            <pc:docMk/>
            <pc:sldMk cId="3714264415" sldId="2147469979"/>
            <ac:spMk id="98" creationId="{5C400FA5-30FD-5BB0-0B0D-BB9FF8DFC2BD}"/>
          </ac:spMkLst>
        </pc:spChg>
        <pc:picChg chg="mod">
          <ac:chgData name="Simone NERI" userId="2a00f2ad-68d9-45e6-b604-268bfad9cc5e" providerId="ADAL" clId="{D888A4E8-4B4E-4F9E-AD90-7B2ECDAE1265}" dt="2023-03-02T14:25:59.949" v="1404" actId="1036"/>
          <ac:picMkLst>
            <pc:docMk/>
            <pc:sldMk cId="3714264415" sldId="2147469979"/>
            <ac:picMk id="6" creationId="{CCA51F63-3D45-49D1-A294-FEE7069F69F3}"/>
          </ac:picMkLst>
        </pc:picChg>
        <pc:picChg chg="mod">
          <ac:chgData name="Simone NERI" userId="2a00f2ad-68d9-45e6-b604-268bfad9cc5e" providerId="ADAL" clId="{D888A4E8-4B4E-4F9E-AD90-7B2ECDAE1265}" dt="2023-03-02T16:24:19.594" v="1591" actId="1076"/>
          <ac:picMkLst>
            <pc:docMk/>
            <pc:sldMk cId="3714264415" sldId="2147469979"/>
            <ac:picMk id="24" creationId="{07A552B2-1363-45E7-BB1D-2B6DAE61A8ED}"/>
          </ac:picMkLst>
        </pc:picChg>
        <pc:picChg chg="add mod">
          <ac:chgData name="Simone NERI" userId="2a00f2ad-68d9-45e6-b604-268bfad9cc5e" providerId="ADAL" clId="{D888A4E8-4B4E-4F9E-AD90-7B2ECDAE1265}" dt="2023-03-02T16:41:42.092" v="1648" actId="1076"/>
          <ac:picMkLst>
            <pc:docMk/>
            <pc:sldMk cId="3714264415" sldId="2147469979"/>
            <ac:picMk id="31" creationId="{C318B216-BDEA-7D98-FF21-7C65478D48A5}"/>
          </ac:picMkLst>
        </pc:picChg>
        <pc:cxnChg chg="mod">
          <ac:chgData name="Simone NERI" userId="2a00f2ad-68d9-45e6-b604-268bfad9cc5e" providerId="ADAL" clId="{D888A4E8-4B4E-4F9E-AD90-7B2ECDAE1265}" dt="2023-03-02T14:25:59.949" v="1404" actId="1036"/>
          <ac:cxnSpMkLst>
            <pc:docMk/>
            <pc:sldMk cId="3714264415" sldId="2147469979"/>
            <ac:cxnSpMk id="14" creationId="{CA362DFC-94B7-4CD5-8459-C95A5EA44217}"/>
          </ac:cxnSpMkLst>
        </pc:cxnChg>
        <pc:cxnChg chg="mod">
          <ac:chgData name="Simone NERI" userId="2a00f2ad-68d9-45e6-b604-268bfad9cc5e" providerId="ADAL" clId="{D888A4E8-4B4E-4F9E-AD90-7B2ECDAE1265}" dt="2023-03-02T16:24:19.594" v="1591" actId="1076"/>
          <ac:cxnSpMkLst>
            <pc:docMk/>
            <pc:sldMk cId="3714264415" sldId="2147469979"/>
            <ac:cxnSpMk id="16" creationId="{B8AE57C4-69CE-4608-8DDB-7E6E3218F160}"/>
          </ac:cxnSpMkLst>
        </pc:cxnChg>
        <pc:extLst>
          <p:ext xmlns:p="http://schemas.openxmlformats.org/presentationml/2006/main" uri="{D6D511B9-2390-475A-947B-AFAB55BFBCF1}">
            <pc226:cmChg xmlns:pc226="http://schemas.microsoft.com/office/powerpoint/2022/06/main/command" chg="">
              <pc226:chgData name="Simone NERI" userId="2a00f2ad-68d9-45e6-b604-268bfad9cc5e" providerId="ADAL" clId="{D888A4E8-4B4E-4F9E-AD90-7B2ECDAE1265}" dt="2023-03-07T14:48:30.801" v="7731"/>
              <pc2:cmMkLst xmlns:pc2="http://schemas.microsoft.com/office/powerpoint/2019/9/main/command">
                <pc:docMk/>
                <pc:sldMk cId="3714264415" sldId="2147469979"/>
                <pc2:cmMk id="{90772E39-6310-4940-B0F5-774EB1651F0F}"/>
              </pc2:cmMkLst>
              <pc226:cmRplyChg chg="add">
                <pc226:chgData name="Simone NERI" userId="2a00f2ad-68d9-45e6-b604-268bfad9cc5e" providerId="ADAL" clId="{D888A4E8-4B4E-4F9E-AD90-7B2ECDAE1265}" dt="2023-03-07T14:48:30.801" v="7731"/>
                <pc2:cmRplyMkLst xmlns:pc2="http://schemas.microsoft.com/office/powerpoint/2019/9/main/command">
                  <pc:docMk/>
                  <pc:sldMk cId="3714264415" sldId="2147469979"/>
                  <pc2:cmMk id="{90772E39-6310-4940-B0F5-774EB1651F0F}"/>
                  <pc2:cmRplyMk id="{B713CD45-8824-4EFB-94EC-845EA0A662EC}"/>
                </pc2:cmRplyMkLst>
              </pc226:cmRplyChg>
            </pc226:cmChg>
            <pc226:cmChg xmlns:pc226="http://schemas.microsoft.com/office/powerpoint/2022/06/main/command" chg="">
              <pc226:chgData name="Simone NERI" userId="2a00f2ad-68d9-45e6-b604-268bfad9cc5e" providerId="ADAL" clId="{D888A4E8-4B4E-4F9E-AD90-7B2ECDAE1265}" dt="2023-03-07T14:48:04.480" v="7730"/>
              <pc2:cmMkLst xmlns:pc2="http://schemas.microsoft.com/office/powerpoint/2019/9/main/command">
                <pc:docMk/>
                <pc:sldMk cId="3714264415" sldId="2147469979"/>
                <pc2:cmMk id="{BDC9FE4D-F6B6-4EC4-9BFB-E8D388C7E624}"/>
              </pc2:cmMkLst>
              <pc226:cmRplyChg chg="add">
                <pc226:chgData name="Simone NERI" userId="2a00f2ad-68d9-45e6-b604-268bfad9cc5e" providerId="ADAL" clId="{D888A4E8-4B4E-4F9E-AD90-7B2ECDAE1265}" dt="2023-03-07T14:48:04.480" v="7730"/>
                <pc2:cmRplyMkLst xmlns:pc2="http://schemas.microsoft.com/office/powerpoint/2019/9/main/command">
                  <pc:docMk/>
                  <pc:sldMk cId="3714264415" sldId="2147469979"/>
                  <pc2:cmMk id="{BDC9FE4D-F6B6-4EC4-9BFB-E8D388C7E624}"/>
                  <pc2:cmRplyMk id="{AB1FA404-17BF-4849-9C16-A38933AAB0F0}"/>
                </pc2:cmRplyMkLst>
              </pc226:cmRplyChg>
            </pc226:cmChg>
            <pc226:cmChg xmlns:pc226="http://schemas.microsoft.com/office/powerpoint/2022/06/main/command" chg="">
              <pc226:chgData name="Simone NERI" userId="2a00f2ad-68d9-45e6-b604-268bfad9cc5e" providerId="ADAL" clId="{D888A4E8-4B4E-4F9E-AD90-7B2ECDAE1265}" dt="2023-03-07T14:47:03.343" v="7729"/>
              <pc2:cmMkLst xmlns:pc2="http://schemas.microsoft.com/office/powerpoint/2019/9/main/command">
                <pc:docMk/>
                <pc:sldMk cId="3714264415" sldId="2147469979"/>
                <pc2:cmMk id="{B7FCB4BC-FC11-4A6E-92EE-D218B9931CDF}"/>
              </pc2:cmMkLst>
              <pc226:cmRplyChg chg="add">
                <pc226:chgData name="Simone NERI" userId="2a00f2ad-68d9-45e6-b604-268bfad9cc5e" providerId="ADAL" clId="{D888A4E8-4B4E-4F9E-AD90-7B2ECDAE1265}" dt="2023-03-07T14:47:03.343" v="7729"/>
                <pc2:cmRplyMkLst xmlns:pc2="http://schemas.microsoft.com/office/powerpoint/2019/9/main/command">
                  <pc:docMk/>
                  <pc:sldMk cId="3714264415" sldId="2147469979"/>
                  <pc2:cmMk id="{B7FCB4BC-FC11-4A6E-92EE-D218B9931CDF}"/>
                  <pc2:cmRplyMk id="{5A9A5F30-EAFA-4CA7-BA0E-970E31AD68E8}"/>
                </pc2:cmRplyMkLst>
              </pc226:cmRplyChg>
            </pc226:cmChg>
          </p:ext>
        </pc:extLst>
      </pc:sldChg>
      <pc:sldChg chg="addSp delSp modSp add del mod ord modCm">
        <pc:chgData name="Simone NERI" userId="2a00f2ad-68d9-45e6-b604-268bfad9cc5e" providerId="ADAL" clId="{D888A4E8-4B4E-4F9E-AD90-7B2ECDAE1265}" dt="2023-03-06T08:20:12.409" v="5017" actId="2696"/>
        <pc:sldMkLst>
          <pc:docMk/>
          <pc:sldMk cId="107605304" sldId="2147469980"/>
        </pc:sldMkLst>
        <pc:spChg chg="mod">
          <ac:chgData name="Simone NERI" userId="2a00f2ad-68d9-45e6-b604-268bfad9cc5e" providerId="ADAL" clId="{D888A4E8-4B4E-4F9E-AD90-7B2ECDAE1265}" dt="2023-03-02T16:49:59.232" v="1714"/>
          <ac:spMkLst>
            <pc:docMk/>
            <pc:sldMk cId="107605304" sldId="2147469980"/>
            <ac:spMk id="2" creationId="{E11BF5BD-75C4-4E77-9598-7225EFF82CC5}"/>
          </ac:spMkLst>
        </pc:spChg>
        <pc:spChg chg="add mod">
          <ac:chgData name="Simone NERI" userId="2a00f2ad-68d9-45e6-b604-268bfad9cc5e" providerId="ADAL" clId="{D888A4E8-4B4E-4F9E-AD90-7B2ECDAE1265}" dt="2023-03-02T17:12:54.838" v="1723" actId="1076"/>
          <ac:spMkLst>
            <pc:docMk/>
            <pc:sldMk cId="107605304" sldId="2147469980"/>
            <ac:spMk id="3" creationId="{E640C82F-F07C-5A73-78FB-A74BAD327795}"/>
          </ac:spMkLst>
        </pc:spChg>
        <pc:spChg chg="del mod">
          <ac:chgData name="Simone NERI" userId="2a00f2ad-68d9-45e6-b604-268bfad9cc5e" providerId="ADAL" clId="{D888A4E8-4B4E-4F9E-AD90-7B2ECDAE1265}" dt="2023-03-02T17:14:08.805" v="1738" actId="478"/>
          <ac:spMkLst>
            <pc:docMk/>
            <pc:sldMk cId="107605304" sldId="2147469980"/>
            <ac:spMk id="18" creationId="{BDCB2577-DAD6-BF9E-8070-A450A0CD0FED}"/>
          </ac:spMkLst>
        </pc:spChg>
        <pc:spChg chg="add mod">
          <ac:chgData name="Simone NERI" userId="2a00f2ad-68d9-45e6-b604-268bfad9cc5e" providerId="ADAL" clId="{D888A4E8-4B4E-4F9E-AD90-7B2ECDAE1265}" dt="2023-03-02T17:12:54.838" v="1723" actId="1076"/>
          <ac:spMkLst>
            <pc:docMk/>
            <pc:sldMk cId="107605304" sldId="2147469980"/>
            <ac:spMk id="20" creationId="{CF31320D-3E44-F32C-10A0-BDF4AA68F0B6}"/>
          </ac:spMkLst>
        </pc:spChg>
        <pc:spChg chg="add mod">
          <ac:chgData name="Simone NERI" userId="2a00f2ad-68d9-45e6-b604-268bfad9cc5e" providerId="ADAL" clId="{D888A4E8-4B4E-4F9E-AD90-7B2ECDAE1265}" dt="2023-03-02T17:12:54.838" v="1723" actId="1076"/>
          <ac:spMkLst>
            <pc:docMk/>
            <pc:sldMk cId="107605304" sldId="2147469980"/>
            <ac:spMk id="21" creationId="{A28029F5-1601-4AE4-77A2-F6611FC3B60F}"/>
          </ac:spMkLst>
        </pc:spChg>
        <pc:spChg chg="add mod">
          <ac:chgData name="Simone NERI" userId="2a00f2ad-68d9-45e6-b604-268bfad9cc5e" providerId="ADAL" clId="{D888A4E8-4B4E-4F9E-AD90-7B2ECDAE1265}" dt="2023-03-02T17:12:54.838" v="1723" actId="1076"/>
          <ac:spMkLst>
            <pc:docMk/>
            <pc:sldMk cId="107605304" sldId="2147469980"/>
            <ac:spMk id="22" creationId="{8EEE2DCA-771F-4B90-F271-ADF20FB2E099}"/>
          </ac:spMkLst>
        </pc:spChg>
        <pc:spChg chg="add mod">
          <ac:chgData name="Simone NERI" userId="2a00f2ad-68d9-45e6-b604-268bfad9cc5e" providerId="ADAL" clId="{D888A4E8-4B4E-4F9E-AD90-7B2ECDAE1265}" dt="2023-03-02T17:12:54.838" v="1723" actId="1076"/>
          <ac:spMkLst>
            <pc:docMk/>
            <pc:sldMk cId="107605304" sldId="2147469980"/>
            <ac:spMk id="23" creationId="{403E7884-CAAE-47D6-75DB-3BF220A6DAE9}"/>
          </ac:spMkLst>
        </pc:spChg>
        <pc:spChg chg="add mod">
          <ac:chgData name="Simone NERI" userId="2a00f2ad-68d9-45e6-b604-268bfad9cc5e" providerId="ADAL" clId="{D888A4E8-4B4E-4F9E-AD90-7B2ECDAE1265}" dt="2023-03-02T17:12:54.838" v="1723" actId="1076"/>
          <ac:spMkLst>
            <pc:docMk/>
            <pc:sldMk cId="107605304" sldId="2147469980"/>
            <ac:spMk id="25" creationId="{6AC80FC1-02C8-26D9-F7AF-10EF650A4310}"/>
          </ac:spMkLst>
        </pc:spChg>
        <pc:spChg chg="add mod">
          <ac:chgData name="Simone NERI" userId="2a00f2ad-68d9-45e6-b604-268bfad9cc5e" providerId="ADAL" clId="{D888A4E8-4B4E-4F9E-AD90-7B2ECDAE1265}" dt="2023-03-02T17:12:54.838" v="1723" actId="1076"/>
          <ac:spMkLst>
            <pc:docMk/>
            <pc:sldMk cId="107605304" sldId="2147469980"/>
            <ac:spMk id="28" creationId="{0331A114-40AE-6B7B-FBD6-6EE5F164EFD3}"/>
          </ac:spMkLst>
        </pc:spChg>
        <pc:spChg chg="add mod">
          <ac:chgData name="Simone NERI" userId="2a00f2ad-68d9-45e6-b604-268bfad9cc5e" providerId="ADAL" clId="{D888A4E8-4B4E-4F9E-AD90-7B2ECDAE1265}" dt="2023-03-02T17:12:54.838" v="1723" actId="1076"/>
          <ac:spMkLst>
            <pc:docMk/>
            <pc:sldMk cId="107605304" sldId="2147469980"/>
            <ac:spMk id="29" creationId="{46AAB2AA-4265-060A-F6A8-7C3F49C8383C}"/>
          </ac:spMkLst>
        </pc:spChg>
        <pc:spChg chg="add mod">
          <ac:chgData name="Simone NERI" userId="2a00f2ad-68d9-45e6-b604-268bfad9cc5e" providerId="ADAL" clId="{D888A4E8-4B4E-4F9E-AD90-7B2ECDAE1265}" dt="2023-03-02T17:12:54.838" v="1723" actId="1076"/>
          <ac:spMkLst>
            <pc:docMk/>
            <pc:sldMk cId="107605304" sldId="2147469980"/>
            <ac:spMk id="34" creationId="{F23CCB8E-8D2F-EF89-A375-EC353BAC2429}"/>
          </ac:spMkLst>
        </pc:spChg>
        <pc:spChg chg="add mod">
          <ac:chgData name="Simone NERI" userId="2a00f2ad-68d9-45e6-b604-268bfad9cc5e" providerId="ADAL" clId="{D888A4E8-4B4E-4F9E-AD90-7B2ECDAE1265}" dt="2023-03-02T17:12:54.838" v="1723" actId="1076"/>
          <ac:spMkLst>
            <pc:docMk/>
            <pc:sldMk cId="107605304" sldId="2147469980"/>
            <ac:spMk id="35" creationId="{3797E478-DA7B-BE07-CCDF-8EC23702D707}"/>
          </ac:spMkLst>
        </pc:spChg>
        <pc:spChg chg="add mod">
          <ac:chgData name="Simone NERI" userId="2a00f2ad-68d9-45e6-b604-268bfad9cc5e" providerId="ADAL" clId="{D888A4E8-4B4E-4F9E-AD90-7B2ECDAE1265}" dt="2023-03-02T17:12:54.838" v="1723" actId="1076"/>
          <ac:spMkLst>
            <pc:docMk/>
            <pc:sldMk cId="107605304" sldId="2147469980"/>
            <ac:spMk id="36" creationId="{B76C8406-2EE4-49EF-D44E-06034695A45D}"/>
          </ac:spMkLst>
        </pc:spChg>
        <pc:spChg chg="mod">
          <ac:chgData name="Simone NERI" userId="2a00f2ad-68d9-45e6-b604-268bfad9cc5e" providerId="ADAL" clId="{D888A4E8-4B4E-4F9E-AD90-7B2ECDAE1265}" dt="2023-03-02T17:12:51.228" v="1722"/>
          <ac:spMkLst>
            <pc:docMk/>
            <pc:sldMk cId="107605304" sldId="2147469980"/>
            <ac:spMk id="38" creationId="{DD4E784A-B459-82D8-7B5B-AC550C22DCA9}"/>
          </ac:spMkLst>
        </pc:spChg>
        <pc:spChg chg="mod">
          <ac:chgData name="Simone NERI" userId="2a00f2ad-68d9-45e6-b604-268bfad9cc5e" providerId="ADAL" clId="{D888A4E8-4B4E-4F9E-AD90-7B2ECDAE1265}" dt="2023-03-02T17:12:51.228" v="1722"/>
          <ac:spMkLst>
            <pc:docMk/>
            <pc:sldMk cId="107605304" sldId="2147469980"/>
            <ac:spMk id="39" creationId="{76329853-636C-11C5-ADE3-F874804A74FC}"/>
          </ac:spMkLst>
        </pc:spChg>
        <pc:spChg chg="add mod">
          <ac:chgData name="Simone NERI" userId="2a00f2ad-68d9-45e6-b604-268bfad9cc5e" providerId="ADAL" clId="{D888A4E8-4B4E-4F9E-AD90-7B2ECDAE1265}" dt="2023-03-02T17:12:54.838" v="1723" actId="1076"/>
          <ac:spMkLst>
            <pc:docMk/>
            <pc:sldMk cId="107605304" sldId="2147469980"/>
            <ac:spMk id="40" creationId="{C13549D7-2B0A-941E-E3DE-047DB1425357}"/>
          </ac:spMkLst>
        </pc:spChg>
        <pc:spChg chg="mod">
          <ac:chgData name="Simone NERI" userId="2a00f2ad-68d9-45e6-b604-268bfad9cc5e" providerId="ADAL" clId="{D888A4E8-4B4E-4F9E-AD90-7B2ECDAE1265}" dt="2023-03-02T17:12:51.228" v="1722"/>
          <ac:spMkLst>
            <pc:docMk/>
            <pc:sldMk cId="107605304" sldId="2147469980"/>
            <ac:spMk id="42" creationId="{2761E04F-3D44-29F8-EE4D-CF9CA7EBF2CA}"/>
          </ac:spMkLst>
        </pc:spChg>
        <pc:spChg chg="mod">
          <ac:chgData name="Simone NERI" userId="2a00f2ad-68d9-45e6-b604-268bfad9cc5e" providerId="ADAL" clId="{D888A4E8-4B4E-4F9E-AD90-7B2ECDAE1265}" dt="2023-03-02T17:12:51.228" v="1722"/>
          <ac:spMkLst>
            <pc:docMk/>
            <pc:sldMk cId="107605304" sldId="2147469980"/>
            <ac:spMk id="43" creationId="{9C3C211A-8C31-7B04-FDCA-D9347A5E86AB}"/>
          </ac:spMkLst>
        </pc:spChg>
        <pc:spChg chg="mod">
          <ac:chgData name="Simone NERI" userId="2a00f2ad-68d9-45e6-b604-268bfad9cc5e" providerId="ADAL" clId="{D888A4E8-4B4E-4F9E-AD90-7B2ECDAE1265}" dt="2023-03-02T17:12:51.228" v="1722"/>
          <ac:spMkLst>
            <pc:docMk/>
            <pc:sldMk cId="107605304" sldId="2147469980"/>
            <ac:spMk id="44" creationId="{7D0AF296-5EB9-4570-5C0D-4CC0C844254C}"/>
          </ac:spMkLst>
        </pc:spChg>
        <pc:spChg chg="mod">
          <ac:chgData name="Simone NERI" userId="2a00f2ad-68d9-45e6-b604-268bfad9cc5e" providerId="ADAL" clId="{D888A4E8-4B4E-4F9E-AD90-7B2ECDAE1265}" dt="2023-03-02T17:12:51.228" v="1722"/>
          <ac:spMkLst>
            <pc:docMk/>
            <pc:sldMk cId="107605304" sldId="2147469980"/>
            <ac:spMk id="45" creationId="{BF993BBC-A83C-3B79-AB4A-8270D902F66E}"/>
          </ac:spMkLst>
        </pc:spChg>
        <pc:spChg chg="add mod">
          <ac:chgData name="Simone NERI" userId="2a00f2ad-68d9-45e6-b604-268bfad9cc5e" providerId="ADAL" clId="{D888A4E8-4B4E-4F9E-AD90-7B2ECDAE1265}" dt="2023-03-02T17:12:54.838" v="1723" actId="1076"/>
          <ac:spMkLst>
            <pc:docMk/>
            <pc:sldMk cId="107605304" sldId="2147469980"/>
            <ac:spMk id="46" creationId="{D22BE52B-5504-3DF0-AF54-221367EF7D94}"/>
          </ac:spMkLst>
        </pc:spChg>
        <pc:spChg chg="add mod">
          <ac:chgData name="Simone NERI" userId="2a00f2ad-68d9-45e6-b604-268bfad9cc5e" providerId="ADAL" clId="{D888A4E8-4B4E-4F9E-AD90-7B2ECDAE1265}" dt="2023-03-02T17:13:15.573" v="1736" actId="20577"/>
          <ac:spMkLst>
            <pc:docMk/>
            <pc:sldMk cId="107605304" sldId="2147469980"/>
            <ac:spMk id="47" creationId="{FB1363F0-04BD-8510-60D1-8403649D497F}"/>
          </ac:spMkLst>
        </pc:spChg>
        <pc:spChg chg="add mod">
          <ac:chgData name="Simone NERI" userId="2a00f2ad-68d9-45e6-b604-268bfad9cc5e" providerId="ADAL" clId="{D888A4E8-4B4E-4F9E-AD90-7B2ECDAE1265}" dt="2023-03-03T09:25:24.785" v="1926" actId="20578"/>
          <ac:spMkLst>
            <pc:docMk/>
            <pc:sldMk cId="107605304" sldId="2147469980"/>
            <ac:spMk id="48" creationId="{0AB22CF6-5381-1EE5-B293-B3BADEB44EBA}"/>
          </ac:spMkLst>
        </pc:spChg>
        <pc:spChg chg="add mod">
          <ac:chgData name="Simone NERI" userId="2a00f2ad-68d9-45e6-b604-268bfad9cc5e" providerId="ADAL" clId="{D888A4E8-4B4E-4F9E-AD90-7B2ECDAE1265}" dt="2023-03-03T09:25:10.761" v="1925" actId="1076"/>
          <ac:spMkLst>
            <pc:docMk/>
            <pc:sldMk cId="107605304" sldId="2147469980"/>
            <ac:spMk id="49" creationId="{5589CD86-C1DE-E31D-20E3-D112AC8CCB52}"/>
          </ac:spMkLst>
        </pc:spChg>
        <pc:spChg chg="mod">
          <ac:chgData name="Simone NERI" userId="2a00f2ad-68d9-45e6-b604-268bfad9cc5e" providerId="ADAL" clId="{D888A4E8-4B4E-4F9E-AD90-7B2ECDAE1265}" dt="2023-03-02T16:50:10.571" v="1721" actId="20577"/>
          <ac:spMkLst>
            <pc:docMk/>
            <pc:sldMk cId="107605304" sldId="2147469980"/>
            <ac:spMk id="95" creationId="{F41CA78C-CDA5-D835-6B0D-85F5CAC19710}"/>
          </ac:spMkLst>
        </pc:spChg>
        <pc:spChg chg="mod">
          <ac:chgData name="Simone NERI" userId="2a00f2ad-68d9-45e6-b604-268bfad9cc5e" providerId="ADAL" clId="{D888A4E8-4B4E-4F9E-AD90-7B2ECDAE1265}" dt="2023-03-02T16:50:06.804" v="1715" actId="20577"/>
          <ac:spMkLst>
            <pc:docMk/>
            <pc:sldMk cId="107605304" sldId="2147469980"/>
            <ac:spMk id="98" creationId="{5C400FA5-30FD-5BB0-0B0D-BB9FF8DFC2BD}"/>
          </ac:spMkLst>
        </pc:spChg>
        <pc:grpChg chg="add mod">
          <ac:chgData name="Simone NERI" userId="2a00f2ad-68d9-45e6-b604-268bfad9cc5e" providerId="ADAL" clId="{D888A4E8-4B4E-4F9E-AD90-7B2ECDAE1265}" dt="2023-03-02T17:12:54.838" v="1723" actId="1076"/>
          <ac:grpSpMkLst>
            <pc:docMk/>
            <pc:sldMk cId="107605304" sldId="2147469980"/>
            <ac:grpSpMk id="37" creationId="{63EBC602-014A-25B2-FF54-335203621142}"/>
          </ac:grpSpMkLst>
        </pc:grpChg>
        <pc:grpChg chg="add mod">
          <ac:chgData name="Simone NERI" userId="2a00f2ad-68d9-45e6-b604-268bfad9cc5e" providerId="ADAL" clId="{D888A4E8-4B4E-4F9E-AD90-7B2ECDAE1265}" dt="2023-03-02T17:12:54.838" v="1723" actId="1076"/>
          <ac:grpSpMkLst>
            <pc:docMk/>
            <pc:sldMk cId="107605304" sldId="2147469980"/>
            <ac:grpSpMk id="41" creationId="{90055F21-7ACD-891B-7D3F-A0C541194A59}"/>
          </ac:grpSpMkLst>
        </pc:grpChg>
        <pc:picChg chg="add mod">
          <ac:chgData name="Simone NERI" userId="2a00f2ad-68d9-45e6-b604-268bfad9cc5e" providerId="ADAL" clId="{D888A4E8-4B4E-4F9E-AD90-7B2ECDAE1265}" dt="2023-03-02T17:12:54.838" v="1723" actId="1076"/>
          <ac:picMkLst>
            <pc:docMk/>
            <pc:sldMk cId="107605304" sldId="2147469980"/>
            <ac:picMk id="19" creationId="{C2F364DC-380A-A642-7F24-362D5D9ACC87}"/>
          </ac:picMkLst>
        </pc:picChg>
        <pc:picChg chg="add mod">
          <ac:chgData name="Simone NERI" userId="2a00f2ad-68d9-45e6-b604-268bfad9cc5e" providerId="ADAL" clId="{D888A4E8-4B4E-4F9E-AD90-7B2ECDAE1265}" dt="2023-03-02T17:12:54.838" v="1723" actId="1076"/>
          <ac:picMkLst>
            <pc:docMk/>
            <pc:sldMk cId="107605304" sldId="2147469980"/>
            <ac:picMk id="26" creationId="{B754724A-3A9A-1C7E-E2C4-B42FF64F09D9}"/>
          </ac:picMkLst>
        </pc:picChg>
        <pc:picChg chg="add mod">
          <ac:chgData name="Simone NERI" userId="2a00f2ad-68d9-45e6-b604-268bfad9cc5e" providerId="ADAL" clId="{D888A4E8-4B4E-4F9E-AD90-7B2ECDAE1265}" dt="2023-03-02T17:12:54.838" v="1723" actId="1076"/>
          <ac:picMkLst>
            <pc:docMk/>
            <pc:sldMk cId="107605304" sldId="2147469980"/>
            <ac:picMk id="27" creationId="{B08DC8CE-F5F9-4F16-2290-B2F8EA92E52D}"/>
          </ac:picMkLst>
        </pc:picChg>
        <pc:picChg chg="add mod">
          <ac:chgData name="Simone NERI" userId="2a00f2ad-68d9-45e6-b604-268bfad9cc5e" providerId="ADAL" clId="{D888A4E8-4B4E-4F9E-AD90-7B2ECDAE1265}" dt="2023-03-02T17:12:54.838" v="1723" actId="1076"/>
          <ac:picMkLst>
            <pc:docMk/>
            <pc:sldMk cId="107605304" sldId="2147469980"/>
            <ac:picMk id="30" creationId="{0426433A-A326-EE99-57C6-9A218460C8BC}"/>
          </ac:picMkLst>
        </pc:picChg>
        <pc:picChg chg="add mod">
          <ac:chgData name="Simone NERI" userId="2a00f2ad-68d9-45e6-b604-268bfad9cc5e" providerId="ADAL" clId="{D888A4E8-4B4E-4F9E-AD90-7B2ECDAE1265}" dt="2023-03-02T17:12:54.838" v="1723" actId="1076"/>
          <ac:picMkLst>
            <pc:docMk/>
            <pc:sldMk cId="107605304" sldId="2147469980"/>
            <ac:picMk id="31" creationId="{CA0AFC84-1168-827E-D4A6-B2B518CDA8D0}"/>
          </ac:picMkLst>
        </pc:picChg>
        <pc:picChg chg="add mod">
          <ac:chgData name="Simone NERI" userId="2a00f2ad-68d9-45e6-b604-268bfad9cc5e" providerId="ADAL" clId="{D888A4E8-4B4E-4F9E-AD90-7B2ECDAE1265}" dt="2023-03-02T17:12:54.838" v="1723" actId="1076"/>
          <ac:picMkLst>
            <pc:docMk/>
            <pc:sldMk cId="107605304" sldId="2147469980"/>
            <ac:picMk id="32" creationId="{E21817D8-F561-C782-4C56-4EAE2D41BC3C}"/>
          </ac:picMkLst>
        </pc:picChg>
        <pc:picChg chg="add mod">
          <ac:chgData name="Simone NERI" userId="2a00f2ad-68d9-45e6-b604-268bfad9cc5e" providerId="ADAL" clId="{D888A4E8-4B4E-4F9E-AD90-7B2ECDAE1265}" dt="2023-03-02T17:12:54.838" v="1723" actId="1076"/>
          <ac:picMkLst>
            <pc:docMk/>
            <pc:sldMk cId="107605304" sldId="2147469980"/>
            <ac:picMk id="33" creationId="{8F099976-3706-0BDE-5294-0931CE0D7BE6}"/>
          </ac:picMkLst>
        </pc:picChg>
        <pc:extLst>
          <p:ext xmlns:p="http://schemas.openxmlformats.org/presentationml/2006/main" uri="{D6D511B9-2390-475A-947B-AFAB55BFBCF1}">
            <pc226:cmChg xmlns:pc226="http://schemas.microsoft.com/office/powerpoint/2022/06/main/command" chg="">
              <pc226:chgData name="Simone NERI" userId="2a00f2ad-68d9-45e6-b604-268bfad9cc5e" providerId="ADAL" clId="{D888A4E8-4B4E-4F9E-AD90-7B2ECDAE1265}" dt="2023-03-03T07:34:33.785" v="1885"/>
              <pc2:cmMkLst xmlns:pc2="http://schemas.microsoft.com/office/powerpoint/2019/9/main/command">
                <pc:docMk/>
                <pc:sldMk cId="107605304" sldId="2147469980"/>
                <pc2:cmMk id="{2A182F75-DDD5-4A72-A46A-9469551FD62F}"/>
              </pc2:cmMkLst>
              <pc226:cmRplyChg chg="add">
                <pc226:chgData name="Simone NERI" userId="2a00f2ad-68d9-45e6-b604-268bfad9cc5e" providerId="ADAL" clId="{D888A4E8-4B4E-4F9E-AD90-7B2ECDAE1265}" dt="2023-03-03T07:34:33.785" v="1885"/>
                <pc2:cmRplyMkLst xmlns:pc2="http://schemas.microsoft.com/office/powerpoint/2019/9/main/command">
                  <pc:docMk/>
                  <pc:sldMk cId="107605304" sldId="2147469980"/>
                  <pc2:cmMk id="{2A182F75-DDD5-4A72-A46A-9469551FD62F}"/>
                  <pc2:cmRplyMk id="{51B74E8B-13D0-44C9-A19D-CDDA698BF360}"/>
                </pc2:cmRplyMkLst>
              </pc226:cmRplyChg>
            </pc226:cmChg>
          </p:ext>
        </pc:extLst>
      </pc:sldChg>
      <pc:sldChg chg="addSp delSp modSp del mod modCm">
        <pc:chgData name="Simone NERI" userId="2a00f2ad-68d9-45e6-b604-268bfad9cc5e" providerId="ADAL" clId="{D888A4E8-4B4E-4F9E-AD90-7B2ECDAE1265}" dt="2023-03-07T14:00:47.266" v="7455" actId="47"/>
        <pc:sldMkLst>
          <pc:docMk/>
          <pc:sldMk cId="2212093088" sldId="2147469981"/>
        </pc:sldMkLst>
        <pc:spChg chg="mod">
          <ac:chgData name="Simone NERI" userId="2a00f2ad-68d9-45e6-b604-268bfad9cc5e" providerId="ADAL" clId="{D888A4E8-4B4E-4F9E-AD90-7B2ECDAE1265}" dt="2023-03-03T16:19:39.232" v="3977" actId="20577"/>
          <ac:spMkLst>
            <pc:docMk/>
            <pc:sldMk cId="2212093088" sldId="2147469981"/>
            <ac:spMk id="2" creationId="{E11BF5BD-75C4-4E77-9598-7225EFF82CC5}"/>
          </ac:spMkLst>
        </pc:spChg>
        <pc:spChg chg="add mod">
          <ac:chgData name="Simone NERI" userId="2a00f2ad-68d9-45e6-b604-268bfad9cc5e" providerId="ADAL" clId="{D888A4E8-4B4E-4F9E-AD90-7B2ECDAE1265}" dt="2023-03-07T11:18:17.512" v="7407"/>
          <ac:spMkLst>
            <pc:docMk/>
            <pc:sldMk cId="2212093088" sldId="2147469981"/>
            <ac:spMk id="3" creationId="{5C964E1E-606E-4F2E-0D44-2B397AB2EB89}"/>
          </ac:spMkLst>
        </pc:spChg>
        <pc:spChg chg="mod">
          <ac:chgData name="Simone NERI" userId="2a00f2ad-68d9-45e6-b604-268bfad9cc5e" providerId="ADAL" clId="{D888A4E8-4B4E-4F9E-AD90-7B2ECDAE1265}" dt="2023-03-03T16:24:45.226" v="4054" actId="6549"/>
          <ac:spMkLst>
            <pc:docMk/>
            <pc:sldMk cId="2212093088" sldId="2147469981"/>
            <ac:spMk id="4" creationId="{DFE4ECB6-193A-41CD-8C1D-5A9AA8C9E006}"/>
          </ac:spMkLst>
        </pc:spChg>
        <pc:spChg chg="mod">
          <ac:chgData name="Simone NERI" userId="2a00f2ad-68d9-45e6-b604-268bfad9cc5e" providerId="ADAL" clId="{D888A4E8-4B4E-4F9E-AD90-7B2ECDAE1265}" dt="2023-03-03T16:25:25.524" v="4056" actId="20577"/>
          <ac:spMkLst>
            <pc:docMk/>
            <pc:sldMk cId="2212093088" sldId="2147469981"/>
            <ac:spMk id="13" creationId="{E22D3A68-8C63-4250-BAEB-59D55544985D}"/>
          </ac:spMkLst>
        </pc:spChg>
        <pc:spChg chg="mod">
          <ac:chgData name="Simone NERI" userId="2a00f2ad-68d9-45e6-b604-268bfad9cc5e" providerId="ADAL" clId="{D888A4E8-4B4E-4F9E-AD90-7B2ECDAE1265}" dt="2023-03-03T16:25:44.044" v="4061" actId="20577"/>
          <ac:spMkLst>
            <pc:docMk/>
            <pc:sldMk cId="2212093088" sldId="2147469981"/>
            <ac:spMk id="17" creationId="{081C14F2-F0CF-453C-B5E6-3AB28B427042}"/>
          </ac:spMkLst>
        </pc:spChg>
        <pc:spChg chg="add mod">
          <ac:chgData name="Simone NERI" userId="2a00f2ad-68d9-45e6-b604-268bfad9cc5e" providerId="ADAL" clId="{D888A4E8-4B4E-4F9E-AD90-7B2ECDAE1265}" dt="2023-03-06T08:20:34.294" v="5019" actId="1076"/>
          <ac:spMkLst>
            <pc:docMk/>
            <pc:sldMk cId="2212093088" sldId="2147469981"/>
            <ac:spMk id="32" creationId="{E0BEBC62-D51E-5C90-79C4-44217608938A}"/>
          </ac:spMkLst>
        </pc:spChg>
        <pc:spChg chg="add">
          <ac:chgData name="Simone NERI" userId="2a00f2ad-68d9-45e6-b604-268bfad9cc5e" providerId="ADAL" clId="{D888A4E8-4B4E-4F9E-AD90-7B2ECDAE1265}" dt="2023-03-07T11:19:09.449" v="7408" actId="11529"/>
          <ac:spMkLst>
            <pc:docMk/>
            <pc:sldMk cId="2212093088" sldId="2147469981"/>
            <ac:spMk id="35" creationId="{0B7B7DB8-3968-8AE5-79AD-0455155038E4}"/>
          </ac:spMkLst>
        </pc:spChg>
        <pc:spChg chg="add del mod">
          <ac:chgData name="Simone NERI" userId="2a00f2ad-68d9-45e6-b604-268bfad9cc5e" providerId="ADAL" clId="{D888A4E8-4B4E-4F9E-AD90-7B2ECDAE1265}" dt="2023-03-03T16:31:13.339" v="4097" actId="478"/>
          <ac:spMkLst>
            <pc:docMk/>
            <pc:sldMk cId="2212093088" sldId="2147469981"/>
            <ac:spMk id="36" creationId="{BAFED540-819F-E8C8-10EA-1BE1116D3906}"/>
          </ac:spMkLst>
        </pc:spChg>
        <pc:spChg chg="add mod">
          <ac:chgData name="Simone NERI" userId="2a00f2ad-68d9-45e6-b604-268bfad9cc5e" providerId="ADAL" clId="{D888A4E8-4B4E-4F9E-AD90-7B2ECDAE1265}" dt="2023-03-07T11:19:14.229" v="7410" actId="14100"/>
          <ac:spMkLst>
            <pc:docMk/>
            <pc:sldMk cId="2212093088" sldId="2147469981"/>
            <ac:spMk id="36" creationId="{BF584BE7-B459-0645-01BA-9E8AB7EC5E38}"/>
          </ac:spMkLst>
        </pc:spChg>
        <pc:spChg chg="add mod">
          <ac:chgData name="Simone NERI" userId="2a00f2ad-68d9-45e6-b604-268bfad9cc5e" providerId="ADAL" clId="{D888A4E8-4B4E-4F9E-AD90-7B2ECDAE1265}" dt="2023-03-07T11:19:18.142" v="7412" actId="948"/>
          <ac:spMkLst>
            <pc:docMk/>
            <pc:sldMk cId="2212093088" sldId="2147469981"/>
            <ac:spMk id="37" creationId="{371EE39F-45B7-3ABA-260E-0CCC7B58B4DE}"/>
          </ac:spMkLst>
        </pc:spChg>
        <pc:spChg chg="add mod">
          <ac:chgData name="Simone NERI" userId="2a00f2ad-68d9-45e6-b604-268bfad9cc5e" providerId="ADAL" clId="{D888A4E8-4B4E-4F9E-AD90-7B2ECDAE1265}" dt="2023-03-03T16:31:49.701" v="4204" actId="20577"/>
          <ac:spMkLst>
            <pc:docMk/>
            <pc:sldMk cId="2212093088" sldId="2147469981"/>
            <ac:spMk id="38" creationId="{9619A19C-7F07-79D6-FA86-25E5C535FF35}"/>
          </ac:spMkLst>
        </pc:spChg>
        <pc:spChg chg="add mod">
          <ac:chgData name="Simone NERI" userId="2a00f2ad-68d9-45e6-b604-268bfad9cc5e" providerId="ADAL" clId="{D888A4E8-4B4E-4F9E-AD90-7B2ECDAE1265}" dt="2023-03-07T11:19:18.142" v="7412" actId="948"/>
          <ac:spMkLst>
            <pc:docMk/>
            <pc:sldMk cId="2212093088" sldId="2147469981"/>
            <ac:spMk id="39" creationId="{E4A6E2F4-C39B-8FA4-7253-E59404AB340D}"/>
          </ac:spMkLst>
        </pc:spChg>
        <pc:spChg chg="add mod">
          <ac:chgData name="Simone NERI" userId="2a00f2ad-68d9-45e6-b604-268bfad9cc5e" providerId="ADAL" clId="{D888A4E8-4B4E-4F9E-AD90-7B2ECDAE1265}" dt="2023-03-07T11:19:19.739" v="7414" actId="948"/>
          <ac:spMkLst>
            <pc:docMk/>
            <pc:sldMk cId="2212093088" sldId="2147469981"/>
            <ac:spMk id="40" creationId="{CEA88991-D579-A6CA-23DA-78E1D976BA58}"/>
          </ac:spMkLst>
        </pc:spChg>
        <pc:spChg chg="add mod">
          <ac:chgData name="Simone NERI" userId="2a00f2ad-68d9-45e6-b604-268bfad9cc5e" providerId="ADAL" clId="{D888A4E8-4B4E-4F9E-AD90-7B2ECDAE1265}" dt="2023-03-07T11:19:19.739" v="7414" actId="948"/>
          <ac:spMkLst>
            <pc:docMk/>
            <pc:sldMk cId="2212093088" sldId="2147469981"/>
            <ac:spMk id="41" creationId="{51C603AD-2033-C583-E244-868D1FBB4D48}"/>
          </ac:spMkLst>
        </pc:spChg>
        <pc:picChg chg="add del mod">
          <ac:chgData name="Simone NERI" userId="2a00f2ad-68d9-45e6-b604-268bfad9cc5e" providerId="ADAL" clId="{D888A4E8-4B4E-4F9E-AD90-7B2ECDAE1265}" dt="2023-03-03T16:31:07.893" v="4094" actId="478"/>
          <ac:picMkLst>
            <pc:docMk/>
            <pc:sldMk cId="2212093088" sldId="2147469981"/>
            <ac:picMk id="37" creationId="{5DE791FE-A70C-0DDC-5641-A40913C92D15}"/>
          </ac:picMkLst>
        </pc:picChg>
        <pc:extLst>
          <p:ext xmlns:p="http://schemas.openxmlformats.org/presentationml/2006/main" uri="{D6D511B9-2390-475A-947B-AFAB55BFBCF1}">
            <pc226:cmChg xmlns:pc226="http://schemas.microsoft.com/office/powerpoint/2022/06/main/command" chg="mod">
              <pc226:chgData name="Simone NERI" userId="2a00f2ad-68d9-45e6-b604-268bfad9cc5e" providerId="ADAL" clId="{D888A4E8-4B4E-4F9E-AD90-7B2ECDAE1265}" dt="2023-03-03T16:24:45.226" v="4054" actId="6549"/>
              <pc2:cmMkLst xmlns:pc2="http://schemas.microsoft.com/office/powerpoint/2019/9/main/command">
                <pc:docMk/>
                <pc:sldMk cId="2212093088" sldId="2147469981"/>
                <pc2:cmMk id="{D51D9205-1D90-42F8-B609-49FC7FE1DD51}"/>
              </pc2:cmMkLst>
            </pc226:cmChg>
            <pc226:cmChg xmlns:pc226="http://schemas.microsoft.com/office/powerpoint/2022/06/main/command" chg="mod">
              <pc226:chgData name="Simone NERI" userId="2a00f2ad-68d9-45e6-b604-268bfad9cc5e" providerId="ADAL" clId="{D888A4E8-4B4E-4F9E-AD90-7B2ECDAE1265}" dt="2023-03-03T16:19:39.232" v="3977" actId="20577"/>
              <pc2:cmMkLst xmlns:pc2="http://schemas.microsoft.com/office/powerpoint/2019/9/main/command">
                <pc:docMk/>
                <pc:sldMk cId="2212093088" sldId="2147469981"/>
                <pc2:cmMk id="{C4B0BDA2-AAB0-4687-A11C-51198E0708CA}"/>
              </pc2:cmMkLst>
            </pc226:cmChg>
          </p:ext>
        </pc:extLst>
      </pc:sldChg>
      <pc:sldChg chg="addSp delSp modSp mod">
        <pc:chgData name="Simone NERI" userId="2a00f2ad-68d9-45e6-b604-268bfad9cc5e" providerId="ADAL" clId="{D888A4E8-4B4E-4F9E-AD90-7B2ECDAE1265}" dt="2023-03-08T09:34:39.630" v="9805" actId="207"/>
        <pc:sldMkLst>
          <pc:docMk/>
          <pc:sldMk cId="1679491866" sldId="2147469982"/>
        </pc:sldMkLst>
        <pc:spChg chg="mod">
          <ac:chgData name="Simone NERI" userId="2a00f2ad-68d9-45e6-b604-268bfad9cc5e" providerId="ADAL" clId="{D888A4E8-4B4E-4F9E-AD90-7B2ECDAE1265}" dt="2023-03-08T09:34:39.630" v="9805" actId="207"/>
          <ac:spMkLst>
            <pc:docMk/>
            <pc:sldMk cId="1679491866" sldId="2147469982"/>
            <ac:spMk id="2" creationId="{E11BF5BD-75C4-4E77-9598-7225EFF82CC5}"/>
          </ac:spMkLst>
        </pc:spChg>
        <pc:spChg chg="add mod">
          <ac:chgData name="Simone NERI" userId="2a00f2ad-68d9-45e6-b604-268bfad9cc5e" providerId="ADAL" clId="{D888A4E8-4B4E-4F9E-AD90-7B2ECDAE1265}" dt="2023-03-08T09:33:11.965" v="9783"/>
          <ac:spMkLst>
            <pc:docMk/>
            <pc:sldMk cId="1679491866" sldId="2147469982"/>
            <ac:spMk id="3" creationId="{C6D11B48-4CD3-0725-31D1-FA0F8535A05E}"/>
          </ac:spMkLst>
        </pc:spChg>
        <pc:spChg chg="del">
          <ac:chgData name="Simone NERI" userId="2a00f2ad-68d9-45e6-b604-268bfad9cc5e" providerId="ADAL" clId="{D888A4E8-4B4E-4F9E-AD90-7B2ECDAE1265}" dt="2023-03-03T15:30:40.923" v="3846" actId="478"/>
          <ac:spMkLst>
            <pc:docMk/>
            <pc:sldMk cId="1679491866" sldId="2147469982"/>
            <ac:spMk id="18" creationId="{BDCB2577-DAD6-BF9E-8070-A450A0CD0FED}"/>
          </ac:spMkLst>
        </pc:spChg>
        <pc:spChg chg="mod">
          <ac:chgData name="Simone NERI" userId="2a00f2ad-68d9-45e6-b604-268bfad9cc5e" providerId="ADAL" clId="{D888A4E8-4B4E-4F9E-AD90-7B2ECDAE1265}" dt="2023-03-08T09:29:31.566" v="9503" actId="1035"/>
          <ac:spMkLst>
            <pc:docMk/>
            <pc:sldMk cId="1679491866" sldId="2147469982"/>
            <ac:spMk id="22" creationId="{DC76E146-902E-309E-4342-0D19BBAA32E5}"/>
          </ac:spMkLst>
        </pc:spChg>
      </pc:sldChg>
      <pc:sldChg chg="addSp modSp">
        <pc:chgData name="Simone NERI" userId="2a00f2ad-68d9-45e6-b604-268bfad9cc5e" providerId="ADAL" clId="{D888A4E8-4B4E-4F9E-AD90-7B2ECDAE1265}" dt="2023-03-08T09:39:33.643" v="9872"/>
        <pc:sldMkLst>
          <pc:docMk/>
          <pc:sldMk cId="2863541397" sldId="2147469983"/>
        </pc:sldMkLst>
        <pc:spChg chg="add mod">
          <ac:chgData name="Simone NERI" userId="2a00f2ad-68d9-45e6-b604-268bfad9cc5e" providerId="ADAL" clId="{D888A4E8-4B4E-4F9E-AD90-7B2ECDAE1265}" dt="2023-03-08T09:39:33.643" v="9872"/>
          <ac:spMkLst>
            <pc:docMk/>
            <pc:sldMk cId="2863541397" sldId="2147469983"/>
            <ac:spMk id="4" creationId="{3473298D-CC7F-093A-1B03-CF72A15B03CD}"/>
          </ac:spMkLst>
        </pc:spChg>
      </pc:sldChg>
      <pc:sldChg chg="addSp modSp mod">
        <pc:chgData name="Simone NERI" userId="2a00f2ad-68d9-45e6-b604-268bfad9cc5e" providerId="ADAL" clId="{D888A4E8-4B4E-4F9E-AD90-7B2ECDAE1265}" dt="2023-03-08T09:34:28.991" v="9803" actId="207"/>
        <pc:sldMkLst>
          <pc:docMk/>
          <pc:sldMk cId="290774258" sldId="2147469984"/>
        </pc:sldMkLst>
        <pc:spChg chg="mod">
          <ac:chgData name="Simone NERI" userId="2a00f2ad-68d9-45e6-b604-268bfad9cc5e" providerId="ADAL" clId="{D888A4E8-4B4E-4F9E-AD90-7B2ECDAE1265}" dt="2023-03-08T09:34:28.991" v="9803" actId="207"/>
          <ac:spMkLst>
            <pc:docMk/>
            <pc:sldMk cId="290774258" sldId="2147469984"/>
            <ac:spMk id="2" creationId="{A0C68FB2-2545-2E0E-EFF1-B5151E3523F0}"/>
          </ac:spMkLst>
        </pc:spChg>
        <pc:spChg chg="add mod">
          <ac:chgData name="Simone NERI" userId="2a00f2ad-68d9-45e6-b604-268bfad9cc5e" providerId="ADAL" clId="{D888A4E8-4B4E-4F9E-AD90-7B2ECDAE1265}" dt="2023-03-08T09:33:08.967" v="9782"/>
          <ac:spMkLst>
            <pc:docMk/>
            <pc:sldMk cId="290774258" sldId="2147469984"/>
            <ac:spMk id="7" creationId="{7A7E9BCF-7418-7461-E6A5-E180094C4211}"/>
          </ac:spMkLst>
        </pc:spChg>
      </pc:sldChg>
      <pc:sldChg chg="addSp delSp modSp add del mod ord delAnim modAnim">
        <pc:chgData name="Simone NERI" userId="2a00f2ad-68d9-45e6-b604-268bfad9cc5e" providerId="ADAL" clId="{D888A4E8-4B4E-4F9E-AD90-7B2ECDAE1265}" dt="2023-03-07T13:58:58.790" v="7417" actId="47"/>
        <pc:sldMkLst>
          <pc:docMk/>
          <pc:sldMk cId="2882582271" sldId="2147469985"/>
        </pc:sldMkLst>
        <pc:spChg chg="mod">
          <ac:chgData name="Simone NERI" userId="2a00f2ad-68d9-45e6-b604-268bfad9cc5e" providerId="ADAL" clId="{D888A4E8-4B4E-4F9E-AD90-7B2ECDAE1265}" dt="2023-03-03T10:00:47.948" v="3655" actId="5793"/>
          <ac:spMkLst>
            <pc:docMk/>
            <pc:sldMk cId="2882582271" sldId="2147469985"/>
            <ac:spMk id="2" creationId="{9C92F45D-384F-4327-A381-C1AA2AB7717E}"/>
          </ac:spMkLst>
        </pc:spChg>
        <pc:spChg chg="add mod">
          <ac:chgData name="Simone NERI" userId="2a00f2ad-68d9-45e6-b604-268bfad9cc5e" providerId="ADAL" clId="{D888A4E8-4B4E-4F9E-AD90-7B2ECDAE1265}" dt="2023-03-07T11:18:13.666" v="7406"/>
          <ac:spMkLst>
            <pc:docMk/>
            <pc:sldMk cId="2882582271" sldId="2147469985"/>
            <ac:spMk id="3" creationId="{38E99F3C-D602-F91E-8AAC-1B714CF2FBA0}"/>
          </ac:spMkLst>
        </pc:spChg>
        <pc:spChg chg="del">
          <ac:chgData name="Simone NERI" userId="2a00f2ad-68d9-45e6-b604-268bfad9cc5e" providerId="ADAL" clId="{D888A4E8-4B4E-4F9E-AD90-7B2ECDAE1265}" dt="2023-03-03T09:39:00.224" v="2814" actId="478"/>
          <ac:spMkLst>
            <pc:docMk/>
            <pc:sldMk cId="2882582271" sldId="2147469985"/>
            <ac:spMk id="3" creationId="{C9EC6A81-C5BC-CA49-2FC4-0D599CC53C46}"/>
          </ac:spMkLst>
        </pc:spChg>
        <pc:spChg chg="del">
          <ac:chgData name="Simone NERI" userId="2a00f2ad-68d9-45e6-b604-268bfad9cc5e" providerId="ADAL" clId="{D888A4E8-4B4E-4F9E-AD90-7B2ECDAE1265}" dt="2023-03-03T10:02:26.481" v="3697" actId="478"/>
          <ac:spMkLst>
            <pc:docMk/>
            <pc:sldMk cId="2882582271" sldId="2147469985"/>
            <ac:spMk id="6" creationId="{B708E912-2978-FB5D-A880-3C238B8B3C83}"/>
          </ac:spMkLst>
        </pc:spChg>
        <pc:spChg chg="mod">
          <ac:chgData name="Simone NERI" userId="2a00f2ad-68d9-45e6-b604-268bfad9cc5e" providerId="ADAL" clId="{D888A4E8-4B4E-4F9E-AD90-7B2ECDAE1265}" dt="2023-03-03T09:43:34.013" v="3069" actId="1076"/>
          <ac:spMkLst>
            <pc:docMk/>
            <pc:sldMk cId="2882582271" sldId="2147469985"/>
            <ac:spMk id="7" creationId="{08060756-3928-4F4B-B3D6-1C912A8F7747}"/>
          </ac:spMkLst>
        </pc:spChg>
        <pc:spChg chg="mod">
          <ac:chgData name="Simone NERI" userId="2a00f2ad-68d9-45e6-b604-268bfad9cc5e" providerId="ADAL" clId="{D888A4E8-4B4E-4F9E-AD90-7B2ECDAE1265}" dt="2023-03-03T09:43:24.247" v="3066" actId="1076"/>
          <ac:spMkLst>
            <pc:docMk/>
            <pc:sldMk cId="2882582271" sldId="2147469985"/>
            <ac:spMk id="8" creationId="{C081493B-C9D6-437A-B308-6B557791D94D}"/>
          </ac:spMkLst>
        </pc:spChg>
        <pc:spChg chg="mod">
          <ac:chgData name="Simone NERI" userId="2a00f2ad-68d9-45e6-b604-268bfad9cc5e" providerId="ADAL" clId="{D888A4E8-4B4E-4F9E-AD90-7B2ECDAE1265}" dt="2023-03-03T09:43:38.154" v="3070" actId="1076"/>
          <ac:spMkLst>
            <pc:docMk/>
            <pc:sldMk cId="2882582271" sldId="2147469985"/>
            <ac:spMk id="10" creationId="{CDF78CFE-4C4B-4BF9-BBF3-689EFCC5182B}"/>
          </ac:spMkLst>
        </pc:spChg>
        <pc:spChg chg="mod">
          <ac:chgData name="Simone NERI" userId="2a00f2ad-68d9-45e6-b604-268bfad9cc5e" providerId="ADAL" clId="{D888A4E8-4B4E-4F9E-AD90-7B2ECDAE1265}" dt="2023-03-03T09:49:56.203" v="3311" actId="20577"/>
          <ac:spMkLst>
            <pc:docMk/>
            <pc:sldMk cId="2882582271" sldId="2147469985"/>
            <ac:spMk id="11" creationId="{4323A02F-F37C-4962-A500-4928FD800F4A}"/>
          </ac:spMkLst>
        </pc:spChg>
        <pc:spChg chg="mod">
          <ac:chgData name="Simone NERI" userId="2a00f2ad-68d9-45e6-b604-268bfad9cc5e" providerId="ADAL" clId="{D888A4E8-4B4E-4F9E-AD90-7B2ECDAE1265}" dt="2023-03-03T09:49:59.954" v="3312" actId="20577"/>
          <ac:spMkLst>
            <pc:docMk/>
            <pc:sldMk cId="2882582271" sldId="2147469985"/>
            <ac:spMk id="12" creationId="{C252B529-C441-4C37-881A-44D000B659B9}"/>
          </ac:spMkLst>
        </pc:spChg>
        <pc:spChg chg="mod">
          <ac:chgData name="Simone NERI" userId="2a00f2ad-68d9-45e6-b604-268bfad9cc5e" providerId="ADAL" clId="{D888A4E8-4B4E-4F9E-AD90-7B2ECDAE1265}" dt="2023-03-03T09:45:57.098" v="3091" actId="1076"/>
          <ac:spMkLst>
            <pc:docMk/>
            <pc:sldMk cId="2882582271" sldId="2147469985"/>
            <ac:spMk id="13" creationId="{8C65A667-AEE5-4BA3-B299-8CBADCC077F7}"/>
          </ac:spMkLst>
        </pc:spChg>
        <pc:spChg chg="mod">
          <ac:chgData name="Simone NERI" userId="2a00f2ad-68d9-45e6-b604-268bfad9cc5e" providerId="ADAL" clId="{D888A4E8-4B4E-4F9E-AD90-7B2ECDAE1265}" dt="2023-03-03T09:43:34.013" v="3069" actId="1076"/>
          <ac:spMkLst>
            <pc:docMk/>
            <pc:sldMk cId="2882582271" sldId="2147469985"/>
            <ac:spMk id="16" creationId="{B34C756E-DA19-4AEE-A5E1-C829E7B3392B}"/>
          </ac:spMkLst>
        </pc:spChg>
        <pc:spChg chg="mod">
          <ac:chgData name="Simone NERI" userId="2a00f2ad-68d9-45e6-b604-268bfad9cc5e" providerId="ADAL" clId="{D888A4E8-4B4E-4F9E-AD90-7B2ECDAE1265}" dt="2023-03-03T09:43:24.247" v="3066" actId="1076"/>
          <ac:spMkLst>
            <pc:docMk/>
            <pc:sldMk cId="2882582271" sldId="2147469985"/>
            <ac:spMk id="18" creationId="{FB8B0C89-8240-44B2-BBD7-E337060CEBFA}"/>
          </ac:spMkLst>
        </pc:spChg>
        <pc:spChg chg="mod">
          <ac:chgData name="Simone NERI" userId="2a00f2ad-68d9-45e6-b604-268bfad9cc5e" providerId="ADAL" clId="{D888A4E8-4B4E-4F9E-AD90-7B2ECDAE1265}" dt="2023-03-03T09:43:38.154" v="3070" actId="1076"/>
          <ac:spMkLst>
            <pc:docMk/>
            <pc:sldMk cId="2882582271" sldId="2147469985"/>
            <ac:spMk id="19" creationId="{8B102C4C-74C8-4AF9-A335-7553DF32CF69}"/>
          </ac:spMkLst>
        </pc:spChg>
        <pc:spChg chg="mod">
          <ac:chgData name="Simone NERI" userId="2a00f2ad-68d9-45e6-b604-268bfad9cc5e" providerId="ADAL" clId="{D888A4E8-4B4E-4F9E-AD90-7B2ECDAE1265}" dt="2023-03-03T09:45:57.098" v="3091" actId="1076"/>
          <ac:spMkLst>
            <pc:docMk/>
            <pc:sldMk cId="2882582271" sldId="2147469985"/>
            <ac:spMk id="20" creationId="{3F92E73A-CB06-4352-907E-48C28EC0BF38}"/>
          </ac:spMkLst>
        </pc:spChg>
        <pc:spChg chg="mod">
          <ac:chgData name="Simone NERI" userId="2a00f2ad-68d9-45e6-b604-268bfad9cc5e" providerId="ADAL" clId="{D888A4E8-4B4E-4F9E-AD90-7B2ECDAE1265}" dt="2023-03-03T09:45:57.098" v="3091" actId="1076"/>
          <ac:spMkLst>
            <pc:docMk/>
            <pc:sldMk cId="2882582271" sldId="2147469985"/>
            <ac:spMk id="21" creationId="{E771EBBA-BF29-42EE-A575-DD702681C13C}"/>
          </ac:spMkLst>
        </pc:spChg>
        <pc:spChg chg="mod">
          <ac:chgData name="Simone NERI" userId="2a00f2ad-68d9-45e6-b604-268bfad9cc5e" providerId="ADAL" clId="{D888A4E8-4B4E-4F9E-AD90-7B2ECDAE1265}" dt="2023-03-03T09:45:57.098" v="3091" actId="1076"/>
          <ac:spMkLst>
            <pc:docMk/>
            <pc:sldMk cId="2882582271" sldId="2147469985"/>
            <ac:spMk id="22" creationId="{5D0F5409-B400-4CAD-9032-5C33670A8156}"/>
          </ac:spMkLst>
        </pc:spChg>
        <pc:spChg chg="mod">
          <ac:chgData name="Simone NERI" userId="2a00f2ad-68d9-45e6-b604-268bfad9cc5e" providerId="ADAL" clId="{D888A4E8-4B4E-4F9E-AD90-7B2ECDAE1265}" dt="2023-03-03T09:43:34.013" v="3069" actId="1076"/>
          <ac:spMkLst>
            <pc:docMk/>
            <pc:sldMk cId="2882582271" sldId="2147469985"/>
            <ac:spMk id="29" creationId="{72678128-09D6-49B7-B19B-75C6244D72B6}"/>
          </ac:spMkLst>
        </pc:spChg>
        <pc:spChg chg="mod">
          <ac:chgData name="Simone NERI" userId="2a00f2ad-68d9-45e6-b604-268bfad9cc5e" providerId="ADAL" clId="{D888A4E8-4B4E-4F9E-AD90-7B2ECDAE1265}" dt="2023-03-03T09:43:24.247" v="3066" actId="1076"/>
          <ac:spMkLst>
            <pc:docMk/>
            <pc:sldMk cId="2882582271" sldId="2147469985"/>
            <ac:spMk id="30" creationId="{40180D98-5758-4231-B58A-35AD637CECDE}"/>
          </ac:spMkLst>
        </pc:spChg>
        <pc:spChg chg="mod">
          <ac:chgData name="Simone NERI" userId="2a00f2ad-68d9-45e6-b604-268bfad9cc5e" providerId="ADAL" clId="{D888A4E8-4B4E-4F9E-AD90-7B2ECDAE1265}" dt="2023-03-03T09:43:38.154" v="3070" actId="1076"/>
          <ac:spMkLst>
            <pc:docMk/>
            <pc:sldMk cId="2882582271" sldId="2147469985"/>
            <ac:spMk id="31" creationId="{142A17CE-576A-485E-81D3-18164CFCE755}"/>
          </ac:spMkLst>
        </pc:spChg>
        <pc:spChg chg="mod">
          <ac:chgData name="Simone NERI" userId="2a00f2ad-68d9-45e6-b604-268bfad9cc5e" providerId="ADAL" clId="{D888A4E8-4B4E-4F9E-AD90-7B2ECDAE1265}" dt="2023-03-03T09:45:57.098" v="3091" actId="1076"/>
          <ac:spMkLst>
            <pc:docMk/>
            <pc:sldMk cId="2882582271" sldId="2147469985"/>
            <ac:spMk id="32" creationId="{DCD4C01F-5562-4194-92B6-F691E6F4D1DE}"/>
          </ac:spMkLst>
        </pc:spChg>
        <pc:spChg chg="mod">
          <ac:chgData name="Simone NERI" userId="2a00f2ad-68d9-45e6-b604-268bfad9cc5e" providerId="ADAL" clId="{D888A4E8-4B4E-4F9E-AD90-7B2ECDAE1265}" dt="2023-03-03T09:45:57.098" v="3091" actId="1076"/>
          <ac:spMkLst>
            <pc:docMk/>
            <pc:sldMk cId="2882582271" sldId="2147469985"/>
            <ac:spMk id="33" creationId="{98E63B8D-E6EE-4467-9DDA-C93C8D87567E}"/>
          </ac:spMkLst>
        </pc:spChg>
        <pc:spChg chg="mod">
          <ac:chgData name="Simone NERI" userId="2a00f2ad-68d9-45e6-b604-268bfad9cc5e" providerId="ADAL" clId="{D888A4E8-4B4E-4F9E-AD90-7B2ECDAE1265}" dt="2023-03-03T09:45:57.098" v="3091" actId="1076"/>
          <ac:spMkLst>
            <pc:docMk/>
            <pc:sldMk cId="2882582271" sldId="2147469985"/>
            <ac:spMk id="34" creationId="{693F1C99-CFA0-4FC7-8D86-C10F77936A2A}"/>
          </ac:spMkLst>
        </pc:spChg>
        <pc:spChg chg="mod">
          <ac:chgData name="Simone NERI" userId="2a00f2ad-68d9-45e6-b604-268bfad9cc5e" providerId="ADAL" clId="{D888A4E8-4B4E-4F9E-AD90-7B2ECDAE1265}" dt="2023-03-03T09:52:02.120" v="3347" actId="20577"/>
          <ac:spMkLst>
            <pc:docMk/>
            <pc:sldMk cId="2882582271" sldId="2147469985"/>
            <ac:spMk id="35" creationId="{42A95514-8FDD-434C-AA26-07AB8FB7D4E8}"/>
          </ac:spMkLst>
        </pc:spChg>
        <pc:spChg chg="mod">
          <ac:chgData name="Simone NERI" userId="2a00f2ad-68d9-45e6-b604-268bfad9cc5e" providerId="ADAL" clId="{D888A4E8-4B4E-4F9E-AD90-7B2ECDAE1265}" dt="2023-03-03T09:50:35.550" v="3330" actId="20577"/>
          <ac:spMkLst>
            <pc:docMk/>
            <pc:sldMk cId="2882582271" sldId="2147469985"/>
            <ac:spMk id="36" creationId="{D05723DE-204F-6708-8034-747F4A46747B}"/>
          </ac:spMkLst>
        </pc:spChg>
        <pc:spChg chg="mod">
          <ac:chgData name="Simone NERI" userId="2a00f2ad-68d9-45e6-b604-268bfad9cc5e" providerId="ADAL" clId="{D888A4E8-4B4E-4F9E-AD90-7B2ECDAE1265}" dt="2023-03-03T09:53:14.526" v="3429" actId="20577"/>
          <ac:spMkLst>
            <pc:docMk/>
            <pc:sldMk cId="2882582271" sldId="2147469985"/>
            <ac:spMk id="37" creationId="{8A2B04B7-4FB4-42F9-BBD6-2D849CF35736}"/>
          </ac:spMkLst>
        </pc:spChg>
        <pc:spChg chg="mod">
          <ac:chgData name="Simone NERI" userId="2a00f2ad-68d9-45e6-b604-268bfad9cc5e" providerId="ADAL" clId="{D888A4E8-4B4E-4F9E-AD90-7B2ECDAE1265}" dt="2023-03-03T16:28:20.834" v="4090" actId="20577"/>
          <ac:spMkLst>
            <pc:docMk/>
            <pc:sldMk cId="2882582271" sldId="2147469985"/>
            <ac:spMk id="38" creationId="{C2D3C262-5FFC-4A4F-992A-67589F43BFB3}"/>
          </ac:spMkLst>
        </pc:spChg>
        <pc:spChg chg="mod">
          <ac:chgData name="Simone NERI" userId="2a00f2ad-68d9-45e6-b604-268bfad9cc5e" providerId="ADAL" clId="{D888A4E8-4B4E-4F9E-AD90-7B2ECDAE1265}" dt="2023-03-03T09:54:17.104" v="3506" actId="20577"/>
          <ac:spMkLst>
            <pc:docMk/>
            <pc:sldMk cId="2882582271" sldId="2147469985"/>
            <ac:spMk id="39" creationId="{2B273C91-4D45-40F7-884F-0D5E998348F4}"/>
          </ac:spMkLst>
        </pc:spChg>
        <pc:spChg chg="mod">
          <ac:chgData name="Simone NERI" userId="2a00f2ad-68d9-45e6-b604-268bfad9cc5e" providerId="ADAL" clId="{D888A4E8-4B4E-4F9E-AD90-7B2ECDAE1265}" dt="2023-03-03T09:45:57.098" v="3091" actId="1076"/>
          <ac:spMkLst>
            <pc:docMk/>
            <pc:sldMk cId="2882582271" sldId="2147469985"/>
            <ac:spMk id="40" creationId="{006AC63E-88E0-44A9-A114-C0352CBA74A2}"/>
          </ac:spMkLst>
        </pc:spChg>
        <pc:spChg chg="del mod">
          <ac:chgData name="Simone NERI" userId="2a00f2ad-68d9-45e6-b604-268bfad9cc5e" providerId="ADAL" clId="{D888A4E8-4B4E-4F9E-AD90-7B2ECDAE1265}" dt="2023-03-03T09:45:12.437" v="3081" actId="478"/>
          <ac:spMkLst>
            <pc:docMk/>
            <pc:sldMk cId="2882582271" sldId="2147469985"/>
            <ac:spMk id="41" creationId="{443AF5EC-1289-461F-9158-88D01756C114}"/>
          </ac:spMkLst>
        </pc:spChg>
        <pc:spChg chg="mod">
          <ac:chgData name="Simone NERI" userId="2a00f2ad-68d9-45e6-b604-268bfad9cc5e" providerId="ADAL" clId="{D888A4E8-4B4E-4F9E-AD90-7B2ECDAE1265}" dt="2023-03-03T09:43:38.154" v="3070" actId="1076"/>
          <ac:spMkLst>
            <pc:docMk/>
            <pc:sldMk cId="2882582271" sldId="2147469985"/>
            <ac:spMk id="42" creationId="{D9C855E4-837B-4450-AB47-0BDE58847562}"/>
          </ac:spMkLst>
        </pc:spChg>
        <pc:spChg chg="mod">
          <ac:chgData name="Simone NERI" userId="2a00f2ad-68d9-45e6-b604-268bfad9cc5e" providerId="ADAL" clId="{D888A4E8-4B4E-4F9E-AD90-7B2ECDAE1265}" dt="2023-03-03T09:43:24.247" v="3066" actId="1076"/>
          <ac:spMkLst>
            <pc:docMk/>
            <pc:sldMk cId="2882582271" sldId="2147469985"/>
            <ac:spMk id="43" creationId="{16127C81-CB18-4BF1-9614-6D5E32D2E566}"/>
          </ac:spMkLst>
        </pc:spChg>
        <pc:spChg chg="mod">
          <ac:chgData name="Simone NERI" userId="2a00f2ad-68d9-45e6-b604-268bfad9cc5e" providerId="ADAL" clId="{D888A4E8-4B4E-4F9E-AD90-7B2ECDAE1265}" dt="2023-03-03T09:45:57.098" v="3091" actId="1076"/>
          <ac:spMkLst>
            <pc:docMk/>
            <pc:sldMk cId="2882582271" sldId="2147469985"/>
            <ac:spMk id="44" creationId="{4FC971B6-C357-407F-A2BD-8899DD37BE8E}"/>
          </ac:spMkLst>
        </pc:spChg>
        <pc:spChg chg="mod">
          <ac:chgData name="Simone NERI" userId="2a00f2ad-68d9-45e6-b604-268bfad9cc5e" providerId="ADAL" clId="{D888A4E8-4B4E-4F9E-AD90-7B2ECDAE1265}" dt="2023-03-03T09:45:57.098" v="3091" actId="1076"/>
          <ac:spMkLst>
            <pc:docMk/>
            <pc:sldMk cId="2882582271" sldId="2147469985"/>
            <ac:spMk id="45" creationId="{3CFD2DEA-F851-445C-995D-31F651ADD348}"/>
          </ac:spMkLst>
        </pc:spChg>
        <pc:spChg chg="mod">
          <ac:chgData name="Simone NERI" userId="2a00f2ad-68d9-45e6-b604-268bfad9cc5e" providerId="ADAL" clId="{D888A4E8-4B4E-4F9E-AD90-7B2ECDAE1265}" dt="2023-03-03T09:43:34.013" v="3069" actId="1076"/>
          <ac:spMkLst>
            <pc:docMk/>
            <pc:sldMk cId="2882582271" sldId="2147469985"/>
            <ac:spMk id="47" creationId="{35C5BC24-A571-4798-A04F-9D11A0602392}"/>
          </ac:spMkLst>
        </pc:spChg>
        <pc:spChg chg="mod">
          <ac:chgData name="Simone NERI" userId="2a00f2ad-68d9-45e6-b604-268bfad9cc5e" providerId="ADAL" clId="{D888A4E8-4B4E-4F9E-AD90-7B2ECDAE1265}" dt="2023-03-03T09:45:57.098" v="3091" actId="1076"/>
          <ac:spMkLst>
            <pc:docMk/>
            <pc:sldMk cId="2882582271" sldId="2147469985"/>
            <ac:spMk id="48" creationId="{475FB9D9-57CF-4C39-A5F7-70BD95206DD4}"/>
          </ac:spMkLst>
        </pc:spChg>
        <pc:spChg chg="mod">
          <ac:chgData name="Simone NERI" userId="2a00f2ad-68d9-45e6-b604-268bfad9cc5e" providerId="ADAL" clId="{D888A4E8-4B4E-4F9E-AD90-7B2ECDAE1265}" dt="2023-03-03T10:03:15.723" v="3797" actId="313"/>
          <ac:spMkLst>
            <pc:docMk/>
            <pc:sldMk cId="2882582271" sldId="2147469985"/>
            <ac:spMk id="49" creationId="{EBA293AD-788F-DFEB-404A-2E8DFF68F98E}"/>
          </ac:spMkLst>
        </pc:spChg>
        <pc:spChg chg="add mod">
          <ac:chgData name="Simone NERI" userId="2a00f2ad-68d9-45e6-b604-268bfad9cc5e" providerId="ADAL" clId="{D888A4E8-4B4E-4F9E-AD90-7B2ECDAE1265}" dt="2023-03-03T09:42:24.782" v="3023" actId="571"/>
          <ac:spMkLst>
            <pc:docMk/>
            <pc:sldMk cId="2882582271" sldId="2147469985"/>
            <ac:spMk id="51" creationId="{9A9D1F70-BEBB-593F-0B85-66FD19D0B81F}"/>
          </ac:spMkLst>
        </pc:spChg>
        <pc:spChg chg="add mod">
          <ac:chgData name="Simone NERI" userId="2a00f2ad-68d9-45e6-b604-268bfad9cc5e" providerId="ADAL" clId="{D888A4E8-4B4E-4F9E-AD90-7B2ECDAE1265}" dt="2023-03-03T09:42:24.782" v="3023" actId="571"/>
          <ac:spMkLst>
            <pc:docMk/>
            <pc:sldMk cId="2882582271" sldId="2147469985"/>
            <ac:spMk id="52" creationId="{0CCCE0DE-B1D1-3132-6931-E764B104FA1E}"/>
          </ac:spMkLst>
        </pc:spChg>
        <pc:spChg chg="mod">
          <ac:chgData name="Simone NERI" userId="2a00f2ad-68d9-45e6-b604-268bfad9cc5e" providerId="ADAL" clId="{D888A4E8-4B4E-4F9E-AD90-7B2ECDAE1265}" dt="2023-03-03T09:52:32.696" v="3405" actId="313"/>
          <ac:spMkLst>
            <pc:docMk/>
            <pc:sldMk cId="2882582271" sldId="2147469985"/>
            <ac:spMk id="53" creationId="{78B47C2D-A595-42D3-8406-88BFCB7B0AEA}"/>
          </ac:spMkLst>
        </pc:spChg>
        <pc:spChg chg="add mod">
          <ac:chgData name="Simone NERI" userId="2a00f2ad-68d9-45e6-b604-268bfad9cc5e" providerId="ADAL" clId="{D888A4E8-4B4E-4F9E-AD90-7B2ECDAE1265}" dt="2023-03-03T09:42:24.782" v="3023" actId="571"/>
          <ac:spMkLst>
            <pc:docMk/>
            <pc:sldMk cId="2882582271" sldId="2147469985"/>
            <ac:spMk id="56" creationId="{6D2AED6E-001C-A4A3-2827-A7BCAD23B14F}"/>
          </ac:spMkLst>
        </pc:spChg>
        <pc:spChg chg="add mod">
          <ac:chgData name="Simone NERI" userId="2a00f2ad-68d9-45e6-b604-268bfad9cc5e" providerId="ADAL" clId="{D888A4E8-4B4E-4F9E-AD90-7B2ECDAE1265}" dt="2023-03-03T09:49:53.112" v="3310" actId="20577"/>
          <ac:spMkLst>
            <pc:docMk/>
            <pc:sldMk cId="2882582271" sldId="2147469985"/>
            <ac:spMk id="57" creationId="{B8D243E5-219A-30BE-2DF0-6752DB701E4C}"/>
          </ac:spMkLst>
        </pc:spChg>
        <pc:spChg chg="add mod">
          <ac:chgData name="Simone NERI" userId="2a00f2ad-68d9-45e6-b604-268bfad9cc5e" providerId="ADAL" clId="{D888A4E8-4B4E-4F9E-AD90-7B2ECDAE1265}" dt="2023-03-03T09:45:57.098" v="3091" actId="1076"/>
          <ac:spMkLst>
            <pc:docMk/>
            <pc:sldMk cId="2882582271" sldId="2147469985"/>
            <ac:spMk id="58" creationId="{BF1176DB-BE6D-B1D3-DC76-35EB86223BC3}"/>
          </ac:spMkLst>
        </pc:spChg>
        <pc:spChg chg="add mod">
          <ac:chgData name="Simone NERI" userId="2a00f2ad-68d9-45e6-b604-268bfad9cc5e" providerId="ADAL" clId="{D888A4E8-4B4E-4F9E-AD90-7B2ECDAE1265}" dt="2023-03-03T09:45:57.098" v="3091" actId="1076"/>
          <ac:spMkLst>
            <pc:docMk/>
            <pc:sldMk cId="2882582271" sldId="2147469985"/>
            <ac:spMk id="60" creationId="{0D2EBED4-7C7A-8403-D100-ACE93A54BE0B}"/>
          </ac:spMkLst>
        </pc:spChg>
        <pc:spChg chg="add mod">
          <ac:chgData name="Simone NERI" userId="2a00f2ad-68d9-45e6-b604-268bfad9cc5e" providerId="ADAL" clId="{D888A4E8-4B4E-4F9E-AD90-7B2ECDAE1265}" dt="2023-03-03T09:54:04.855" v="3488" actId="20577"/>
          <ac:spMkLst>
            <pc:docMk/>
            <pc:sldMk cId="2882582271" sldId="2147469985"/>
            <ac:spMk id="61" creationId="{8C2AEF94-D2EB-8EC1-A374-3B368DBFEDF9}"/>
          </ac:spMkLst>
        </pc:spChg>
        <pc:spChg chg="add mod">
          <ac:chgData name="Simone NERI" userId="2a00f2ad-68d9-45e6-b604-268bfad9cc5e" providerId="ADAL" clId="{D888A4E8-4B4E-4F9E-AD90-7B2ECDAE1265}" dt="2023-03-03T09:45:57.098" v="3091" actId="1076"/>
          <ac:spMkLst>
            <pc:docMk/>
            <pc:sldMk cId="2882582271" sldId="2147469985"/>
            <ac:spMk id="62" creationId="{C40D6104-9A23-AA81-1CA8-02040C063E6B}"/>
          </ac:spMkLst>
        </pc:spChg>
        <pc:spChg chg="add mod">
          <ac:chgData name="Simone NERI" userId="2a00f2ad-68d9-45e6-b604-268bfad9cc5e" providerId="ADAL" clId="{D888A4E8-4B4E-4F9E-AD90-7B2ECDAE1265}" dt="2023-03-03T09:46:03.475" v="3093" actId="948"/>
          <ac:spMkLst>
            <pc:docMk/>
            <pc:sldMk cId="2882582271" sldId="2147469985"/>
            <ac:spMk id="65" creationId="{A2DF4B2A-A61B-45EC-2A3D-9E2B5CE399F0}"/>
          </ac:spMkLst>
        </pc:spChg>
        <pc:spChg chg="add mod">
          <ac:chgData name="Simone NERI" userId="2a00f2ad-68d9-45e6-b604-268bfad9cc5e" providerId="ADAL" clId="{D888A4E8-4B4E-4F9E-AD90-7B2ECDAE1265}" dt="2023-03-03T09:46:03.475" v="3093" actId="948"/>
          <ac:spMkLst>
            <pc:docMk/>
            <pc:sldMk cId="2882582271" sldId="2147469985"/>
            <ac:spMk id="66" creationId="{901336D6-7AB2-E5DD-C135-FD2E41762D80}"/>
          </ac:spMkLst>
        </pc:spChg>
        <pc:spChg chg="add mod">
          <ac:chgData name="Simone NERI" userId="2a00f2ad-68d9-45e6-b604-268bfad9cc5e" providerId="ADAL" clId="{D888A4E8-4B4E-4F9E-AD90-7B2ECDAE1265}" dt="2023-03-03T09:46:03.475" v="3093" actId="948"/>
          <ac:spMkLst>
            <pc:docMk/>
            <pc:sldMk cId="2882582271" sldId="2147469985"/>
            <ac:spMk id="70" creationId="{73CA6441-CEC8-3CC8-E265-32DD4EF3EAC1}"/>
          </ac:spMkLst>
        </pc:spChg>
        <pc:spChg chg="add mod">
          <ac:chgData name="Simone NERI" userId="2a00f2ad-68d9-45e6-b604-268bfad9cc5e" providerId="ADAL" clId="{D888A4E8-4B4E-4F9E-AD90-7B2ECDAE1265}" dt="2023-03-03T09:53:53.025" v="3474" actId="20577"/>
          <ac:spMkLst>
            <pc:docMk/>
            <pc:sldMk cId="2882582271" sldId="2147469985"/>
            <ac:spMk id="71" creationId="{ED22A42D-3A8C-696B-E7E8-2D0AB29566C9}"/>
          </ac:spMkLst>
        </pc:spChg>
        <pc:spChg chg="add mod">
          <ac:chgData name="Simone NERI" userId="2a00f2ad-68d9-45e6-b604-268bfad9cc5e" providerId="ADAL" clId="{D888A4E8-4B4E-4F9E-AD90-7B2ECDAE1265}" dt="2023-03-03T09:46:03.475" v="3093" actId="948"/>
          <ac:spMkLst>
            <pc:docMk/>
            <pc:sldMk cId="2882582271" sldId="2147469985"/>
            <ac:spMk id="72" creationId="{61A1A700-CB22-59F7-67BD-42E736467BAB}"/>
          </ac:spMkLst>
        </pc:spChg>
        <pc:spChg chg="add mod">
          <ac:chgData name="Simone NERI" userId="2a00f2ad-68d9-45e6-b604-268bfad9cc5e" providerId="ADAL" clId="{D888A4E8-4B4E-4F9E-AD90-7B2ECDAE1265}" dt="2023-03-03T09:50:08.240" v="3315" actId="403"/>
          <ac:spMkLst>
            <pc:docMk/>
            <pc:sldMk cId="2882582271" sldId="2147469985"/>
            <ac:spMk id="74" creationId="{E3C8924A-F5DB-E565-DF71-0D8E874611A9}"/>
          </ac:spMkLst>
        </pc:spChg>
        <pc:spChg chg="del">
          <ac:chgData name="Simone NERI" userId="2a00f2ad-68d9-45e6-b604-268bfad9cc5e" providerId="ADAL" clId="{D888A4E8-4B4E-4F9E-AD90-7B2ECDAE1265}" dt="2023-03-03T09:39:07.283" v="2817" actId="478"/>
          <ac:spMkLst>
            <pc:docMk/>
            <pc:sldMk cId="2882582271" sldId="2147469985"/>
            <ac:spMk id="76" creationId="{F4B88CFC-6C67-4759-9836-5AD65D9C6E23}"/>
          </ac:spMkLst>
        </pc:spChg>
        <pc:picChg chg="del">
          <ac:chgData name="Simone NERI" userId="2a00f2ad-68d9-45e6-b604-268bfad9cc5e" providerId="ADAL" clId="{D888A4E8-4B4E-4F9E-AD90-7B2ECDAE1265}" dt="2023-03-03T10:02:23.190" v="3696" actId="478"/>
          <ac:picMkLst>
            <pc:docMk/>
            <pc:sldMk cId="2882582271" sldId="2147469985"/>
            <ac:picMk id="5" creationId="{3D53FBC8-A5F0-0E5D-E973-83CE926230DC}"/>
          </ac:picMkLst>
        </pc:picChg>
        <pc:cxnChg chg="del">
          <ac:chgData name="Simone NERI" userId="2a00f2ad-68d9-45e6-b604-268bfad9cc5e" providerId="ADAL" clId="{D888A4E8-4B4E-4F9E-AD90-7B2ECDAE1265}" dt="2023-03-03T09:44:43.011" v="3080" actId="478"/>
          <ac:cxnSpMkLst>
            <pc:docMk/>
            <pc:sldMk cId="2882582271" sldId="2147469985"/>
            <ac:cxnSpMk id="4" creationId="{5954BBC4-3AFF-8EDE-AD9A-5EAB394B0B4E}"/>
          </ac:cxnSpMkLst>
        </pc:cxnChg>
        <pc:cxnChg chg="mod">
          <ac:chgData name="Simone NERI" userId="2a00f2ad-68d9-45e6-b604-268bfad9cc5e" providerId="ADAL" clId="{D888A4E8-4B4E-4F9E-AD90-7B2ECDAE1265}" dt="2023-03-03T09:43:34.013" v="3069" actId="1076"/>
          <ac:cxnSpMkLst>
            <pc:docMk/>
            <pc:sldMk cId="2882582271" sldId="2147469985"/>
            <ac:cxnSpMk id="17" creationId="{E0A87758-B4DD-4744-9D07-E066D99C8263}"/>
          </ac:cxnSpMkLst>
        </pc:cxnChg>
        <pc:cxnChg chg="mod">
          <ac:chgData name="Simone NERI" userId="2a00f2ad-68d9-45e6-b604-268bfad9cc5e" providerId="ADAL" clId="{D888A4E8-4B4E-4F9E-AD90-7B2ECDAE1265}" dt="2023-03-03T09:43:24.247" v="3066" actId="1076"/>
          <ac:cxnSpMkLst>
            <pc:docMk/>
            <pc:sldMk cId="2882582271" sldId="2147469985"/>
            <ac:cxnSpMk id="23" creationId="{45734D63-ED00-470B-8964-A72E0B65EB93}"/>
          </ac:cxnSpMkLst>
        </pc:cxnChg>
        <pc:cxnChg chg="mod">
          <ac:chgData name="Simone NERI" userId="2a00f2ad-68d9-45e6-b604-268bfad9cc5e" providerId="ADAL" clId="{D888A4E8-4B4E-4F9E-AD90-7B2ECDAE1265}" dt="2023-03-03T09:43:38.154" v="3070" actId="1076"/>
          <ac:cxnSpMkLst>
            <pc:docMk/>
            <pc:sldMk cId="2882582271" sldId="2147469985"/>
            <ac:cxnSpMk id="24" creationId="{0374E81D-EB43-49B2-80EF-2651634D6E3B}"/>
          </ac:cxnSpMkLst>
        </pc:cxnChg>
        <pc:cxnChg chg="mod">
          <ac:chgData name="Simone NERI" userId="2a00f2ad-68d9-45e6-b604-268bfad9cc5e" providerId="ADAL" clId="{D888A4E8-4B4E-4F9E-AD90-7B2ECDAE1265}" dt="2023-03-03T09:45:57.098" v="3091" actId="1076"/>
          <ac:cxnSpMkLst>
            <pc:docMk/>
            <pc:sldMk cId="2882582271" sldId="2147469985"/>
            <ac:cxnSpMk id="25" creationId="{49C9F5F6-A5A2-412F-B232-6D202D652D7F}"/>
          </ac:cxnSpMkLst>
        </pc:cxnChg>
        <pc:cxnChg chg="mod">
          <ac:chgData name="Simone NERI" userId="2a00f2ad-68d9-45e6-b604-268bfad9cc5e" providerId="ADAL" clId="{D888A4E8-4B4E-4F9E-AD90-7B2ECDAE1265}" dt="2023-03-03T09:45:57.098" v="3091" actId="1076"/>
          <ac:cxnSpMkLst>
            <pc:docMk/>
            <pc:sldMk cId="2882582271" sldId="2147469985"/>
            <ac:cxnSpMk id="26" creationId="{9BFFC2AB-E91E-4C07-9B37-BBBED0FFFEAA}"/>
          </ac:cxnSpMkLst>
        </pc:cxnChg>
        <pc:cxnChg chg="mod">
          <ac:chgData name="Simone NERI" userId="2a00f2ad-68d9-45e6-b604-268bfad9cc5e" providerId="ADAL" clId="{D888A4E8-4B4E-4F9E-AD90-7B2ECDAE1265}" dt="2023-03-03T09:45:57.098" v="3091" actId="1076"/>
          <ac:cxnSpMkLst>
            <pc:docMk/>
            <pc:sldMk cId="2882582271" sldId="2147469985"/>
            <ac:cxnSpMk id="27" creationId="{027F4798-59CF-4464-8853-49129B3156D5}"/>
          </ac:cxnSpMkLst>
        </pc:cxnChg>
        <pc:cxnChg chg="add mod">
          <ac:chgData name="Simone NERI" userId="2a00f2ad-68d9-45e6-b604-268bfad9cc5e" providerId="ADAL" clId="{D888A4E8-4B4E-4F9E-AD90-7B2ECDAE1265}" dt="2023-03-03T09:42:24.782" v="3023" actId="571"/>
          <ac:cxnSpMkLst>
            <pc:docMk/>
            <pc:sldMk cId="2882582271" sldId="2147469985"/>
            <ac:cxnSpMk id="54" creationId="{199593A0-8797-D294-430D-07CEED23B37C}"/>
          </ac:cxnSpMkLst>
        </pc:cxnChg>
        <pc:cxnChg chg="add mod">
          <ac:chgData name="Simone NERI" userId="2a00f2ad-68d9-45e6-b604-268bfad9cc5e" providerId="ADAL" clId="{D888A4E8-4B4E-4F9E-AD90-7B2ECDAE1265}" dt="2023-03-03T09:45:57.098" v="3091" actId="1076"/>
          <ac:cxnSpMkLst>
            <pc:docMk/>
            <pc:sldMk cId="2882582271" sldId="2147469985"/>
            <ac:cxnSpMk id="59" creationId="{7028DBA8-8D40-77B9-DFEA-73BCB8131F18}"/>
          </ac:cxnSpMkLst>
        </pc:cxnChg>
        <pc:cxnChg chg="add mod">
          <ac:chgData name="Simone NERI" userId="2a00f2ad-68d9-45e6-b604-268bfad9cc5e" providerId="ADAL" clId="{D888A4E8-4B4E-4F9E-AD90-7B2ECDAE1265}" dt="2023-03-03T09:47:34.775" v="3239" actId="1076"/>
          <ac:cxnSpMkLst>
            <pc:docMk/>
            <pc:sldMk cId="2882582271" sldId="2147469985"/>
            <ac:cxnSpMk id="63" creationId="{528C1072-52AE-A8B6-0E68-CF762DA1D463}"/>
          </ac:cxnSpMkLst>
        </pc:cxnChg>
        <pc:cxnChg chg="del">
          <ac:chgData name="Simone NERI" userId="2a00f2ad-68d9-45e6-b604-268bfad9cc5e" providerId="ADAL" clId="{D888A4E8-4B4E-4F9E-AD90-7B2ECDAE1265}" dt="2023-03-03T09:39:03.673" v="2816" actId="478"/>
          <ac:cxnSpMkLst>
            <pc:docMk/>
            <pc:sldMk cId="2882582271" sldId="2147469985"/>
            <ac:cxnSpMk id="67" creationId="{890A0D41-D4A2-4108-8043-A3BC57E38A45}"/>
          </ac:cxnSpMkLst>
        </pc:cxnChg>
        <pc:cxnChg chg="del">
          <ac:chgData name="Simone NERI" userId="2a00f2ad-68d9-45e6-b604-268bfad9cc5e" providerId="ADAL" clId="{D888A4E8-4B4E-4F9E-AD90-7B2ECDAE1265}" dt="2023-03-03T09:39:02.523" v="2815" actId="478"/>
          <ac:cxnSpMkLst>
            <pc:docMk/>
            <pc:sldMk cId="2882582271" sldId="2147469985"/>
            <ac:cxnSpMk id="68" creationId="{EF56E103-21E0-4333-A0F7-9F69A0AF0BC3}"/>
          </ac:cxnSpMkLst>
        </pc:cxnChg>
        <pc:cxnChg chg="add mod">
          <ac:chgData name="Simone NERI" userId="2a00f2ad-68d9-45e6-b604-268bfad9cc5e" providerId="ADAL" clId="{D888A4E8-4B4E-4F9E-AD90-7B2ECDAE1265}" dt="2023-03-03T09:46:03.475" v="3093" actId="948"/>
          <ac:cxnSpMkLst>
            <pc:docMk/>
            <pc:sldMk cId="2882582271" sldId="2147469985"/>
            <ac:cxnSpMk id="69" creationId="{68CE0337-DB2D-5691-5CEF-0FBD1EC7DF5B}"/>
          </ac:cxnSpMkLst>
        </pc:cxnChg>
        <pc:cxnChg chg="del">
          <ac:chgData name="Simone NERI" userId="2a00f2ad-68d9-45e6-b604-268bfad9cc5e" providerId="ADAL" clId="{D888A4E8-4B4E-4F9E-AD90-7B2ECDAE1265}" dt="2023-03-03T09:39:08.293" v="2818" actId="478"/>
          <ac:cxnSpMkLst>
            <pc:docMk/>
            <pc:sldMk cId="2882582271" sldId="2147469985"/>
            <ac:cxnSpMk id="73" creationId="{52C88639-5447-4654-843E-923AD07A63DE}"/>
          </ac:cxnSpMkLst>
        </pc:cxnChg>
        <pc:cxnChg chg="add mod">
          <ac:chgData name="Simone NERI" userId="2a00f2ad-68d9-45e6-b604-268bfad9cc5e" providerId="ADAL" clId="{D888A4E8-4B4E-4F9E-AD90-7B2ECDAE1265}" dt="2023-03-03T09:47:34.775" v="3239" actId="1076"/>
          <ac:cxnSpMkLst>
            <pc:docMk/>
            <pc:sldMk cId="2882582271" sldId="2147469985"/>
            <ac:cxnSpMk id="75" creationId="{FC8E87DD-0C6A-B898-28BA-F211AAB4B880}"/>
          </ac:cxnSpMkLst>
        </pc:cxnChg>
      </pc:sldChg>
      <pc:sldChg chg="modSp add del mod">
        <pc:chgData name="Simone NERI" userId="2a00f2ad-68d9-45e6-b604-268bfad9cc5e" providerId="ADAL" clId="{D888A4E8-4B4E-4F9E-AD90-7B2ECDAE1265}" dt="2023-03-06T12:28:11.888" v="6529" actId="47"/>
        <pc:sldMkLst>
          <pc:docMk/>
          <pc:sldMk cId="2869870972" sldId="2147469986"/>
        </pc:sldMkLst>
        <pc:spChg chg="mod">
          <ac:chgData name="Simone NERI" userId="2a00f2ad-68d9-45e6-b604-268bfad9cc5e" providerId="ADAL" clId="{D888A4E8-4B4E-4F9E-AD90-7B2ECDAE1265}" dt="2023-03-03T16:38:11.779" v="4350" actId="1076"/>
          <ac:spMkLst>
            <pc:docMk/>
            <pc:sldMk cId="2869870972" sldId="2147469986"/>
            <ac:spMk id="2" creationId="{28D526B6-54E3-4D50-CF12-7B0DDC69A2D9}"/>
          </ac:spMkLst>
        </pc:spChg>
      </pc:sldChg>
      <pc:sldChg chg="addSp delSp modSp add mod">
        <pc:chgData name="Simone NERI" userId="2a00f2ad-68d9-45e6-b604-268bfad9cc5e" providerId="ADAL" clId="{D888A4E8-4B4E-4F9E-AD90-7B2ECDAE1265}" dt="2023-03-08T10:01:51.434" v="9932" actId="20577"/>
        <pc:sldMkLst>
          <pc:docMk/>
          <pc:sldMk cId="4257343342" sldId="2147469987"/>
        </pc:sldMkLst>
        <pc:spChg chg="add del mod">
          <ac:chgData name="Simone NERI" userId="2a00f2ad-68d9-45e6-b604-268bfad9cc5e" providerId="ADAL" clId="{D888A4E8-4B4E-4F9E-AD90-7B2ECDAE1265}" dt="2023-03-03T16:35:05.728" v="4331" actId="478"/>
          <ac:spMkLst>
            <pc:docMk/>
            <pc:sldMk cId="4257343342" sldId="2147469987"/>
            <ac:spMk id="2" creationId="{CE34E829-96F4-2731-0FCF-A51EB5932FDA}"/>
          </ac:spMkLst>
        </pc:spChg>
        <pc:spChg chg="add mod">
          <ac:chgData name="Simone NERI" userId="2a00f2ad-68d9-45e6-b604-268bfad9cc5e" providerId="ADAL" clId="{D888A4E8-4B4E-4F9E-AD90-7B2ECDAE1265}" dt="2023-03-03T16:34:47.304" v="4327" actId="1076"/>
          <ac:spMkLst>
            <pc:docMk/>
            <pc:sldMk cId="4257343342" sldId="2147469987"/>
            <ac:spMk id="3" creationId="{C23D7109-0F8C-32FA-D7A2-3A5F90F58FEB}"/>
          </ac:spMkLst>
        </pc:spChg>
        <pc:spChg chg="add del mod">
          <ac:chgData name="Simone NERI" userId="2a00f2ad-68d9-45e6-b604-268bfad9cc5e" providerId="ADAL" clId="{D888A4E8-4B4E-4F9E-AD90-7B2ECDAE1265}" dt="2023-03-03T16:55:07.280" v="4363" actId="478"/>
          <ac:spMkLst>
            <pc:docMk/>
            <pc:sldMk cId="4257343342" sldId="2147469987"/>
            <ac:spMk id="5" creationId="{E80A4E75-7754-4D3C-08B9-71A0AB4914A4}"/>
          </ac:spMkLst>
        </pc:spChg>
        <pc:spChg chg="mod">
          <ac:chgData name="Simone NERI" userId="2a00f2ad-68d9-45e6-b604-268bfad9cc5e" providerId="ADAL" clId="{D888A4E8-4B4E-4F9E-AD90-7B2ECDAE1265}" dt="2023-03-08T10:01:51.434" v="9932" actId="20577"/>
          <ac:spMkLst>
            <pc:docMk/>
            <pc:sldMk cId="4257343342" sldId="2147469987"/>
            <ac:spMk id="7" creationId="{B1D764E1-3BDB-3442-095C-D35FC116C602}"/>
          </ac:spMkLst>
        </pc:spChg>
        <pc:spChg chg="del">
          <ac:chgData name="Simone NERI" userId="2a00f2ad-68d9-45e6-b604-268bfad9cc5e" providerId="ADAL" clId="{D888A4E8-4B4E-4F9E-AD90-7B2ECDAE1265}" dt="2023-03-03T16:35:02.057" v="4330" actId="478"/>
          <ac:spMkLst>
            <pc:docMk/>
            <pc:sldMk cId="4257343342" sldId="2147469987"/>
            <ac:spMk id="8" creationId="{D1A0BC56-5570-830B-F337-BC9B2349E334}"/>
          </ac:spMkLst>
        </pc:spChg>
        <pc:spChg chg="mod">
          <ac:chgData name="Simone NERI" userId="2a00f2ad-68d9-45e6-b604-268bfad9cc5e" providerId="ADAL" clId="{D888A4E8-4B4E-4F9E-AD90-7B2ECDAE1265}" dt="2023-03-03T16:53:54.573" v="4351"/>
          <ac:spMkLst>
            <pc:docMk/>
            <pc:sldMk cId="4257343342" sldId="2147469987"/>
            <ac:spMk id="11" creationId="{268B71B5-EB76-EA1D-F46D-E708871B46E4}"/>
          </ac:spMkLst>
        </pc:spChg>
        <pc:spChg chg="mod">
          <ac:chgData name="Simone NERI" userId="2a00f2ad-68d9-45e6-b604-268bfad9cc5e" providerId="ADAL" clId="{D888A4E8-4B4E-4F9E-AD90-7B2ECDAE1265}" dt="2023-03-06T08:22:44.040" v="5020" actId="1076"/>
          <ac:spMkLst>
            <pc:docMk/>
            <pc:sldMk cId="4257343342" sldId="2147469987"/>
            <ac:spMk id="14" creationId="{6DFB6513-CF39-07DB-2905-40C2156F484D}"/>
          </ac:spMkLst>
        </pc:spChg>
        <pc:spChg chg="del mod topLvl">
          <ac:chgData name="Simone NERI" userId="2a00f2ad-68d9-45e6-b604-268bfad9cc5e" providerId="ADAL" clId="{D888A4E8-4B4E-4F9E-AD90-7B2ECDAE1265}" dt="2023-03-06T12:20:42.535" v="6142" actId="478"/>
          <ac:spMkLst>
            <pc:docMk/>
            <pc:sldMk cId="4257343342" sldId="2147469987"/>
            <ac:spMk id="17" creationId="{34D71A9C-13E3-401F-FF83-0638E7502D29}"/>
          </ac:spMkLst>
        </pc:spChg>
        <pc:spChg chg="add del mod">
          <ac:chgData name="Simone NERI" userId="2a00f2ad-68d9-45e6-b604-268bfad9cc5e" providerId="ADAL" clId="{D888A4E8-4B4E-4F9E-AD90-7B2ECDAE1265}" dt="2023-03-06T12:06:09.847" v="5530" actId="478"/>
          <ac:spMkLst>
            <pc:docMk/>
            <pc:sldMk cId="4257343342" sldId="2147469987"/>
            <ac:spMk id="19" creationId="{7AE52613-84D5-03A5-4CB6-AA7D3D67BB2E}"/>
          </ac:spMkLst>
        </pc:spChg>
        <pc:spChg chg="add del">
          <ac:chgData name="Simone NERI" userId="2a00f2ad-68d9-45e6-b604-268bfad9cc5e" providerId="ADAL" clId="{D888A4E8-4B4E-4F9E-AD90-7B2ECDAE1265}" dt="2023-03-06T08:24:38.289" v="5025" actId="478"/>
          <ac:spMkLst>
            <pc:docMk/>
            <pc:sldMk cId="4257343342" sldId="2147469987"/>
            <ac:spMk id="24" creationId="{FE398729-C3B7-82DE-B46D-4FE5E2E771D1}"/>
          </ac:spMkLst>
        </pc:spChg>
        <pc:spChg chg="add mod">
          <ac:chgData name="Simone NERI" userId="2a00f2ad-68d9-45e6-b604-268bfad9cc5e" providerId="ADAL" clId="{D888A4E8-4B4E-4F9E-AD90-7B2ECDAE1265}" dt="2023-03-06T12:07:42.727" v="5583" actId="553"/>
          <ac:spMkLst>
            <pc:docMk/>
            <pc:sldMk cId="4257343342" sldId="2147469987"/>
            <ac:spMk id="33" creationId="{E5E017AF-5130-87DD-AEE0-62A3B14F1572}"/>
          </ac:spMkLst>
        </pc:spChg>
        <pc:spChg chg="add mod">
          <ac:chgData name="Simone NERI" userId="2a00f2ad-68d9-45e6-b604-268bfad9cc5e" providerId="ADAL" clId="{D888A4E8-4B4E-4F9E-AD90-7B2ECDAE1265}" dt="2023-03-06T12:18:48.929" v="6122" actId="1076"/>
          <ac:spMkLst>
            <pc:docMk/>
            <pc:sldMk cId="4257343342" sldId="2147469987"/>
            <ac:spMk id="34" creationId="{226391AC-8199-24EF-F086-6532C4A4836A}"/>
          </ac:spMkLst>
        </pc:spChg>
        <pc:spChg chg="add mod">
          <ac:chgData name="Simone NERI" userId="2a00f2ad-68d9-45e6-b604-268bfad9cc5e" providerId="ADAL" clId="{D888A4E8-4B4E-4F9E-AD90-7B2ECDAE1265}" dt="2023-03-06T12:18:26.105" v="6115" actId="1076"/>
          <ac:spMkLst>
            <pc:docMk/>
            <pc:sldMk cId="4257343342" sldId="2147469987"/>
            <ac:spMk id="35" creationId="{FA9835E0-ED4E-92B7-FBE1-8CEC28094123}"/>
          </ac:spMkLst>
        </pc:spChg>
        <pc:spChg chg="add mod">
          <ac:chgData name="Simone NERI" userId="2a00f2ad-68d9-45e6-b604-268bfad9cc5e" providerId="ADAL" clId="{D888A4E8-4B4E-4F9E-AD90-7B2ECDAE1265}" dt="2023-03-06T12:17:38.036" v="6109" actId="14100"/>
          <ac:spMkLst>
            <pc:docMk/>
            <pc:sldMk cId="4257343342" sldId="2147469987"/>
            <ac:spMk id="36" creationId="{AE792E10-F664-DB8A-7941-7E986E6491BA}"/>
          </ac:spMkLst>
        </pc:spChg>
        <pc:spChg chg="add mod">
          <ac:chgData name="Simone NERI" userId="2a00f2ad-68d9-45e6-b604-268bfad9cc5e" providerId="ADAL" clId="{D888A4E8-4B4E-4F9E-AD90-7B2ECDAE1265}" dt="2023-03-06T12:17:53.808" v="6113" actId="465"/>
          <ac:spMkLst>
            <pc:docMk/>
            <pc:sldMk cId="4257343342" sldId="2147469987"/>
            <ac:spMk id="37" creationId="{602B46CA-C3D7-39F0-E8B7-F889003583F8}"/>
          </ac:spMkLst>
        </pc:spChg>
        <pc:spChg chg="add mod">
          <ac:chgData name="Simone NERI" userId="2a00f2ad-68d9-45e6-b604-268bfad9cc5e" providerId="ADAL" clId="{D888A4E8-4B4E-4F9E-AD90-7B2ECDAE1265}" dt="2023-03-06T12:03:21.028" v="5333" actId="571"/>
          <ac:spMkLst>
            <pc:docMk/>
            <pc:sldMk cId="4257343342" sldId="2147469987"/>
            <ac:spMk id="39" creationId="{CDCA5C18-DF57-C1C8-44F1-D0AE8E016335}"/>
          </ac:spMkLst>
        </pc:spChg>
        <pc:spChg chg="add mod">
          <ac:chgData name="Simone NERI" userId="2a00f2ad-68d9-45e6-b604-268bfad9cc5e" providerId="ADAL" clId="{D888A4E8-4B4E-4F9E-AD90-7B2ECDAE1265}" dt="2023-03-06T12:17:45.115" v="6112" actId="20577"/>
          <ac:spMkLst>
            <pc:docMk/>
            <pc:sldMk cId="4257343342" sldId="2147469987"/>
            <ac:spMk id="40" creationId="{B10AE217-4602-8E8E-2268-1219A47BCF6E}"/>
          </ac:spMkLst>
        </pc:spChg>
        <pc:spChg chg="add mod ord">
          <ac:chgData name="Simone NERI" userId="2a00f2ad-68d9-45e6-b604-268bfad9cc5e" providerId="ADAL" clId="{D888A4E8-4B4E-4F9E-AD90-7B2ECDAE1265}" dt="2023-03-06T12:18:26.105" v="6115" actId="1076"/>
          <ac:spMkLst>
            <pc:docMk/>
            <pc:sldMk cId="4257343342" sldId="2147469987"/>
            <ac:spMk id="45" creationId="{2F2DD741-43E3-EC5E-889C-ECC9F8098E61}"/>
          </ac:spMkLst>
        </pc:spChg>
        <pc:spChg chg="del mod">
          <ac:chgData name="Simone NERI" userId="2a00f2ad-68d9-45e6-b604-268bfad9cc5e" providerId="ADAL" clId="{D888A4E8-4B4E-4F9E-AD90-7B2ECDAE1265}" dt="2023-03-06T12:20:08.483" v="6134" actId="478"/>
          <ac:spMkLst>
            <pc:docMk/>
            <pc:sldMk cId="4257343342" sldId="2147469987"/>
            <ac:spMk id="48" creationId="{8F3480C7-59A1-97B7-BB67-45E4238B1F2B}"/>
          </ac:spMkLst>
        </pc:spChg>
        <pc:spChg chg="add mod">
          <ac:chgData name="Simone NERI" userId="2a00f2ad-68d9-45e6-b604-268bfad9cc5e" providerId="ADAL" clId="{D888A4E8-4B4E-4F9E-AD90-7B2ECDAE1265}" dt="2023-03-06T12:24:26.426" v="6323" actId="14100"/>
          <ac:spMkLst>
            <pc:docMk/>
            <pc:sldMk cId="4257343342" sldId="2147469987"/>
            <ac:spMk id="50" creationId="{BDBF30B0-BAFC-6906-CC97-ADC7EF287E52}"/>
          </ac:spMkLst>
        </pc:spChg>
        <pc:spChg chg="add del mod">
          <ac:chgData name="Simone NERI" userId="2a00f2ad-68d9-45e6-b604-268bfad9cc5e" providerId="ADAL" clId="{D888A4E8-4B4E-4F9E-AD90-7B2ECDAE1265}" dt="2023-03-06T12:20:44.206" v="6143" actId="478"/>
          <ac:spMkLst>
            <pc:docMk/>
            <pc:sldMk cId="4257343342" sldId="2147469987"/>
            <ac:spMk id="51" creationId="{FE92D7AC-CCF9-443F-5C33-3F6513CF5D17}"/>
          </ac:spMkLst>
        </pc:spChg>
        <pc:spChg chg="add mod">
          <ac:chgData name="Simone NERI" userId="2a00f2ad-68d9-45e6-b604-268bfad9cc5e" providerId="ADAL" clId="{D888A4E8-4B4E-4F9E-AD90-7B2ECDAE1265}" dt="2023-03-06T12:27:21.485" v="6526" actId="1076"/>
          <ac:spMkLst>
            <pc:docMk/>
            <pc:sldMk cId="4257343342" sldId="2147469987"/>
            <ac:spMk id="52" creationId="{533903FF-65D4-56AC-7C8C-60D836D2C118}"/>
          </ac:spMkLst>
        </pc:spChg>
        <pc:spChg chg="add mod">
          <ac:chgData name="Simone NERI" userId="2a00f2ad-68d9-45e6-b604-268bfad9cc5e" providerId="ADAL" clId="{D888A4E8-4B4E-4F9E-AD90-7B2ECDAE1265}" dt="2023-03-06T12:27:59.275" v="6528"/>
          <ac:spMkLst>
            <pc:docMk/>
            <pc:sldMk cId="4257343342" sldId="2147469987"/>
            <ac:spMk id="53" creationId="{4296DB54-3EDD-F5CE-9FB3-DAA27F492FCA}"/>
          </ac:spMkLst>
        </pc:spChg>
        <pc:grpChg chg="add del mod">
          <ac:chgData name="Simone NERI" userId="2a00f2ad-68d9-45e6-b604-268bfad9cc5e" providerId="ADAL" clId="{D888A4E8-4B4E-4F9E-AD90-7B2ECDAE1265}" dt="2023-03-06T12:19:47.359" v="6131" actId="478"/>
          <ac:grpSpMkLst>
            <pc:docMk/>
            <pc:sldMk cId="4257343342" sldId="2147469987"/>
            <ac:grpSpMk id="6" creationId="{2F1951BA-1039-D2C2-10A2-06296EA6E963}"/>
          </ac:grpSpMkLst>
        </pc:grpChg>
        <pc:grpChg chg="add del mod">
          <ac:chgData name="Simone NERI" userId="2a00f2ad-68d9-45e6-b604-268bfad9cc5e" providerId="ADAL" clId="{D888A4E8-4B4E-4F9E-AD90-7B2ECDAE1265}" dt="2023-03-06T12:19:31.437" v="6128" actId="478"/>
          <ac:grpSpMkLst>
            <pc:docMk/>
            <pc:sldMk cId="4257343342" sldId="2147469987"/>
            <ac:grpSpMk id="12" creationId="{77CE22E8-E956-40FD-4CC4-1D21E0E4E7D1}"/>
          </ac:grpSpMkLst>
        </pc:grpChg>
        <pc:grpChg chg="add del mod">
          <ac:chgData name="Simone NERI" userId="2a00f2ad-68d9-45e6-b604-268bfad9cc5e" providerId="ADAL" clId="{D888A4E8-4B4E-4F9E-AD90-7B2ECDAE1265}" dt="2023-03-06T12:20:16.002" v="6136" actId="165"/>
          <ac:grpSpMkLst>
            <pc:docMk/>
            <pc:sldMk cId="4257343342" sldId="2147469987"/>
            <ac:grpSpMk id="15" creationId="{67E427CF-4FBF-C4D3-BB52-4053E3F52B14}"/>
          </ac:grpSpMkLst>
        </pc:grpChg>
        <pc:grpChg chg="add del mod">
          <ac:chgData name="Simone NERI" userId="2a00f2ad-68d9-45e6-b604-268bfad9cc5e" providerId="ADAL" clId="{D888A4E8-4B4E-4F9E-AD90-7B2ECDAE1265}" dt="2023-03-06T12:21:18.204" v="6166" actId="478"/>
          <ac:grpSpMkLst>
            <pc:docMk/>
            <pc:sldMk cId="4257343342" sldId="2147469987"/>
            <ac:grpSpMk id="46" creationId="{2AD434C9-5760-54B1-CAD4-A3665B7703AD}"/>
          </ac:grpSpMkLst>
        </pc:grpChg>
        <pc:graphicFrameChg chg="add del mod">
          <ac:chgData name="Simone NERI" userId="2a00f2ad-68d9-45e6-b604-268bfad9cc5e" providerId="ADAL" clId="{D888A4E8-4B4E-4F9E-AD90-7B2ECDAE1265}" dt="2023-03-06T08:24:29.422" v="5022" actId="478"/>
          <ac:graphicFrameMkLst>
            <pc:docMk/>
            <pc:sldMk cId="4257343342" sldId="2147469987"/>
            <ac:graphicFrameMk id="20" creationId="{37BE84CB-B453-8B00-512F-32069D37F4BB}"/>
          </ac:graphicFrameMkLst>
        </pc:graphicFrameChg>
        <pc:graphicFrameChg chg="add del mod">
          <ac:chgData name="Simone NERI" userId="2a00f2ad-68d9-45e6-b604-268bfad9cc5e" providerId="ADAL" clId="{D888A4E8-4B4E-4F9E-AD90-7B2ECDAE1265}" dt="2023-03-06T08:25:38.332" v="5033" actId="478"/>
          <ac:graphicFrameMkLst>
            <pc:docMk/>
            <pc:sldMk cId="4257343342" sldId="2147469987"/>
            <ac:graphicFrameMk id="26" creationId="{D10771E3-A0FB-93D2-6827-A1CB8F084D8F}"/>
          </ac:graphicFrameMkLst>
        </pc:graphicFrameChg>
        <pc:graphicFrameChg chg="add mod">
          <ac:chgData name="Simone NERI" userId="2a00f2ad-68d9-45e6-b604-268bfad9cc5e" providerId="ADAL" clId="{D888A4E8-4B4E-4F9E-AD90-7B2ECDAE1265}" dt="2023-03-06T12:07:33.069" v="5582" actId="553"/>
          <ac:graphicFrameMkLst>
            <pc:docMk/>
            <pc:sldMk cId="4257343342" sldId="2147469987"/>
            <ac:graphicFrameMk id="30" creationId="{0653095D-D675-1794-BB3C-2D6FBC2C9B7C}"/>
          </ac:graphicFrameMkLst>
        </pc:graphicFrameChg>
        <pc:graphicFrameChg chg="add mod">
          <ac:chgData name="Simone NERI" userId="2a00f2ad-68d9-45e6-b604-268bfad9cc5e" providerId="ADAL" clId="{D888A4E8-4B4E-4F9E-AD90-7B2ECDAE1265}" dt="2023-03-06T12:18:48.929" v="6122" actId="1076"/>
          <ac:graphicFrameMkLst>
            <pc:docMk/>
            <pc:sldMk cId="4257343342" sldId="2147469987"/>
            <ac:graphicFrameMk id="31" creationId="{D4C9B5F3-22CB-5C02-8122-6E93BE133F49}"/>
          </ac:graphicFrameMkLst>
        </pc:graphicFrameChg>
        <pc:graphicFrameChg chg="add mod">
          <ac:chgData name="Simone NERI" userId="2a00f2ad-68d9-45e6-b604-268bfad9cc5e" providerId="ADAL" clId="{D888A4E8-4B4E-4F9E-AD90-7B2ECDAE1265}" dt="2023-03-06T12:18:32.538" v="6117" actId="1076"/>
          <ac:graphicFrameMkLst>
            <pc:docMk/>
            <pc:sldMk cId="4257343342" sldId="2147469987"/>
            <ac:graphicFrameMk id="32" creationId="{A4A10369-4892-88B0-D298-CA956E36D1E3}"/>
          </ac:graphicFrameMkLst>
        </pc:graphicFrameChg>
        <pc:graphicFrameChg chg="add mod">
          <ac:chgData name="Simone NERI" userId="2a00f2ad-68d9-45e6-b604-268bfad9cc5e" providerId="ADAL" clId="{D888A4E8-4B4E-4F9E-AD90-7B2ECDAE1265}" dt="2023-03-06T12:03:21.028" v="5333" actId="571"/>
          <ac:graphicFrameMkLst>
            <pc:docMk/>
            <pc:sldMk cId="4257343342" sldId="2147469987"/>
            <ac:graphicFrameMk id="38" creationId="{D1B8C32C-7107-A252-42B5-48D761C57E57}"/>
          </ac:graphicFrameMkLst>
        </pc:graphicFrameChg>
        <pc:graphicFrameChg chg="add del mod">
          <ac:chgData name="Simone NERI" userId="2a00f2ad-68d9-45e6-b604-268bfad9cc5e" providerId="ADAL" clId="{D888A4E8-4B4E-4F9E-AD90-7B2ECDAE1265}" dt="2023-03-06T12:13:16.294" v="5937" actId="478"/>
          <ac:graphicFrameMkLst>
            <pc:docMk/>
            <pc:sldMk cId="4257343342" sldId="2147469987"/>
            <ac:graphicFrameMk id="41" creationId="{F1635A79-BF92-9731-B886-516ED41B4347}"/>
          </ac:graphicFrameMkLst>
        </pc:graphicFrameChg>
        <pc:graphicFrameChg chg="add del mod">
          <ac:chgData name="Simone NERI" userId="2a00f2ad-68d9-45e6-b604-268bfad9cc5e" providerId="ADAL" clId="{D888A4E8-4B4E-4F9E-AD90-7B2ECDAE1265}" dt="2023-03-06T12:13:13.621" v="5936" actId="478"/>
          <ac:graphicFrameMkLst>
            <pc:docMk/>
            <pc:sldMk cId="4257343342" sldId="2147469987"/>
            <ac:graphicFrameMk id="42" creationId="{A46C4529-5EB1-6F34-AD1E-6B528EDFDAF2}"/>
          </ac:graphicFrameMkLst>
        </pc:graphicFrameChg>
        <pc:graphicFrameChg chg="add mod ord">
          <ac:chgData name="Simone NERI" userId="2a00f2ad-68d9-45e6-b604-268bfad9cc5e" providerId="ADAL" clId="{D888A4E8-4B4E-4F9E-AD90-7B2ECDAE1265}" dt="2023-03-06T12:18:26.105" v="6115" actId="1076"/>
          <ac:graphicFrameMkLst>
            <pc:docMk/>
            <pc:sldMk cId="4257343342" sldId="2147469987"/>
            <ac:graphicFrameMk id="43" creationId="{54434CC1-C10C-3803-7B30-B73447BF7C14}"/>
          </ac:graphicFrameMkLst>
        </pc:graphicFrameChg>
        <pc:graphicFrameChg chg="add mod ord">
          <ac:chgData name="Simone NERI" userId="2a00f2ad-68d9-45e6-b604-268bfad9cc5e" providerId="ADAL" clId="{D888A4E8-4B4E-4F9E-AD90-7B2ECDAE1265}" dt="2023-03-06T12:18:26.105" v="6115" actId="1076"/>
          <ac:graphicFrameMkLst>
            <pc:docMk/>
            <pc:sldMk cId="4257343342" sldId="2147469987"/>
            <ac:graphicFrameMk id="44" creationId="{E5AF960F-DC31-A037-BDB4-3FFE1F3C0BEB}"/>
          </ac:graphicFrameMkLst>
        </pc:graphicFrameChg>
        <pc:picChg chg="mod">
          <ac:chgData name="Simone NERI" userId="2a00f2ad-68d9-45e6-b604-268bfad9cc5e" providerId="ADAL" clId="{D888A4E8-4B4E-4F9E-AD90-7B2ECDAE1265}" dt="2023-03-03T16:53:54.573" v="4351"/>
          <ac:picMkLst>
            <pc:docMk/>
            <pc:sldMk cId="4257343342" sldId="2147469987"/>
            <ac:picMk id="9" creationId="{FD0409DD-F21B-347A-56B0-52B55636CAFA}"/>
          </ac:picMkLst>
        </pc:picChg>
        <pc:picChg chg="mod">
          <ac:chgData name="Simone NERI" userId="2a00f2ad-68d9-45e6-b604-268bfad9cc5e" providerId="ADAL" clId="{D888A4E8-4B4E-4F9E-AD90-7B2ECDAE1265}" dt="2023-03-03T16:53:54.573" v="4351"/>
          <ac:picMkLst>
            <pc:docMk/>
            <pc:sldMk cId="4257343342" sldId="2147469987"/>
            <ac:picMk id="10" creationId="{0AC91D4B-B0CD-6B1F-188E-B43EC119E63F}"/>
          </ac:picMkLst>
        </pc:picChg>
        <pc:picChg chg="mod">
          <ac:chgData name="Simone NERI" userId="2a00f2ad-68d9-45e6-b604-268bfad9cc5e" providerId="ADAL" clId="{D888A4E8-4B4E-4F9E-AD90-7B2ECDAE1265}" dt="2023-03-06T08:22:44.040" v="5020" actId="1076"/>
          <ac:picMkLst>
            <pc:docMk/>
            <pc:sldMk cId="4257343342" sldId="2147469987"/>
            <ac:picMk id="13" creationId="{94609A63-CFEA-D623-DBFF-679DDFA2F329}"/>
          </ac:picMkLst>
        </pc:picChg>
        <pc:picChg chg="mod topLvl">
          <ac:chgData name="Simone NERI" userId="2a00f2ad-68d9-45e6-b604-268bfad9cc5e" providerId="ADAL" clId="{D888A4E8-4B4E-4F9E-AD90-7B2ECDAE1265}" dt="2023-03-06T12:23:49.725" v="6318" actId="1076"/>
          <ac:picMkLst>
            <pc:docMk/>
            <pc:sldMk cId="4257343342" sldId="2147469987"/>
            <ac:picMk id="16" creationId="{83A8800E-F78B-00D4-BFB4-41AF7C9E9D98}"/>
          </ac:picMkLst>
        </pc:picChg>
        <pc:picChg chg="del mod topLvl">
          <ac:chgData name="Simone NERI" userId="2a00f2ad-68d9-45e6-b604-268bfad9cc5e" providerId="ADAL" clId="{D888A4E8-4B4E-4F9E-AD90-7B2ECDAE1265}" dt="2023-03-06T12:21:16.045" v="6165" actId="478"/>
          <ac:picMkLst>
            <pc:docMk/>
            <pc:sldMk cId="4257343342" sldId="2147469987"/>
            <ac:picMk id="18" creationId="{C7257B3C-109F-1D09-FCD0-0232AA19ED83}"/>
          </ac:picMkLst>
        </pc:picChg>
        <pc:picChg chg="add del mod">
          <ac:chgData name="Simone NERI" userId="2a00f2ad-68d9-45e6-b604-268bfad9cc5e" providerId="ADAL" clId="{D888A4E8-4B4E-4F9E-AD90-7B2ECDAE1265}" dt="2023-03-06T08:24:29.422" v="5022" actId="478"/>
          <ac:picMkLst>
            <pc:docMk/>
            <pc:sldMk cId="4257343342" sldId="2147469987"/>
            <ac:picMk id="21" creationId="{00000000-0008-0000-0000-000009040000}"/>
          </ac:picMkLst>
        </pc:picChg>
        <pc:picChg chg="add del mod">
          <ac:chgData name="Simone NERI" userId="2a00f2ad-68d9-45e6-b604-268bfad9cc5e" providerId="ADAL" clId="{D888A4E8-4B4E-4F9E-AD90-7B2ECDAE1265}" dt="2023-03-06T08:24:29.422" v="5022" actId="478"/>
          <ac:picMkLst>
            <pc:docMk/>
            <pc:sldMk cId="4257343342" sldId="2147469987"/>
            <ac:picMk id="22" creationId="{00000000-0008-0000-0000-00000A040000}"/>
          </ac:picMkLst>
        </pc:picChg>
        <pc:picChg chg="add del mod">
          <ac:chgData name="Simone NERI" userId="2a00f2ad-68d9-45e6-b604-268bfad9cc5e" providerId="ADAL" clId="{D888A4E8-4B4E-4F9E-AD90-7B2ECDAE1265}" dt="2023-03-06T08:25:33.907" v="5031" actId="478"/>
          <ac:picMkLst>
            <pc:docMk/>
            <pc:sldMk cId="4257343342" sldId="2147469987"/>
            <ac:picMk id="25" creationId="{553B013A-C40F-FFA3-7F0A-80C1EBFAFB10}"/>
          </ac:picMkLst>
        </pc:picChg>
        <pc:picChg chg="add del mod">
          <ac:chgData name="Simone NERI" userId="2a00f2ad-68d9-45e6-b604-268bfad9cc5e" providerId="ADAL" clId="{D888A4E8-4B4E-4F9E-AD90-7B2ECDAE1265}" dt="2023-03-06T08:25:38.332" v="5033" actId="478"/>
          <ac:picMkLst>
            <pc:docMk/>
            <pc:sldMk cId="4257343342" sldId="2147469987"/>
            <ac:picMk id="27" creationId="{00000000-0008-0000-0000-000009040000}"/>
          </ac:picMkLst>
        </pc:picChg>
        <pc:picChg chg="add del mod">
          <ac:chgData name="Simone NERI" userId="2a00f2ad-68d9-45e6-b604-268bfad9cc5e" providerId="ADAL" clId="{D888A4E8-4B4E-4F9E-AD90-7B2ECDAE1265}" dt="2023-03-06T08:25:38.332" v="5033" actId="478"/>
          <ac:picMkLst>
            <pc:docMk/>
            <pc:sldMk cId="4257343342" sldId="2147469987"/>
            <ac:picMk id="28" creationId="{00000000-0008-0000-0000-00000A040000}"/>
          </ac:picMkLst>
        </pc:picChg>
        <pc:picChg chg="add mod">
          <ac:chgData name="Simone NERI" userId="2a00f2ad-68d9-45e6-b604-268bfad9cc5e" providerId="ADAL" clId="{D888A4E8-4B4E-4F9E-AD90-7B2ECDAE1265}" dt="2023-03-06T12:27:21.485" v="6526" actId="1076"/>
          <ac:picMkLst>
            <pc:docMk/>
            <pc:sldMk cId="4257343342" sldId="2147469987"/>
            <ac:picMk id="29" creationId="{5A1FE5AC-D7BE-64DB-0A7C-88E1B3372E28}"/>
          </ac:picMkLst>
        </pc:picChg>
        <pc:picChg chg="del mod">
          <ac:chgData name="Simone NERI" userId="2a00f2ad-68d9-45e6-b604-268bfad9cc5e" providerId="ADAL" clId="{D888A4E8-4B4E-4F9E-AD90-7B2ECDAE1265}" dt="2023-03-06T12:21:18.204" v="6166" actId="478"/>
          <ac:picMkLst>
            <pc:docMk/>
            <pc:sldMk cId="4257343342" sldId="2147469987"/>
            <ac:picMk id="47" creationId="{8D3F5D6A-87DD-83EE-EB4D-3E634F42A001}"/>
          </ac:picMkLst>
        </pc:picChg>
        <pc:picChg chg="mod">
          <ac:chgData name="Simone NERI" userId="2a00f2ad-68d9-45e6-b604-268bfad9cc5e" providerId="ADAL" clId="{D888A4E8-4B4E-4F9E-AD90-7B2ECDAE1265}" dt="2023-03-06T12:23:48.255" v="6317" actId="1076"/>
          <ac:picMkLst>
            <pc:docMk/>
            <pc:sldMk cId="4257343342" sldId="2147469987"/>
            <ac:picMk id="49" creationId="{2F82F4F1-78D5-D7CE-82F7-9D75BDDA3194}"/>
          </ac:picMkLst>
        </pc:picChg>
        <pc:picChg chg="add del mod">
          <ac:chgData name="Simone NERI" userId="2a00f2ad-68d9-45e6-b604-268bfad9cc5e" providerId="ADAL" clId="{D888A4E8-4B4E-4F9E-AD90-7B2ECDAE1265}" dt="2023-03-06T08:24:29.422" v="5022" actId="478"/>
          <ac:picMkLst>
            <pc:docMk/>
            <pc:sldMk cId="4257343342" sldId="2147469987"/>
            <ac:picMk id="2051" creationId="{240F8037-EC27-46C1-0279-1D90F4B4F416}"/>
          </ac:picMkLst>
        </pc:picChg>
        <pc:picChg chg="add del mod">
          <ac:chgData name="Simone NERI" userId="2a00f2ad-68d9-45e6-b604-268bfad9cc5e" providerId="ADAL" clId="{D888A4E8-4B4E-4F9E-AD90-7B2ECDAE1265}" dt="2023-03-06T08:24:29.422" v="5022" actId="478"/>
          <ac:picMkLst>
            <pc:docMk/>
            <pc:sldMk cId="4257343342" sldId="2147469987"/>
            <ac:picMk id="2052" creationId="{95B75CAB-8A13-44E6-BA74-CBC77458DF47}"/>
          </ac:picMkLst>
        </pc:picChg>
        <pc:picChg chg="add del mod">
          <ac:chgData name="Simone NERI" userId="2a00f2ad-68d9-45e6-b604-268bfad9cc5e" providerId="ADAL" clId="{D888A4E8-4B4E-4F9E-AD90-7B2ECDAE1265}" dt="2023-03-06T08:25:38.332" v="5033" actId="478"/>
          <ac:picMkLst>
            <pc:docMk/>
            <pc:sldMk cId="4257343342" sldId="2147469987"/>
            <ac:picMk id="2055" creationId="{EC1FA51B-65CC-96FF-8C7C-0DF02364FF49}"/>
          </ac:picMkLst>
        </pc:picChg>
        <pc:picChg chg="add del mod">
          <ac:chgData name="Simone NERI" userId="2a00f2ad-68d9-45e6-b604-268bfad9cc5e" providerId="ADAL" clId="{D888A4E8-4B4E-4F9E-AD90-7B2ECDAE1265}" dt="2023-03-06T08:25:38.332" v="5033" actId="478"/>
          <ac:picMkLst>
            <pc:docMk/>
            <pc:sldMk cId="4257343342" sldId="2147469987"/>
            <ac:picMk id="2056" creationId="{075E523D-57E5-ED4D-B2C2-9AD715CCAA18}"/>
          </ac:picMkLst>
        </pc:picChg>
        <pc:cxnChg chg="add del mod">
          <ac:chgData name="Simone NERI" userId="2a00f2ad-68d9-45e6-b604-268bfad9cc5e" providerId="ADAL" clId="{D888A4E8-4B4E-4F9E-AD90-7B2ECDAE1265}" dt="2023-03-03T16:55:10.196" v="4364" actId="478"/>
          <ac:cxnSpMkLst>
            <pc:docMk/>
            <pc:sldMk cId="4257343342" sldId="2147469987"/>
            <ac:cxnSpMk id="4" creationId="{38478871-A7AA-D5D2-C93B-A8BC2702ABE2}"/>
          </ac:cxnSpMkLst>
        </pc:cxnChg>
      </pc:sldChg>
      <pc:sldChg chg="addSp delSp modSp add mod addCm">
        <pc:chgData name="Simone NERI" userId="2a00f2ad-68d9-45e6-b604-268bfad9cc5e" providerId="ADAL" clId="{D888A4E8-4B4E-4F9E-AD90-7B2ECDAE1265}" dt="2023-03-08T10:02:25.344" v="9938" actId="1076"/>
        <pc:sldMkLst>
          <pc:docMk/>
          <pc:sldMk cId="2077101343" sldId="2147469988"/>
        </pc:sldMkLst>
        <pc:spChg chg="add del mod">
          <ac:chgData name="Simone NERI" userId="2a00f2ad-68d9-45e6-b604-268bfad9cc5e" providerId="ADAL" clId="{D888A4E8-4B4E-4F9E-AD90-7B2ECDAE1265}" dt="2023-03-03T16:37:03.876" v="4346" actId="478"/>
          <ac:spMkLst>
            <pc:docMk/>
            <pc:sldMk cId="2077101343" sldId="2147469988"/>
            <ac:spMk id="2" creationId="{6C8E9271-DA79-DD7D-25C1-9578DDDA6852}"/>
          </ac:spMkLst>
        </pc:spChg>
        <pc:spChg chg="mod">
          <ac:chgData name="Simone NERI" userId="2a00f2ad-68d9-45e6-b604-268bfad9cc5e" providerId="ADAL" clId="{D888A4E8-4B4E-4F9E-AD90-7B2ECDAE1265}" dt="2023-03-03T16:37:09.556" v="4348" actId="20577"/>
          <ac:spMkLst>
            <pc:docMk/>
            <pc:sldMk cId="2077101343" sldId="2147469988"/>
            <ac:spMk id="3" creationId="{C23D7109-0F8C-32FA-D7A2-3A5F90F58FEB}"/>
          </ac:spMkLst>
        </pc:spChg>
        <pc:spChg chg="add del mod">
          <ac:chgData name="Simone NERI" userId="2a00f2ad-68d9-45e6-b604-268bfad9cc5e" providerId="ADAL" clId="{D888A4E8-4B4E-4F9E-AD90-7B2ECDAE1265}" dt="2023-03-03T16:37:06.826" v="4347" actId="478"/>
          <ac:spMkLst>
            <pc:docMk/>
            <pc:sldMk cId="2077101343" sldId="2147469988"/>
            <ac:spMk id="4" creationId="{3BA6DBDB-B363-295A-1F88-46C53CBDC135}"/>
          </ac:spMkLst>
        </pc:spChg>
        <pc:spChg chg="mod">
          <ac:chgData name="Simone NERI" userId="2a00f2ad-68d9-45e6-b604-268bfad9cc5e" providerId="ADAL" clId="{D888A4E8-4B4E-4F9E-AD90-7B2ECDAE1265}" dt="2023-03-08T10:02:02.327" v="9935" actId="20577"/>
          <ac:spMkLst>
            <pc:docMk/>
            <pc:sldMk cId="2077101343" sldId="2147469988"/>
            <ac:spMk id="7" creationId="{B1D764E1-3BDB-3442-095C-D35FC116C602}"/>
          </ac:spMkLst>
        </pc:spChg>
        <pc:spChg chg="mod">
          <ac:chgData name="Simone NERI" userId="2a00f2ad-68d9-45e6-b604-268bfad9cc5e" providerId="ADAL" clId="{D888A4E8-4B4E-4F9E-AD90-7B2ECDAE1265}" dt="2023-03-08T10:02:25.344" v="9938" actId="1076"/>
          <ac:spMkLst>
            <pc:docMk/>
            <pc:sldMk cId="2077101343" sldId="2147469988"/>
            <ac:spMk id="33" creationId="{B3B8A20E-4835-A378-462D-15F8D7FC87BC}"/>
          </ac:spMkLst>
        </pc:spChg>
        <pc:spChg chg="mod">
          <ac:chgData name="Simone NERI" userId="2a00f2ad-68d9-45e6-b604-268bfad9cc5e" providerId="ADAL" clId="{D888A4E8-4B4E-4F9E-AD90-7B2ECDAE1265}" dt="2023-03-08T10:02:25.344" v="9938" actId="1076"/>
          <ac:spMkLst>
            <pc:docMk/>
            <pc:sldMk cId="2077101343" sldId="2147469988"/>
            <ac:spMk id="35" creationId="{80395EBC-CD7B-37BE-2EB3-026FF499427F}"/>
          </ac:spMkLst>
        </pc:spChg>
        <pc:spChg chg="mod">
          <ac:chgData name="Simone NERI" userId="2a00f2ad-68d9-45e6-b604-268bfad9cc5e" providerId="ADAL" clId="{D888A4E8-4B4E-4F9E-AD90-7B2ECDAE1265}" dt="2023-03-08T10:02:25.344" v="9938" actId="1076"/>
          <ac:spMkLst>
            <pc:docMk/>
            <pc:sldMk cId="2077101343" sldId="2147469988"/>
            <ac:spMk id="36" creationId="{8728CC67-6926-31C8-18FA-03F7E71C7BD5}"/>
          </ac:spMkLst>
        </pc:spChg>
        <pc:spChg chg="mod">
          <ac:chgData name="Simone NERI" userId="2a00f2ad-68d9-45e6-b604-268bfad9cc5e" providerId="ADAL" clId="{D888A4E8-4B4E-4F9E-AD90-7B2ECDAE1265}" dt="2023-03-08T10:02:25.344" v="9938" actId="1076"/>
          <ac:spMkLst>
            <pc:docMk/>
            <pc:sldMk cId="2077101343" sldId="2147469988"/>
            <ac:spMk id="38" creationId="{9F0495C2-023F-C3BB-3207-29EF76B5B1CB}"/>
          </ac:spMkLst>
        </pc:spChg>
        <pc:spChg chg="mod">
          <ac:chgData name="Simone NERI" userId="2a00f2ad-68d9-45e6-b604-268bfad9cc5e" providerId="ADAL" clId="{D888A4E8-4B4E-4F9E-AD90-7B2ECDAE1265}" dt="2023-03-08T10:02:25.344" v="9938" actId="1076"/>
          <ac:spMkLst>
            <pc:docMk/>
            <pc:sldMk cId="2077101343" sldId="2147469988"/>
            <ac:spMk id="39" creationId="{515BE997-C33C-A623-3F97-031D5B368319}"/>
          </ac:spMkLst>
        </pc:spChg>
        <pc:graphicFrameChg chg="mod">
          <ac:chgData name="Simone NERI" userId="2a00f2ad-68d9-45e6-b604-268bfad9cc5e" providerId="ADAL" clId="{D888A4E8-4B4E-4F9E-AD90-7B2ECDAE1265}" dt="2023-03-08T10:02:25.344" v="9938" actId="1076"/>
          <ac:graphicFrameMkLst>
            <pc:docMk/>
            <pc:sldMk cId="2077101343" sldId="2147469988"/>
            <ac:graphicFrameMk id="29" creationId="{73C9A651-998E-5F2E-998B-E04969936B28}"/>
          </ac:graphicFrameMkLst>
        </pc:graphicFrameChg>
        <pc:graphicFrameChg chg="mod">
          <ac:chgData name="Simone NERI" userId="2a00f2ad-68d9-45e6-b604-268bfad9cc5e" providerId="ADAL" clId="{D888A4E8-4B4E-4F9E-AD90-7B2ECDAE1265}" dt="2023-03-08T10:02:25.344" v="9938" actId="1076"/>
          <ac:graphicFrameMkLst>
            <pc:docMk/>
            <pc:sldMk cId="2077101343" sldId="2147469988"/>
            <ac:graphicFrameMk id="31" creationId="{F2087616-FE98-2CB3-7396-4B834502E325}"/>
          </ac:graphicFrameMkLst>
        </pc:graphicFrameChg>
        <pc:graphicFrameChg chg="mod">
          <ac:chgData name="Simone NERI" userId="2a00f2ad-68d9-45e6-b604-268bfad9cc5e" providerId="ADAL" clId="{D888A4E8-4B4E-4F9E-AD90-7B2ECDAE1265}" dt="2023-03-08T10:02:25.344" v="9938" actId="1076"/>
          <ac:graphicFrameMkLst>
            <pc:docMk/>
            <pc:sldMk cId="2077101343" sldId="2147469988"/>
            <ac:graphicFrameMk id="32" creationId="{0C2E1953-84B8-F6E3-B88D-FEA5A233547B}"/>
          </ac:graphicFrameMkLst>
        </pc:graphicFrameChg>
        <pc:extLst>
          <p:ext xmlns:p="http://schemas.openxmlformats.org/presentationml/2006/main" uri="{D6D511B9-2390-475A-947B-AFAB55BFBCF1}">
            <pc226:cmChg xmlns:pc226="http://schemas.microsoft.com/office/powerpoint/2022/06/main/command" chg="add">
              <pc226:chgData name="Simone NERI" userId="2a00f2ad-68d9-45e6-b604-268bfad9cc5e" providerId="ADAL" clId="{D888A4E8-4B4E-4F9E-AD90-7B2ECDAE1265}" dt="2023-03-03T16:37:52.573" v="4349"/>
              <pc2:cmMkLst xmlns:pc2="http://schemas.microsoft.com/office/powerpoint/2019/9/main/command">
                <pc:docMk/>
                <pc:sldMk cId="2077101343" sldId="2147469988"/>
                <pc2:cmMk id="{0EF87505-6A47-4187-A611-9B1264C1CCEA}"/>
              </pc2:cmMkLst>
            </pc226:cmChg>
          </p:ext>
        </pc:extLst>
      </pc:sldChg>
      <pc:sldChg chg="addSp modSp mod">
        <pc:chgData name="Simone NERI" userId="2a00f2ad-68d9-45e6-b604-268bfad9cc5e" providerId="ADAL" clId="{D888A4E8-4B4E-4F9E-AD90-7B2ECDAE1265}" dt="2023-03-08T09:20:50.698" v="9353"/>
        <pc:sldMkLst>
          <pc:docMk/>
          <pc:sldMk cId="1741760903" sldId="2147469989"/>
        </pc:sldMkLst>
        <pc:spChg chg="add mod">
          <ac:chgData name="Simone NERI" userId="2a00f2ad-68d9-45e6-b604-268bfad9cc5e" providerId="ADAL" clId="{D888A4E8-4B4E-4F9E-AD90-7B2ECDAE1265}" dt="2023-03-08T09:20:50.698" v="9353"/>
          <ac:spMkLst>
            <pc:docMk/>
            <pc:sldMk cId="1741760903" sldId="2147469989"/>
            <ac:spMk id="6" creationId="{B5F6ED0B-914B-5B0F-5368-9928BD32C699}"/>
          </ac:spMkLst>
        </pc:spChg>
        <pc:spChg chg="mod">
          <ac:chgData name="Simone NERI" userId="2a00f2ad-68d9-45e6-b604-268bfad9cc5e" providerId="ADAL" clId="{D888A4E8-4B4E-4F9E-AD90-7B2ECDAE1265}" dt="2023-03-08T09:20:45.916" v="9351" actId="14100"/>
          <ac:spMkLst>
            <pc:docMk/>
            <pc:sldMk cId="1741760903" sldId="2147469989"/>
            <ac:spMk id="37" creationId="{7AF0E430-CDB8-4B45-8379-46CBA595C178}"/>
          </ac:spMkLst>
        </pc:spChg>
        <pc:spChg chg="mod">
          <ac:chgData name="Simone NERI" userId="2a00f2ad-68d9-45e6-b604-268bfad9cc5e" providerId="ADAL" clId="{D888A4E8-4B4E-4F9E-AD90-7B2ECDAE1265}" dt="2023-03-08T09:20:48.619" v="9352" actId="1076"/>
          <ac:spMkLst>
            <pc:docMk/>
            <pc:sldMk cId="1741760903" sldId="2147469989"/>
            <ac:spMk id="52" creationId="{59D1624C-7D27-5595-8261-A69A25FBE4D7}"/>
          </ac:spMkLst>
        </pc:spChg>
      </pc:sldChg>
      <pc:sldChg chg="addSp modSp">
        <pc:chgData name="Simone NERI" userId="2a00f2ad-68d9-45e6-b604-268bfad9cc5e" providerId="ADAL" clId="{D888A4E8-4B4E-4F9E-AD90-7B2ECDAE1265}" dt="2023-03-08T09:21:03.182" v="9355"/>
        <pc:sldMkLst>
          <pc:docMk/>
          <pc:sldMk cId="1961901940" sldId="2147469990"/>
        </pc:sldMkLst>
        <pc:spChg chg="add mod">
          <ac:chgData name="Simone NERI" userId="2a00f2ad-68d9-45e6-b604-268bfad9cc5e" providerId="ADAL" clId="{D888A4E8-4B4E-4F9E-AD90-7B2ECDAE1265}" dt="2023-03-08T09:21:03.182" v="9355"/>
          <ac:spMkLst>
            <pc:docMk/>
            <pc:sldMk cId="1961901940" sldId="2147469990"/>
            <ac:spMk id="2" creationId="{E00D5B9A-B5F2-7FF5-46E1-FBEADEAE52A5}"/>
          </ac:spMkLst>
        </pc:spChg>
      </pc:sldChg>
      <pc:sldChg chg="addSp delSp modSp new del mod">
        <pc:chgData name="Simone NERI" userId="2a00f2ad-68d9-45e6-b604-268bfad9cc5e" providerId="ADAL" clId="{D888A4E8-4B4E-4F9E-AD90-7B2ECDAE1265}" dt="2023-03-07T14:12:48.803" v="7704" actId="47"/>
        <pc:sldMkLst>
          <pc:docMk/>
          <pc:sldMk cId="3644613008" sldId="2147469992"/>
        </pc:sldMkLst>
        <pc:spChg chg="add del mod">
          <ac:chgData name="Simone NERI" userId="2a00f2ad-68d9-45e6-b604-268bfad9cc5e" providerId="ADAL" clId="{D888A4E8-4B4E-4F9E-AD90-7B2ECDAE1265}" dt="2023-03-07T14:08:24.491" v="7548" actId="478"/>
          <ac:spMkLst>
            <pc:docMk/>
            <pc:sldMk cId="3644613008" sldId="2147469992"/>
            <ac:spMk id="4" creationId="{60F71D83-9499-2C9C-C089-34ABCD67E3E3}"/>
          </ac:spMkLst>
        </pc:spChg>
      </pc:sldChg>
      <pc:sldChg chg="addSp modSp mod modCm">
        <pc:chgData name="Simone NERI" userId="2a00f2ad-68d9-45e6-b604-268bfad9cc5e" providerId="ADAL" clId="{D888A4E8-4B4E-4F9E-AD90-7B2ECDAE1265}" dt="2023-03-08T09:35:58.973" v="9811"/>
        <pc:sldMkLst>
          <pc:docMk/>
          <pc:sldMk cId="3239217406" sldId="2147469993"/>
        </pc:sldMkLst>
        <pc:spChg chg="add mod">
          <ac:chgData name="Simone NERI" userId="2a00f2ad-68d9-45e6-b604-268bfad9cc5e" providerId="ADAL" clId="{D888A4E8-4B4E-4F9E-AD90-7B2ECDAE1265}" dt="2023-03-07T14:00:15.155" v="7446"/>
          <ac:spMkLst>
            <pc:docMk/>
            <pc:sldMk cId="3239217406" sldId="2147469993"/>
            <ac:spMk id="3" creationId="{EAE0D751-6FAD-D84F-48E1-757DD154C2EE}"/>
          </ac:spMkLst>
        </pc:spChg>
        <pc:spChg chg="add mod">
          <ac:chgData name="Simone NERI" userId="2a00f2ad-68d9-45e6-b604-268bfad9cc5e" providerId="ADAL" clId="{D888A4E8-4B4E-4F9E-AD90-7B2ECDAE1265}" dt="2023-03-08T09:35:58.973" v="9811"/>
          <ac:spMkLst>
            <pc:docMk/>
            <pc:sldMk cId="3239217406" sldId="2147469993"/>
            <ac:spMk id="5" creationId="{F06E1DE0-D520-154D-4C7C-E27F25F8B32D}"/>
          </ac:spMkLst>
        </pc:spChg>
        <pc:spChg chg="mod">
          <ac:chgData name="Simone NERI" userId="2a00f2ad-68d9-45e6-b604-268bfad9cc5e" providerId="ADAL" clId="{D888A4E8-4B4E-4F9E-AD90-7B2ECDAE1265}" dt="2023-03-07T14:00:35.981" v="7454" actId="20577"/>
          <ac:spMkLst>
            <pc:docMk/>
            <pc:sldMk cId="3239217406" sldId="2147469993"/>
            <ac:spMk id="39" creationId="{DFC8BC12-489E-0C0C-5261-E36B1C0DC3E4}"/>
          </ac:spMkLst>
        </pc:spChg>
        <pc:extLst>
          <p:ext xmlns:p="http://schemas.openxmlformats.org/presentationml/2006/main" uri="{D6D511B9-2390-475A-947B-AFAB55BFBCF1}">
            <pc226:cmChg xmlns:pc226="http://schemas.microsoft.com/office/powerpoint/2022/06/main/command" chg="mod">
              <pc226:chgData name="Simone NERI" userId="2a00f2ad-68d9-45e6-b604-268bfad9cc5e" providerId="ADAL" clId="{D888A4E8-4B4E-4F9E-AD90-7B2ECDAE1265}" dt="2023-03-07T14:00:35.981" v="7454" actId="20577"/>
              <pc2:cmMkLst xmlns:pc2="http://schemas.microsoft.com/office/powerpoint/2019/9/main/command">
                <pc:docMk/>
                <pc:sldMk cId="3239217406" sldId="2147469993"/>
                <pc2:cmMk id="{967FEB26-53DD-46D1-888C-0E09C9624BDD}"/>
              </pc2:cmMkLst>
            </pc226:cmChg>
            <pc226:cmChg xmlns:pc226="http://schemas.microsoft.com/office/powerpoint/2022/06/main/command" chg="mod">
              <pc226:chgData name="Simone NERI" userId="2a00f2ad-68d9-45e6-b604-268bfad9cc5e" providerId="ADAL" clId="{D888A4E8-4B4E-4F9E-AD90-7B2ECDAE1265}" dt="2023-03-07T13:58:50.210" v="7416"/>
              <pc2:cmMkLst xmlns:pc2="http://schemas.microsoft.com/office/powerpoint/2019/9/main/command">
                <pc:docMk/>
                <pc:sldMk cId="3239217406" sldId="2147469993"/>
                <pc2:cmMk id="{066D37CF-F56E-4381-A2E8-A67115426352}"/>
              </pc2:cmMkLst>
            </pc226:cmChg>
          </p:ext>
        </pc:extLst>
      </pc:sldChg>
      <pc:sldChg chg="addSp delSp modSp add mod">
        <pc:chgData name="Simone NERI" userId="2a00f2ad-68d9-45e6-b604-268bfad9cc5e" providerId="ADAL" clId="{D888A4E8-4B4E-4F9E-AD90-7B2ECDAE1265}" dt="2023-03-08T10:26:41.059" v="10094" actId="1076"/>
        <pc:sldMkLst>
          <pc:docMk/>
          <pc:sldMk cId="3779820847" sldId="2147469994"/>
        </pc:sldMkLst>
        <pc:spChg chg="add del mod">
          <ac:chgData name="Simone NERI" userId="2a00f2ad-68d9-45e6-b604-268bfad9cc5e" providerId="ADAL" clId="{D888A4E8-4B4E-4F9E-AD90-7B2ECDAE1265}" dt="2023-03-07T20:53:43.142" v="7769"/>
          <ac:spMkLst>
            <pc:docMk/>
            <pc:sldMk cId="3779820847" sldId="2147469994"/>
            <ac:spMk id="2" creationId="{DB076D91-A2F6-A1FF-3593-F1451AD960DE}"/>
          </ac:spMkLst>
        </pc:spChg>
        <pc:spChg chg="mod">
          <ac:chgData name="Simone NERI" userId="2a00f2ad-68d9-45e6-b604-268bfad9cc5e" providerId="ADAL" clId="{D888A4E8-4B4E-4F9E-AD90-7B2ECDAE1265}" dt="2023-03-08T09:49:47.038" v="9885" actId="20577"/>
          <ac:spMkLst>
            <pc:docMk/>
            <pc:sldMk cId="3779820847" sldId="2147469994"/>
            <ac:spMk id="4" creationId="{4A508FF4-FB7F-1647-9EC4-35A7CFA8AA2E}"/>
          </ac:spMkLst>
        </pc:spChg>
        <pc:spChg chg="add mod">
          <ac:chgData name="Simone NERI" userId="2a00f2ad-68d9-45e6-b604-268bfad9cc5e" providerId="ADAL" clId="{D888A4E8-4B4E-4F9E-AD90-7B2ECDAE1265}" dt="2023-03-08T09:49:32.277" v="9883"/>
          <ac:spMkLst>
            <pc:docMk/>
            <pc:sldMk cId="3779820847" sldId="2147469994"/>
            <ac:spMk id="5" creationId="{954A9DC3-288D-E8FD-C8FF-3CF0EE0E20E2}"/>
          </ac:spMkLst>
        </pc:spChg>
        <pc:spChg chg="add del mod">
          <ac:chgData name="Simone NERI" userId="2a00f2ad-68d9-45e6-b604-268bfad9cc5e" providerId="ADAL" clId="{D888A4E8-4B4E-4F9E-AD90-7B2ECDAE1265}" dt="2023-03-07T21:12:47.432" v="8006" actId="478"/>
          <ac:spMkLst>
            <pc:docMk/>
            <pc:sldMk cId="3779820847" sldId="2147469994"/>
            <ac:spMk id="5" creationId="{F0B22F3C-755D-AAC8-2A6F-5F96F6A47E2D}"/>
          </ac:spMkLst>
        </pc:spChg>
        <pc:spChg chg="del">
          <ac:chgData name="Simone NERI" userId="2a00f2ad-68d9-45e6-b604-268bfad9cc5e" providerId="ADAL" clId="{D888A4E8-4B4E-4F9E-AD90-7B2ECDAE1265}" dt="2023-03-07T20:59:08.696" v="7783" actId="478"/>
          <ac:spMkLst>
            <pc:docMk/>
            <pc:sldMk cId="3779820847" sldId="2147469994"/>
            <ac:spMk id="11" creationId="{1087D3E7-5133-4E33-8A5C-5281C9660DA0}"/>
          </ac:spMkLst>
        </pc:spChg>
        <pc:spChg chg="mod">
          <ac:chgData name="Simone NERI" userId="2a00f2ad-68d9-45e6-b604-268bfad9cc5e" providerId="ADAL" clId="{D888A4E8-4B4E-4F9E-AD90-7B2ECDAE1265}" dt="2023-03-07T20:58:54.446" v="7775" actId="1076"/>
          <ac:spMkLst>
            <pc:docMk/>
            <pc:sldMk cId="3779820847" sldId="2147469994"/>
            <ac:spMk id="17" creationId="{F0F83D3B-97BE-9782-0CDE-41C7B4300E08}"/>
          </ac:spMkLst>
        </pc:spChg>
        <pc:spChg chg="mod">
          <ac:chgData name="Simone NERI" userId="2a00f2ad-68d9-45e6-b604-268bfad9cc5e" providerId="ADAL" clId="{D888A4E8-4B4E-4F9E-AD90-7B2ECDAE1265}" dt="2023-03-07T20:58:54.446" v="7775" actId="1076"/>
          <ac:spMkLst>
            <pc:docMk/>
            <pc:sldMk cId="3779820847" sldId="2147469994"/>
            <ac:spMk id="18" creationId="{61DAAF81-29F4-FCD0-F062-8A81DCDE3A45}"/>
          </ac:spMkLst>
        </pc:spChg>
        <pc:spChg chg="mod">
          <ac:chgData name="Simone NERI" userId="2a00f2ad-68d9-45e6-b604-268bfad9cc5e" providerId="ADAL" clId="{D888A4E8-4B4E-4F9E-AD90-7B2ECDAE1265}" dt="2023-03-07T20:58:54.446" v="7775" actId="1076"/>
          <ac:spMkLst>
            <pc:docMk/>
            <pc:sldMk cId="3779820847" sldId="2147469994"/>
            <ac:spMk id="19" creationId="{A0161315-0979-A014-071A-F53D29C01A2C}"/>
          </ac:spMkLst>
        </pc:spChg>
        <pc:spChg chg="mod">
          <ac:chgData name="Simone NERI" userId="2a00f2ad-68d9-45e6-b604-268bfad9cc5e" providerId="ADAL" clId="{D888A4E8-4B4E-4F9E-AD90-7B2ECDAE1265}" dt="2023-03-07T20:58:54.446" v="7775" actId="1076"/>
          <ac:spMkLst>
            <pc:docMk/>
            <pc:sldMk cId="3779820847" sldId="2147469994"/>
            <ac:spMk id="20" creationId="{8332FB91-F0BD-8F0B-CED9-4190F81A930C}"/>
          </ac:spMkLst>
        </pc:spChg>
        <pc:spChg chg="mod">
          <ac:chgData name="Simone NERI" userId="2a00f2ad-68d9-45e6-b604-268bfad9cc5e" providerId="ADAL" clId="{D888A4E8-4B4E-4F9E-AD90-7B2ECDAE1265}" dt="2023-03-07T20:58:54.446" v="7775" actId="1076"/>
          <ac:spMkLst>
            <pc:docMk/>
            <pc:sldMk cId="3779820847" sldId="2147469994"/>
            <ac:spMk id="21" creationId="{D82D8018-989B-5CB6-9256-971EBF527387}"/>
          </ac:spMkLst>
        </pc:spChg>
        <pc:spChg chg="mod">
          <ac:chgData name="Simone NERI" userId="2a00f2ad-68d9-45e6-b604-268bfad9cc5e" providerId="ADAL" clId="{D888A4E8-4B4E-4F9E-AD90-7B2ECDAE1265}" dt="2023-03-07T20:58:54.446" v="7775" actId="1076"/>
          <ac:spMkLst>
            <pc:docMk/>
            <pc:sldMk cId="3779820847" sldId="2147469994"/>
            <ac:spMk id="22" creationId="{8F3BC0C6-5EF8-D491-4EE4-710FDF9AC2A8}"/>
          </ac:spMkLst>
        </pc:spChg>
        <pc:spChg chg="mod">
          <ac:chgData name="Simone NERI" userId="2a00f2ad-68d9-45e6-b604-268bfad9cc5e" providerId="ADAL" clId="{D888A4E8-4B4E-4F9E-AD90-7B2ECDAE1265}" dt="2023-03-07T20:58:54.446" v="7775" actId="1076"/>
          <ac:spMkLst>
            <pc:docMk/>
            <pc:sldMk cId="3779820847" sldId="2147469994"/>
            <ac:spMk id="23" creationId="{1E8E8D78-CA49-EB6A-4C9F-CE93959B1DE7}"/>
          </ac:spMkLst>
        </pc:spChg>
        <pc:spChg chg="mod">
          <ac:chgData name="Simone NERI" userId="2a00f2ad-68d9-45e6-b604-268bfad9cc5e" providerId="ADAL" clId="{D888A4E8-4B4E-4F9E-AD90-7B2ECDAE1265}" dt="2023-03-07T20:58:54.446" v="7775" actId="1076"/>
          <ac:spMkLst>
            <pc:docMk/>
            <pc:sldMk cId="3779820847" sldId="2147469994"/>
            <ac:spMk id="24" creationId="{159EA5A7-6266-BC19-CADA-7243E01E0003}"/>
          </ac:spMkLst>
        </pc:spChg>
        <pc:spChg chg="mod">
          <ac:chgData name="Simone NERI" userId="2a00f2ad-68d9-45e6-b604-268bfad9cc5e" providerId="ADAL" clId="{D888A4E8-4B4E-4F9E-AD90-7B2ECDAE1265}" dt="2023-03-07T20:58:54.446" v="7775" actId="1076"/>
          <ac:spMkLst>
            <pc:docMk/>
            <pc:sldMk cId="3779820847" sldId="2147469994"/>
            <ac:spMk id="25" creationId="{F2A8AE15-C5B7-5ABC-5676-8328FDFEE628}"/>
          </ac:spMkLst>
        </pc:spChg>
        <pc:spChg chg="mod">
          <ac:chgData name="Simone NERI" userId="2a00f2ad-68d9-45e6-b604-268bfad9cc5e" providerId="ADAL" clId="{D888A4E8-4B4E-4F9E-AD90-7B2ECDAE1265}" dt="2023-03-07T20:58:54.446" v="7775" actId="1076"/>
          <ac:spMkLst>
            <pc:docMk/>
            <pc:sldMk cId="3779820847" sldId="2147469994"/>
            <ac:spMk id="26" creationId="{577FF208-D0B2-9B4B-45B9-AD4FCC579328}"/>
          </ac:spMkLst>
        </pc:spChg>
        <pc:spChg chg="mod">
          <ac:chgData name="Simone NERI" userId="2a00f2ad-68d9-45e6-b604-268bfad9cc5e" providerId="ADAL" clId="{D888A4E8-4B4E-4F9E-AD90-7B2ECDAE1265}" dt="2023-03-07T20:58:54.446" v="7775" actId="1076"/>
          <ac:spMkLst>
            <pc:docMk/>
            <pc:sldMk cId="3779820847" sldId="2147469994"/>
            <ac:spMk id="27" creationId="{FC588FAA-A47D-10EF-D598-B8232374C011}"/>
          </ac:spMkLst>
        </pc:spChg>
        <pc:spChg chg="mod">
          <ac:chgData name="Simone NERI" userId="2a00f2ad-68d9-45e6-b604-268bfad9cc5e" providerId="ADAL" clId="{D888A4E8-4B4E-4F9E-AD90-7B2ECDAE1265}" dt="2023-03-07T20:58:54.446" v="7775" actId="1076"/>
          <ac:spMkLst>
            <pc:docMk/>
            <pc:sldMk cId="3779820847" sldId="2147469994"/>
            <ac:spMk id="28" creationId="{DC2B9DA8-57CA-1089-EAF1-A9540E382923}"/>
          </ac:spMkLst>
        </pc:spChg>
        <pc:spChg chg="mod">
          <ac:chgData name="Simone NERI" userId="2a00f2ad-68d9-45e6-b604-268bfad9cc5e" providerId="ADAL" clId="{D888A4E8-4B4E-4F9E-AD90-7B2ECDAE1265}" dt="2023-03-07T20:58:54.446" v="7775" actId="1076"/>
          <ac:spMkLst>
            <pc:docMk/>
            <pc:sldMk cId="3779820847" sldId="2147469994"/>
            <ac:spMk id="29" creationId="{95D98EAE-C88B-4979-99D4-A72D07994364}"/>
          </ac:spMkLst>
        </pc:spChg>
        <pc:spChg chg="mod">
          <ac:chgData name="Simone NERI" userId="2a00f2ad-68d9-45e6-b604-268bfad9cc5e" providerId="ADAL" clId="{D888A4E8-4B4E-4F9E-AD90-7B2ECDAE1265}" dt="2023-03-07T20:58:54.446" v="7775" actId="1076"/>
          <ac:spMkLst>
            <pc:docMk/>
            <pc:sldMk cId="3779820847" sldId="2147469994"/>
            <ac:spMk id="30" creationId="{B222DF9C-ECC8-BA14-B050-12D6716C381B}"/>
          </ac:spMkLst>
        </pc:spChg>
        <pc:spChg chg="mod">
          <ac:chgData name="Simone NERI" userId="2a00f2ad-68d9-45e6-b604-268bfad9cc5e" providerId="ADAL" clId="{D888A4E8-4B4E-4F9E-AD90-7B2ECDAE1265}" dt="2023-03-07T20:58:54.446" v="7775" actId="1076"/>
          <ac:spMkLst>
            <pc:docMk/>
            <pc:sldMk cId="3779820847" sldId="2147469994"/>
            <ac:spMk id="31" creationId="{0C96B3BB-0882-3108-DAC7-54E80F90798C}"/>
          </ac:spMkLst>
        </pc:spChg>
        <pc:spChg chg="mod">
          <ac:chgData name="Simone NERI" userId="2a00f2ad-68d9-45e6-b604-268bfad9cc5e" providerId="ADAL" clId="{D888A4E8-4B4E-4F9E-AD90-7B2ECDAE1265}" dt="2023-03-07T20:58:54.446" v="7775" actId="1076"/>
          <ac:spMkLst>
            <pc:docMk/>
            <pc:sldMk cId="3779820847" sldId="2147469994"/>
            <ac:spMk id="32" creationId="{0CF7597A-6F5B-DFE4-A0F5-6059CA88324E}"/>
          </ac:spMkLst>
        </pc:spChg>
        <pc:spChg chg="del">
          <ac:chgData name="Simone NERI" userId="2a00f2ad-68d9-45e6-b604-268bfad9cc5e" providerId="ADAL" clId="{D888A4E8-4B4E-4F9E-AD90-7B2ECDAE1265}" dt="2023-03-07T20:59:08.696" v="7783" actId="478"/>
          <ac:spMkLst>
            <pc:docMk/>
            <pc:sldMk cId="3779820847" sldId="2147469994"/>
            <ac:spMk id="33" creationId="{85789501-4DA0-4DB1-4EB3-50FC19ABE993}"/>
          </ac:spMkLst>
        </pc:spChg>
        <pc:spChg chg="del">
          <ac:chgData name="Simone NERI" userId="2a00f2ad-68d9-45e6-b604-268bfad9cc5e" providerId="ADAL" clId="{D888A4E8-4B4E-4F9E-AD90-7B2ECDAE1265}" dt="2023-03-07T20:59:08.696" v="7783" actId="478"/>
          <ac:spMkLst>
            <pc:docMk/>
            <pc:sldMk cId="3779820847" sldId="2147469994"/>
            <ac:spMk id="34" creationId="{1F754FDC-34A3-136A-8876-D22BB98269F6}"/>
          </ac:spMkLst>
        </pc:spChg>
        <pc:spChg chg="del">
          <ac:chgData name="Simone NERI" userId="2a00f2ad-68d9-45e6-b604-268bfad9cc5e" providerId="ADAL" clId="{D888A4E8-4B4E-4F9E-AD90-7B2ECDAE1265}" dt="2023-03-07T20:55:27.991" v="7772" actId="478"/>
          <ac:spMkLst>
            <pc:docMk/>
            <pc:sldMk cId="3779820847" sldId="2147469994"/>
            <ac:spMk id="35" creationId="{3F7F08BA-C537-D0FE-5023-92E0A4AED8B2}"/>
          </ac:spMkLst>
        </pc:spChg>
        <pc:spChg chg="del">
          <ac:chgData name="Simone NERI" userId="2a00f2ad-68d9-45e6-b604-268bfad9cc5e" providerId="ADAL" clId="{D888A4E8-4B4E-4F9E-AD90-7B2ECDAE1265}" dt="2023-03-07T20:55:27.991" v="7772" actId="478"/>
          <ac:spMkLst>
            <pc:docMk/>
            <pc:sldMk cId="3779820847" sldId="2147469994"/>
            <ac:spMk id="36" creationId="{F94BA09D-C6B6-EA0D-A378-ECB7659B8226}"/>
          </ac:spMkLst>
        </pc:spChg>
        <pc:spChg chg="del">
          <ac:chgData name="Simone NERI" userId="2a00f2ad-68d9-45e6-b604-268bfad9cc5e" providerId="ADAL" clId="{D888A4E8-4B4E-4F9E-AD90-7B2ECDAE1265}" dt="2023-03-07T20:59:08.696" v="7783" actId="478"/>
          <ac:spMkLst>
            <pc:docMk/>
            <pc:sldMk cId="3779820847" sldId="2147469994"/>
            <ac:spMk id="37" creationId="{E28C1A70-9077-CF2C-3651-5076FF2C92F3}"/>
          </ac:spMkLst>
        </pc:spChg>
        <pc:spChg chg="mod">
          <ac:chgData name="Simone NERI" userId="2a00f2ad-68d9-45e6-b604-268bfad9cc5e" providerId="ADAL" clId="{D888A4E8-4B4E-4F9E-AD90-7B2ECDAE1265}" dt="2023-03-07T20:58:54.446" v="7775" actId="1076"/>
          <ac:spMkLst>
            <pc:docMk/>
            <pc:sldMk cId="3779820847" sldId="2147469994"/>
            <ac:spMk id="38" creationId="{78ACE274-45F4-9A54-2675-E0D19FC3590C}"/>
          </ac:spMkLst>
        </pc:spChg>
        <pc:spChg chg="mod">
          <ac:chgData name="Simone NERI" userId="2a00f2ad-68d9-45e6-b604-268bfad9cc5e" providerId="ADAL" clId="{D888A4E8-4B4E-4F9E-AD90-7B2ECDAE1265}" dt="2023-03-07T20:58:54.446" v="7775" actId="1076"/>
          <ac:spMkLst>
            <pc:docMk/>
            <pc:sldMk cId="3779820847" sldId="2147469994"/>
            <ac:spMk id="39" creationId="{3ABB4AAC-1716-D58A-EF8C-62416B2644DE}"/>
          </ac:spMkLst>
        </pc:spChg>
        <pc:spChg chg="mod">
          <ac:chgData name="Simone NERI" userId="2a00f2ad-68d9-45e6-b604-268bfad9cc5e" providerId="ADAL" clId="{D888A4E8-4B4E-4F9E-AD90-7B2ECDAE1265}" dt="2023-03-07T20:58:54.446" v="7775" actId="1076"/>
          <ac:spMkLst>
            <pc:docMk/>
            <pc:sldMk cId="3779820847" sldId="2147469994"/>
            <ac:spMk id="41" creationId="{5CC55172-9B9A-2941-31A4-47EE7EDA005F}"/>
          </ac:spMkLst>
        </pc:spChg>
        <pc:spChg chg="mod">
          <ac:chgData name="Simone NERI" userId="2a00f2ad-68d9-45e6-b604-268bfad9cc5e" providerId="ADAL" clId="{D888A4E8-4B4E-4F9E-AD90-7B2ECDAE1265}" dt="2023-03-07T20:58:54.446" v="7775" actId="1076"/>
          <ac:spMkLst>
            <pc:docMk/>
            <pc:sldMk cId="3779820847" sldId="2147469994"/>
            <ac:spMk id="42" creationId="{E490B541-7737-0CC5-A8D2-6CD17BA86F83}"/>
          </ac:spMkLst>
        </pc:spChg>
        <pc:spChg chg="del">
          <ac:chgData name="Simone NERI" userId="2a00f2ad-68d9-45e6-b604-268bfad9cc5e" providerId="ADAL" clId="{D888A4E8-4B4E-4F9E-AD90-7B2ECDAE1265}" dt="2023-03-07T20:59:08.696" v="7783" actId="478"/>
          <ac:spMkLst>
            <pc:docMk/>
            <pc:sldMk cId="3779820847" sldId="2147469994"/>
            <ac:spMk id="43" creationId="{DCC73E06-F84D-029F-1756-1416A5299963}"/>
          </ac:spMkLst>
        </pc:spChg>
        <pc:spChg chg="del">
          <ac:chgData name="Simone NERI" userId="2a00f2ad-68d9-45e6-b604-268bfad9cc5e" providerId="ADAL" clId="{D888A4E8-4B4E-4F9E-AD90-7B2ECDAE1265}" dt="2023-03-07T20:59:08.696" v="7783" actId="478"/>
          <ac:spMkLst>
            <pc:docMk/>
            <pc:sldMk cId="3779820847" sldId="2147469994"/>
            <ac:spMk id="45" creationId="{6EE062D4-9560-F6FD-E59F-C6963B517773}"/>
          </ac:spMkLst>
        </pc:spChg>
        <pc:spChg chg="del">
          <ac:chgData name="Simone NERI" userId="2a00f2ad-68d9-45e6-b604-268bfad9cc5e" providerId="ADAL" clId="{D888A4E8-4B4E-4F9E-AD90-7B2ECDAE1265}" dt="2023-03-07T20:59:08.696" v="7783" actId="478"/>
          <ac:spMkLst>
            <pc:docMk/>
            <pc:sldMk cId="3779820847" sldId="2147469994"/>
            <ac:spMk id="46" creationId="{53A39866-44D9-47E1-526F-29E47ECE6E78}"/>
          </ac:spMkLst>
        </pc:spChg>
        <pc:spChg chg="mod">
          <ac:chgData name="Simone NERI" userId="2a00f2ad-68d9-45e6-b604-268bfad9cc5e" providerId="ADAL" clId="{D888A4E8-4B4E-4F9E-AD90-7B2ECDAE1265}" dt="2023-03-07T20:58:54.446" v="7775" actId="1076"/>
          <ac:spMkLst>
            <pc:docMk/>
            <pc:sldMk cId="3779820847" sldId="2147469994"/>
            <ac:spMk id="47" creationId="{7C36AD69-75AF-28FD-01DA-42FA3BBA6693}"/>
          </ac:spMkLst>
        </pc:spChg>
        <pc:spChg chg="mod">
          <ac:chgData name="Simone NERI" userId="2a00f2ad-68d9-45e6-b604-268bfad9cc5e" providerId="ADAL" clId="{D888A4E8-4B4E-4F9E-AD90-7B2ECDAE1265}" dt="2023-03-07T20:58:54.446" v="7775" actId="1076"/>
          <ac:spMkLst>
            <pc:docMk/>
            <pc:sldMk cId="3779820847" sldId="2147469994"/>
            <ac:spMk id="48" creationId="{8CCCA7C9-B7ED-E622-1C46-DA882F194DF0}"/>
          </ac:spMkLst>
        </pc:spChg>
        <pc:spChg chg="mod">
          <ac:chgData name="Simone NERI" userId="2a00f2ad-68d9-45e6-b604-268bfad9cc5e" providerId="ADAL" clId="{D888A4E8-4B4E-4F9E-AD90-7B2ECDAE1265}" dt="2023-03-07T20:58:54.446" v="7775" actId="1076"/>
          <ac:spMkLst>
            <pc:docMk/>
            <pc:sldMk cId="3779820847" sldId="2147469994"/>
            <ac:spMk id="49" creationId="{986ABAB3-5DC6-44F3-4D50-07A6940C85A5}"/>
          </ac:spMkLst>
        </pc:spChg>
        <pc:spChg chg="mod">
          <ac:chgData name="Simone NERI" userId="2a00f2ad-68d9-45e6-b604-268bfad9cc5e" providerId="ADAL" clId="{D888A4E8-4B4E-4F9E-AD90-7B2ECDAE1265}" dt="2023-03-07T20:58:54.446" v="7775" actId="1076"/>
          <ac:spMkLst>
            <pc:docMk/>
            <pc:sldMk cId="3779820847" sldId="2147469994"/>
            <ac:spMk id="50" creationId="{9AC03070-177D-3030-C705-C9F1B433BD0A}"/>
          </ac:spMkLst>
        </pc:spChg>
        <pc:spChg chg="mod">
          <ac:chgData name="Simone NERI" userId="2a00f2ad-68d9-45e6-b604-268bfad9cc5e" providerId="ADAL" clId="{D888A4E8-4B4E-4F9E-AD90-7B2ECDAE1265}" dt="2023-03-07T20:58:54.446" v="7775" actId="1076"/>
          <ac:spMkLst>
            <pc:docMk/>
            <pc:sldMk cId="3779820847" sldId="2147469994"/>
            <ac:spMk id="51" creationId="{4BB475C1-B33B-E63C-1635-CC071A14FBC9}"/>
          </ac:spMkLst>
        </pc:spChg>
        <pc:spChg chg="mod">
          <ac:chgData name="Simone NERI" userId="2a00f2ad-68d9-45e6-b604-268bfad9cc5e" providerId="ADAL" clId="{D888A4E8-4B4E-4F9E-AD90-7B2ECDAE1265}" dt="2023-03-07T20:58:54.446" v="7775" actId="1076"/>
          <ac:spMkLst>
            <pc:docMk/>
            <pc:sldMk cId="3779820847" sldId="2147469994"/>
            <ac:spMk id="52" creationId="{C8D314FD-F5BE-773E-FD5B-98F97CCE4CB1}"/>
          </ac:spMkLst>
        </pc:spChg>
        <pc:spChg chg="mod">
          <ac:chgData name="Simone NERI" userId="2a00f2ad-68d9-45e6-b604-268bfad9cc5e" providerId="ADAL" clId="{D888A4E8-4B4E-4F9E-AD90-7B2ECDAE1265}" dt="2023-03-07T20:58:54.446" v="7775" actId="1076"/>
          <ac:spMkLst>
            <pc:docMk/>
            <pc:sldMk cId="3779820847" sldId="2147469994"/>
            <ac:spMk id="53" creationId="{9B3DFBED-D02C-9548-C766-54546A1F5CA2}"/>
          </ac:spMkLst>
        </pc:spChg>
        <pc:spChg chg="mod">
          <ac:chgData name="Simone NERI" userId="2a00f2ad-68d9-45e6-b604-268bfad9cc5e" providerId="ADAL" clId="{D888A4E8-4B4E-4F9E-AD90-7B2ECDAE1265}" dt="2023-03-07T20:58:55.729" v="7777"/>
          <ac:spMkLst>
            <pc:docMk/>
            <pc:sldMk cId="3779820847" sldId="2147469994"/>
            <ac:spMk id="63" creationId="{FB8566E1-6040-9B67-1222-C687A691C579}"/>
          </ac:spMkLst>
        </pc:spChg>
        <pc:spChg chg="mod">
          <ac:chgData name="Simone NERI" userId="2a00f2ad-68d9-45e6-b604-268bfad9cc5e" providerId="ADAL" clId="{D888A4E8-4B4E-4F9E-AD90-7B2ECDAE1265}" dt="2023-03-07T20:58:55.729" v="7777"/>
          <ac:spMkLst>
            <pc:docMk/>
            <pc:sldMk cId="3779820847" sldId="2147469994"/>
            <ac:spMk id="64" creationId="{35D4E059-E347-4DE3-774D-EF16FE9D2C47}"/>
          </ac:spMkLst>
        </pc:spChg>
        <pc:spChg chg="mod">
          <ac:chgData name="Simone NERI" userId="2a00f2ad-68d9-45e6-b604-268bfad9cc5e" providerId="ADAL" clId="{D888A4E8-4B4E-4F9E-AD90-7B2ECDAE1265}" dt="2023-03-07T20:58:55.729" v="7777"/>
          <ac:spMkLst>
            <pc:docMk/>
            <pc:sldMk cId="3779820847" sldId="2147469994"/>
            <ac:spMk id="65" creationId="{09F4AC8D-FE0B-A517-5B9E-AB7DA898312E}"/>
          </ac:spMkLst>
        </pc:spChg>
        <pc:spChg chg="mod">
          <ac:chgData name="Simone NERI" userId="2a00f2ad-68d9-45e6-b604-268bfad9cc5e" providerId="ADAL" clId="{D888A4E8-4B4E-4F9E-AD90-7B2ECDAE1265}" dt="2023-03-07T20:58:55.729" v="7777"/>
          <ac:spMkLst>
            <pc:docMk/>
            <pc:sldMk cId="3779820847" sldId="2147469994"/>
            <ac:spMk id="66" creationId="{7272540E-B426-127B-A216-E6592A7D2D0E}"/>
          </ac:spMkLst>
        </pc:spChg>
        <pc:spChg chg="mod">
          <ac:chgData name="Simone NERI" userId="2a00f2ad-68d9-45e6-b604-268bfad9cc5e" providerId="ADAL" clId="{D888A4E8-4B4E-4F9E-AD90-7B2ECDAE1265}" dt="2023-03-07T20:58:55.729" v="7777"/>
          <ac:spMkLst>
            <pc:docMk/>
            <pc:sldMk cId="3779820847" sldId="2147469994"/>
            <ac:spMk id="67" creationId="{1F4D2573-4F9A-C1B8-A001-06A5BB810CB9}"/>
          </ac:spMkLst>
        </pc:spChg>
        <pc:spChg chg="mod">
          <ac:chgData name="Simone NERI" userId="2a00f2ad-68d9-45e6-b604-268bfad9cc5e" providerId="ADAL" clId="{D888A4E8-4B4E-4F9E-AD90-7B2ECDAE1265}" dt="2023-03-07T20:58:55.729" v="7777"/>
          <ac:spMkLst>
            <pc:docMk/>
            <pc:sldMk cId="3779820847" sldId="2147469994"/>
            <ac:spMk id="68" creationId="{3201F200-B3D9-6097-27B1-F72A107F782A}"/>
          </ac:spMkLst>
        </pc:spChg>
        <pc:spChg chg="mod">
          <ac:chgData name="Simone NERI" userId="2a00f2ad-68d9-45e6-b604-268bfad9cc5e" providerId="ADAL" clId="{D888A4E8-4B4E-4F9E-AD90-7B2ECDAE1265}" dt="2023-03-07T20:58:55.729" v="7777"/>
          <ac:spMkLst>
            <pc:docMk/>
            <pc:sldMk cId="3779820847" sldId="2147469994"/>
            <ac:spMk id="69" creationId="{CAF50D9A-4D65-CEA1-0EFD-C6C542E90039}"/>
          </ac:spMkLst>
        </pc:spChg>
        <pc:spChg chg="mod">
          <ac:chgData name="Simone NERI" userId="2a00f2ad-68d9-45e6-b604-268bfad9cc5e" providerId="ADAL" clId="{D888A4E8-4B4E-4F9E-AD90-7B2ECDAE1265}" dt="2023-03-07T20:58:55.729" v="7777"/>
          <ac:spMkLst>
            <pc:docMk/>
            <pc:sldMk cId="3779820847" sldId="2147469994"/>
            <ac:spMk id="70" creationId="{DD2C06C8-19D6-2D94-0F6D-FDA947C65239}"/>
          </ac:spMkLst>
        </pc:spChg>
        <pc:spChg chg="mod">
          <ac:chgData name="Simone NERI" userId="2a00f2ad-68d9-45e6-b604-268bfad9cc5e" providerId="ADAL" clId="{D888A4E8-4B4E-4F9E-AD90-7B2ECDAE1265}" dt="2023-03-07T20:58:55.729" v="7777"/>
          <ac:spMkLst>
            <pc:docMk/>
            <pc:sldMk cId="3779820847" sldId="2147469994"/>
            <ac:spMk id="71" creationId="{09B90589-379D-4CEB-8A0E-BD3C278E739D}"/>
          </ac:spMkLst>
        </pc:spChg>
        <pc:spChg chg="mod">
          <ac:chgData name="Simone NERI" userId="2a00f2ad-68d9-45e6-b604-268bfad9cc5e" providerId="ADAL" clId="{D888A4E8-4B4E-4F9E-AD90-7B2ECDAE1265}" dt="2023-03-07T20:58:55.729" v="7777"/>
          <ac:spMkLst>
            <pc:docMk/>
            <pc:sldMk cId="3779820847" sldId="2147469994"/>
            <ac:spMk id="72" creationId="{01D6C80A-293B-D713-B65C-04B6367B9A55}"/>
          </ac:spMkLst>
        </pc:spChg>
        <pc:spChg chg="mod">
          <ac:chgData name="Simone NERI" userId="2a00f2ad-68d9-45e6-b604-268bfad9cc5e" providerId="ADAL" clId="{D888A4E8-4B4E-4F9E-AD90-7B2ECDAE1265}" dt="2023-03-07T20:58:55.729" v="7777"/>
          <ac:spMkLst>
            <pc:docMk/>
            <pc:sldMk cId="3779820847" sldId="2147469994"/>
            <ac:spMk id="73" creationId="{01C879FC-B485-941C-7D11-618289593DEA}"/>
          </ac:spMkLst>
        </pc:spChg>
        <pc:spChg chg="mod">
          <ac:chgData name="Simone NERI" userId="2a00f2ad-68d9-45e6-b604-268bfad9cc5e" providerId="ADAL" clId="{D888A4E8-4B4E-4F9E-AD90-7B2ECDAE1265}" dt="2023-03-07T20:58:55.729" v="7777"/>
          <ac:spMkLst>
            <pc:docMk/>
            <pc:sldMk cId="3779820847" sldId="2147469994"/>
            <ac:spMk id="74" creationId="{0C58371B-ADE5-CD2C-3581-7FF984BF55CE}"/>
          </ac:spMkLst>
        </pc:spChg>
        <pc:spChg chg="mod">
          <ac:chgData name="Simone NERI" userId="2a00f2ad-68d9-45e6-b604-268bfad9cc5e" providerId="ADAL" clId="{D888A4E8-4B4E-4F9E-AD90-7B2ECDAE1265}" dt="2023-03-07T20:58:55.729" v="7777"/>
          <ac:spMkLst>
            <pc:docMk/>
            <pc:sldMk cId="3779820847" sldId="2147469994"/>
            <ac:spMk id="75" creationId="{738BA326-24F6-6359-6BC8-F2E0FE291927}"/>
          </ac:spMkLst>
        </pc:spChg>
        <pc:spChg chg="mod">
          <ac:chgData name="Simone NERI" userId="2a00f2ad-68d9-45e6-b604-268bfad9cc5e" providerId="ADAL" clId="{D888A4E8-4B4E-4F9E-AD90-7B2ECDAE1265}" dt="2023-03-07T20:58:55.729" v="7777"/>
          <ac:spMkLst>
            <pc:docMk/>
            <pc:sldMk cId="3779820847" sldId="2147469994"/>
            <ac:spMk id="76" creationId="{CDDFB0C5-9923-2B05-B6C9-C13B274DE495}"/>
          </ac:spMkLst>
        </pc:spChg>
        <pc:spChg chg="mod">
          <ac:chgData name="Simone NERI" userId="2a00f2ad-68d9-45e6-b604-268bfad9cc5e" providerId="ADAL" clId="{D888A4E8-4B4E-4F9E-AD90-7B2ECDAE1265}" dt="2023-03-07T20:58:55.729" v="7777"/>
          <ac:spMkLst>
            <pc:docMk/>
            <pc:sldMk cId="3779820847" sldId="2147469994"/>
            <ac:spMk id="77" creationId="{B5422A24-3DB4-F6DE-4148-4955C99D269B}"/>
          </ac:spMkLst>
        </pc:spChg>
        <pc:spChg chg="mod">
          <ac:chgData name="Simone NERI" userId="2a00f2ad-68d9-45e6-b604-268bfad9cc5e" providerId="ADAL" clId="{D888A4E8-4B4E-4F9E-AD90-7B2ECDAE1265}" dt="2023-03-07T20:58:55.729" v="7777"/>
          <ac:spMkLst>
            <pc:docMk/>
            <pc:sldMk cId="3779820847" sldId="2147469994"/>
            <ac:spMk id="78" creationId="{7F95076A-C43A-0776-A145-3C127FBFA871}"/>
          </ac:spMkLst>
        </pc:spChg>
        <pc:spChg chg="mod">
          <ac:chgData name="Simone NERI" userId="2a00f2ad-68d9-45e6-b604-268bfad9cc5e" providerId="ADAL" clId="{D888A4E8-4B4E-4F9E-AD90-7B2ECDAE1265}" dt="2023-03-07T20:58:55.729" v="7777"/>
          <ac:spMkLst>
            <pc:docMk/>
            <pc:sldMk cId="3779820847" sldId="2147469994"/>
            <ac:spMk id="79" creationId="{3FF0B282-BECE-1FCB-0024-9AB0357FA45C}"/>
          </ac:spMkLst>
        </pc:spChg>
        <pc:spChg chg="mod">
          <ac:chgData name="Simone NERI" userId="2a00f2ad-68d9-45e6-b604-268bfad9cc5e" providerId="ADAL" clId="{D888A4E8-4B4E-4F9E-AD90-7B2ECDAE1265}" dt="2023-03-07T20:58:55.729" v="7777"/>
          <ac:spMkLst>
            <pc:docMk/>
            <pc:sldMk cId="3779820847" sldId="2147469994"/>
            <ac:spMk id="80" creationId="{010B9C7A-4EDC-A101-C92C-A0C6D6B85842}"/>
          </ac:spMkLst>
        </pc:spChg>
        <pc:spChg chg="mod">
          <ac:chgData name="Simone NERI" userId="2a00f2ad-68d9-45e6-b604-268bfad9cc5e" providerId="ADAL" clId="{D888A4E8-4B4E-4F9E-AD90-7B2ECDAE1265}" dt="2023-03-07T20:58:55.729" v="7777"/>
          <ac:spMkLst>
            <pc:docMk/>
            <pc:sldMk cId="3779820847" sldId="2147469994"/>
            <ac:spMk id="81" creationId="{83ECCD9D-06E6-55AE-D84E-36837759D717}"/>
          </ac:spMkLst>
        </pc:spChg>
        <pc:spChg chg="mod">
          <ac:chgData name="Simone NERI" userId="2a00f2ad-68d9-45e6-b604-268bfad9cc5e" providerId="ADAL" clId="{D888A4E8-4B4E-4F9E-AD90-7B2ECDAE1265}" dt="2023-03-07T20:58:55.729" v="7777"/>
          <ac:spMkLst>
            <pc:docMk/>
            <pc:sldMk cId="3779820847" sldId="2147469994"/>
            <ac:spMk id="82" creationId="{9BA45C03-55C6-68A7-4DEC-5F065B4331CE}"/>
          </ac:spMkLst>
        </pc:spChg>
        <pc:spChg chg="mod">
          <ac:chgData name="Simone NERI" userId="2a00f2ad-68d9-45e6-b604-268bfad9cc5e" providerId="ADAL" clId="{D888A4E8-4B4E-4F9E-AD90-7B2ECDAE1265}" dt="2023-03-07T20:58:55.729" v="7777"/>
          <ac:spMkLst>
            <pc:docMk/>
            <pc:sldMk cId="3779820847" sldId="2147469994"/>
            <ac:spMk id="83" creationId="{358B6036-78F0-3D1D-E38F-934667FFFEC6}"/>
          </ac:spMkLst>
        </pc:spChg>
        <pc:spChg chg="mod">
          <ac:chgData name="Simone NERI" userId="2a00f2ad-68d9-45e6-b604-268bfad9cc5e" providerId="ADAL" clId="{D888A4E8-4B4E-4F9E-AD90-7B2ECDAE1265}" dt="2023-03-07T20:58:55.729" v="7777"/>
          <ac:spMkLst>
            <pc:docMk/>
            <pc:sldMk cId="3779820847" sldId="2147469994"/>
            <ac:spMk id="84" creationId="{9D252EF1-1AE8-9C12-9164-8CC72B069590}"/>
          </ac:spMkLst>
        </pc:spChg>
        <pc:spChg chg="mod">
          <ac:chgData name="Simone NERI" userId="2a00f2ad-68d9-45e6-b604-268bfad9cc5e" providerId="ADAL" clId="{D888A4E8-4B4E-4F9E-AD90-7B2ECDAE1265}" dt="2023-03-07T20:58:55.729" v="7777"/>
          <ac:spMkLst>
            <pc:docMk/>
            <pc:sldMk cId="3779820847" sldId="2147469994"/>
            <ac:spMk id="85" creationId="{70037CD7-763C-D08D-610B-FC6ABA154F8A}"/>
          </ac:spMkLst>
        </pc:spChg>
        <pc:spChg chg="mod">
          <ac:chgData name="Simone NERI" userId="2a00f2ad-68d9-45e6-b604-268bfad9cc5e" providerId="ADAL" clId="{D888A4E8-4B4E-4F9E-AD90-7B2ECDAE1265}" dt="2023-03-07T20:58:55.729" v="7777"/>
          <ac:spMkLst>
            <pc:docMk/>
            <pc:sldMk cId="3779820847" sldId="2147469994"/>
            <ac:spMk id="86" creationId="{807361F5-E19E-8BBA-5BAD-83111391BB56}"/>
          </ac:spMkLst>
        </pc:spChg>
        <pc:spChg chg="mod">
          <ac:chgData name="Simone NERI" userId="2a00f2ad-68d9-45e6-b604-268bfad9cc5e" providerId="ADAL" clId="{D888A4E8-4B4E-4F9E-AD90-7B2ECDAE1265}" dt="2023-03-07T20:58:55.729" v="7777"/>
          <ac:spMkLst>
            <pc:docMk/>
            <pc:sldMk cId="3779820847" sldId="2147469994"/>
            <ac:spMk id="87" creationId="{DCAF7D68-BA7B-BE4E-B908-7F8C84F51E80}"/>
          </ac:spMkLst>
        </pc:spChg>
        <pc:spChg chg="mod">
          <ac:chgData name="Simone NERI" userId="2a00f2ad-68d9-45e6-b604-268bfad9cc5e" providerId="ADAL" clId="{D888A4E8-4B4E-4F9E-AD90-7B2ECDAE1265}" dt="2023-03-07T20:58:55.729" v="7777"/>
          <ac:spMkLst>
            <pc:docMk/>
            <pc:sldMk cId="3779820847" sldId="2147469994"/>
            <ac:spMk id="88" creationId="{E63C88F5-2560-5BE1-E3C8-3AFC2633C7D2}"/>
          </ac:spMkLst>
        </pc:spChg>
        <pc:spChg chg="mod">
          <ac:chgData name="Simone NERI" userId="2a00f2ad-68d9-45e6-b604-268bfad9cc5e" providerId="ADAL" clId="{D888A4E8-4B4E-4F9E-AD90-7B2ECDAE1265}" dt="2023-03-07T20:58:55.729" v="7777"/>
          <ac:spMkLst>
            <pc:docMk/>
            <pc:sldMk cId="3779820847" sldId="2147469994"/>
            <ac:spMk id="89" creationId="{ECCED24E-680B-4F86-4AC5-CD0D6F121968}"/>
          </ac:spMkLst>
        </pc:spChg>
        <pc:spChg chg="mod">
          <ac:chgData name="Simone NERI" userId="2a00f2ad-68d9-45e6-b604-268bfad9cc5e" providerId="ADAL" clId="{D888A4E8-4B4E-4F9E-AD90-7B2ECDAE1265}" dt="2023-03-07T21:03:15.679" v="7807" actId="1076"/>
          <ac:spMkLst>
            <pc:docMk/>
            <pc:sldMk cId="3779820847" sldId="2147469994"/>
            <ac:spMk id="99" creationId="{F6CD2357-4712-0224-1822-A6DB83FE0A6C}"/>
          </ac:spMkLst>
        </pc:spChg>
        <pc:spChg chg="mod">
          <ac:chgData name="Simone NERI" userId="2a00f2ad-68d9-45e6-b604-268bfad9cc5e" providerId="ADAL" clId="{D888A4E8-4B4E-4F9E-AD90-7B2ECDAE1265}" dt="2023-03-07T21:03:15.679" v="7807" actId="1076"/>
          <ac:spMkLst>
            <pc:docMk/>
            <pc:sldMk cId="3779820847" sldId="2147469994"/>
            <ac:spMk id="100" creationId="{4C6B07DF-ACD6-F31C-6AE3-3E17F638AB51}"/>
          </ac:spMkLst>
        </pc:spChg>
        <pc:spChg chg="mod">
          <ac:chgData name="Simone NERI" userId="2a00f2ad-68d9-45e6-b604-268bfad9cc5e" providerId="ADAL" clId="{D888A4E8-4B4E-4F9E-AD90-7B2ECDAE1265}" dt="2023-03-07T21:03:15.679" v="7807" actId="1076"/>
          <ac:spMkLst>
            <pc:docMk/>
            <pc:sldMk cId="3779820847" sldId="2147469994"/>
            <ac:spMk id="101" creationId="{7F078477-EEDE-54F7-268A-A4DA659B4811}"/>
          </ac:spMkLst>
        </pc:spChg>
        <pc:spChg chg="mod">
          <ac:chgData name="Simone NERI" userId="2a00f2ad-68d9-45e6-b604-268bfad9cc5e" providerId="ADAL" clId="{D888A4E8-4B4E-4F9E-AD90-7B2ECDAE1265}" dt="2023-03-07T21:03:15.679" v="7807" actId="1076"/>
          <ac:spMkLst>
            <pc:docMk/>
            <pc:sldMk cId="3779820847" sldId="2147469994"/>
            <ac:spMk id="102" creationId="{09B7BADE-AE9A-147D-3BE4-F9185DCC0C58}"/>
          </ac:spMkLst>
        </pc:spChg>
        <pc:spChg chg="mod">
          <ac:chgData name="Simone NERI" userId="2a00f2ad-68d9-45e6-b604-268bfad9cc5e" providerId="ADAL" clId="{D888A4E8-4B4E-4F9E-AD90-7B2ECDAE1265}" dt="2023-03-07T21:03:15.679" v="7807" actId="1076"/>
          <ac:spMkLst>
            <pc:docMk/>
            <pc:sldMk cId="3779820847" sldId="2147469994"/>
            <ac:spMk id="103" creationId="{F226FCDA-42B9-FAA4-AADF-C27933850AC9}"/>
          </ac:spMkLst>
        </pc:spChg>
        <pc:spChg chg="mod">
          <ac:chgData name="Simone NERI" userId="2a00f2ad-68d9-45e6-b604-268bfad9cc5e" providerId="ADAL" clId="{D888A4E8-4B4E-4F9E-AD90-7B2ECDAE1265}" dt="2023-03-07T21:03:15.679" v="7807" actId="1076"/>
          <ac:spMkLst>
            <pc:docMk/>
            <pc:sldMk cId="3779820847" sldId="2147469994"/>
            <ac:spMk id="104" creationId="{42EA0616-BECC-C84B-75B4-360BC3B3DCC8}"/>
          </ac:spMkLst>
        </pc:spChg>
        <pc:spChg chg="mod">
          <ac:chgData name="Simone NERI" userId="2a00f2ad-68d9-45e6-b604-268bfad9cc5e" providerId="ADAL" clId="{D888A4E8-4B4E-4F9E-AD90-7B2ECDAE1265}" dt="2023-03-07T21:03:15.679" v="7807" actId="1076"/>
          <ac:spMkLst>
            <pc:docMk/>
            <pc:sldMk cId="3779820847" sldId="2147469994"/>
            <ac:spMk id="105" creationId="{93169A62-9331-B02C-0C4F-8A757163D661}"/>
          </ac:spMkLst>
        </pc:spChg>
        <pc:spChg chg="mod">
          <ac:chgData name="Simone NERI" userId="2a00f2ad-68d9-45e6-b604-268bfad9cc5e" providerId="ADAL" clId="{D888A4E8-4B4E-4F9E-AD90-7B2ECDAE1265}" dt="2023-03-07T21:03:15.679" v="7807" actId="1076"/>
          <ac:spMkLst>
            <pc:docMk/>
            <pc:sldMk cId="3779820847" sldId="2147469994"/>
            <ac:spMk id="106" creationId="{5015823F-80F3-716D-387E-E8617BD121FF}"/>
          </ac:spMkLst>
        </pc:spChg>
        <pc:spChg chg="mod">
          <ac:chgData name="Simone NERI" userId="2a00f2ad-68d9-45e6-b604-268bfad9cc5e" providerId="ADAL" clId="{D888A4E8-4B4E-4F9E-AD90-7B2ECDAE1265}" dt="2023-03-07T21:03:15.679" v="7807" actId="1076"/>
          <ac:spMkLst>
            <pc:docMk/>
            <pc:sldMk cId="3779820847" sldId="2147469994"/>
            <ac:spMk id="107" creationId="{8D79890C-0B43-F841-AC0F-B391D11CEDAD}"/>
          </ac:spMkLst>
        </pc:spChg>
        <pc:spChg chg="mod">
          <ac:chgData name="Simone NERI" userId="2a00f2ad-68d9-45e6-b604-268bfad9cc5e" providerId="ADAL" clId="{D888A4E8-4B4E-4F9E-AD90-7B2ECDAE1265}" dt="2023-03-07T21:03:15.679" v="7807" actId="1076"/>
          <ac:spMkLst>
            <pc:docMk/>
            <pc:sldMk cId="3779820847" sldId="2147469994"/>
            <ac:spMk id="108" creationId="{43149753-6BCB-5A66-D6CD-3E82811C16EF}"/>
          </ac:spMkLst>
        </pc:spChg>
        <pc:spChg chg="mod">
          <ac:chgData name="Simone NERI" userId="2a00f2ad-68d9-45e6-b604-268bfad9cc5e" providerId="ADAL" clId="{D888A4E8-4B4E-4F9E-AD90-7B2ECDAE1265}" dt="2023-03-07T21:03:15.679" v="7807" actId="1076"/>
          <ac:spMkLst>
            <pc:docMk/>
            <pc:sldMk cId="3779820847" sldId="2147469994"/>
            <ac:spMk id="109" creationId="{7E6704F7-D32F-77F0-3687-2DF0E769C26F}"/>
          </ac:spMkLst>
        </pc:spChg>
        <pc:spChg chg="mod">
          <ac:chgData name="Simone NERI" userId="2a00f2ad-68d9-45e6-b604-268bfad9cc5e" providerId="ADAL" clId="{D888A4E8-4B4E-4F9E-AD90-7B2ECDAE1265}" dt="2023-03-07T21:03:15.679" v="7807" actId="1076"/>
          <ac:spMkLst>
            <pc:docMk/>
            <pc:sldMk cId="3779820847" sldId="2147469994"/>
            <ac:spMk id="110" creationId="{CF97B195-CE7B-59D5-FFB3-264D5AAD58C8}"/>
          </ac:spMkLst>
        </pc:spChg>
        <pc:spChg chg="mod">
          <ac:chgData name="Simone NERI" userId="2a00f2ad-68d9-45e6-b604-268bfad9cc5e" providerId="ADAL" clId="{D888A4E8-4B4E-4F9E-AD90-7B2ECDAE1265}" dt="2023-03-07T21:03:15.679" v="7807" actId="1076"/>
          <ac:spMkLst>
            <pc:docMk/>
            <pc:sldMk cId="3779820847" sldId="2147469994"/>
            <ac:spMk id="111" creationId="{835B339B-7C63-C598-366E-7BCAA31EAEBF}"/>
          </ac:spMkLst>
        </pc:spChg>
        <pc:spChg chg="mod">
          <ac:chgData name="Simone NERI" userId="2a00f2ad-68d9-45e6-b604-268bfad9cc5e" providerId="ADAL" clId="{D888A4E8-4B4E-4F9E-AD90-7B2ECDAE1265}" dt="2023-03-07T21:03:15.679" v="7807" actId="1076"/>
          <ac:spMkLst>
            <pc:docMk/>
            <pc:sldMk cId="3779820847" sldId="2147469994"/>
            <ac:spMk id="112" creationId="{C1A1B4E4-E290-8BC7-7532-0103B9BDBF26}"/>
          </ac:spMkLst>
        </pc:spChg>
        <pc:spChg chg="mod">
          <ac:chgData name="Simone NERI" userId="2a00f2ad-68d9-45e6-b604-268bfad9cc5e" providerId="ADAL" clId="{D888A4E8-4B4E-4F9E-AD90-7B2ECDAE1265}" dt="2023-03-07T21:03:15.679" v="7807" actId="1076"/>
          <ac:spMkLst>
            <pc:docMk/>
            <pc:sldMk cId="3779820847" sldId="2147469994"/>
            <ac:spMk id="113" creationId="{D9FD48FF-AB06-2F07-D10D-66D21AE9A44C}"/>
          </ac:spMkLst>
        </pc:spChg>
        <pc:spChg chg="mod">
          <ac:chgData name="Simone NERI" userId="2a00f2ad-68d9-45e6-b604-268bfad9cc5e" providerId="ADAL" clId="{D888A4E8-4B4E-4F9E-AD90-7B2ECDAE1265}" dt="2023-03-07T21:03:15.679" v="7807" actId="1076"/>
          <ac:spMkLst>
            <pc:docMk/>
            <pc:sldMk cId="3779820847" sldId="2147469994"/>
            <ac:spMk id="114" creationId="{1CA2BBF9-5C09-A83F-25CF-0EB779AF9583}"/>
          </ac:spMkLst>
        </pc:spChg>
        <pc:spChg chg="mod">
          <ac:chgData name="Simone NERI" userId="2a00f2ad-68d9-45e6-b604-268bfad9cc5e" providerId="ADAL" clId="{D888A4E8-4B4E-4F9E-AD90-7B2ECDAE1265}" dt="2023-03-07T21:03:15.679" v="7807" actId="1076"/>
          <ac:spMkLst>
            <pc:docMk/>
            <pc:sldMk cId="3779820847" sldId="2147469994"/>
            <ac:spMk id="115" creationId="{71AEEA00-B660-CF09-1823-9D0FC30E4338}"/>
          </ac:spMkLst>
        </pc:spChg>
        <pc:spChg chg="mod">
          <ac:chgData name="Simone NERI" userId="2a00f2ad-68d9-45e6-b604-268bfad9cc5e" providerId="ADAL" clId="{D888A4E8-4B4E-4F9E-AD90-7B2ECDAE1265}" dt="2023-03-07T21:03:15.679" v="7807" actId="1076"/>
          <ac:spMkLst>
            <pc:docMk/>
            <pc:sldMk cId="3779820847" sldId="2147469994"/>
            <ac:spMk id="116" creationId="{91D7026C-007A-935A-DE76-12A1026337B4}"/>
          </ac:spMkLst>
        </pc:spChg>
        <pc:spChg chg="mod">
          <ac:chgData name="Simone NERI" userId="2a00f2ad-68d9-45e6-b604-268bfad9cc5e" providerId="ADAL" clId="{D888A4E8-4B4E-4F9E-AD90-7B2ECDAE1265}" dt="2023-03-07T21:03:15.679" v="7807" actId="1076"/>
          <ac:spMkLst>
            <pc:docMk/>
            <pc:sldMk cId="3779820847" sldId="2147469994"/>
            <ac:spMk id="117" creationId="{BB900797-17B9-ACD1-F067-A20F24B5AD0D}"/>
          </ac:spMkLst>
        </pc:spChg>
        <pc:spChg chg="mod">
          <ac:chgData name="Simone NERI" userId="2a00f2ad-68d9-45e6-b604-268bfad9cc5e" providerId="ADAL" clId="{D888A4E8-4B4E-4F9E-AD90-7B2ECDAE1265}" dt="2023-03-07T21:03:15.679" v="7807" actId="1076"/>
          <ac:spMkLst>
            <pc:docMk/>
            <pc:sldMk cId="3779820847" sldId="2147469994"/>
            <ac:spMk id="118" creationId="{E31E7DAC-03AE-4097-82AB-B98B572FF1AC}"/>
          </ac:spMkLst>
        </pc:spChg>
        <pc:spChg chg="mod">
          <ac:chgData name="Simone NERI" userId="2a00f2ad-68d9-45e6-b604-268bfad9cc5e" providerId="ADAL" clId="{D888A4E8-4B4E-4F9E-AD90-7B2ECDAE1265}" dt="2023-03-07T21:03:15.679" v="7807" actId="1076"/>
          <ac:spMkLst>
            <pc:docMk/>
            <pc:sldMk cId="3779820847" sldId="2147469994"/>
            <ac:spMk id="119" creationId="{007BEA0A-EE48-499E-32E4-38121B3763E8}"/>
          </ac:spMkLst>
        </pc:spChg>
        <pc:spChg chg="mod">
          <ac:chgData name="Simone NERI" userId="2a00f2ad-68d9-45e6-b604-268bfad9cc5e" providerId="ADAL" clId="{D888A4E8-4B4E-4F9E-AD90-7B2ECDAE1265}" dt="2023-03-07T21:03:15.679" v="7807" actId="1076"/>
          <ac:spMkLst>
            <pc:docMk/>
            <pc:sldMk cId="3779820847" sldId="2147469994"/>
            <ac:spMk id="120" creationId="{6BC4F2F5-E0AD-3322-D218-65324D826BD5}"/>
          </ac:spMkLst>
        </pc:spChg>
        <pc:spChg chg="mod">
          <ac:chgData name="Simone NERI" userId="2a00f2ad-68d9-45e6-b604-268bfad9cc5e" providerId="ADAL" clId="{D888A4E8-4B4E-4F9E-AD90-7B2ECDAE1265}" dt="2023-03-07T21:03:15.679" v="7807" actId="1076"/>
          <ac:spMkLst>
            <pc:docMk/>
            <pc:sldMk cId="3779820847" sldId="2147469994"/>
            <ac:spMk id="121" creationId="{CA9D3D35-1697-1493-0E67-5E99AB8D576C}"/>
          </ac:spMkLst>
        </pc:spChg>
        <pc:spChg chg="mod">
          <ac:chgData name="Simone NERI" userId="2a00f2ad-68d9-45e6-b604-268bfad9cc5e" providerId="ADAL" clId="{D888A4E8-4B4E-4F9E-AD90-7B2ECDAE1265}" dt="2023-03-07T21:03:15.679" v="7807" actId="1076"/>
          <ac:spMkLst>
            <pc:docMk/>
            <pc:sldMk cId="3779820847" sldId="2147469994"/>
            <ac:spMk id="122" creationId="{7EA84CD2-B909-0CDD-ADF1-540A9A8576DC}"/>
          </ac:spMkLst>
        </pc:spChg>
        <pc:spChg chg="mod">
          <ac:chgData name="Simone NERI" userId="2a00f2ad-68d9-45e6-b604-268bfad9cc5e" providerId="ADAL" clId="{D888A4E8-4B4E-4F9E-AD90-7B2ECDAE1265}" dt="2023-03-07T21:03:15.679" v="7807" actId="1076"/>
          <ac:spMkLst>
            <pc:docMk/>
            <pc:sldMk cId="3779820847" sldId="2147469994"/>
            <ac:spMk id="123" creationId="{1CEC2BB7-3749-E7D0-84AE-8DC25652C815}"/>
          </ac:spMkLst>
        </pc:spChg>
        <pc:spChg chg="mod">
          <ac:chgData name="Simone NERI" userId="2a00f2ad-68d9-45e6-b604-268bfad9cc5e" providerId="ADAL" clId="{D888A4E8-4B4E-4F9E-AD90-7B2ECDAE1265}" dt="2023-03-07T21:03:15.679" v="7807" actId="1076"/>
          <ac:spMkLst>
            <pc:docMk/>
            <pc:sldMk cId="3779820847" sldId="2147469994"/>
            <ac:spMk id="124" creationId="{F9CA15A4-C65C-556E-F48D-E0A866FDA69A}"/>
          </ac:spMkLst>
        </pc:spChg>
        <pc:spChg chg="mod">
          <ac:chgData name="Simone NERI" userId="2a00f2ad-68d9-45e6-b604-268bfad9cc5e" providerId="ADAL" clId="{D888A4E8-4B4E-4F9E-AD90-7B2ECDAE1265}" dt="2023-03-07T21:03:15.679" v="7807" actId="1076"/>
          <ac:spMkLst>
            <pc:docMk/>
            <pc:sldMk cId="3779820847" sldId="2147469994"/>
            <ac:spMk id="125" creationId="{8900B12D-5F90-EE8A-3B33-605CBAD32B04}"/>
          </ac:spMkLst>
        </pc:spChg>
        <pc:spChg chg="add del mod">
          <ac:chgData name="Simone NERI" userId="2a00f2ad-68d9-45e6-b604-268bfad9cc5e" providerId="ADAL" clId="{D888A4E8-4B4E-4F9E-AD90-7B2ECDAE1265}" dt="2023-03-07T21:01:35.459" v="7788" actId="478"/>
          <ac:spMkLst>
            <pc:docMk/>
            <pc:sldMk cId="3779820847" sldId="2147469994"/>
            <ac:spMk id="126" creationId="{EA7E1576-F36C-E152-EF16-D9A0ED1316A3}"/>
          </ac:spMkLst>
        </pc:spChg>
        <pc:spChg chg="add del mod">
          <ac:chgData name="Simone NERI" userId="2a00f2ad-68d9-45e6-b604-268bfad9cc5e" providerId="ADAL" clId="{D888A4E8-4B4E-4F9E-AD90-7B2ECDAE1265}" dt="2023-03-07T21:01:35.459" v="7788" actId="478"/>
          <ac:spMkLst>
            <pc:docMk/>
            <pc:sldMk cId="3779820847" sldId="2147469994"/>
            <ac:spMk id="127" creationId="{9108756B-ED81-F6AD-EFC6-A93D928BF83A}"/>
          </ac:spMkLst>
        </pc:spChg>
        <pc:spChg chg="add del mod">
          <ac:chgData name="Simone NERI" userId="2a00f2ad-68d9-45e6-b604-268bfad9cc5e" providerId="ADAL" clId="{D888A4E8-4B4E-4F9E-AD90-7B2ECDAE1265}" dt="2023-03-07T21:01:35.459" v="7788" actId="478"/>
          <ac:spMkLst>
            <pc:docMk/>
            <pc:sldMk cId="3779820847" sldId="2147469994"/>
            <ac:spMk id="128" creationId="{06CBD080-4496-144C-3116-063A6D38B9F5}"/>
          </ac:spMkLst>
        </pc:spChg>
        <pc:spChg chg="add del mod">
          <ac:chgData name="Simone NERI" userId="2a00f2ad-68d9-45e6-b604-268bfad9cc5e" providerId="ADAL" clId="{D888A4E8-4B4E-4F9E-AD90-7B2ECDAE1265}" dt="2023-03-07T21:01:35.459" v="7788" actId="478"/>
          <ac:spMkLst>
            <pc:docMk/>
            <pc:sldMk cId="3779820847" sldId="2147469994"/>
            <ac:spMk id="129" creationId="{6648B94F-1260-A7A5-F188-4AAB53DEAF08}"/>
          </ac:spMkLst>
        </pc:spChg>
        <pc:spChg chg="add del mod">
          <ac:chgData name="Simone NERI" userId="2a00f2ad-68d9-45e6-b604-268bfad9cc5e" providerId="ADAL" clId="{D888A4E8-4B4E-4F9E-AD90-7B2ECDAE1265}" dt="2023-03-07T21:01:35.459" v="7788" actId="478"/>
          <ac:spMkLst>
            <pc:docMk/>
            <pc:sldMk cId="3779820847" sldId="2147469994"/>
            <ac:spMk id="130" creationId="{8C1E985D-E14A-E30C-D9E4-B42F26432197}"/>
          </ac:spMkLst>
        </pc:spChg>
        <pc:spChg chg="add del mod">
          <ac:chgData name="Simone NERI" userId="2a00f2ad-68d9-45e6-b604-268bfad9cc5e" providerId="ADAL" clId="{D888A4E8-4B4E-4F9E-AD90-7B2ECDAE1265}" dt="2023-03-07T21:01:35.459" v="7788" actId="478"/>
          <ac:spMkLst>
            <pc:docMk/>
            <pc:sldMk cId="3779820847" sldId="2147469994"/>
            <ac:spMk id="131" creationId="{AC8F928B-C0BD-DA8F-B17D-F1A6902B8BB6}"/>
          </ac:spMkLst>
        </pc:spChg>
        <pc:spChg chg="add del mod">
          <ac:chgData name="Simone NERI" userId="2a00f2ad-68d9-45e6-b604-268bfad9cc5e" providerId="ADAL" clId="{D888A4E8-4B4E-4F9E-AD90-7B2ECDAE1265}" dt="2023-03-07T21:01:35.459" v="7788" actId="478"/>
          <ac:spMkLst>
            <pc:docMk/>
            <pc:sldMk cId="3779820847" sldId="2147469994"/>
            <ac:spMk id="132" creationId="{1186089E-864D-5139-535C-CFAD296CF68F}"/>
          </ac:spMkLst>
        </pc:spChg>
        <pc:spChg chg="add del mod">
          <ac:chgData name="Simone NERI" userId="2a00f2ad-68d9-45e6-b604-268bfad9cc5e" providerId="ADAL" clId="{D888A4E8-4B4E-4F9E-AD90-7B2ECDAE1265}" dt="2023-03-07T21:01:35.459" v="7788" actId="478"/>
          <ac:spMkLst>
            <pc:docMk/>
            <pc:sldMk cId="3779820847" sldId="2147469994"/>
            <ac:spMk id="133" creationId="{DD12E044-73C2-A774-1492-70B1081E4FF5}"/>
          </ac:spMkLst>
        </pc:spChg>
        <pc:spChg chg="add del mod">
          <ac:chgData name="Simone NERI" userId="2a00f2ad-68d9-45e6-b604-268bfad9cc5e" providerId="ADAL" clId="{D888A4E8-4B4E-4F9E-AD90-7B2ECDAE1265}" dt="2023-03-07T21:01:35.459" v="7788" actId="478"/>
          <ac:spMkLst>
            <pc:docMk/>
            <pc:sldMk cId="3779820847" sldId="2147469994"/>
            <ac:spMk id="134" creationId="{7F6B68A7-3D62-161A-E685-06D0A54D6A22}"/>
          </ac:spMkLst>
        </pc:spChg>
        <pc:spChg chg="add del mod">
          <ac:chgData name="Simone NERI" userId="2a00f2ad-68d9-45e6-b604-268bfad9cc5e" providerId="ADAL" clId="{D888A4E8-4B4E-4F9E-AD90-7B2ECDAE1265}" dt="2023-03-07T21:01:35.459" v="7788" actId="478"/>
          <ac:spMkLst>
            <pc:docMk/>
            <pc:sldMk cId="3779820847" sldId="2147469994"/>
            <ac:spMk id="135" creationId="{83F97E03-E862-F274-3D1B-44174053AB79}"/>
          </ac:spMkLst>
        </pc:spChg>
        <pc:spChg chg="add del mod">
          <ac:chgData name="Simone NERI" userId="2a00f2ad-68d9-45e6-b604-268bfad9cc5e" providerId="ADAL" clId="{D888A4E8-4B4E-4F9E-AD90-7B2ECDAE1265}" dt="2023-03-07T21:01:35.459" v="7788" actId="478"/>
          <ac:spMkLst>
            <pc:docMk/>
            <pc:sldMk cId="3779820847" sldId="2147469994"/>
            <ac:spMk id="136" creationId="{98258381-5146-3B6A-19B5-CF47F40260CD}"/>
          </ac:spMkLst>
        </pc:spChg>
        <pc:spChg chg="add del mod">
          <ac:chgData name="Simone NERI" userId="2a00f2ad-68d9-45e6-b604-268bfad9cc5e" providerId="ADAL" clId="{D888A4E8-4B4E-4F9E-AD90-7B2ECDAE1265}" dt="2023-03-07T21:01:35.459" v="7788" actId="478"/>
          <ac:spMkLst>
            <pc:docMk/>
            <pc:sldMk cId="3779820847" sldId="2147469994"/>
            <ac:spMk id="137" creationId="{C378136C-0606-02B8-0152-99C260639725}"/>
          </ac:spMkLst>
        </pc:spChg>
        <pc:spChg chg="add del mod">
          <ac:chgData name="Simone NERI" userId="2a00f2ad-68d9-45e6-b604-268bfad9cc5e" providerId="ADAL" clId="{D888A4E8-4B4E-4F9E-AD90-7B2ECDAE1265}" dt="2023-03-07T21:01:35.459" v="7788" actId="478"/>
          <ac:spMkLst>
            <pc:docMk/>
            <pc:sldMk cId="3779820847" sldId="2147469994"/>
            <ac:spMk id="138" creationId="{7DF37773-AB7F-D3F9-CD92-86259C81371C}"/>
          </ac:spMkLst>
        </pc:spChg>
        <pc:spChg chg="add del mod">
          <ac:chgData name="Simone NERI" userId="2a00f2ad-68d9-45e6-b604-268bfad9cc5e" providerId="ADAL" clId="{D888A4E8-4B4E-4F9E-AD90-7B2ECDAE1265}" dt="2023-03-07T21:01:35.459" v="7788" actId="478"/>
          <ac:spMkLst>
            <pc:docMk/>
            <pc:sldMk cId="3779820847" sldId="2147469994"/>
            <ac:spMk id="139" creationId="{D8D6DA6D-061F-4D8A-E3D0-380028129E31}"/>
          </ac:spMkLst>
        </pc:spChg>
        <pc:spChg chg="add del mod">
          <ac:chgData name="Simone NERI" userId="2a00f2ad-68d9-45e6-b604-268bfad9cc5e" providerId="ADAL" clId="{D888A4E8-4B4E-4F9E-AD90-7B2ECDAE1265}" dt="2023-03-07T21:01:35.459" v="7788" actId="478"/>
          <ac:spMkLst>
            <pc:docMk/>
            <pc:sldMk cId="3779820847" sldId="2147469994"/>
            <ac:spMk id="140" creationId="{486276A8-FC3F-D2DF-B767-B7CF00EDFB0A}"/>
          </ac:spMkLst>
        </pc:spChg>
        <pc:spChg chg="add del mod">
          <ac:chgData name="Simone NERI" userId="2a00f2ad-68d9-45e6-b604-268bfad9cc5e" providerId="ADAL" clId="{D888A4E8-4B4E-4F9E-AD90-7B2ECDAE1265}" dt="2023-03-07T21:01:35.459" v="7788" actId="478"/>
          <ac:spMkLst>
            <pc:docMk/>
            <pc:sldMk cId="3779820847" sldId="2147469994"/>
            <ac:spMk id="141" creationId="{0D319FA3-B6E5-0C5A-1033-ED2B8113EAD2}"/>
          </ac:spMkLst>
        </pc:spChg>
        <pc:spChg chg="add del mod">
          <ac:chgData name="Simone NERI" userId="2a00f2ad-68d9-45e6-b604-268bfad9cc5e" providerId="ADAL" clId="{D888A4E8-4B4E-4F9E-AD90-7B2ECDAE1265}" dt="2023-03-07T21:01:35.459" v="7788" actId="478"/>
          <ac:spMkLst>
            <pc:docMk/>
            <pc:sldMk cId="3779820847" sldId="2147469994"/>
            <ac:spMk id="142" creationId="{A9C53497-AA83-A6C6-546A-722281194ADE}"/>
          </ac:spMkLst>
        </pc:spChg>
        <pc:spChg chg="add del mod">
          <ac:chgData name="Simone NERI" userId="2a00f2ad-68d9-45e6-b604-268bfad9cc5e" providerId="ADAL" clId="{D888A4E8-4B4E-4F9E-AD90-7B2ECDAE1265}" dt="2023-03-07T21:01:35.459" v="7788" actId="478"/>
          <ac:spMkLst>
            <pc:docMk/>
            <pc:sldMk cId="3779820847" sldId="2147469994"/>
            <ac:spMk id="143" creationId="{EF7868ED-DC8A-4352-CD9F-CB87A09CE390}"/>
          </ac:spMkLst>
        </pc:spChg>
        <pc:spChg chg="add del mod">
          <ac:chgData name="Simone NERI" userId="2a00f2ad-68d9-45e6-b604-268bfad9cc5e" providerId="ADAL" clId="{D888A4E8-4B4E-4F9E-AD90-7B2ECDAE1265}" dt="2023-03-07T21:01:35.459" v="7788" actId="478"/>
          <ac:spMkLst>
            <pc:docMk/>
            <pc:sldMk cId="3779820847" sldId="2147469994"/>
            <ac:spMk id="144" creationId="{66123891-76DC-7EBB-ABEE-E3CF61DC20DF}"/>
          </ac:spMkLst>
        </pc:spChg>
        <pc:spChg chg="add del mod">
          <ac:chgData name="Simone NERI" userId="2a00f2ad-68d9-45e6-b604-268bfad9cc5e" providerId="ADAL" clId="{D888A4E8-4B4E-4F9E-AD90-7B2ECDAE1265}" dt="2023-03-07T21:01:35.459" v="7788" actId="478"/>
          <ac:spMkLst>
            <pc:docMk/>
            <pc:sldMk cId="3779820847" sldId="2147469994"/>
            <ac:spMk id="145" creationId="{22573C0D-401E-1E0C-BE3A-DD047ECC2C71}"/>
          </ac:spMkLst>
        </pc:spChg>
        <pc:spChg chg="add mod">
          <ac:chgData name="Simone NERI" userId="2a00f2ad-68d9-45e6-b604-268bfad9cc5e" providerId="ADAL" clId="{D888A4E8-4B4E-4F9E-AD90-7B2ECDAE1265}" dt="2023-03-07T21:07:31.884" v="7847" actId="164"/>
          <ac:spMkLst>
            <pc:docMk/>
            <pc:sldMk cId="3779820847" sldId="2147469994"/>
            <ac:spMk id="146" creationId="{5C9C28A3-3DBA-EB07-5DEC-21F727F50E46}"/>
          </ac:spMkLst>
        </pc:spChg>
        <pc:spChg chg="add mod">
          <ac:chgData name="Simone NERI" userId="2a00f2ad-68d9-45e6-b604-268bfad9cc5e" providerId="ADAL" clId="{D888A4E8-4B4E-4F9E-AD90-7B2ECDAE1265}" dt="2023-03-07T21:07:31.884" v="7847" actId="164"/>
          <ac:spMkLst>
            <pc:docMk/>
            <pc:sldMk cId="3779820847" sldId="2147469994"/>
            <ac:spMk id="147" creationId="{B3D1DAE3-58E2-CBC9-3D55-190B5DB1D0CA}"/>
          </ac:spMkLst>
        </pc:spChg>
        <pc:spChg chg="add del mod">
          <ac:chgData name="Simone NERI" userId="2a00f2ad-68d9-45e6-b604-268bfad9cc5e" providerId="ADAL" clId="{D888A4E8-4B4E-4F9E-AD90-7B2ECDAE1265}" dt="2023-03-07T21:02:21.250" v="7799" actId="478"/>
          <ac:spMkLst>
            <pc:docMk/>
            <pc:sldMk cId="3779820847" sldId="2147469994"/>
            <ac:spMk id="148" creationId="{5BD3F234-CDD7-CBBB-E3F5-24AF56F7226C}"/>
          </ac:spMkLst>
        </pc:spChg>
        <pc:spChg chg="add del mod">
          <ac:chgData name="Simone NERI" userId="2a00f2ad-68d9-45e6-b604-268bfad9cc5e" providerId="ADAL" clId="{D888A4E8-4B4E-4F9E-AD90-7B2ECDAE1265}" dt="2023-03-07T21:07:17.714" v="7845" actId="478"/>
          <ac:spMkLst>
            <pc:docMk/>
            <pc:sldMk cId="3779820847" sldId="2147469994"/>
            <ac:spMk id="149" creationId="{973A8BCA-6454-3CAE-E475-CC5323E74F3E}"/>
          </ac:spMkLst>
        </pc:spChg>
        <pc:spChg chg="add del mod">
          <ac:chgData name="Simone NERI" userId="2a00f2ad-68d9-45e6-b604-268bfad9cc5e" providerId="ADAL" clId="{D888A4E8-4B4E-4F9E-AD90-7B2ECDAE1265}" dt="2023-03-07T21:02:09.308" v="7793" actId="478"/>
          <ac:spMkLst>
            <pc:docMk/>
            <pc:sldMk cId="3779820847" sldId="2147469994"/>
            <ac:spMk id="150" creationId="{D24017BD-2834-B9AD-EB01-19088CFE2B2D}"/>
          </ac:spMkLst>
        </pc:spChg>
        <pc:spChg chg="add del mod">
          <ac:chgData name="Simone NERI" userId="2a00f2ad-68d9-45e6-b604-268bfad9cc5e" providerId="ADAL" clId="{D888A4E8-4B4E-4F9E-AD90-7B2ECDAE1265}" dt="2023-03-07T21:02:16.954" v="7796" actId="478"/>
          <ac:spMkLst>
            <pc:docMk/>
            <pc:sldMk cId="3779820847" sldId="2147469994"/>
            <ac:spMk id="151" creationId="{487C8F07-C1B0-074C-368A-2830CA8F03E0}"/>
          </ac:spMkLst>
        </pc:spChg>
        <pc:spChg chg="add del mod">
          <ac:chgData name="Simone NERI" userId="2a00f2ad-68d9-45e6-b604-268bfad9cc5e" providerId="ADAL" clId="{D888A4E8-4B4E-4F9E-AD90-7B2ECDAE1265}" dt="2023-03-07T21:02:19.904" v="7798" actId="478"/>
          <ac:spMkLst>
            <pc:docMk/>
            <pc:sldMk cId="3779820847" sldId="2147469994"/>
            <ac:spMk id="152" creationId="{832DD09B-85BF-53A2-AD03-90077BC18FC4}"/>
          </ac:spMkLst>
        </pc:spChg>
        <pc:spChg chg="add del mod">
          <ac:chgData name="Simone NERI" userId="2a00f2ad-68d9-45e6-b604-268bfad9cc5e" providerId="ADAL" clId="{D888A4E8-4B4E-4F9E-AD90-7B2ECDAE1265}" dt="2023-03-07T21:02:18.056" v="7797" actId="478"/>
          <ac:spMkLst>
            <pc:docMk/>
            <pc:sldMk cId="3779820847" sldId="2147469994"/>
            <ac:spMk id="153" creationId="{4FA9261B-8351-EDB2-1B65-DDDBD457F34D}"/>
          </ac:spMkLst>
        </pc:spChg>
        <pc:spChg chg="add mod">
          <ac:chgData name="Simone NERI" userId="2a00f2ad-68d9-45e6-b604-268bfad9cc5e" providerId="ADAL" clId="{D888A4E8-4B4E-4F9E-AD90-7B2ECDAE1265}" dt="2023-03-07T21:07:31.884" v="7847" actId="164"/>
          <ac:spMkLst>
            <pc:docMk/>
            <pc:sldMk cId="3779820847" sldId="2147469994"/>
            <ac:spMk id="154" creationId="{8F9C9522-1398-0475-9CA8-B94FD0B5091E}"/>
          </ac:spMkLst>
        </pc:spChg>
        <pc:spChg chg="add mod">
          <ac:chgData name="Simone NERI" userId="2a00f2ad-68d9-45e6-b604-268bfad9cc5e" providerId="ADAL" clId="{D888A4E8-4B4E-4F9E-AD90-7B2ECDAE1265}" dt="2023-03-07T21:22:13.279" v="8407" actId="207"/>
          <ac:spMkLst>
            <pc:docMk/>
            <pc:sldMk cId="3779820847" sldId="2147469994"/>
            <ac:spMk id="155" creationId="{CCF5CAE9-ABD9-9925-17B0-2202F5880A55}"/>
          </ac:spMkLst>
        </pc:spChg>
        <pc:spChg chg="add mod">
          <ac:chgData name="Simone NERI" userId="2a00f2ad-68d9-45e6-b604-268bfad9cc5e" providerId="ADAL" clId="{D888A4E8-4B4E-4F9E-AD90-7B2ECDAE1265}" dt="2023-03-07T21:21:53.723" v="8404" actId="207"/>
          <ac:spMkLst>
            <pc:docMk/>
            <pc:sldMk cId="3779820847" sldId="2147469994"/>
            <ac:spMk id="156" creationId="{13405765-BAC4-9FDA-C0FC-E886B81F2937}"/>
          </ac:spMkLst>
        </pc:spChg>
        <pc:spChg chg="add mod">
          <ac:chgData name="Simone NERI" userId="2a00f2ad-68d9-45e6-b604-268bfad9cc5e" providerId="ADAL" clId="{D888A4E8-4B4E-4F9E-AD90-7B2ECDAE1265}" dt="2023-03-07T21:21:58.809" v="8405" actId="207"/>
          <ac:spMkLst>
            <pc:docMk/>
            <pc:sldMk cId="3779820847" sldId="2147469994"/>
            <ac:spMk id="157" creationId="{FB695D2B-A96C-D215-6E4E-69A789765C73}"/>
          </ac:spMkLst>
        </pc:spChg>
        <pc:spChg chg="add mod">
          <ac:chgData name="Simone NERI" userId="2a00f2ad-68d9-45e6-b604-268bfad9cc5e" providerId="ADAL" clId="{D888A4E8-4B4E-4F9E-AD90-7B2ECDAE1265}" dt="2023-03-07T21:22:03.393" v="8406" actId="207"/>
          <ac:spMkLst>
            <pc:docMk/>
            <pc:sldMk cId="3779820847" sldId="2147469994"/>
            <ac:spMk id="158" creationId="{FF3EDC27-8389-461C-056F-FF6BE8421C9C}"/>
          </ac:spMkLst>
        </pc:spChg>
        <pc:spChg chg="add mod">
          <ac:chgData name="Simone NERI" userId="2a00f2ad-68d9-45e6-b604-268bfad9cc5e" providerId="ADAL" clId="{D888A4E8-4B4E-4F9E-AD90-7B2ECDAE1265}" dt="2023-03-07T21:07:31.884" v="7847" actId="164"/>
          <ac:spMkLst>
            <pc:docMk/>
            <pc:sldMk cId="3779820847" sldId="2147469994"/>
            <ac:spMk id="159" creationId="{840B3C15-1810-E749-0C17-7C6CDB5F39B8}"/>
          </ac:spMkLst>
        </pc:spChg>
        <pc:spChg chg="add mod">
          <ac:chgData name="Simone NERI" userId="2a00f2ad-68d9-45e6-b604-268bfad9cc5e" providerId="ADAL" clId="{D888A4E8-4B4E-4F9E-AD90-7B2ECDAE1265}" dt="2023-03-07T21:07:31.884" v="7847" actId="164"/>
          <ac:spMkLst>
            <pc:docMk/>
            <pc:sldMk cId="3779820847" sldId="2147469994"/>
            <ac:spMk id="160" creationId="{4052F555-59DB-0DCE-7C1A-0788F1D9AB95}"/>
          </ac:spMkLst>
        </pc:spChg>
        <pc:spChg chg="add mod">
          <ac:chgData name="Simone NERI" userId="2a00f2ad-68d9-45e6-b604-268bfad9cc5e" providerId="ADAL" clId="{D888A4E8-4B4E-4F9E-AD90-7B2ECDAE1265}" dt="2023-03-07T21:07:31.884" v="7847" actId="164"/>
          <ac:spMkLst>
            <pc:docMk/>
            <pc:sldMk cId="3779820847" sldId="2147469994"/>
            <ac:spMk id="161" creationId="{7DE08DC3-D2B9-34F4-9AEE-9345B8CBB0C9}"/>
          </ac:spMkLst>
        </pc:spChg>
        <pc:spChg chg="add mod">
          <ac:chgData name="Simone NERI" userId="2a00f2ad-68d9-45e6-b604-268bfad9cc5e" providerId="ADAL" clId="{D888A4E8-4B4E-4F9E-AD90-7B2ECDAE1265}" dt="2023-03-07T21:07:31.884" v="7847" actId="164"/>
          <ac:spMkLst>
            <pc:docMk/>
            <pc:sldMk cId="3779820847" sldId="2147469994"/>
            <ac:spMk id="162" creationId="{B28ECEAE-035B-4661-C406-40F681B40376}"/>
          </ac:spMkLst>
        </pc:spChg>
        <pc:spChg chg="add mod">
          <ac:chgData name="Simone NERI" userId="2a00f2ad-68d9-45e6-b604-268bfad9cc5e" providerId="ADAL" clId="{D888A4E8-4B4E-4F9E-AD90-7B2ECDAE1265}" dt="2023-03-07T21:07:31.884" v="7847" actId="164"/>
          <ac:spMkLst>
            <pc:docMk/>
            <pc:sldMk cId="3779820847" sldId="2147469994"/>
            <ac:spMk id="163" creationId="{148B66DA-1BB9-8FDD-814A-9E902DB1BC79}"/>
          </ac:spMkLst>
        </pc:spChg>
        <pc:spChg chg="add del mod">
          <ac:chgData name="Simone NERI" userId="2a00f2ad-68d9-45e6-b604-268bfad9cc5e" providerId="ADAL" clId="{D888A4E8-4B4E-4F9E-AD90-7B2ECDAE1265}" dt="2023-03-08T10:26:10.522" v="10086" actId="478"/>
          <ac:spMkLst>
            <pc:docMk/>
            <pc:sldMk cId="3779820847" sldId="2147469994"/>
            <ac:spMk id="165" creationId="{C5E81B22-6FAF-1CC2-F46F-75BE22F3D107}"/>
          </ac:spMkLst>
        </pc:spChg>
        <pc:spChg chg="add del mod">
          <ac:chgData name="Simone NERI" userId="2a00f2ad-68d9-45e6-b604-268bfad9cc5e" providerId="ADAL" clId="{D888A4E8-4B4E-4F9E-AD90-7B2ECDAE1265}" dt="2023-03-08T10:26:10.522" v="10086" actId="478"/>
          <ac:spMkLst>
            <pc:docMk/>
            <pc:sldMk cId="3779820847" sldId="2147469994"/>
            <ac:spMk id="166" creationId="{B325E529-BA84-195B-5F12-96621CD57FB9}"/>
          </ac:spMkLst>
        </pc:spChg>
        <pc:spChg chg="add del mod">
          <ac:chgData name="Simone NERI" userId="2a00f2ad-68d9-45e6-b604-268bfad9cc5e" providerId="ADAL" clId="{D888A4E8-4B4E-4F9E-AD90-7B2ECDAE1265}" dt="2023-03-08T10:26:10.522" v="10086" actId="478"/>
          <ac:spMkLst>
            <pc:docMk/>
            <pc:sldMk cId="3779820847" sldId="2147469994"/>
            <ac:spMk id="167" creationId="{CCB27019-CEA3-0D75-FFC5-145D0B426FF0}"/>
          </ac:spMkLst>
        </pc:spChg>
        <pc:spChg chg="add del mod">
          <ac:chgData name="Simone NERI" userId="2a00f2ad-68d9-45e6-b604-268bfad9cc5e" providerId="ADAL" clId="{D888A4E8-4B4E-4F9E-AD90-7B2ECDAE1265}" dt="2023-03-08T10:26:10.522" v="10086" actId="478"/>
          <ac:spMkLst>
            <pc:docMk/>
            <pc:sldMk cId="3779820847" sldId="2147469994"/>
            <ac:spMk id="168" creationId="{55069205-3D7C-453C-40ED-504FE59E7AE8}"/>
          </ac:spMkLst>
        </pc:spChg>
        <pc:spChg chg="add del mod">
          <ac:chgData name="Simone NERI" userId="2a00f2ad-68d9-45e6-b604-268bfad9cc5e" providerId="ADAL" clId="{D888A4E8-4B4E-4F9E-AD90-7B2ECDAE1265}" dt="2023-03-08T10:26:10.522" v="10086" actId="478"/>
          <ac:spMkLst>
            <pc:docMk/>
            <pc:sldMk cId="3779820847" sldId="2147469994"/>
            <ac:spMk id="169" creationId="{2C6A40DB-7A2D-7ED5-888E-E96944D08583}"/>
          </ac:spMkLst>
        </pc:spChg>
        <pc:spChg chg="add del mod">
          <ac:chgData name="Simone NERI" userId="2a00f2ad-68d9-45e6-b604-268bfad9cc5e" providerId="ADAL" clId="{D888A4E8-4B4E-4F9E-AD90-7B2ECDAE1265}" dt="2023-03-08T10:26:10.522" v="10086" actId="478"/>
          <ac:spMkLst>
            <pc:docMk/>
            <pc:sldMk cId="3779820847" sldId="2147469994"/>
            <ac:spMk id="170" creationId="{F9D9E070-FBA2-9823-2738-B3DD0C377195}"/>
          </ac:spMkLst>
        </pc:spChg>
        <pc:spChg chg="add del mod">
          <ac:chgData name="Simone NERI" userId="2a00f2ad-68d9-45e6-b604-268bfad9cc5e" providerId="ADAL" clId="{D888A4E8-4B4E-4F9E-AD90-7B2ECDAE1265}" dt="2023-03-07T21:33:17.535" v="8915" actId="478"/>
          <ac:spMkLst>
            <pc:docMk/>
            <pc:sldMk cId="3779820847" sldId="2147469994"/>
            <ac:spMk id="171" creationId="{54A72729-1F3D-9AD3-D1D2-23C101C63277}"/>
          </ac:spMkLst>
        </pc:spChg>
        <pc:spChg chg="add del mod">
          <ac:chgData name="Simone NERI" userId="2a00f2ad-68d9-45e6-b604-268bfad9cc5e" providerId="ADAL" clId="{D888A4E8-4B4E-4F9E-AD90-7B2ECDAE1265}" dt="2023-03-07T21:33:15.945" v="8914" actId="478"/>
          <ac:spMkLst>
            <pc:docMk/>
            <pc:sldMk cId="3779820847" sldId="2147469994"/>
            <ac:spMk id="172" creationId="{31DCA627-9186-F052-9BD7-119C9A42ECC5}"/>
          </ac:spMkLst>
        </pc:spChg>
        <pc:spChg chg="add del mod">
          <ac:chgData name="Simone NERI" userId="2a00f2ad-68d9-45e6-b604-268bfad9cc5e" providerId="ADAL" clId="{D888A4E8-4B4E-4F9E-AD90-7B2ECDAE1265}" dt="2023-03-07T21:33:14.194" v="8913" actId="478"/>
          <ac:spMkLst>
            <pc:docMk/>
            <pc:sldMk cId="3779820847" sldId="2147469994"/>
            <ac:spMk id="173" creationId="{5DB125BD-AA7F-4038-B93C-D1E0B5C20CCA}"/>
          </ac:spMkLst>
        </pc:spChg>
        <pc:spChg chg="add mod">
          <ac:chgData name="Simone NERI" userId="2a00f2ad-68d9-45e6-b604-268bfad9cc5e" providerId="ADAL" clId="{D888A4E8-4B4E-4F9E-AD90-7B2ECDAE1265}" dt="2023-03-07T21:40:55.093" v="9050" actId="1076"/>
          <ac:spMkLst>
            <pc:docMk/>
            <pc:sldMk cId="3779820847" sldId="2147469994"/>
            <ac:spMk id="174" creationId="{9EDCDA73-CF95-BA08-4751-C40979072A4D}"/>
          </ac:spMkLst>
        </pc:spChg>
        <pc:spChg chg="add mod">
          <ac:chgData name="Simone NERI" userId="2a00f2ad-68d9-45e6-b604-268bfad9cc5e" providerId="ADAL" clId="{D888A4E8-4B4E-4F9E-AD90-7B2ECDAE1265}" dt="2023-03-07T21:40:38.428" v="9048" actId="1076"/>
          <ac:spMkLst>
            <pc:docMk/>
            <pc:sldMk cId="3779820847" sldId="2147469994"/>
            <ac:spMk id="175" creationId="{82C9C8E9-95AD-A43A-9725-68B89FB66ABC}"/>
          </ac:spMkLst>
        </pc:spChg>
        <pc:spChg chg="add del mod">
          <ac:chgData name="Simone NERI" userId="2a00f2ad-68d9-45e6-b604-268bfad9cc5e" providerId="ADAL" clId="{D888A4E8-4B4E-4F9E-AD90-7B2ECDAE1265}" dt="2023-03-08T09:49:21.116" v="9882" actId="478"/>
          <ac:spMkLst>
            <pc:docMk/>
            <pc:sldMk cId="3779820847" sldId="2147469994"/>
            <ac:spMk id="176" creationId="{4DA780BA-CB0A-CB2E-F063-25DDFB28EE92}"/>
          </ac:spMkLst>
        </pc:spChg>
        <pc:spChg chg="add mod">
          <ac:chgData name="Simone NERI" userId="2a00f2ad-68d9-45e6-b604-268bfad9cc5e" providerId="ADAL" clId="{D888A4E8-4B4E-4F9E-AD90-7B2ECDAE1265}" dt="2023-03-07T21:52:30.419" v="9296" actId="14100"/>
          <ac:spMkLst>
            <pc:docMk/>
            <pc:sldMk cId="3779820847" sldId="2147469994"/>
            <ac:spMk id="182" creationId="{399B1F8B-7642-6EBA-1CA1-3BD719B10579}"/>
          </ac:spMkLst>
        </pc:spChg>
        <pc:spChg chg="add mod">
          <ac:chgData name="Simone NERI" userId="2a00f2ad-68d9-45e6-b604-268bfad9cc5e" providerId="ADAL" clId="{D888A4E8-4B4E-4F9E-AD90-7B2ECDAE1265}" dt="2023-03-08T10:26:41.059" v="10094" actId="1076"/>
          <ac:spMkLst>
            <pc:docMk/>
            <pc:sldMk cId="3779820847" sldId="2147469994"/>
            <ac:spMk id="183" creationId="{D319A40A-D3DD-533C-9C1A-34DD5E26ED6D}"/>
          </ac:spMkLst>
        </pc:spChg>
        <pc:spChg chg="add mod">
          <ac:chgData name="Simone NERI" userId="2a00f2ad-68d9-45e6-b604-268bfad9cc5e" providerId="ADAL" clId="{D888A4E8-4B4E-4F9E-AD90-7B2ECDAE1265}" dt="2023-03-08T10:26:41.059" v="10094" actId="1076"/>
          <ac:spMkLst>
            <pc:docMk/>
            <pc:sldMk cId="3779820847" sldId="2147469994"/>
            <ac:spMk id="188" creationId="{54538CF1-F291-A8D9-20A1-8BD083FAC185}"/>
          </ac:spMkLst>
        </pc:spChg>
        <pc:spChg chg="add mod">
          <ac:chgData name="Simone NERI" userId="2a00f2ad-68d9-45e6-b604-268bfad9cc5e" providerId="ADAL" clId="{D888A4E8-4B4E-4F9E-AD90-7B2ECDAE1265}" dt="2023-03-08T10:26:41.059" v="10094" actId="1076"/>
          <ac:spMkLst>
            <pc:docMk/>
            <pc:sldMk cId="3779820847" sldId="2147469994"/>
            <ac:spMk id="189" creationId="{3EB916B9-A83F-9A16-EA67-076D39DB2E60}"/>
          </ac:spMkLst>
        </pc:spChg>
        <pc:spChg chg="add mod">
          <ac:chgData name="Simone NERI" userId="2a00f2ad-68d9-45e6-b604-268bfad9cc5e" providerId="ADAL" clId="{D888A4E8-4B4E-4F9E-AD90-7B2ECDAE1265}" dt="2023-03-08T10:26:41.059" v="10094" actId="1076"/>
          <ac:spMkLst>
            <pc:docMk/>
            <pc:sldMk cId="3779820847" sldId="2147469994"/>
            <ac:spMk id="190" creationId="{1D84F161-1E47-8DF4-D818-6DA36E041C70}"/>
          </ac:spMkLst>
        </pc:spChg>
        <pc:spChg chg="add mod">
          <ac:chgData name="Simone NERI" userId="2a00f2ad-68d9-45e6-b604-268bfad9cc5e" providerId="ADAL" clId="{D888A4E8-4B4E-4F9E-AD90-7B2ECDAE1265}" dt="2023-03-08T10:26:41.059" v="10094" actId="1076"/>
          <ac:spMkLst>
            <pc:docMk/>
            <pc:sldMk cId="3779820847" sldId="2147469994"/>
            <ac:spMk id="191" creationId="{2C44FE29-3C3D-C7FE-B92C-7C93684EFEC9}"/>
          </ac:spMkLst>
        </pc:spChg>
        <pc:spChg chg="add mod">
          <ac:chgData name="Simone NERI" userId="2a00f2ad-68d9-45e6-b604-268bfad9cc5e" providerId="ADAL" clId="{D888A4E8-4B4E-4F9E-AD90-7B2ECDAE1265}" dt="2023-03-08T10:26:41.059" v="10094" actId="1076"/>
          <ac:spMkLst>
            <pc:docMk/>
            <pc:sldMk cId="3779820847" sldId="2147469994"/>
            <ac:spMk id="192" creationId="{9471BBAE-37A4-F385-4642-775F9AE2AC13}"/>
          </ac:spMkLst>
        </pc:spChg>
        <pc:spChg chg="add mod">
          <ac:chgData name="Simone NERI" userId="2a00f2ad-68d9-45e6-b604-268bfad9cc5e" providerId="ADAL" clId="{D888A4E8-4B4E-4F9E-AD90-7B2ECDAE1265}" dt="2023-03-08T10:26:41.059" v="10094" actId="1076"/>
          <ac:spMkLst>
            <pc:docMk/>
            <pc:sldMk cId="3779820847" sldId="2147469994"/>
            <ac:spMk id="193" creationId="{C76F6737-62DF-1C1A-2E27-2CA8BDA6206A}"/>
          </ac:spMkLst>
        </pc:spChg>
        <pc:spChg chg="add del mod">
          <ac:chgData name="Simone NERI" userId="2a00f2ad-68d9-45e6-b604-268bfad9cc5e" providerId="ADAL" clId="{D888A4E8-4B4E-4F9E-AD90-7B2ECDAE1265}" dt="2023-03-07T21:42:36.668" v="9127" actId="478"/>
          <ac:spMkLst>
            <pc:docMk/>
            <pc:sldMk cId="3779820847" sldId="2147469994"/>
            <ac:spMk id="199" creationId="{876AFCEE-33E9-8E3E-9E1B-1F667B9B73D0}"/>
          </ac:spMkLst>
        </pc:spChg>
        <pc:spChg chg="add del mod">
          <ac:chgData name="Simone NERI" userId="2a00f2ad-68d9-45e6-b604-268bfad9cc5e" providerId="ADAL" clId="{D888A4E8-4B4E-4F9E-AD90-7B2ECDAE1265}" dt="2023-03-07T21:42:34.180" v="9125" actId="478"/>
          <ac:spMkLst>
            <pc:docMk/>
            <pc:sldMk cId="3779820847" sldId="2147469994"/>
            <ac:spMk id="200" creationId="{B9A31CE4-A360-E994-A40E-0403FBAD5265}"/>
          </ac:spMkLst>
        </pc:spChg>
        <pc:spChg chg="add del mod">
          <ac:chgData name="Simone NERI" userId="2a00f2ad-68d9-45e6-b604-268bfad9cc5e" providerId="ADAL" clId="{D888A4E8-4B4E-4F9E-AD90-7B2ECDAE1265}" dt="2023-03-07T21:42:33.028" v="9124" actId="478"/>
          <ac:spMkLst>
            <pc:docMk/>
            <pc:sldMk cId="3779820847" sldId="2147469994"/>
            <ac:spMk id="201" creationId="{D3B146CF-AE55-5986-95DF-058214B70401}"/>
          </ac:spMkLst>
        </pc:spChg>
        <pc:spChg chg="add del mod">
          <ac:chgData name="Simone NERI" userId="2a00f2ad-68d9-45e6-b604-268bfad9cc5e" providerId="ADAL" clId="{D888A4E8-4B4E-4F9E-AD90-7B2ECDAE1265}" dt="2023-03-07T21:34:37.931" v="8928" actId="478"/>
          <ac:spMkLst>
            <pc:docMk/>
            <pc:sldMk cId="3779820847" sldId="2147469994"/>
            <ac:spMk id="202" creationId="{93F9A4A8-A9DE-928D-8B2C-75465F140554}"/>
          </ac:spMkLst>
        </pc:spChg>
        <pc:spChg chg="add del mod">
          <ac:chgData name="Simone NERI" userId="2a00f2ad-68d9-45e6-b604-268bfad9cc5e" providerId="ADAL" clId="{D888A4E8-4B4E-4F9E-AD90-7B2ECDAE1265}" dt="2023-03-07T21:42:35.335" v="9126" actId="478"/>
          <ac:spMkLst>
            <pc:docMk/>
            <pc:sldMk cId="3779820847" sldId="2147469994"/>
            <ac:spMk id="203" creationId="{9984C02A-1766-CEC4-DF43-A207410F318E}"/>
          </ac:spMkLst>
        </pc:spChg>
        <pc:spChg chg="add del">
          <ac:chgData name="Simone NERI" userId="2a00f2ad-68d9-45e6-b604-268bfad9cc5e" providerId="ADAL" clId="{D888A4E8-4B4E-4F9E-AD90-7B2ECDAE1265}" dt="2023-03-07T21:35:40.251" v="8937" actId="478"/>
          <ac:spMkLst>
            <pc:docMk/>
            <pc:sldMk cId="3779820847" sldId="2147469994"/>
            <ac:spMk id="204" creationId="{EB393296-5D64-D538-2421-A6B129B9AE22}"/>
          </ac:spMkLst>
        </pc:spChg>
        <pc:spChg chg="add del mod">
          <ac:chgData name="Simone NERI" userId="2a00f2ad-68d9-45e6-b604-268bfad9cc5e" providerId="ADAL" clId="{D888A4E8-4B4E-4F9E-AD90-7B2ECDAE1265}" dt="2023-03-08T10:26:10.522" v="10086" actId="478"/>
          <ac:spMkLst>
            <pc:docMk/>
            <pc:sldMk cId="3779820847" sldId="2147469994"/>
            <ac:spMk id="205" creationId="{6E1267DF-D396-EFA5-FE1E-A28E18246F29}"/>
          </ac:spMkLst>
        </pc:spChg>
        <pc:spChg chg="add del mod">
          <ac:chgData name="Simone NERI" userId="2a00f2ad-68d9-45e6-b604-268bfad9cc5e" providerId="ADAL" clId="{D888A4E8-4B4E-4F9E-AD90-7B2ECDAE1265}" dt="2023-03-08T10:26:10.522" v="10086" actId="478"/>
          <ac:spMkLst>
            <pc:docMk/>
            <pc:sldMk cId="3779820847" sldId="2147469994"/>
            <ac:spMk id="206" creationId="{1280F4E4-36C1-FFC7-1998-AAA2D4718B34}"/>
          </ac:spMkLst>
        </pc:spChg>
        <pc:spChg chg="add del mod">
          <ac:chgData name="Simone NERI" userId="2a00f2ad-68d9-45e6-b604-268bfad9cc5e" providerId="ADAL" clId="{D888A4E8-4B4E-4F9E-AD90-7B2ECDAE1265}" dt="2023-03-08T10:26:10.522" v="10086" actId="478"/>
          <ac:spMkLst>
            <pc:docMk/>
            <pc:sldMk cId="3779820847" sldId="2147469994"/>
            <ac:spMk id="210" creationId="{29A32C1F-763B-CD2E-9C75-6682624E2E39}"/>
          </ac:spMkLst>
        </pc:spChg>
        <pc:spChg chg="add del mod">
          <ac:chgData name="Simone NERI" userId="2a00f2ad-68d9-45e6-b604-268bfad9cc5e" providerId="ADAL" clId="{D888A4E8-4B4E-4F9E-AD90-7B2ECDAE1265}" dt="2023-03-08T10:26:10.522" v="10086" actId="478"/>
          <ac:spMkLst>
            <pc:docMk/>
            <pc:sldMk cId="3779820847" sldId="2147469994"/>
            <ac:spMk id="211" creationId="{494F31F1-C9F5-3EE5-47D6-AB7518B7B2B6}"/>
          </ac:spMkLst>
        </pc:spChg>
        <pc:spChg chg="add del mod">
          <ac:chgData name="Simone NERI" userId="2a00f2ad-68d9-45e6-b604-268bfad9cc5e" providerId="ADAL" clId="{D888A4E8-4B4E-4F9E-AD90-7B2ECDAE1265}" dt="2023-03-08T10:26:10.522" v="10086" actId="478"/>
          <ac:spMkLst>
            <pc:docMk/>
            <pc:sldMk cId="3779820847" sldId="2147469994"/>
            <ac:spMk id="212" creationId="{98D0B4EC-6D85-DF6D-A663-A9F3B40247FD}"/>
          </ac:spMkLst>
        </pc:spChg>
        <pc:spChg chg="add del mod">
          <ac:chgData name="Simone NERI" userId="2a00f2ad-68d9-45e6-b604-268bfad9cc5e" providerId="ADAL" clId="{D888A4E8-4B4E-4F9E-AD90-7B2ECDAE1265}" dt="2023-03-08T10:26:10.522" v="10086" actId="478"/>
          <ac:spMkLst>
            <pc:docMk/>
            <pc:sldMk cId="3779820847" sldId="2147469994"/>
            <ac:spMk id="213" creationId="{4AA647B6-1199-414A-CCE5-87DF109A6CB8}"/>
          </ac:spMkLst>
        </pc:spChg>
        <pc:spChg chg="add del mod">
          <ac:chgData name="Simone NERI" userId="2a00f2ad-68d9-45e6-b604-268bfad9cc5e" providerId="ADAL" clId="{D888A4E8-4B4E-4F9E-AD90-7B2ECDAE1265}" dt="2023-03-08T10:26:10.522" v="10086" actId="478"/>
          <ac:spMkLst>
            <pc:docMk/>
            <pc:sldMk cId="3779820847" sldId="2147469994"/>
            <ac:spMk id="214" creationId="{204114AB-051A-166B-E798-BADDDFD54661}"/>
          </ac:spMkLst>
        </pc:spChg>
        <pc:spChg chg="add del mod">
          <ac:chgData name="Simone NERI" userId="2a00f2ad-68d9-45e6-b604-268bfad9cc5e" providerId="ADAL" clId="{D888A4E8-4B4E-4F9E-AD90-7B2ECDAE1265}" dt="2023-03-08T10:26:10.522" v="10086" actId="478"/>
          <ac:spMkLst>
            <pc:docMk/>
            <pc:sldMk cId="3779820847" sldId="2147469994"/>
            <ac:spMk id="215" creationId="{8B333D73-E816-99C0-61A8-EFCF5CEBF539}"/>
          </ac:spMkLst>
        </pc:spChg>
        <pc:spChg chg="add del mod">
          <ac:chgData name="Simone NERI" userId="2a00f2ad-68d9-45e6-b604-268bfad9cc5e" providerId="ADAL" clId="{D888A4E8-4B4E-4F9E-AD90-7B2ECDAE1265}" dt="2023-03-08T10:26:10.522" v="10086" actId="478"/>
          <ac:spMkLst>
            <pc:docMk/>
            <pc:sldMk cId="3779820847" sldId="2147469994"/>
            <ac:spMk id="216" creationId="{90938941-2843-5218-2C79-5E7424BBA9C2}"/>
          </ac:spMkLst>
        </pc:spChg>
        <pc:spChg chg="add del mod">
          <ac:chgData name="Simone NERI" userId="2a00f2ad-68d9-45e6-b604-268bfad9cc5e" providerId="ADAL" clId="{D888A4E8-4B4E-4F9E-AD90-7B2ECDAE1265}" dt="2023-03-08T10:26:10.522" v="10086" actId="478"/>
          <ac:spMkLst>
            <pc:docMk/>
            <pc:sldMk cId="3779820847" sldId="2147469994"/>
            <ac:spMk id="217" creationId="{A4C48298-262C-A59A-E69A-27AACC11B5A5}"/>
          </ac:spMkLst>
        </pc:spChg>
        <pc:spChg chg="add del mod">
          <ac:chgData name="Simone NERI" userId="2a00f2ad-68d9-45e6-b604-268bfad9cc5e" providerId="ADAL" clId="{D888A4E8-4B4E-4F9E-AD90-7B2ECDAE1265}" dt="2023-03-08T10:26:10.522" v="10086" actId="478"/>
          <ac:spMkLst>
            <pc:docMk/>
            <pc:sldMk cId="3779820847" sldId="2147469994"/>
            <ac:spMk id="218" creationId="{B333BC02-BF58-762C-7F1F-476CCD091695}"/>
          </ac:spMkLst>
        </pc:spChg>
        <pc:spChg chg="add del mod">
          <ac:chgData name="Simone NERI" userId="2a00f2ad-68d9-45e6-b604-268bfad9cc5e" providerId="ADAL" clId="{D888A4E8-4B4E-4F9E-AD90-7B2ECDAE1265}" dt="2023-03-07T21:45:17.258" v="9159" actId="478"/>
          <ac:spMkLst>
            <pc:docMk/>
            <pc:sldMk cId="3779820847" sldId="2147469994"/>
            <ac:spMk id="219" creationId="{90B4BF7C-A176-B6B6-0179-E8B14FB031CA}"/>
          </ac:spMkLst>
        </pc:spChg>
        <pc:spChg chg="add del mod">
          <ac:chgData name="Simone NERI" userId="2a00f2ad-68d9-45e6-b604-268bfad9cc5e" providerId="ADAL" clId="{D888A4E8-4B4E-4F9E-AD90-7B2ECDAE1265}" dt="2023-03-07T21:46:41.958" v="9162" actId="478"/>
          <ac:spMkLst>
            <pc:docMk/>
            <pc:sldMk cId="3779820847" sldId="2147469994"/>
            <ac:spMk id="220" creationId="{088133E8-6F86-3CE4-14D0-1C4E5A77F37A}"/>
          </ac:spMkLst>
        </pc:spChg>
        <pc:spChg chg="add mod">
          <ac:chgData name="Simone NERI" userId="2a00f2ad-68d9-45e6-b604-268bfad9cc5e" providerId="ADAL" clId="{D888A4E8-4B4E-4F9E-AD90-7B2ECDAE1265}" dt="2023-03-07T21:49:34.386" v="9216"/>
          <ac:spMkLst>
            <pc:docMk/>
            <pc:sldMk cId="3779820847" sldId="2147469994"/>
            <ac:spMk id="221" creationId="{A4BC7538-4AD0-147C-34E8-C6B0291232DB}"/>
          </ac:spMkLst>
        </pc:spChg>
        <pc:grpChg chg="add del mod">
          <ac:chgData name="Simone NERI" userId="2a00f2ad-68d9-45e6-b604-268bfad9cc5e" providerId="ADAL" clId="{D888A4E8-4B4E-4F9E-AD90-7B2ECDAE1265}" dt="2023-03-07T20:58:54.831" v="7776"/>
          <ac:grpSpMkLst>
            <pc:docMk/>
            <pc:sldMk cId="3779820847" sldId="2147469994"/>
            <ac:grpSpMk id="6" creationId="{FD84AA8F-233A-8BED-E152-11FA0902B612}"/>
          </ac:grpSpMkLst>
        </pc:grpChg>
        <pc:grpChg chg="mod">
          <ac:chgData name="Simone NERI" userId="2a00f2ad-68d9-45e6-b604-268bfad9cc5e" providerId="ADAL" clId="{D888A4E8-4B4E-4F9E-AD90-7B2ECDAE1265}" dt="2023-03-07T20:58:54.446" v="7775" actId="1076"/>
          <ac:grpSpMkLst>
            <pc:docMk/>
            <pc:sldMk cId="3779820847" sldId="2147469994"/>
            <ac:grpSpMk id="7" creationId="{2C193235-DBAE-E52C-C1FC-AE0A572F299B}"/>
          </ac:grpSpMkLst>
        </pc:grpChg>
        <pc:grpChg chg="mod">
          <ac:chgData name="Simone NERI" userId="2a00f2ad-68d9-45e6-b604-268bfad9cc5e" providerId="ADAL" clId="{D888A4E8-4B4E-4F9E-AD90-7B2ECDAE1265}" dt="2023-03-07T20:58:54.446" v="7775" actId="1076"/>
          <ac:grpSpMkLst>
            <pc:docMk/>
            <pc:sldMk cId="3779820847" sldId="2147469994"/>
            <ac:grpSpMk id="8" creationId="{C0EC5672-5DDA-CBD6-468D-514397D67A4F}"/>
          </ac:grpSpMkLst>
        </pc:grpChg>
        <pc:grpChg chg="mod">
          <ac:chgData name="Simone NERI" userId="2a00f2ad-68d9-45e6-b604-268bfad9cc5e" providerId="ADAL" clId="{D888A4E8-4B4E-4F9E-AD90-7B2ECDAE1265}" dt="2023-03-07T20:58:54.446" v="7775" actId="1076"/>
          <ac:grpSpMkLst>
            <pc:docMk/>
            <pc:sldMk cId="3779820847" sldId="2147469994"/>
            <ac:grpSpMk id="9" creationId="{0EA8BBA4-C35D-D81A-DC7F-68B33C4D9758}"/>
          </ac:grpSpMkLst>
        </pc:grpChg>
        <pc:grpChg chg="mod">
          <ac:chgData name="Simone NERI" userId="2a00f2ad-68d9-45e6-b604-268bfad9cc5e" providerId="ADAL" clId="{D888A4E8-4B4E-4F9E-AD90-7B2ECDAE1265}" dt="2023-03-07T20:58:54.446" v="7775" actId="1076"/>
          <ac:grpSpMkLst>
            <pc:docMk/>
            <pc:sldMk cId="3779820847" sldId="2147469994"/>
            <ac:grpSpMk id="10" creationId="{4AD1B691-625A-5FF6-716F-88D7C05A239F}"/>
          </ac:grpSpMkLst>
        </pc:grpChg>
        <pc:grpChg chg="mod">
          <ac:chgData name="Simone NERI" userId="2a00f2ad-68d9-45e6-b604-268bfad9cc5e" providerId="ADAL" clId="{D888A4E8-4B4E-4F9E-AD90-7B2ECDAE1265}" dt="2023-03-07T20:58:54.446" v="7775" actId="1076"/>
          <ac:grpSpMkLst>
            <pc:docMk/>
            <pc:sldMk cId="3779820847" sldId="2147469994"/>
            <ac:grpSpMk id="13" creationId="{926D6435-F206-EAF7-4FB8-8DAA454CA248}"/>
          </ac:grpSpMkLst>
        </pc:grpChg>
        <pc:grpChg chg="mod">
          <ac:chgData name="Simone NERI" userId="2a00f2ad-68d9-45e6-b604-268bfad9cc5e" providerId="ADAL" clId="{D888A4E8-4B4E-4F9E-AD90-7B2ECDAE1265}" dt="2023-03-07T20:58:54.446" v="7775" actId="1076"/>
          <ac:grpSpMkLst>
            <pc:docMk/>
            <pc:sldMk cId="3779820847" sldId="2147469994"/>
            <ac:grpSpMk id="14" creationId="{8F22A391-A17F-3D74-9F2A-29A3DB47960E}"/>
          </ac:grpSpMkLst>
        </pc:grpChg>
        <pc:grpChg chg="mod">
          <ac:chgData name="Simone NERI" userId="2a00f2ad-68d9-45e6-b604-268bfad9cc5e" providerId="ADAL" clId="{D888A4E8-4B4E-4F9E-AD90-7B2ECDAE1265}" dt="2023-03-07T20:58:54.446" v="7775" actId="1076"/>
          <ac:grpSpMkLst>
            <pc:docMk/>
            <pc:sldMk cId="3779820847" sldId="2147469994"/>
            <ac:grpSpMk id="15" creationId="{D222E5D1-2A57-A4A2-1BA6-29A22D050F55}"/>
          </ac:grpSpMkLst>
        </pc:grpChg>
        <pc:grpChg chg="mod">
          <ac:chgData name="Simone NERI" userId="2a00f2ad-68d9-45e6-b604-268bfad9cc5e" providerId="ADAL" clId="{D888A4E8-4B4E-4F9E-AD90-7B2ECDAE1265}" dt="2023-03-07T20:58:54.446" v="7775" actId="1076"/>
          <ac:grpSpMkLst>
            <pc:docMk/>
            <pc:sldMk cId="3779820847" sldId="2147469994"/>
            <ac:grpSpMk id="16" creationId="{24222AD6-A78F-5B9F-F70A-E43C452C92AF}"/>
          </ac:grpSpMkLst>
        </pc:grpChg>
        <pc:grpChg chg="add del mod">
          <ac:chgData name="Simone NERI" userId="2a00f2ad-68d9-45e6-b604-268bfad9cc5e" providerId="ADAL" clId="{D888A4E8-4B4E-4F9E-AD90-7B2ECDAE1265}" dt="2023-03-07T20:59:03.040" v="7780"/>
          <ac:grpSpMkLst>
            <pc:docMk/>
            <pc:sldMk cId="3779820847" sldId="2147469994"/>
            <ac:grpSpMk id="54" creationId="{BB85638A-299F-A5D0-6058-ED2E1A49BA3B}"/>
          </ac:grpSpMkLst>
        </pc:grpChg>
        <pc:grpChg chg="mod">
          <ac:chgData name="Simone NERI" userId="2a00f2ad-68d9-45e6-b604-268bfad9cc5e" providerId="ADAL" clId="{D888A4E8-4B4E-4F9E-AD90-7B2ECDAE1265}" dt="2023-03-07T20:58:55.729" v="7777"/>
          <ac:grpSpMkLst>
            <pc:docMk/>
            <pc:sldMk cId="3779820847" sldId="2147469994"/>
            <ac:grpSpMk id="55" creationId="{DFD1C175-3048-9C6F-657A-00192C93C16E}"/>
          </ac:grpSpMkLst>
        </pc:grpChg>
        <pc:grpChg chg="mod">
          <ac:chgData name="Simone NERI" userId="2a00f2ad-68d9-45e6-b604-268bfad9cc5e" providerId="ADAL" clId="{D888A4E8-4B4E-4F9E-AD90-7B2ECDAE1265}" dt="2023-03-07T20:58:55.729" v="7777"/>
          <ac:grpSpMkLst>
            <pc:docMk/>
            <pc:sldMk cId="3779820847" sldId="2147469994"/>
            <ac:grpSpMk id="56" creationId="{665D12C6-37E0-2B41-3FDE-5F481C790270}"/>
          </ac:grpSpMkLst>
        </pc:grpChg>
        <pc:grpChg chg="mod">
          <ac:chgData name="Simone NERI" userId="2a00f2ad-68d9-45e6-b604-268bfad9cc5e" providerId="ADAL" clId="{D888A4E8-4B4E-4F9E-AD90-7B2ECDAE1265}" dt="2023-03-07T20:58:55.729" v="7777"/>
          <ac:grpSpMkLst>
            <pc:docMk/>
            <pc:sldMk cId="3779820847" sldId="2147469994"/>
            <ac:grpSpMk id="57" creationId="{B2A9D08F-A01D-294A-CAC8-D86AF864117A}"/>
          </ac:grpSpMkLst>
        </pc:grpChg>
        <pc:grpChg chg="mod">
          <ac:chgData name="Simone NERI" userId="2a00f2ad-68d9-45e6-b604-268bfad9cc5e" providerId="ADAL" clId="{D888A4E8-4B4E-4F9E-AD90-7B2ECDAE1265}" dt="2023-03-07T20:58:55.729" v="7777"/>
          <ac:grpSpMkLst>
            <pc:docMk/>
            <pc:sldMk cId="3779820847" sldId="2147469994"/>
            <ac:grpSpMk id="58" creationId="{0D110787-2266-359D-02A2-9335F3297E1F}"/>
          </ac:grpSpMkLst>
        </pc:grpChg>
        <pc:grpChg chg="mod">
          <ac:chgData name="Simone NERI" userId="2a00f2ad-68d9-45e6-b604-268bfad9cc5e" providerId="ADAL" clId="{D888A4E8-4B4E-4F9E-AD90-7B2ECDAE1265}" dt="2023-03-07T20:58:55.729" v="7777"/>
          <ac:grpSpMkLst>
            <pc:docMk/>
            <pc:sldMk cId="3779820847" sldId="2147469994"/>
            <ac:grpSpMk id="59" creationId="{26085ACB-EED5-E061-4710-76A99E153A98}"/>
          </ac:grpSpMkLst>
        </pc:grpChg>
        <pc:grpChg chg="mod">
          <ac:chgData name="Simone NERI" userId="2a00f2ad-68d9-45e6-b604-268bfad9cc5e" providerId="ADAL" clId="{D888A4E8-4B4E-4F9E-AD90-7B2ECDAE1265}" dt="2023-03-07T20:58:55.729" v="7777"/>
          <ac:grpSpMkLst>
            <pc:docMk/>
            <pc:sldMk cId="3779820847" sldId="2147469994"/>
            <ac:grpSpMk id="60" creationId="{2A1CE933-8F15-6817-ACF5-EEFD25E50CCC}"/>
          </ac:grpSpMkLst>
        </pc:grpChg>
        <pc:grpChg chg="mod">
          <ac:chgData name="Simone NERI" userId="2a00f2ad-68d9-45e6-b604-268bfad9cc5e" providerId="ADAL" clId="{D888A4E8-4B4E-4F9E-AD90-7B2ECDAE1265}" dt="2023-03-07T20:58:55.729" v="7777"/>
          <ac:grpSpMkLst>
            <pc:docMk/>
            <pc:sldMk cId="3779820847" sldId="2147469994"/>
            <ac:grpSpMk id="61" creationId="{F284D066-1B58-D344-1BDE-FB02768C1CA3}"/>
          </ac:grpSpMkLst>
        </pc:grpChg>
        <pc:grpChg chg="mod">
          <ac:chgData name="Simone NERI" userId="2a00f2ad-68d9-45e6-b604-268bfad9cc5e" providerId="ADAL" clId="{D888A4E8-4B4E-4F9E-AD90-7B2ECDAE1265}" dt="2023-03-07T20:58:55.729" v="7777"/>
          <ac:grpSpMkLst>
            <pc:docMk/>
            <pc:sldMk cId="3779820847" sldId="2147469994"/>
            <ac:grpSpMk id="62" creationId="{C77E7990-482B-B2DC-0216-948ABDA91502}"/>
          </ac:grpSpMkLst>
        </pc:grpChg>
        <pc:grpChg chg="add del mod">
          <ac:chgData name="Simone NERI" userId="2a00f2ad-68d9-45e6-b604-268bfad9cc5e" providerId="ADAL" clId="{D888A4E8-4B4E-4F9E-AD90-7B2ECDAE1265}" dt="2023-03-07T21:06:59.293" v="7843" actId="478"/>
          <ac:grpSpMkLst>
            <pc:docMk/>
            <pc:sldMk cId="3779820847" sldId="2147469994"/>
            <ac:grpSpMk id="90" creationId="{8783BCCB-05BF-993A-DD72-94D7E5B88311}"/>
          </ac:grpSpMkLst>
        </pc:grpChg>
        <pc:grpChg chg="mod">
          <ac:chgData name="Simone NERI" userId="2a00f2ad-68d9-45e6-b604-268bfad9cc5e" providerId="ADAL" clId="{D888A4E8-4B4E-4F9E-AD90-7B2ECDAE1265}" dt="2023-03-07T21:03:15.679" v="7807" actId="1076"/>
          <ac:grpSpMkLst>
            <pc:docMk/>
            <pc:sldMk cId="3779820847" sldId="2147469994"/>
            <ac:grpSpMk id="91" creationId="{40DA4AB6-D50A-4AA3-804E-843AB267D4A0}"/>
          </ac:grpSpMkLst>
        </pc:grpChg>
        <pc:grpChg chg="mod">
          <ac:chgData name="Simone NERI" userId="2a00f2ad-68d9-45e6-b604-268bfad9cc5e" providerId="ADAL" clId="{D888A4E8-4B4E-4F9E-AD90-7B2ECDAE1265}" dt="2023-03-07T21:03:15.679" v="7807" actId="1076"/>
          <ac:grpSpMkLst>
            <pc:docMk/>
            <pc:sldMk cId="3779820847" sldId="2147469994"/>
            <ac:grpSpMk id="92" creationId="{56642BB9-356B-CE6C-2C79-A9A562B66834}"/>
          </ac:grpSpMkLst>
        </pc:grpChg>
        <pc:grpChg chg="mod">
          <ac:chgData name="Simone NERI" userId="2a00f2ad-68d9-45e6-b604-268bfad9cc5e" providerId="ADAL" clId="{D888A4E8-4B4E-4F9E-AD90-7B2ECDAE1265}" dt="2023-03-07T21:03:15.679" v="7807" actId="1076"/>
          <ac:grpSpMkLst>
            <pc:docMk/>
            <pc:sldMk cId="3779820847" sldId="2147469994"/>
            <ac:grpSpMk id="93" creationId="{A1245718-7E4B-1B87-91DF-1237F1E7DC6D}"/>
          </ac:grpSpMkLst>
        </pc:grpChg>
        <pc:grpChg chg="mod">
          <ac:chgData name="Simone NERI" userId="2a00f2ad-68d9-45e6-b604-268bfad9cc5e" providerId="ADAL" clId="{D888A4E8-4B4E-4F9E-AD90-7B2ECDAE1265}" dt="2023-03-07T21:03:15.679" v="7807" actId="1076"/>
          <ac:grpSpMkLst>
            <pc:docMk/>
            <pc:sldMk cId="3779820847" sldId="2147469994"/>
            <ac:grpSpMk id="94" creationId="{04300BDF-52E3-2B58-2B50-1EFE035CB2DA}"/>
          </ac:grpSpMkLst>
        </pc:grpChg>
        <pc:grpChg chg="mod">
          <ac:chgData name="Simone NERI" userId="2a00f2ad-68d9-45e6-b604-268bfad9cc5e" providerId="ADAL" clId="{D888A4E8-4B4E-4F9E-AD90-7B2ECDAE1265}" dt="2023-03-07T21:03:15.679" v="7807" actId="1076"/>
          <ac:grpSpMkLst>
            <pc:docMk/>
            <pc:sldMk cId="3779820847" sldId="2147469994"/>
            <ac:grpSpMk id="95" creationId="{FD457C25-25C0-435E-133B-1580FF5F24C1}"/>
          </ac:grpSpMkLst>
        </pc:grpChg>
        <pc:grpChg chg="mod">
          <ac:chgData name="Simone NERI" userId="2a00f2ad-68d9-45e6-b604-268bfad9cc5e" providerId="ADAL" clId="{D888A4E8-4B4E-4F9E-AD90-7B2ECDAE1265}" dt="2023-03-07T21:03:15.679" v="7807" actId="1076"/>
          <ac:grpSpMkLst>
            <pc:docMk/>
            <pc:sldMk cId="3779820847" sldId="2147469994"/>
            <ac:grpSpMk id="96" creationId="{95ABEB60-A98C-D2E9-4C16-DB3681B787DD}"/>
          </ac:grpSpMkLst>
        </pc:grpChg>
        <pc:grpChg chg="mod">
          <ac:chgData name="Simone NERI" userId="2a00f2ad-68d9-45e6-b604-268bfad9cc5e" providerId="ADAL" clId="{D888A4E8-4B4E-4F9E-AD90-7B2ECDAE1265}" dt="2023-03-07T21:03:15.679" v="7807" actId="1076"/>
          <ac:grpSpMkLst>
            <pc:docMk/>
            <pc:sldMk cId="3779820847" sldId="2147469994"/>
            <ac:grpSpMk id="97" creationId="{9D48EB3F-246B-978C-152F-5CABA328F3FB}"/>
          </ac:grpSpMkLst>
        </pc:grpChg>
        <pc:grpChg chg="mod">
          <ac:chgData name="Simone NERI" userId="2a00f2ad-68d9-45e6-b604-268bfad9cc5e" providerId="ADAL" clId="{D888A4E8-4B4E-4F9E-AD90-7B2ECDAE1265}" dt="2023-03-07T21:03:15.679" v="7807" actId="1076"/>
          <ac:grpSpMkLst>
            <pc:docMk/>
            <pc:sldMk cId="3779820847" sldId="2147469994"/>
            <ac:grpSpMk id="98" creationId="{AC23F8B5-1F5D-F9F6-8CE9-CC36C33AA497}"/>
          </ac:grpSpMkLst>
        </pc:grpChg>
        <pc:grpChg chg="add mod">
          <ac:chgData name="Simone NERI" userId="2a00f2ad-68d9-45e6-b604-268bfad9cc5e" providerId="ADAL" clId="{D888A4E8-4B4E-4F9E-AD90-7B2ECDAE1265}" dt="2023-03-07T21:40:55.093" v="9050" actId="1076"/>
          <ac:grpSpMkLst>
            <pc:docMk/>
            <pc:sldMk cId="3779820847" sldId="2147469994"/>
            <ac:grpSpMk id="164" creationId="{88C70AD6-680D-0CD9-01A0-D31B5A16096B}"/>
          </ac:grpSpMkLst>
        </pc:grpChg>
        <pc:picChg chg="add mod">
          <ac:chgData name="Simone NERI" userId="2a00f2ad-68d9-45e6-b604-268bfad9cc5e" providerId="ADAL" clId="{D888A4E8-4B4E-4F9E-AD90-7B2ECDAE1265}" dt="2023-03-08T09:45:04.405" v="9881" actId="1076"/>
          <ac:picMkLst>
            <pc:docMk/>
            <pc:sldMk cId="3779820847" sldId="2147469994"/>
            <ac:picMk id="2" creationId="{A87DFF64-C970-FE23-20F7-8C7A48308486}"/>
          </ac:picMkLst>
        </pc:picChg>
        <pc:picChg chg="del">
          <ac:chgData name="Simone NERI" userId="2a00f2ad-68d9-45e6-b604-268bfad9cc5e" providerId="ADAL" clId="{D888A4E8-4B4E-4F9E-AD90-7B2ECDAE1265}" dt="2023-03-07T20:59:08.696" v="7783" actId="478"/>
          <ac:picMkLst>
            <pc:docMk/>
            <pc:sldMk cId="3779820847" sldId="2147469994"/>
            <ac:picMk id="12" creationId="{80797EBA-905B-AD00-82A5-E6E972D99C1F}"/>
          </ac:picMkLst>
        </pc:picChg>
        <pc:picChg chg="del">
          <ac:chgData name="Simone NERI" userId="2a00f2ad-68d9-45e6-b604-268bfad9cc5e" providerId="ADAL" clId="{D888A4E8-4B4E-4F9E-AD90-7B2ECDAE1265}" dt="2023-03-07T20:59:08.696" v="7783" actId="478"/>
          <ac:picMkLst>
            <pc:docMk/>
            <pc:sldMk cId="3779820847" sldId="2147469994"/>
            <ac:picMk id="40" creationId="{7861D2A3-931D-79A4-6E88-05F408ED2C85}"/>
          </ac:picMkLst>
        </pc:picChg>
        <pc:picChg chg="del">
          <ac:chgData name="Simone NERI" userId="2a00f2ad-68d9-45e6-b604-268bfad9cc5e" providerId="ADAL" clId="{D888A4E8-4B4E-4F9E-AD90-7B2ECDAE1265}" dt="2023-03-07T20:59:08.696" v="7783" actId="478"/>
          <ac:picMkLst>
            <pc:docMk/>
            <pc:sldMk cId="3779820847" sldId="2147469994"/>
            <ac:picMk id="44" creationId="{C7B8B215-1038-E358-7297-B602E3613656}"/>
          </ac:picMkLst>
        </pc:picChg>
        <pc:cxnChg chg="add del mod">
          <ac:chgData name="Simone NERI" userId="2a00f2ad-68d9-45e6-b604-268bfad9cc5e" providerId="ADAL" clId="{D888A4E8-4B4E-4F9E-AD90-7B2ECDAE1265}" dt="2023-03-07T21:20:54.409" v="8394" actId="478"/>
          <ac:cxnSpMkLst>
            <pc:docMk/>
            <pc:sldMk cId="3779820847" sldId="2147469994"/>
            <ac:cxnSpMk id="178" creationId="{21117659-511C-30FD-20DC-B4700B15E296}"/>
          </ac:cxnSpMkLst>
        </pc:cxnChg>
        <pc:cxnChg chg="add del mod">
          <ac:chgData name="Simone NERI" userId="2a00f2ad-68d9-45e6-b604-268bfad9cc5e" providerId="ADAL" clId="{D888A4E8-4B4E-4F9E-AD90-7B2ECDAE1265}" dt="2023-03-07T21:20:55.495" v="8395" actId="478"/>
          <ac:cxnSpMkLst>
            <pc:docMk/>
            <pc:sldMk cId="3779820847" sldId="2147469994"/>
            <ac:cxnSpMk id="184" creationId="{AE677802-A8AD-24EF-D4D4-C1AF24FA7477}"/>
          </ac:cxnSpMkLst>
        </pc:cxnChg>
        <pc:cxnChg chg="add del mod">
          <ac:chgData name="Simone NERI" userId="2a00f2ad-68d9-45e6-b604-268bfad9cc5e" providerId="ADAL" clId="{D888A4E8-4B4E-4F9E-AD90-7B2ECDAE1265}" dt="2023-03-07T21:20:56.918" v="8396" actId="478"/>
          <ac:cxnSpMkLst>
            <pc:docMk/>
            <pc:sldMk cId="3779820847" sldId="2147469994"/>
            <ac:cxnSpMk id="187" creationId="{EC3668BD-BDDA-CB58-01FA-9E8F6C4637D5}"/>
          </ac:cxnSpMkLst>
        </pc:cxnChg>
        <pc:cxnChg chg="add mod">
          <ac:chgData name="Simone NERI" userId="2a00f2ad-68d9-45e6-b604-268bfad9cc5e" providerId="ADAL" clId="{D888A4E8-4B4E-4F9E-AD90-7B2ECDAE1265}" dt="2023-03-08T10:26:41.059" v="10094" actId="1076"/>
          <ac:cxnSpMkLst>
            <pc:docMk/>
            <pc:sldMk cId="3779820847" sldId="2147469994"/>
            <ac:cxnSpMk id="195" creationId="{F5BF65C0-3F2F-45CF-7A07-57C3EA2A89E3}"/>
          </ac:cxnSpMkLst>
        </pc:cxnChg>
        <pc:cxnChg chg="add del mod">
          <ac:chgData name="Simone NERI" userId="2a00f2ad-68d9-45e6-b604-268bfad9cc5e" providerId="ADAL" clId="{D888A4E8-4B4E-4F9E-AD90-7B2ECDAE1265}" dt="2023-03-07T21:31:39.439" v="8896" actId="478"/>
          <ac:cxnSpMkLst>
            <pc:docMk/>
            <pc:sldMk cId="3779820847" sldId="2147469994"/>
            <ac:cxnSpMk id="197" creationId="{DFE164C3-DA43-2FF2-A8DC-288A063736D8}"/>
          </ac:cxnSpMkLst>
        </pc:cxnChg>
        <pc:cxnChg chg="add del mod">
          <ac:chgData name="Simone NERI" userId="2a00f2ad-68d9-45e6-b604-268bfad9cc5e" providerId="ADAL" clId="{D888A4E8-4B4E-4F9E-AD90-7B2ECDAE1265}" dt="2023-03-07T21:31:40.896" v="8897" actId="478"/>
          <ac:cxnSpMkLst>
            <pc:docMk/>
            <pc:sldMk cId="3779820847" sldId="2147469994"/>
            <ac:cxnSpMk id="198" creationId="{862B408C-EC18-773E-1DF6-0C7A6D8FC399}"/>
          </ac:cxnSpMkLst>
        </pc:cxnChg>
        <pc:cxnChg chg="add mod">
          <ac:chgData name="Simone NERI" userId="2a00f2ad-68d9-45e6-b604-268bfad9cc5e" providerId="ADAL" clId="{D888A4E8-4B4E-4F9E-AD90-7B2ECDAE1265}" dt="2023-03-08T09:44:54.102" v="9876" actId="1076"/>
          <ac:cxnSpMkLst>
            <pc:docMk/>
            <pc:sldMk cId="3779820847" sldId="2147469994"/>
            <ac:cxnSpMk id="208" creationId="{F148327F-5E63-F171-0BFF-8EBEC1F7B792}"/>
          </ac:cxnSpMkLst>
        </pc:cxnChg>
      </pc:sldChg>
      <pc:sldChg chg="addSp delSp modSp add mod">
        <pc:chgData name="Simone NERI" userId="2a00f2ad-68d9-45e6-b604-268bfad9cc5e" providerId="ADAL" clId="{D888A4E8-4B4E-4F9E-AD90-7B2ECDAE1265}" dt="2023-03-08T10:34:47.493" v="10203" actId="465"/>
        <pc:sldMkLst>
          <pc:docMk/>
          <pc:sldMk cId="217003757" sldId="2147469995"/>
        </pc:sldMkLst>
        <pc:spChg chg="del">
          <ac:chgData name="Simone NERI" userId="2a00f2ad-68d9-45e6-b604-268bfad9cc5e" providerId="ADAL" clId="{D888A4E8-4B4E-4F9E-AD90-7B2ECDAE1265}" dt="2023-03-08T09:52:34.459" v="9887" actId="478"/>
          <ac:spMkLst>
            <pc:docMk/>
            <pc:sldMk cId="217003757" sldId="2147469995"/>
            <ac:spMk id="4" creationId="{4A508FF4-FB7F-1647-9EC4-35A7CFA8AA2E}"/>
          </ac:spMkLst>
        </pc:spChg>
        <pc:spChg chg="del">
          <ac:chgData name="Simone NERI" userId="2a00f2ad-68d9-45e6-b604-268bfad9cc5e" providerId="ADAL" clId="{D888A4E8-4B4E-4F9E-AD90-7B2ECDAE1265}" dt="2023-03-08T09:52:38.440" v="9889" actId="478"/>
          <ac:spMkLst>
            <pc:docMk/>
            <pc:sldMk cId="217003757" sldId="2147469995"/>
            <ac:spMk id="5" creationId="{954A9DC3-288D-E8FD-C8FF-3CF0EE0E20E2}"/>
          </ac:spMkLst>
        </pc:spChg>
        <pc:spChg chg="add del mod">
          <ac:chgData name="Simone NERI" userId="2a00f2ad-68d9-45e6-b604-268bfad9cc5e" providerId="ADAL" clId="{D888A4E8-4B4E-4F9E-AD90-7B2ECDAE1265}" dt="2023-03-08T09:57:14.639" v="9923" actId="478"/>
          <ac:spMkLst>
            <pc:docMk/>
            <pc:sldMk cId="217003757" sldId="2147469995"/>
            <ac:spMk id="6" creationId="{6C3517E0-943B-F05E-CAE2-B0C3E4B7DE9B}"/>
          </ac:spMkLst>
        </pc:spChg>
        <pc:spChg chg="add del mod">
          <ac:chgData name="Simone NERI" userId="2a00f2ad-68d9-45e6-b604-268bfad9cc5e" providerId="ADAL" clId="{D888A4E8-4B4E-4F9E-AD90-7B2ECDAE1265}" dt="2023-03-08T09:57:14.639" v="9923" actId="478"/>
          <ac:spMkLst>
            <pc:docMk/>
            <pc:sldMk cId="217003757" sldId="2147469995"/>
            <ac:spMk id="7" creationId="{A91E1A07-C8D8-AA6A-A8DC-C9533367D94D}"/>
          </ac:spMkLst>
        </pc:spChg>
        <pc:spChg chg="add del mod">
          <ac:chgData name="Simone NERI" userId="2a00f2ad-68d9-45e6-b604-268bfad9cc5e" providerId="ADAL" clId="{D888A4E8-4B4E-4F9E-AD90-7B2ECDAE1265}" dt="2023-03-08T09:57:14.639" v="9923" actId="478"/>
          <ac:spMkLst>
            <pc:docMk/>
            <pc:sldMk cId="217003757" sldId="2147469995"/>
            <ac:spMk id="8" creationId="{44A279DB-A7DD-9CF3-B4E2-D24B6C09F3B3}"/>
          </ac:spMkLst>
        </pc:spChg>
        <pc:spChg chg="add del mod">
          <ac:chgData name="Simone NERI" userId="2a00f2ad-68d9-45e6-b604-268bfad9cc5e" providerId="ADAL" clId="{D888A4E8-4B4E-4F9E-AD90-7B2ECDAE1265}" dt="2023-03-08T09:57:14.639" v="9923" actId="478"/>
          <ac:spMkLst>
            <pc:docMk/>
            <pc:sldMk cId="217003757" sldId="2147469995"/>
            <ac:spMk id="9" creationId="{EEF94E99-5466-AF41-97D1-8BCAADC7506F}"/>
          </ac:spMkLst>
        </pc:spChg>
        <pc:spChg chg="add mod">
          <ac:chgData name="Simone NERI" userId="2a00f2ad-68d9-45e6-b604-268bfad9cc5e" providerId="ADAL" clId="{D888A4E8-4B4E-4F9E-AD90-7B2ECDAE1265}" dt="2023-03-08T10:34:47.493" v="10203" actId="465"/>
          <ac:spMkLst>
            <pc:docMk/>
            <pc:sldMk cId="217003757" sldId="2147469995"/>
            <ac:spMk id="10" creationId="{375F12B8-CD82-2AD4-2D2B-3720397E73BD}"/>
          </ac:spMkLst>
        </pc:spChg>
        <pc:spChg chg="add mod">
          <ac:chgData name="Simone NERI" userId="2a00f2ad-68d9-45e6-b604-268bfad9cc5e" providerId="ADAL" clId="{D888A4E8-4B4E-4F9E-AD90-7B2ECDAE1265}" dt="2023-03-08T10:34:47.493" v="10203" actId="465"/>
          <ac:spMkLst>
            <pc:docMk/>
            <pc:sldMk cId="217003757" sldId="2147469995"/>
            <ac:spMk id="11" creationId="{604A5F2E-24AF-639D-66DD-B8C9E75598AA}"/>
          </ac:spMkLst>
        </pc:spChg>
        <pc:spChg chg="add mod">
          <ac:chgData name="Simone NERI" userId="2a00f2ad-68d9-45e6-b604-268bfad9cc5e" providerId="ADAL" clId="{D888A4E8-4B4E-4F9E-AD90-7B2ECDAE1265}" dt="2023-03-08T10:34:47.493" v="10203" actId="465"/>
          <ac:spMkLst>
            <pc:docMk/>
            <pc:sldMk cId="217003757" sldId="2147469995"/>
            <ac:spMk id="12" creationId="{5C063A95-5460-6FEB-8403-55523AD57979}"/>
          </ac:spMkLst>
        </pc:spChg>
        <pc:spChg chg="add mod">
          <ac:chgData name="Simone NERI" userId="2a00f2ad-68d9-45e6-b604-268bfad9cc5e" providerId="ADAL" clId="{D888A4E8-4B4E-4F9E-AD90-7B2ECDAE1265}" dt="2023-03-08T10:34:28.994" v="10199" actId="1035"/>
          <ac:spMkLst>
            <pc:docMk/>
            <pc:sldMk cId="217003757" sldId="2147469995"/>
            <ac:spMk id="13" creationId="{074F9F41-BFF6-2D58-000D-120824B7A00C}"/>
          </ac:spMkLst>
        </pc:spChg>
        <pc:spChg chg="add mod">
          <ac:chgData name="Simone NERI" userId="2a00f2ad-68d9-45e6-b604-268bfad9cc5e" providerId="ADAL" clId="{D888A4E8-4B4E-4F9E-AD90-7B2ECDAE1265}" dt="2023-03-08T10:28:13.355" v="10128" actId="1036"/>
          <ac:spMkLst>
            <pc:docMk/>
            <pc:sldMk cId="217003757" sldId="2147469995"/>
            <ac:spMk id="14" creationId="{60A671D1-4975-0B93-7C5E-7A5940F1D32F}"/>
          </ac:spMkLst>
        </pc:spChg>
        <pc:spChg chg="add mod">
          <ac:chgData name="Simone NERI" userId="2a00f2ad-68d9-45e6-b604-268bfad9cc5e" providerId="ADAL" clId="{D888A4E8-4B4E-4F9E-AD90-7B2ECDAE1265}" dt="2023-03-08T10:28:13.355" v="10128" actId="1036"/>
          <ac:spMkLst>
            <pc:docMk/>
            <pc:sldMk cId="217003757" sldId="2147469995"/>
            <ac:spMk id="15" creationId="{41ACB8FA-C9A9-F599-8CC1-1BBC7F36FFB9}"/>
          </ac:spMkLst>
        </pc:spChg>
        <pc:spChg chg="add mod">
          <ac:chgData name="Simone NERI" userId="2a00f2ad-68d9-45e6-b604-268bfad9cc5e" providerId="ADAL" clId="{D888A4E8-4B4E-4F9E-AD90-7B2ECDAE1265}" dt="2023-03-08T10:28:13.355" v="10128" actId="1036"/>
          <ac:spMkLst>
            <pc:docMk/>
            <pc:sldMk cId="217003757" sldId="2147469995"/>
            <ac:spMk id="16" creationId="{63392D91-17C9-2A74-E5B2-2739F7F9CD58}"/>
          </ac:spMkLst>
        </pc:spChg>
        <pc:spChg chg="add mod">
          <ac:chgData name="Simone NERI" userId="2a00f2ad-68d9-45e6-b604-268bfad9cc5e" providerId="ADAL" clId="{D888A4E8-4B4E-4F9E-AD90-7B2ECDAE1265}" dt="2023-03-08T10:28:13.355" v="10128" actId="1036"/>
          <ac:spMkLst>
            <pc:docMk/>
            <pc:sldMk cId="217003757" sldId="2147469995"/>
            <ac:spMk id="17" creationId="{F2CD8F7E-9F9C-3121-97E4-1E0EB0236888}"/>
          </ac:spMkLst>
        </pc:spChg>
        <pc:spChg chg="add mod">
          <ac:chgData name="Simone NERI" userId="2a00f2ad-68d9-45e6-b604-268bfad9cc5e" providerId="ADAL" clId="{D888A4E8-4B4E-4F9E-AD90-7B2ECDAE1265}" dt="2023-03-08T10:28:13.355" v="10128" actId="1036"/>
          <ac:spMkLst>
            <pc:docMk/>
            <pc:sldMk cId="217003757" sldId="2147469995"/>
            <ac:spMk id="18" creationId="{8C3EDB63-204B-AC31-5BD7-1DBEF1FE4C26}"/>
          </ac:spMkLst>
        </pc:spChg>
        <pc:spChg chg="add mod">
          <ac:chgData name="Simone NERI" userId="2a00f2ad-68d9-45e6-b604-268bfad9cc5e" providerId="ADAL" clId="{D888A4E8-4B4E-4F9E-AD90-7B2ECDAE1265}" dt="2023-03-08T10:28:13.355" v="10128" actId="1036"/>
          <ac:spMkLst>
            <pc:docMk/>
            <pc:sldMk cId="217003757" sldId="2147469995"/>
            <ac:spMk id="19" creationId="{769754AF-748C-FB38-DD4B-9FCD3B3B0513}"/>
          </ac:spMkLst>
        </pc:spChg>
        <pc:spChg chg="add mod">
          <ac:chgData name="Simone NERI" userId="2a00f2ad-68d9-45e6-b604-268bfad9cc5e" providerId="ADAL" clId="{D888A4E8-4B4E-4F9E-AD90-7B2ECDAE1265}" dt="2023-03-08T10:28:13.355" v="10128" actId="1036"/>
          <ac:spMkLst>
            <pc:docMk/>
            <pc:sldMk cId="217003757" sldId="2147469995"/>
            <ac:spMk id="20" creationId="{5F1D5235-08E1-EA3F-C4C1-55458EAD3B56}"/>
          </ac:spMkLst>
        </pc:spChg>
        <pc:spChg chg="add mod">
          <ac:chgData name="Simone NERI" userId="2a00f2ad-68d9-45e6-b604-268bfad9cc5e" providerId="ADAL" clId="{D888A4E8-4B4E-4F9E-AD90-7B2ECDAE1265}" dt="2023-03-08T10:28:13.355" v="10128" actId="1036"/>
          <ac:spMkLst>
            <pc:docMk/>
            <pc:sldMk cId="217003757" sldId="2147469995"/>
            <ac:spMk id="21" creationId="{326F2EB0-1944-8884-D726-6C5D926A3187}"/>
          </ac:spMkLst>
        </pc:spChg>
        <pc:spChg chg="add mod">
          <ac:chgData name="Simone NERI" userId="2a00f2ad-68d9-45e6-b604-268bfad9cc5e" providerId="ADAL" clId="{D888A4E8-4B4E-4F9E-AD90-7B2ECDAE1265}" dt="2023-03-08T10:28:13.355" v="10128" actId="1036"/>
          <ac:spMkLst>
            <pc:docMk/>
            <pc:sldMk cId="217003757" sldId="2147469995"/>
            <ac:spMk id="22" creationId="{E4B6E63B-CDC1-5261-8A03-5CD139B0132E}"/>
          </ac:spMkLst>
        </pc:spChg>
        <pc:spChg chg="add mod">
          <ac:chgData name="Simone NERI" userId="2a00f2ad-68d9-45e6-b604-268bfad9cc5e" providerId="ADAL" clId="{D888A4E8-4B4E-4F9E-AD90-7B2ECDAE1265}" dt="2023-03-08T10:28:13.355" v="10128" actId="1036"/>
          <ac:spMkLst>
            <pc:docMk/>
            <pc:sldMk cId="217003757" sldId="2147469995"/>
            <ac:spMk id="23" creationId="{EB75A6E2-B5B4-62FF-9191-7ACD1CA5B19B}"/>
          </ac:spMkLst>
        </pc:spChg>
        <pc:spChg chg="add mod">
          <ac:chgData name="Simone NERI" userId="2a00f2ad-68d9-45e6-b604-268bfad9cc5e" providerId="ADAL" clId="{D888A4E8-4B4E-4F9E-AD90-7B2ECDAE1265}" dt="2023-03-08T10:28:13.355" v="10128" actId="1036"/>
          <ac:spMkLst>
            <pc:docMk/>
            <pc:sldMk cId="217003757" sldId="2147469995"/>
            <ac:spMk id="24" creationId="{8585D6E8-13A8-D773-F8CC-7A6DB3492147}"/>
          </ac:spMkLst>
        </pc:spChg>
        <pc:spChg chg="add mod">
          <ac:chgData name="Simone NERI" userId="2a00f2ad-68d9-45e6-b604-268bfad9cc5e" providerId="ADAL" clId="{D888A4E8-4B4E-4F9E-AD90-7B2ECDAE1265}" dt="2023-03-08T10:28:13.355" v="10128" actId="1036"/>
          <ac:spMkLst>
            <pc:docMk/>
            <pc:sldMk cId="217003757" sldId="2147469995"/>
            <ac:spMk id="25" creationId="{075FCC2D-058A-68FA-D8BF-89B4D113C561}"/>
          </ac:spMkLst>
        </pc:spChg>
        <pc:spChg chg="add mod">
          <ac:chgData name="Simone NERI" userId="2a00f2ad-68d9-45e6-b604-268bfad9cc5e" providerId="ADAL" clId="{D888A4E8-4B4E-4F9E-AD90-7B2ECDAE1265}" dt="2023-03-08T10:28:13.355" v="10128" actId="1036"/>
          <ac:spMkLst>
            <pc:docMk/>
            <pc:sldMk cId="217003757" sldId="2147469995"/>
            <ac:spMk id="26" creationId="{C89D9409-047A-5F83-6F0C-9F9943B95411}"/>
          </ac:spMkLst>
        </pc:spChg>
        <pc:spChg chg="add mod">
          <ac:chgData name="Simone NERI" userId="2a00f2ad-68d9-45e6-b604-268bfad9cc5e" providerId="ADAL" clId="{D888A4E8-4B4E-4F9E-AD90-7B2ECDAE1265}" dt="2023-03-08T10:28:13.355" v="10128" actId="1036"/>
          <ac:spMkLst>
            <pc:docMk/>
            <pc:sldMk cId="217003757" sldId="2147469995"/>
            <ac:spMk id="27" creationId="{FD22B111-BF92-D9F8-444A-B9275B539FB4}"/>
          </ac:spMkLst>
        </pc:spChg>
        <pc:spChg chg="add mod">
          <ac:chgData name="Simone NERI" userId="2a00f2ad-68d9-45e6-b604-268bfad9cc5e" providerId="ADAL" clId="{D888A4E8-4B4E-4F9E-AD90-7B2ECDAE1265}" dt="2023-03-08T10:28:13.355" v="10128" actId="1036"/>
          <ac:spMkLst>
            <pc:docMk/>
            <pc:sldMk cId="217003757" sldId="2147469995"/>
            <ac:spMk id="28" creationId="{3FC5C124-5F2C-F30A-469D-F5846D47B1E1}"/>
          </ac:spMkLst>
        </pc:spChg>
        <pc:spChg chg="add mod">
          <ac:chgData name="Simone NERI" userId="2a00f2ad-68d9-45e6-b604-268bfad9cc5e" providerId="ADAL" clId="{D888A4E8-4B4E-4F9E-AD90-7B2ECDAE1265}" dt="2023-03-08T10:28:13.355" v="10128" actId="1036"/>
          <ac:spMkLst>
            <pc:docMk/>
            <pc:sldMk cId="217003757" sldId="2147469995"/>
            <ac:spMk id="29" creationId="{FC621807-D8B9-F547-AFFF-FDE0DEBF0159}"/>
          </ac:spMkLst>
        </pc:spChg>
        <pc:spChg chg="add mod">
          <ac:chgData name="Simone NERI" userId="2a00f2ad-68d9-45e6-b604-268bfad9cc5e" providerId="ADAL" clId="{D888A4E8-4B4E-4F9E-AD90-7B2ECDAE1265}" dt="2023-03-08T10:28:13.355" v="10128" actId="1036"/>
          <ac:spMkLst>
            <pc:docMk/>
            <pc:sldMk cId="217003757" sldId="2147469995"/>
            <ac:spMk id="30" creationId="{E3A7E036-B90F-D2B5-DAD0-06DCC7C6CD0E}"/>
          </ac:spMkLst>
        </pc:spChg>
        <pc:spChg chg="add mod">
          <ac:chgData name="Simone NERI" userId="2a00f2ad-68d9-45e6-b604-268bfad9cc5e" providerId="ADAL" clId="{D888A4E8-4B4E-4F9E-AD90-7B2ECDAE1265}" dt="2023-03-08T10:34:32.806" v="10200" actId="14100"/>
          <ac:spMkLst>
            <pc:docMk/>
            <pc:sldMk cId="217003757" sldId="2147469995"/>
            <ac:spMk id="31" creationId="{89C8DC94-3D65-107F-F08D-C862DA951647}"/>
          </ac:spMkLst>
        </pc:spChg>
        <pc:spChg chg="add mod">
          <ac:chgData name="Simone NERI" userId="2a00f2ad-68d9-45e6-b604-268bfad9cc5e" providerId="ADAL" clId="{D888A4E8-4B4E-4F9E-AD90-7B2ECDAE1265}" dt="2023-03-08T10:34:35.941" v="10201" actId="1076"/>
          <ac:spMkLst>
            <pc:docMk/>
            <pc:sldMk cId="217003757" sldId="2147469995"/>
            <ac:spMk id="32" creationId="{6220B362-D7EC-1D35-64B8-1026221F8A06}"/>
          </ac:spMkLst>
        </pc:spChg>
        <pc:spChg chg="del mod topLvl">
          <ac:chgData name="Simone NERI" userId="2a00f2ad-68d9-45e6-b604-268bfad9cc5e" providerId="ADAL" clId="{D888A4E8-4B4E-4F9E-AD90-7B2ECDAE1265}" dt="2023-03-08T09:53:03.687" v="9897" actId="478"/>
          <ac:spMkLst>
            <pc:docMk/>
            <pc:sldMk cId="217003757" sldId="2147469995"/>
            <ac:spMk id="146" creationId="{5C9C28A3-3DBA-EB07-5DEC-21F727F50E46}"/>
          </ac:spMkLst>
        </pc:spChg>
        <pc:spChg chg="del mod topLvl">
          <ac:chgData name="Simone NERI" userId="2a00f2ad-68d9-45e6-b604-268bfad9cc5e" providerId="ADAL" clId="{D888A4E8-4B4E-4F9E-AD90-7B2ECDAE1265}" dt="2023-03-08T09:53:01.882" v="9895" actId="478"/>
          <ac:spMkLst>
            <pc:docMk/>
            <pc:sldMk cId="217003757" sldId="2147469995"/>
            <ac:spMk id="147" creationId="{B3D1DAE3-58E2-CBC9-3D55-190B5DB1D0CA}"/>
          </ac:spMkLst>
        </pc:spChg>
        <pc:spChg chg="mod topLvl">
          <ac:chgData name="Simone NERI" userId="2a00f2ad-68d9-45e6-b604-268bfad9cc5e" providerId="ADAL" clId="{D888A4E8-4B4E-4F9E-AD90-7B2ECDAE1265}" dt="2023-03-08T10:33:18.135" v="10171" actId="1076"/>
          <ac:spMkLst>
            <pc:docMk/>
            <pc:sldMk cId="217003757" sldId="2147469995"/>
            <ac:spMk id="154" creationId="{8F9C9522-1398-0475-9CA8-B94FD0B5091E}"/>
          </ac:spMkLst>
        </pc:spChg>
        <pc:spChg chg="mod topLvl">
          <ac:chgData name="Simone NERI" userId="2a00f2ad-68d9-45e6-b604-268bfad9cc5e" providerId="ADAL" clId="{D888A4E8-4B4E-4F9E-AD90-7B2ECDAE1265}" dt="2023-03-08T10:34:43.440" v="10202" actId="465"/>
          <ac:spMkLst>
            <pc:docMk/>
            <pc:sldMk cId="217003757" sldId="2147469995"/>
            <ac:spMk id="155" creationId="{CCF5CAE9-ABD9-9925-17B0-2202F5880A55}"/>
          </ac:spMkLst>
        </pc:spChg>
        <pc:spChg chg="mod topLvl">
          <ac:chgData name="Simone NERI" userId="2a00f2ad-68d9-45e6-b604-268bfad9cc5e" providerId="ADAL" clId="{D888A4E8-4B4E-4F9E-AD90-7B2ECDAE1265}" dt="2023-03-08T10:34:43.440" v="10202" actId="465"/>
          <ac:spMkLst>
            <pc:docMk/>
            <pc:sldMk cId="217003757" sldId="2147469995"/>
            <ac:spMk id="156" creationId="{13405765-BAC4-9FDA-C0FC-E886B81F2937}"/>
          </ac:spMkLst>
        </pc:spChg>
        <pc:spChg chg="mod topLvl">
          <ac:chgData name="Simone NERI" userId="2a00f2ad-68d9-45e6-b604-268bfad9cc5e" providerId="ADAL" clId="{D888A4E8-4B4E-4F9E-AD90-7B2ECDAE1265}" dt="2023-03-08T10:34:43.440" v="10202" actId="465"/>
          <ac:spMkLst>
            <pc:docMk/>
            <pc:sldMk cId="217003757" sldId="2147469995"/>
            <ac:spMk id="157" creationId="{FB695D2B-A96C-D215-6E4E-69A789765C73}"/>
          </ac:spMkLst>
        </pc:spChg>
        <pc:spChg chg="mod topLvl">
          <ac:chgData name="Simone NERI" userId="2a00f2ad-68d9-45e6-b604-268bfad9cc5e" providerId="ADAL" clId="{D888A4E8-4B4E-4F9E-AD90-7B2ECDAE1265}" dt="2023-03-08T10:34:28.994" v="10199" actId="1035"/>
          <ac:spMkLst>
            <pc:docMk/>
            <pc:sldMk cId="217003757" sldId="2147469995"/>
            <ac:spMk id="158" creationId="{FF3EDC27-8389-461C-056F-FF6BE8421C9C}"/>
          </ac:spMkLst>
        </pc:spChg>
        <pc:spChg chg="del mod topLvl">
          <ac:chgData name="Simone NERI" userId="2a00f2ad-68d9-45e6-b604-268bfad9cc5e" providerId="ADAL" clId="{D888A4E8-4B4E-4F9E-AD90-7B2ECDAE1265}" dt="2023-03-08T09:53:10.045" v="9900" actId="478"/>
          <ac:spMkLst>
            <pc:docMk/>
            <pc:sldMk cId="217003757" sldId="2147469995"/>
            <ac:spMk id="159" creationId="{840B3C15-1810-E749-0C17-7C6CDB5F39B8}"/>
          </ac:spMkLst>
        </pc:spChg>
        <pc:spChg chg="del mod topLvl">
          <ac:chgData name="Simone NERI" userId="2a00f2ad-68d9-45e6-b604-268bfad9cc5e" providerId="ADAL" clId="{D888A4E8-4B4E-4F9E-AD90-7B2ECDAE1265}" dt="2023-03-08T09:53:09.216" v="9899" actId="478"/>
          <ac:spMkLst>
            <pc:docMk/>
            <pc:sldMk cId="217003757" sldId="2147469995"/>
            <ac:spMk id="160" creationId="{4052F555-59DB-0DCE-7C1A-0788F1D9AB95}"/>
          </ac:spMkLst>
        </pc:spChg>
        <pc:spChg chg="del mod topLvl">
          <ac:chgData name="Simone NERI" userId="2a00f2ad-68d9-45e6-b604-268bfad9cc5e" providerId="ADAL" clId="{D888A4E8-4B4E-4F9E-AD90-7B2ECDAE1265}" dt="2023-03-08T09:53:14.700" v="9903" actId="478"/>
          <ac:spMkLst>
            <pc:docMk/>
            <pc:sldMk cId="217003757" sldId="2147469995"/>
            <ac:spMk id="161" creationId="{7DE08DC3-D2B9-34F4-9AEE-9345B8CBB0C9}"/>
          </ac:spMkLst>
        </pc:spChg>
        <pc:spChg chg="del mod topLvl">
          <ac:chgData name="Simone NERI" userId="2a00f2ad-68d9-45e6-b604-268bfad9cc5e" providerId="ADAL" clId="{D888A4E8-4B4E-4F9E-AD90-7B2ECDAE1265}" dt="2023-03-08T09:53:11.922" v="9901" actId="478"/>
          <ac:spMkLst>
            <pc:docMk/>
            <pc:sldMk cId="217003757" sldId="2147469995"/>
            <ac:spMk id="162" creationId="{B28ECEAE-035B-4661-C406-40F681B40376}"/>
          </ac:spMkLst>
        </pc:spChg>
        <pc:spChg chg="del mod topLvl">
          <ac:chgData name="Simone NERI" userId="2a00f2ad-68d9-45e6-b604-268bfad9cc5e" providerId="ADAL" clId="{D888A4E8-4B4E-4F9E-AD90-7B2ECDAE1265}" dt="2023-03-08T09:53:12.876" v="9902" actId="478"/>
          <ac:spMkLst>
            <pc:docMk/>
            <pc:sldMk cId="217003757" sldId="2147469995"/>
            <ac:spMk id="163" creationId="{148B66DA-1BB9-8FDD-814A-9E902DB1BC79}"/>
          </ac:spMkLst>
        </pc:spChg>
        <pc:spChg chg="del">
          <ac:chgData name="Simone NERI" userId="2a00f2ad-68d9-45e6-b604-268bfad9cc5e" providerId="ADAL" clId="{D888A4E8-4B4E-4F9E-AD90-7B2ECDAE1265}" dt="2023-03-08T09:54:57.070" v="9916" actId="478"/>
          <ac:spMkLst>
            <pc:docMk/>
            <pc:sldMk cId="217003757" sldId="2147469995"/>
            <ac:spMk id="165" creationId="{C5E81B22-6FAF-1CC2-F46F-75BE22F3D107}"/>
          </ac:spMkLst>
        </pc:spChg>
        <pc:spChg chg="del">
          <ac:chgData name="Simone NERI" userId="2a00f2ad-68d9-45e6-b604-268bfad9cc5e" providerId="ADAL" clId="{D888A4E8-4B4E-4F9E-AD90-7B2ECDAE1265}" dt="2023-03-08T09:54:57.070" v="9916" actId="478"/>
          <ac:spMkLst>
            <pc:docMk/>
            <pc:sldMk cId="217003757" sldId="2147469995"/>
            <ac:spMk id="166" creationId="{B325E529-BA84-195B-5F12-96621CD57FB9}"/>
          </ac:spMkLst>
        </pc:spChg>
        <pc:spChg chg="del">
          <ac:chgData name="Simone NERI" userId="2a00f2ad-68d9-45e6-b604-268bfad9cc5e" providerId="ADAL" clId="{D888A4E8-4B4E-4F9E-AD90-7B2ECDAE1265}" dt="2023-03-08T09:54:57.070" v="9916" actId="478"/>
          <ac:spMkLst>
            <pc:docMk/>
            <pc:sldMk cId="217003757" sldId="2147469995"/>
            <ac:spMk id="167" creationId="{CCB27019-CEA3-0D75-FFC5-145D0B426FF0}"/>
          </ac:spMkLst>
        </pc:spChg>
        <pc:spChg chg="del">
          <ac:chgData name="Simone NERI" userId="2a00f2ad-68d9-45e6-b604-268bfad9cc5e" providerId="ADAL" clId="{D888A4E8-4B4E-4F9E-AD90-7B2ECDAE1265}" dt="2023-03-08T09:54:57.070" v="9916" actId="478"/>
          <ac:spMkLst>
            <pc:docMk/>
            <pc:sldMk cId="217003757" sldId="2147469995"/>
            <ac:spMk id="168" creationId="{55069205-3D7C-453C-40ED-504FE59E7AE8}"/>
          </ac:spMkLst>
        </pc:spChg>
        <pc:spChg chg="del">
          <ac:chgData name="Simone NERI" userId="2a00f2ad-68d9-45e6-b604-268bfad9cc5e" providerId="ADAL" clId="{D888A4E8-4B4E-4F9E-AD90-7B2ECDAE1265}" dt="2023-03-08T09:54:57.070" v="9916" actId="478"/>
          <ac:spMkLst>
            <pc:docMk/>
            <pc:sldMk cId="217003757" sldId="2147469995"/>
            <ac:spMk id="169" creationId="{2C6A40DB-7A2D-7ED5-888E-E96944D08583}"/>
          </ac:spMkLst>
        </pc:spChg>
        <pc:spChg chg="del">
          <ac:chgData name="Simone NERI" userId="2a00f2ad-68d9-45e6-b604-268bfad9cc5e" providerId="ADAL" clId="{D888A4E8-4B4E-4F9E-AD90-7B2ECDAE1265}" dt="2023-03-08T09:54:57.070" v="9916" actId="478"/>
          <ac:spMkLst>
            <pc:docMk/>
            <pc:sldMk cId="217003757" sldId="2147469995"/>
            <ac:spMk id="170" creationId="{F9D9E070-FBA2-9823-2738-B3DD0C377195}"/>
          </ac:spMkLst>
        </pc:spChg>
        <pc:spChg chg="del">
          <ac:chgData name="Simone NERI" userId="2a00f2ad-68d9-45e6-b604-268bfad9cc5e" providerId="ADAL" clId="{D888A4E8-4B4E-4F9E-AD90-7B2ECDAE1265}" dt="2023-03-08T09:52:45.322" v="9890" actId="478"/>
          <ac:spMkLst>
            <pc:docMk/>
            <pc:sldMk cId="217003757" sldId="2147469995"/>
            <ac:spMk id="174" creationId="{9EDCDA73-CF95-BA08-4751-C40979072A4D}"/>
          </ac:spMkLst>
        </pc:spChg>
        <pc:spChg chg="del">
          <ac:chgData name="Simone NERI" userId="2a00f2ad-68d9-45e6-b604-268bfad9cc5e" providerId="ADAL" clId="{D888A4E8-4B4E-4F9E-AD90-7B2ECDAE1265}" dt="2023-03-08T09:52:49.862" v="9892" actId="478"/>
          <ac:spMkLst>
            <pc:docMk/>
            <pc:sldMk cId="217003757" sldId="2147469995"/>
            <ac:spMk id="175" creationId="{82C9C8E9-95AD-A43A-9725-68B89FB66ABC}"/>
          </ac:spMkLst>
        </pc:spChg>
        <pc:spChg chg="del">
          <ac:chgData name="Simone NERI" userId="2a00f2ad-68d9-45e6-b604-268bfad9cc5e" providerId="ADAL" clId="{D888A4E8-4B4E-4F9E-AD90-7B2ECDAE1265}" dt="2023-03-08T09:53:07.590" v="9898" actId="478"/>
          <ac:spMkLst>
            <pc:docMk/>
            <pc:sldMk cId="217003757" sldId="2147469995"/>
            <ac:spMk id="182" creationId="{399B1F8B-7642-6EBA-1CA1-3BD719B10579}"/>
          </ac:spMkLst>
        </pc:spChg>
        <pc:spChg chg="mod">
          <ac:chgData name="Simone NERI" userId="2a00f2ad-68d9-45e6-b604-268bfad9cc5e" providerId="ADAL" clId="{D888A4E8-4B4E-4F9E-AD90-7B2ECDAE1265}" dt="2023-03-08T10:34:19.785" v="10182" actId="1076"/>
          <ac:spMkLst>
            <pc:docMk/>
            <pc:sldMk cId="217003757" sldId="2147469995"/>
            <ac:spMk id="183" creationId="{D319A40A-D3DD-533C-9C1A-34DD5E26ED6D}"/>
          </ac:spMkLst>
        </pc:spChg>
        <pc:spChg chg="del">
          <ac:chgData name="Simone NERI" userId="2a00f2ad-68d9-45e6-b604-268bfad9cc5e" providerId="ADAL" clId="{D888A4E8-4B4E-4F9E-AD90-7B2ECDAE1265}" dt="2023-03-08T09:55:00.481" v="9917" actId="478"/>
          <ac:spMkLst>
            <pc:docMk/>
            <pc:sldMk cId="217003757" sldId="2147469995"/>
            <ac:spMk id="188" creationId="{54538CF1-F291-A8D9-20A1-8BD083FAC185}"/>
          </ac:spMkLst>
        </pc:spChg>
        <pc:spChg chg="del">
          <ac:chgData name="Simone NERI" userId="2a00f2ad-68d9-45e6-b604-268bfad9cc5e" providerId="ADAL" clId="{D888A4E8-4B4E-4F9E-AD90-7B2ECDAE1265}" dt="2023-03-08T09:55:00.481" v="9917" actId="478"/>
          <ac:spMkLst>
            <pc:docMk/>
            <pc:sldMk cId="217003757" sldId="2147469995"/>
            <ac:spMk id="189" creationId="{3EB916B9-A83F-9A16-EA67-076D39DB2E60}"/>
          </ac:spMkLst>
        </pc:spChg>
        <pc:spChg chg="del">
          <ac:chgData name="Simone NERI" userId="2a00f2ad-68d9-45e6-b604-268bfad9cc5e" providerId="ADAL" clId="{D888A4E8-4B4E-4F9E-AD90-7B2ECDAE1265}" dt="2023-03-08T09:55:00.481" v="9917" actId="478"/>
          <ac:spMkLst>
            <pc:docMk/>
            <pc:sldMk cId="217003757" sldId="2147469995"/>
            <ac:spMk id="190" creationId="{1D84F161-1E47-8DF4-D818-6DA36E041C70}"/>
          </ac:spMkLst>
        </pc:spChg>
        <pc:spChg chg="del">
          <ac:chgData name="Simone NERI" userId="2a00f2ad-68d9-45e6-b604-268bfad9cc5e" providerId="ADAL" clId="{D888A4E8-4B4E-4F9E-AD90-7B2ECDAE1265}" dt="2023-03-08T09:55:00.481" v="9917" actId="478"/>
          <ac:spMkLst>
            <pc:docMk/>
            <pc:sldMk cId="217003757" sldId="2147469995"/>
            <ac:spMk id="191" creationId="{2C44FE29-3C3D-C7FE-B92C-7C93684EFEC9}"/>
          </ac:spMkLst>
        </pc:spChg>
        <pc:spChg chg="del">
          <ac:chgData name="Simone NERI" userId="2a00f2ad-68d9-45e6-b604-268bfad9cc5e" providerId="ADAL" clId="{D888A4E8-4B4E-4F9E-AD90-7B2ECDAE1265}" dt="2023-03-08T09:55:00.481" v="9917" actId="478"/>
          <ac:spMkLst>
            <pc:docMk/>
            <pc:sldMk cId="217003757" sldId="2147469995"/>
            <ac:spMk id="192" creationId="{9471BBAE-37A4-F385-4642-775F9AE2AC13}"/>
          </ac:spMkLst>
        </pc:spChg>
        <pc:spChg chg="del">
          <ac:chgData name="Simone NERI" userId="2a00f2ad-68d9-45e6-b604-268bfad9cc5e" providerId="ADAL" clId="{D888A4E8-4B4E-4F9E-AD90-7B2ECDAE1265}" dt="2023-03-08T09:55:00.481" v="9917" actId="478"/>
          <ac:spMkLst>
            <pc:docMk/>
            <pc:sldMk cId="217003757" sldId="2147469995"/>
            <ac:spMk id="193" creationId="{C76F6737-62DF-1C1A-2E27-2CA8BDA6206A}"/>
          </ac:spMkLst>
        </pc:spChg>
        <pc:spChg chg="del">
          <ac:chgData name="Simone NERI" userId="2a00f2ad-68d9-45e6-b604-268bfad9cc5e" providerId="ADAL" clId="{D888A4E8-4B4E-4F9E-AD90-7B2ECDAE1265}" dt="2023-03-08T09:54:57.070" v="9916" actId="478"/>
          <ac:spMkLst>
            <pc:docMk/>
            <pc:sldMk cId="217003757" sldId="2147469995"/>
            <ac:spMk id="205" creationId="{6E1267DF-D396-EFA5-FE1E-A28E18246F29}"/>
          </ac:spMkLst>
        </pc:spChg>
        <pc:spChg chg="del">
          <ac:chgData name="Simone NERI" userId="2a00f2ad-68d9-45e6-b604-268bfad9cc5e" providerId="ADAL" clId="{D888A4E8-4B4E-4F9E-AD90-7B2ECDAE1265}" dt="2023-03-08T09:54:57.070" v="9916" actId="478"/>
          <ac:spMkLst>
            <pc:docMk/>
            <pc:sldMk cId="217003757" sldId="2147469995"/>
            <ac:spMk id="206" creationId="{1280F4E4-36C1-FFC7-1998-AAA2D4718B34}"/>
          </ac:spMkLst>
        </pc:spChg>
        <pc:spChg chg="del">
          <ac:chgData name="Simone NERI" userId="2a00f2ad-68d9-45e6-b604-268bfad9cc5e" providerId="ADAL" clId="{D888A4E8-4B4E-4F9E-AD90-7B2ECDAE1265}" dt="2023-03-08T09:54:57.070" v="9916" actId="478"/>
          <ac:spMkLst>
            <pc:docMk/>
            <pc:sldMk cId="217003757" sldId="2147469995"/>
            <ac:spMk id="210" creationId="{29A32C1F-763B-CD2E-9C75-6682624E2E39}"/>
          </ac:spMkLst>
        </pc:spChg>
        <pc:spChg chg="del">
          <ac:chgData name="Simone NERI" userId="2a00f2ad-68d9-45e6-b604-268bfad9cc5e" providerId="ADAL" clId="{D888A4E8-4B4E-4F9E-AD90-7B2ECDAE1265}" dt="2023-03-08T09:54:57.070" v="9916" actId="478"/>
          <ac:spMkLst>
            <pc:docMk/>
            <pc:sldMk cId="217003757" sldId="2147469995"/>
            <ac:spMk id="211" creationId="{494F31F1-C9F5-3EE5-47D6-AB7518B7B2B6}"/>
          </ac:spMkLst>
        </pc:spChg>
        <pc:spChg chg="del">
          <ac:chgData name="Simone NERI" userId="2a00f2ad-68d9-45e6-b604-268bfad9cc5e" providerId="ADAL" clId="{D888A4E8-4B4E-4F9E-AD90-7B2ECDAE1265}" dt="2023-03-08T09:54:57.070" v="9916" actId="478"/>
          <ac:spMkLst>
            <pc:docMk/>
            <pc:sldMk cId="217003757" sldId="2147469995"/>
            <ac:spMk id="212" creationId="{98D0B4EC-6D85-DF6D-A663-A9F3B40247FD}"/>
          </ac:spMkLst>
        </pc:spChg>
        <pc:spChg chg="del">
          <ac:chgData name="Simone NERI" userId="2a00f2ad-68d9-45e6-b604-268bfad9cc5e" providerId="ADAL" clId="{D888A4E8-4B4E-4F9E-AD90-7B2ECDAE1265}" dt="2023-03-08T09:54:57.070" v="9916" actId="478"/>
          <ac:spMkLst>
            <pc:docMk/>
            <pc:sldMk cId="217003757" sldId="2147469995"/>
            <ac:spMk id="213" creationId="{4AA647B6-1199-414A-CCE5-87DF109A6CB8}"/>
          </ac:spMkLst>
        </pc:spChg>
        <pc:spChg chg="del">
          <ac:chgData name="Simone NERI" userId="2a00f2ad-68d9-45e6-b604-268bfad9cc5e" providerId="ADAL" clId="{D888A4E8-4B4E-4F9E-AD90-7B2ECDAE1265}" dt="2023-03-08T09:54:57.070" v="9916" actId="478"/>
          <ac:spMkLst>
            <pc:docMk/>
            <pc:sldMk cId="217003757" sldId="2147469995"/>
            <ac:spMk id="214" creationId="{204114AB-051A-166B-E798-BADDDFD54661}"/>
          </ac:spMkLst>
        </pc:spChg>
        <pc:spChg chg="del">
          <ac:chgData name="Simone NERI" userId="2a00f2ad-68d9-45e6-b604-268bfad9cc5e" providerId="ADAL" clId="{D888A4E8-4B4E-4F9E-AD90-7B2ECDAE1265}" dt="2023-03-08T09:54:57.070" v="9916" actId="478"/>
          <ac:spMkLst>
            <pc:docMk/>
            <pc:sldMk cId="217003757" sldId="2147469995"/>
            <ac:spMk id="215" creationId="{8B333D73-E816-99C0-61A8-EFCF5CEBF539}"/>
          </ac:spMkLst>
        </pc:spChg>
        <pc:spChg chg="del">
          <ac:chgData name="Simone NERI" userId="2a00f2ad-68d9-45e6-b604-268bfad9cc5e" providerId="ADAL" clId="{D888A4E8-4B4E-4F9E-AD90-7B2ECDAE1265}" dt="2023-03-08T09:54:57.070" v="9916" actId="478"/>
          <ac:spMkLst>
            <pc:docMk/>
            <pc:sldMk cId="217003757" sldId="2147469995"/>
            <ac:spMk id="216" creationId="{90938941-2843-5218-2C79-5E7424BBA9C2}"/>
          </ac:spMkLst>
        </pc:spChg>
        <pc:spChg chg="del">
          <ac:chgData name="Simone NERI" userId="2a00f2ad-68d9-45e6-b604-268bfad9cc5e" providerId="ADAL" clId="{D888A4E8-4B4E-4F9E-AD90-7B2ECDAE1265}" dt="2023-03-08T09:54:57.070" v="9916" actId="478"/>
          <ac:spMkLst>
            <pc:docMk/>
            <pc:sldMk cId="217003757" sldId="2147469995"/>
            <ac:spMk id="217" creationId="{A4C48298-262C-A59A-E69A-27AACC11B5A5}"/>
          </ac:spMkLst>
        </pc:spChg>
        <pc:spChg chg="del">
          <ac:chgData name="Simone NERI" userId="2a00f2ad-68d9-45e6-b604-268bfad9cc5e" providerId="ADAL" clId="{D888A4E8-4B4E-4F9E-AD90-7B2ECDAE1265}" dt="2023-03-08T09:54:57.070" v="9916" actId="478"/>
          <ac:spMkLst>
            <pc:docMk/>
            <pc:sldMk cId="217003757" sldId="2147469995"/>
            <ac:spMk id="218" creationId="{B333BC02-BF58-762C-7F1F-476CCD091695}"/>
          </ac:spMkLst>
        </pc:spChg>
        <pc:spChg chg="del">
          <ac:chgData name="Simone NERI" userId="2a00f2ad-68d9-45e6-b604-268bfad9cc5e" providerId="ADAL" clId="{D888A4E8-4B4E-4F9E-AD90-7B2ECDAE1265}" dt="2023-03-08T09:52:36.464" v="9888" actId="478"/>
          <ac:spMkLst>
            <pc:docMk/>
            <pc:sldMk cId="217003757" sldId="2147469995"/>
            <ac:spMk id="221" creationId="{A4BC7538-4AD0-147C-34E8-C6B0291232DB}"/>
          </ac:spMkLst>
        </pc:spChg>
        <pc:grpChg chg="del">
          <ac:chgData name="Simone NERI" userId="2a00f2ad-68d9-45e6-b604-268bfad9cc5e" providerId="ADAL" clId="{D888A4E8-4B4E-4F9E-AD90-7B2ECDAE1265}" dt="2023-03-08T09:52:56.031" v="9893" actId="165"/>
          <ac:grpSpMkLst>
            <pc:docMk/>
            <pc:sldMk cId="217003757" sldId="2147469995"/>
            <ac:grpSpMk id="164" creationId="{88C70AD6-680D-0CD9-01A0-D31B5A16096B}"/>
          </ac:grpSpMkLst>
        </pc:grpChg>
        <pc:picChg chg="del">
          <ac:chgData name="Simone NERI" userId="2a00f2ad-68d9-45e6-b604-268bfad9cc5e" providerId="ADAL" clId="{D888A4E8-4B4E-4F9E-AD90-7B2ECDAE1265}" dt="2023-03-08T09:52:47.056" v="9891" actId="478"/>
          <ac:picMkLst>
            <pc:docMk/>
            <pc:sldMk cId="217003757" sldId="2147469995"/>
            <ac:picMk id="2" creationId="{A87DFF64-C970-FE23-20F7-8C7A48308486}"/>
          </ac:picMkLst>
        </pc:picChg>
        <pc:cxnChg chg="del">
          <ac:chgData name="Simone NERI" userId="2a00f2ad-68d9-45e6-b604-268bfad9cc5e" providerId="ADAL" clId="{D888A4E8-4B4E-4F9E-AD90-7B2ECDAE1265}" dt="2023-03-08T09:55:00.481" v="9917" actId="478"/>
          <ac:cxnSpMkLst>
            <pc:docMk/>
            <pc:sldMk cId="217003757" sldId="2147469995"/>
            <ac:cxnSpMk id="195" creationId="{F5BF65C0-3F2F-45CF-7A07-57C3EA2A89E3}"/>
          </ac:cxnSpMkLst>
        </pc:cxnChg>
        <pc:cxnChg chg="del">
          <ac:chgData name="Simone NERI" userId="2a00f2ad-68d9-45e6-b604-268bfad9cc5e" providerId="ADAL" clId="{D888A4E8-4B4E-4F9E-AD90-7B2ECDAE1265}" dt="2023-03-08T09:55:00.481" v="9917" actId="478"/>
          <ac:cxnSpMkLst>
            <pc:docMk/>
            <pc:sldMk cId="217003757" sldId="2147469995"/>
            <ac:cxnSpMk id="208" creationId="{F148327F-5E63-F171-0BFF-8EBEC1F7B792}"/>
          </ac:cxnSpMkLst>
        </pc:cxnChg>
      </pc:sldChg>
      <pc:sldMasterChg chg="delSldLayout">
        <pc:chgData name="Simone NERI" userId="2a00f2ad-68d9-45e6-b604-268bfad9cc5e" providerId="ADAL" clId="{D888A4E8-4B4E-4F9E-AD90-7B2ECDAE1265}" dt="2023-03-03T08:19:11.904" v="1923" actId="47"/>
        <pc:sldMasterMkLst>
          <pc:docMk/>
          <pc:sldMasterMk cId="0" sldId="2147483648"/>
        </pc:sldMasterMkLst>
        <pc:sldLayoutChg chg="del">
          <pc:chgData name="Simone NERI" userId="2a00f2ad-68d9-45e6-b604-268bfad9cc5e" providerId="ADAL" clId="{D888A4E8-4B4E-4F9E-AD90-7B2ECDAE1265}" dt="2023-03-03T08:19:11.904" v="1923" actId="47"/>
          <pc:sldLayoutMkLst>
            <pc:docMk/>
            <pc:sldMasterMk cId="0" sldId="2147483648"/>
            <pc:sldLayoutMk cId="852521968" sldId="2147483861"/>
          </pc:sldLayoutMkLst>
        </pc:sldLayoutChg>
      </pc:sldMasterChg>
    </pc:docChg>
  </pc:docChgLst>
  <pc:docChgLst>
    <pc:chgData name="Rodolphe GARABETIAN" userId="S::rodolphe.garabetian@talan.com::e7997f99-2964-44b6-a160-d8bc589f79c2" providerId="AD" clId="Web-{44C9C6FD-F834-479E-B39F-27DAF230CEE0}"/>
    <pc:docChg chg="modSld">
      <pc:chgData name="Rodolphe GARABETIAN" userId="S::rodolphe.garabetian@talan.com::e7997f99-2964-44b6-a160-d8bc589f79c2" providerId="AD" clId="Web-{44C9C6FD-F834-479E-B39F-27DAF230CEE0}" dt="2022-11-25T09:56:14.998" v="0"/>
      <pc:docMkLst>
        <pc:docMk/>
      </pc:docMkLst>
      <pc:sldChg chg="mod modShow">
        <pc:chgData name="Rodolphe GARABETIAN" userId="S::rodolphe.garabetian@talan.com::e7997f99-2964-44b6-a160-d8bc589f79c2" providerId="AD" clId="Web-{44C9C6FD-F834-479E-B39F-27DAF230CEE0}" dt="2022-11-25T09:56:14.998" v="0"/>
        <pc:sldMkLst>
          <pc:docMk/>
          <pc:sldMk cId="3928011031" sldId="2076138189"/>
        </pc:sldMkLst>
      </pc:sldChg>
    </pc:docChg>
  </pc:docChgLst>
  <pc:docChgLst>
    <pc:chgData name="Hissam EL BARKAOUI" userId="bd40893a-d7b0-46e9-8e20-b7bd51641b40" providerId="ADAL" clId="{BC2E3510-CA1D-41CC-BF07-A47ACD5E9272}"/>
    <pc:docChg chg="undo custSel addSld delSld modSld modSection">
      <pc:chgData name="Hissam EL BARKAOUI" userId="bd40893a-d7b0-46e9-8e20-b7bd51641b40" providerId="ADAL" clId="{BC2E3510-CA1D-41CC-BF07-A47ACD5E9272}" dt="2022-11-23T08:20:24.532" v="76" actId="2696"/>
      <pc:docMkLst>
        <pc:docMk/>
      </pc:docMkLst>
      <pc:sldChg chg="modSp add del mod">
        <pc:chgData name="Hissam EL BARKAOUI" userId="bd40893a-d7b0-46e9-8e20-b7bd51641b40" providerId="ADAL" clId="{BC2E3510-CA1D-41CC-BF07-A47ACD5E9272}" dt="2022-11-23T08:20:24.532" v="76" actId="2696"/>
        <pc:sldMkLst>
          <pc:docMk/>
          <pc:sldMk cId="1341213494" sldId="2076138190"/>
        </pc:sldMkLst>
        <pc:spChg chg="mod">
          <ac:chgData name="Hissam EL BARKAOUI" userId="bd40893a-d7b0-46e9-8e20-b7bd51641b40" providerId="ADAL" clId="{BC2E3510-CA1D-41CC-BF07-A47ACD5E9272}" dt="2022-11-22T20:55:00.333" v="46" actId="20577"/>
          <ac:spMkLst>
            <pc:docMk/>
            <pc:sldMk cId="1341213494" sldId="2076138190"/>
            <ac:spMk id="2" creationId="{E11BF5BD-75C4-4E77-9598-7225EFF82CC5}"/>
          </ac:spMkLst>
        </pc:spChg>
        <pc:spChg chg="mod">
          <ac:chgData name="Hissam EL BARKAOUI" userId="bd40893a-d7b0-46e9-8e20-b7bd51641b40" providerId="ADAL" clId="{BC2E3510-CA1D-41CC-BF07-A47ACD5E9272}" dt="2022-11-22T20:56:47.993" v="74" actId="20577"/>
          <ac:spMkLst>
            <pc:docMk/>
            <pc:sldMk cId="1341213494" sldId="2076138190"/>
            <ac:spMk id="4" creationId="{DFE4ECB6-193A-41CD-8C1D-5A9AA8C9E006}"/>
          </ac:spMkLst>
        </pc:spChg>
      </pc:sldChg>
      <pc:sldChg chg="add">
        <pc:chgData name="Hissam EL BARKAOUI" userId="bd40893a-d7b0-46e9-8e20-b7bd51641b40" providerId="ADAL" clId="{BC2E3510-CA1D-41CC-BF07-A47ACD5E9272}" dt="2022-11-23T08:20:20.784" v="75"/>
        <pc:sldMkLst>
          <pc:docMk/>
          <pc:sldMk cId="3018744438" sldId="2076138191"/>
        </pc:sldMkLst>
      </pc:sldChg>
    </pc:docChg>
  </pc:docChgLst>
  <pc:docChgLst>
    <pc:chgData name="Rodolphe GARABETIAN" userId="e7997f99-2964-44b6-a160-d8bc589f79c2" providerId="ADAL" clId="{EB9916D4-74B6-4CC8-A48C-8645F81FE07F}"/>
    <pc:docChg chg="undo custSel addSld delSld modSld sldOrd modSection">
      <pc:chgData name="Rodolphe GARABETIAN" userId="e7997f99-2964-44b6-a160-d8bc589f79c2" providerId="ADAL" clId="{EB9916D4-74B6-4CC8-A48C-8645F81FE07F}" dt="2022-11-30T10:15:12.457" v="1042" actId="207"/>
      <pc:docMkLst>
        <pc:docMk/>
      </pc:docMkLst>
      <pc:sldChg chg="add del">
        <pc:chgData name="Rodolphe GARABETIAN" userId="e7997f99-2964-44b6-a160-d8bc589f79c2" providerId="ADAL" clId="{EB9916D4-74B6-4CC8-A48C-8645F81FE07F}" dt="2022-11-28T11:27:30.166" v="295" actId="47"/>
        <pc:sldMkLst>
          <pc:docMk/>
          <pc:sldMk cId="324647912" sldId="1990"/>
        </pc:sldMkLst>
      </pc:sldChg>
      <pc:sldChg chg="modCm">
        <pc:chgData name="Rodolphe GARABETIAN" userId="e7997f99-2964-44b6-a160-d8bc589f79c2" providerId="ADAL" clId="{EB9916D4-74B6-4CC8-A48C-8645F81FE07F}" dt="2022-11-28T11:14:11.221" v="233"/>
        <pc:sldMkLst>
          <pc:docMk/>
          <pc:sldMk cId="3928011031" sldId="2076138189"/>
        </pc:sldMkLst>
      </pc:sldChg>
      <pc:sldChg chg="addSp delSp modSp add mod ord">
        <pc:chgData name="Rodolphe GARABETIAN" userId="e7997f99-2964-44b6-a160-d8bc589f79c2" providerId="ADAL" clId="{EB9916D4-74B6-4CC8-A48C-8645F81FE07F}" dt="2022-11-30T10:15:12.457" v="1042" actId="207"/>
        <pc:sldMkLst>
          <pc:docMk/>
          <pc:sldMk cId="4242148046" sldId="2076138194"/>
        </pc:sldMkLst>
        <pc:spChg chg="mod">
          <ac:chgData name="Rodolphe GARABETIAN" userId="e7997f99-2964-44b6-a160-d8bc589f79c2" providerId="ADAL" clId="{EB9916D4-74B6-4CC8-A48C-8645F81FE07F}" dt="2022-11-28T11:12:32.977" v="17" actId="20577"/>
          <ac:spMkLst>
            <pc:docMk/>
            <pc:sldMk cId="4242148046" sldId="2076138194"/>
            <ac:spMk id="2" creationId="{E11BF5BD-75C4-4E77-9598-7225EFF82CC5}"/>
          </ac:spMkLst>
        </pc:spChg>
        <pc:spChg chg="add del mod">
          <ac:chgData name="Rodolphe GARABETIAN" userId="e7997f99-2964-44b6-a160-d8bc589f79c2" providerId="ADAL" clId="{EB9916D4-74B6-4CC8-A48C-8645F81FE07F}" dt="2022-11-29T16:03:46.805" v="541" actId="478"/>
          <ac:spMkLst>
            <pc:docMk/>
            <pc:sldMk cId="4242148046" sldId="2076138194"/>
            <ac:spMk id="3" creationId="{E29DB9C4-F7BE-427B-BEB2-B580CDD73E55}"/>
          </ac:spMkLst>
        </pc:spChg>
        <pc:spChg chg="add mod">
          <ac:chgData name="Rodolphe GARABETIAN" userId="e7997f99-2964-44b6-a160-d8bc589f79c2" providerId="ADAL" clId="{EB9916D4-74B6-4CC8-A48C-8645F81FE07F}" dt="2022-11-30T09:43:24.716" v="1039" actId="1076"/>
          <ac:spMkLst>
            <pc:docMk/>
            <pc:sldMk cId="4242148046" sldId="2076138194"/>
            <ac:spMk id="3" creationId="{EA48CAD3-7416-4FD9-9808-73D732A7F6C7}"/>
          </ac:spMkLst>
        </pc:spChg>
        <pc:spChg chg="mod">
          <ac:chgData name="Rodolphe GARABETIAN" userId="e7997f99-2964-44b6-a160-d8bc589f79c2" providerId="ADAL" clId="{EB9916D4-74B6-4CC8-A48C-8645F81FE07F}" dt="2022-11-28T11:27:51.726" v="297" actId="255"/>
          <ac:spMkLst>
            <pc:docMk/>
            <pc:sldMk cId="4242148046" sldId="2076138194"/>
            <ac:spMk id="4" creationId="{DFE4ECB6-193A-41CD-8C1D-5A9AA8C9E006}"/>
          </ac:spMkLst>
        </pc:spChg>
        <pc:spChg chg="mod">
          <ac:chgData name="Rodolphe GARABETIAN" userId="e7997f99-2964-44b6-a160-d8bc589f79c2" providerId="ADAL" clId="{EB9916D4-74B6-4CC8-A48C-8645F81FE07F}" dt="2022-11-30T08:57:06.272" v="716" actId="552"/>
          <ac:spMkLst>
            <pc:docMk/>
            <pc:sldMk cId="4242148046" sldId="2076138194"/>
            <ac:spMk id="10" creationId="{2C1BE3D3-AF86-4F00-99E9-C106820D1EEC}"/>
          </ac:spMkLst>
        </pc:spChg>
        <pc:spChg chg="mod">
          <ac:chgData name="Rodolphe GARABETIAN" userId="e7997f99-2964-44b6-a160-d8bc589f79c2" providerId="ADAL" clId="{EB9916D4-74B6-4CC8-A48C-8645F81FE07F}" dt="2022-11-30T09:34:24.762" v="720" actId="15"/>
          <ac:spMkLst>
            <pc:docMk/>
            <pc:sldMk cId="4242148046" sldId="2076138194"/>
            <ac:spMk id="13" creationId="{E22D3A68-8C63-4250-BAEB-59D55544985D}"/>
          </ac:spMkLst>
        </pc:spChg>
        <pc:spChg chg="mod">
          <ac:chgData name="Rodolphe GARABETIAN" userId="e7997f99-2964-44b6-a160-d8bc589f79c2" providerId="ADAL" clId="{EB9916D4-74B6-4CC8-A48C-8645F81FE07F}" dt="2022-11-30T08:57:06.272" v="716" actId="552"/>
          <ac:spMkLst>
            <pc:docMk/>
            <pc:sldMk cId="4242148046" sldId="2076138194"/>
            <ac:spMk id="15" creationId="{864E3EB6-63A0-4187-87C2-15847F11EF55}"/>
          </ac:spMkLst>
        </pc:spChg>
        <pc:spChg chg="mod">
          <ac:chgData name="Rodolphe GARABETIAN" userId="e7997f99-2964-44b6-a160-d8bc589f79c2" providerId="ADAL" clId="{EB9916D4-74B6-4CC8-A48C-8645F81FE07F}" dt="2022-11-30T08:57:47.774" v="719" actId="14100"/>
          <ac:spMkLst>
            <pc:docMk/>
            <pc:sldMk cId="4242148046" sldId="2076138194"/>
            <ac:spMk id="17" creationId="{081C14F2-F0CF-453C-B5E6-3AB28B427042}"/>
          </ac:spMkLst>
        </pc:spChg>
        <pc:spChg chg="del mod">
          <ac:chgData name="Rodolphe GARABETIAN" userId="e7997f99-2964-44b6-a160-d8bc589f79c2" providerId="ADAL" clId="{EB9916D4-74B6-4CC8-A48C-8645F81FE07F}" dt="2022-11-29T16:08:16.562" v="578" actId="478"/>
          <ac:spMkLst>
            <pc:docMk/>
            <pc:sldMk cId="4242148046" sldId="2076138194"/>
            <ac:spMk id="18" creationId="{59C85CC0-8072-4FC5-A63C-53061F14896F}"/>
          </ac:spMkLst>
        </pc:spChg>
        <pc:spChg chg="add mod">
          <ac:chgData name="Rodolphe GARABETIAN" userId="e7997f99-2964-44b6-a160-d8bc589f79c2" providerId="ADAL" clId="{EB9916D4-74B6-4CC8-A48C-8645F81FE07F}" dt="2022-11-30T10:15:12.457" v="1042" actId="207"/>
          <ac:spMkLst>
            <pc:docMk/>
            <pc:sldMk cId="4242148046" sldId="2076138194"/>
            <ac:spMk id="18" creationId="{B6B3BCAA-E997-40CA-BC00-E0049A3DEC0E}"/>
          </ac:spMkLst>
        </pc:spChg>
        <pc:spChg chg="add del mod">
          <ac:chgData name="Rodolphe GARABETIAN" userId="e7997f99-2964-44b6-a160-d8bc589f79c2" providerId="ADAL" clId="{EB9916D4-74B6-4CC8-A48C-8645F81FE07F}" dt="2022-11-29T16:01:32.860" v="532" actId="478"/>
          <ac:spMkLst>
            <pc:docMk/>
            <pc:sldMk cId="4242148046" sldId="2076138194"/>
            <ac:spMk id="19" creationId="{5969D71F-804D-435F-BF8F-6FA7698E4868}"/>
          </ac:spMkLst>
        </pc:spChg>
        <pc:spChg chg="del">
          <ac:chgData name="Rodolphe GARABETIAN" userId="e7997f99-2964-44b6-a160-d8bc589f79c2" providerId="ADAL" clId="{EB9916D4-74B6-4CC8-A48C-8645F81FE07F}" dt="2022-11-29T16:08:13.153" v="577" actId="478"/>
          <ac:spMkLst>
            <pc:docMk/>
            <pc:sldMk cId="4242148046" sldId="2076138194"/>
            <ac:spMk id="20" creationId="{D43FBB6C-DC64-4FE2-9955-E5975EE587FE}"/>
          </ac:spMkLst>
        </pc:spChg>
        <pc:spChg chg="del">
          <ac:chgData name="Rodolphe GARABETIAN" userId="e7997f99-2964-44b6-a160-d8bc589f79c2" providerId="ADAL" clId="{EB9916D4-74B6-4CC8-A48C-8645F81FE07F}" dt="2022-11-29T16:08:13.153" v="577" actId="478"/>
          <ac:spMkLst>
            <pc:docMk/>
            <pc:sldMk cId="4242148046" sldId="2076138194"/>
            <ac:spMk id="21" creationId="{0F502C7A-28B8-43A3-81A5-4F6BAABD73C7}"/>
          </ac:spMkLst>
        </pc:spChg>
        <pc:spChg chg="add del">
          <ac:chgData name="Rodolphe GARABETIAN" userId="e7997f99-2964-44b6-a160-d8bc589f79c2" providerId="ADAL" clId="{EB9916D4-74B6-4CC8-A48C-8645F81FE07F}" dt="2022-11-28T11:25:35.127" v="255" actId="22"/>
          <ac:spMkLst>
            <pc:docMk/>
            <pc:sldMk cId="4242148046" sldId="2076138194"/>
            <ac:spMk id="21" creationId="{EBD1642C-9775-4FD0-859B-A9C01EC05D66}"/>
          </ac:spMkLst>
        </pc:spChg>
        <pc:spChg chg="add mod">
          <ac:chgData name="Rodolphe GARABETIAN" userId="e7997f99-2964-44b6-a160-d8bc589f79c2" providerId="ADAL" clId="{EB9916D4-74B6-4CC8-A48C-8645F81FE07F}" dt="2022-11-30T09:39:17.628" v="722" actId="14100"/>
          <ac:spMkLst>
            <pc:docMk/>
            <pc:sldMk cId="4242148046" sldId="2076138194"/>
            <ac:spMk id="22" creationId="{25A0427D-C2B7-4B55-8335-F5A67F14BCD9}"/>
          </ac:spMkLst>
        </pc:spChg>
        <pc:spChg chg="add del">
          <ac:chgData name="Rodolphe GARABETIAN" userId="e7997f99-2964-44b6-a160-d8bc589f79c2" providerId="ADAL" clId="{EB9916D4-74B6-4CC8-A48C-8645F81FE07F}" dt="2022-11-28T11:25:36.928" v="257" actId="478"/>
          <ac:spMkLst>
            <pc:docMk/>
            <pc:sldMk cId="4242148046" sldId="2076138194"/>
            <ac:spMk id="23" creationId="{3EB0723F-9D69-4406-BB4B-52C4C555B8C5}"/>
          </ac:spMkLst>
        </pc:spChg>
        <pc:spChg chg="add mod">
          <ac:chgData name="Rodolphe GARABETIAN" userId="e7997f99-2964-44b6-a160-d8bc589f79c2" providerId="ADAL" clId="{EB9916D4-74B6-4CC8-A48C-8645F81FE07F}" dt="2022-11-30T09:40:59.420" v="748" actId="14100"/>
          <ac:spMkLst>
            <pc:docMk/>
            <pc:sldMk cId="4242148046" sldId="2076138194"/>
            <ac:spMk id="23" creationId="{5885AC2F-934E-4876-B5C9-655B82CFDCC1}"/>
          </ac:spMkLst>
        </pc:spChg>
        <pc:spChg chg="add mod">
          <ac:chgData name="Rodolphe GARABETIAN" userId="e7997f99-2964-44b6-a160-d8bc589f79c2" providerId="ADAL" clId="{EB9916D4-74B6-4CC8-A48C-8645F81FE07F}" dt="2022-11-30T09:43:49.491" v="1041" actId="14100"/>
          <ac:spMkLst>
            <pc:docMk/>
            <pc:sldMk cId="4242148046" sldId="2076138194"/>
            <ac:spMk id="25" creationId="{1A96640A-8828-47F5-AC1E-CD388212CB4B}"/>
          </ac:spMkLst>
        </pc:spChg>
        <pc:spChg chg="add mod">
          <ac:chgData name="Rodolphe GARABETIAN" userId="e7997f99-2964-44b6-a160-d8bc589f79c2" providerId="ADAL" clId="{EB9916D4-74B6-4CC8-A48C-8645F81FE07F}" dt="2022-11-30T09:41:11.382" v="759" actId="14100"/>
          <ac:spMkLst>
            <pc:docMk/>
            <pc:sldMk cId="4242148046" sldId="2076138194"/>
            <ac:spMk id="26" creationId="{D82B2754-BF0C-48F0-BB0B-64A6A0DA6F75}"/>
          </ac:spMkLst>
        </pc:spChg>
        <pc:spChg chg="add mod">
          <ac:chgData name="Rodolphe GARABETIAN" userId="e7997f99-2964-44b6-a160-d8bc589f79c2" providerId="ADAL" clId="{EB9916D4-74B6-4CC8-A48C-8645F81FE07F}" dt="2022-11-30T09:41:18.139" v="768" actId="14100"/>
          <ac:spMkLst>
            <pc:docMk/>
            <pc:sldMk cId="4242148046" sldId="2076138194"/>
            <ac:spMk id="27" creationId="{6A89A6D0-1C67-412C-99FE-1868B5AD8339}"/>
          </ac:spMkLst>
        </pc:spChg>
        <pc:spChg chg="mod">
          <ac:chgData name="Rodolphe GARABETIAN" userId="e7997f99-2964-44b6-a160-d8bc589f79c2" providerId="ADAL" clId="{EB9916D4-74B6-4CC8-A48C-8645F81FE07F}" dt="2022-11-28T11:25:48.655" v="259"/>
          <ac:spMkLst>
            <pc:docMk/>
            <pc:sldMk cId="4242148046" sldId="2076138194"/>
            <ac:spMk id="27" creationId="{E9EDD916-4982-481C-A9A1-423DC90933F2}"/>
          </ac:spMkLst>
        </pc:spChg>
        <pc:spChg chg="add mod">
          <ac:chgData name="Rodolphe GARABETIAN" userId="e7997f99-2964-44b6-a160-d8bc589f79c2" providerId="ADAL" clId="{EB9916D4-74B6-4CC8-A48C-8645F81FE07F}" dt="2022-11-30T09:41:23.070" v="771" actId="14100"/>
          <ac:spMkLst>
            <pc:docMk/>
            <pc:sldMk cId="4242148046" sldId="2076138194"/>
            <ac:spMk id="28" creationId="{7F5A8520-83C4-4BBE-96EF-CA5D172E6545}"/>
          </ac:spMkLst>
        </pc:spChg>
        <pc:spChg chg="mod">
          <ac:chgData name="Rodolphe GARABETIAN" userId="e7997f99-2964-44b6-a160-d8bc589f79c2" providerId="ADAL" clId="{EB9916D4-74B6-4CC8-A48C-8645F81FE07F}" dt="2022-11-28T11:25:48.655" v="259"/>
          <ac:spMkLst>
            <pc:docMk/>
            <pc:sldMk cId="4242148046" sldId="2076138194"/>
            <ac:spMk id="28" creationId="{EE668E70-845A-4763-87AB-2B964353B1D8}"/>
          </ac:spMkLst>
        </pc:spChg>
        <pc:spChg chg="mod">
          <ac:chgData name="Rodolphe GARABETIAN" userId="e7997f99-2964-44b6-a160-d8bc589f79c2" providerId="ADAL" clId="{EB9916D4-74B6-4CC8-A48C-8645F81FE07F}" dt="2022-11-28T11:25:48.655" v="259"/>
          <ac:spMkLst>
            <pc:docMk/>
            <pc:sldMk cId="4242148046" sldId="2076138194"/>
            <ac:spMk id="29" creationId="{427C9694-75B8-440C-888B-A9EA5D979836}"/>
          </ac:spMkLst>
        </pc:spChg>
        <pc:spChg chg="del mod">
          <ac:chgData name="Rodolphe GARABETIAN" userId="e7997f99-2964-44b6-a160-d8bc589f79c2" providerId="ADAL" clId="{EB9916D4-74B6-4CC8-A48C-8645F81FE07F}" dt="2022-11-30T09:43:20.475" v="1038" actId="478"/>
          <ac:spMkLst>
            <pc:docMk/>
            <pc:sldMk cId="4242148046" sldId="2076138194"/>
            <ac:spMk id="29" creationId="{A89F46EA-6EDE-4127-B5BC-CF7D38121E22}"/>
          </ac:spMkLst>
        </pc:spChg>
        <pc:spChg chg="mod">
          <ac:chgData name="Rodolphe GARABETIAN" userId="e7997f99-2964-44b6-a160-d8bc589f79c2" providerId="ADAL" clId="{EB9916D4-74B6-4CC8-A48C-8645F81FE07F}" dt="2022-11-28T11:25:48.655" v="259"/>
          <ac:spMkLst>
            <pc:docMk/>
            <pc:sldMk cId="4242148046" sldId="2076138194"/>
            <ac:spMk id="30" creationId="{E4940462-F2A2-420D-B313-C10809FAFD34}"/>
          </ac:spMkLst>
        </pc:spChg>
        <pc:spChg chg="del mod">
          <ac:chgData name="Rodolphe GARABETIAN" userId="e7997f99-2964-44b6-a160-d8bc589f79c2" providerId="ADAL" clId="{EB9916D4-74B6-4CC8-A48C-8645F81FE07F}" dt="2022-11-30T09:43:33.963" v="1040" actId="478"/>
          <ac:spMkLst>
            <pc:docMk/>
            <pc:sldMk cId="4242148046" sldId="2076138194"/>
            <ac:spMk id="33" creationId="{3B2B3B86-D3C3-4542-BFF6-4D99E4C0E7AD}"/>
          </ac:spMkLst>
        </pc:spChg>
        <pc:grpChg chg="add del mod">
          <ac:chgData name="Rodolphe GARABETIAN" userId="e7997f99-2964-44b6-a160-d8bc589f79c2" providerId="ADAL" clId="{EB9916D4-74B6-4CC8-A48C-8645F81FE07F}" dt="2022-11-28T11:26:15.992" v="263" actId="478"/>
          <ac:grpSpMkLst>
            <pc:docMk/>
            <pc:sldMk cId="4242148046" sldId="2076138194"/>
            <ac:grpSpMk id="25" creationId="{8712C644-9681-4C03-B4E3-BC7C5D607EE9}"/>
          </ac:grpSpMkLst>
        </pc:grpChg>
        <pc:picChg chg="mod">
          <ac:chgData name="Rodolphe GARABETIAN" userId="e7997f99-2964-44b6-a160-d8bc589f79c2" providerId="ADAL" clId="{EB9916D4-74B6-4CC8-A48C-8645F81FE07F}" dt="2022-11-30T08:56:58.714" v="715" actId="552"/>
          <ac:picMkLst>
            <pc:docMk/>
            <pc:sldMk cId="4242148046" sldId="2076138194"/>
            <ac:picMk id="6" creationId="{CCA51F63-3D45-49D1-A294-FEE7069F69F3}"/>
          </ac:picMkLst>
        </pc:picChg>
        <pc:picChg chg="mod">
          <ac:chgData name="Rodolphe GARABETIAN" userId="e7997f99-2964-44b6-a160-d8bc589f79c2" providerId="ADAL" clId="{EB9916D4-74B6-4CC8-A48C-8645F81FE07F}" dt="2022-11-30T08:56:58.714" v="715" actId="552"/>
          <ac:picMkLst>
            <pc:docMk/>
            <pc:sldMk cId="4242148046" sldId="2076138194"/>
            <ac:picMk id="24" creationId="{07A552B2-1363-45E7-BB1D-2B6DAE61A8ED}"/>
          </ac:picMkLst>
        </pc:picChg>
        <pc:cxnChg chg="mod">
          <ac:chgData name="Rodolphe GARABETIAN" userId="e7997f99-2964-44b6-a160-d8bc589f79c2" providerId="ADAL" clId="{EB9916D4-74B6-4CC8-A48C-8645F81FE07F}" dt="2022-11-30T08:57:24.721" v="717" actId="552"/>
          <ac:cxnSpMkLst>
            <pc:docMk/>
            <pc:sldMk cId="4242148046" sldId="2076138194"/>
            <ac:cxnSpMk id="14" creationId="{CA362DFC-94B7-4CD5-8459-C95A5EA44217}"/>
          </ac:cxnSpMkLst>
        </pc:cxnChg>
        <pc:cxnChg chg="mod">
          <ac:chgData name="Rodolphe GARABETIAN" userId="e7997f99-2964-44b6-a160-d8bc589f79c2" providerId="ADAL" clId="{EB9916D4-74B6-4CC8-A48C-8645F81FE07F}" dt="2022-11-30T08:57:24.721" v="717" actId="552"/>
          <ac:cxnSpMkLst>
            <pc:docMk/>
            <pc:sldMk cId="4242148046" sldId="2076138194"/>
            <ac:cxnSpMk id="16" creationId="{B8AE57C4-69CE-4608-8DDB-7E6E3218F160}"/>
          </ac:cxnSpMkLst>
        </pc:cxnChg>
        <pc:cxnChg chg="mod">
          <ac:chgData name="Rodolphe GARABETIAN" userId="e7997f99-2964-44b6-a160-d8bc589f79c2" providerId="ADAL" clId="{EB9916D4-74B6-4CC8-A48C-8645F81FE07F}" dt="2022-11-28T11:25:48.655" v="259"/>
          <ac:cxnSpMkLst>
            <pc:docMk/>
            <pc:sldMk cId="4242148046" sldId="2076138194"/>
            <ac:cxnSpMk id="26" creationId="{649E2C1E-D0C8-4DFE-A821-2C66CEF0E86A}"/>
          </ac:cxnSpMkLst>
        </pc:cxnChg>
      </pc:sldChg>
    </pc:docChg>
  </pc:docChgLst>
  <pc:docChgLst>
    <pc:chgData name="Sylvie ROCHE" userId="60404d4e-bbf6-4ef1-963c-527a8dada0a5" providerId="ADAL" clId="{F1E5F0B4-FD2E-47E3-80DC-5894D9BB87F8}"/>
    <pc:docChg chg="undo redo custSel addSld delSld modSld sldOrd modMainMaster modSection modNotesMaster modHandout">
      <pc:chgData name="Sylvie ROCHE" userId="60404d4e-bbf6-4ef1-963c-527a8dada0a5" providerId="ADAL" clId="{F1E5F0B4-FD2E-47E3-80DC-5894D9BB87F8}" dt="2023-03-07T18:26:48.023" v="21824"/>
      <pc:docMkLst>
        <pc:docMk/>
      </pc:docMkLst>
      <pc:sldChg chg="addSp delSp modSp mod modNotes">
        <pc:chgData name="Sylvie ROCHE" userId="60404d4e-bbf6-4ef1-963c-527a8dada0a5" providerId="ADAL" clId="{F1E5F0B4-FD2E-47E3-80DC-5894D9BB87F8}" dt="2023-03-07T14:06:40.269" v="13376" actId="20577"/>
        <pc:sldMkLst>
          <pc:docMk/>
          <pc:sldMk cId="3026091508" sldId="333"/>
        </pc:sldMkLst>
        <pc:spChg chg="del mod">
          <ac:chgData name="Sylvie ROCHE" userId="60404d4e-bbf6-4ef1-963c-527a8dada0a5" providerId="ADAL" clId="{F1E5F0B4-FD2E-47E3-80DC-5894D9BB87F8}" dt="2023-03-03T08:01:41.948" v="12873" actId="478"/>
          <ac:spMkLst>
            <pc:docMk/>
            <pc:sldMk cId="3026091508" sldId="333"/>
            <ac:spMk id="2" creationId="{5EDDD494-AC60-19EE-7132-70FEDDEC974C}"/>
          </ac:spMkLst>
        </pc:spChg>
        <pc:spChg chg="add mod">
          <ac:chgData name="Sylvie ROCHE" userId="60404d4e-bbf6-4ef1-963c-527a8dada0a5" providerId="ADAL" clId="{F1E5F0B4-FD2E-47E3-80DC-5894D9BB87F8}" dt="2023-03-07T14:06:40.269" v="13376" actId="20577"/>
          <ac:spMkLst>
            <pc:docMk/>
            <pc:sldMk cId="3026091508" sldId="333"/>
            <ac:spMk id="2" creationId="{A6BFAA71-6BD9-D913-BE51-1508E0E68889}"/>
          </ac:spMkLst>
        </pc:spChg>
        <pc:spChg chg="add del mod">
          <ac:chgData name="Sylvie ROCHE" userId="60404d4e-bbf6-4ef1-963c-527a8dada0a5" providerId="ADAL" clId="{F1E5F0B4-FD2E-47E3-80DC-5894D9BB87F8}" dt="2023-03-07T14:06:32.313" v="13341" actId="478"/>
          <ac:spMkLst>
            <pc:docMk/>
            <pc:sldMk cId="3026091508" sldId="333"/>
            <ac:spMk id="3" creationId="{5259F574-8314-AEDE-14D6-834B8164432C}"/>
          </ac:spMkLst>
        </pc:spChg>
      </pc:sldChg>
      <pc:sldChg chg="addSp delSp modSp mod modNotes">
        <pc:chgData name="Sylvie ROCHE" userId="60404d4e-bbf6-4ef1-963c-527a8dada0a5" providerId="ADAL" clId="{F1E5F0B4-FD2E-47E3-80DC-5894D9BB87F8}" dt="2023-03-07T14:06:49.425" v="13378"/>
        <pc:sldMkLst>
          <pc:docMk/>
          <pc:sldMk cId="4253203289" sldId="335"/>
        </pc:sldMkLst>
        <pc:spChg chg="del mod">
          <ac:chgData name="Sylvie ROCHE" userId="60404d4e-bbf6-4ef1-963c-527a8dada0a5" providerId="ADAL" clId="{F1E5F0B4-FD2E-47E3-80DC-5894D9BB87F8}" dt="2023-03-07T14:06:49.074" v="13377" actId="478"/>
          <ac:spMkLst>
            <pc:docMk/>
            <pc:sldMk cId="4253203289" sldId="335"/>
            <ac:spMk id="2" creationId="{D5F61CFE-F270-41EB-2683-230F70F0D7BD}"/>
          </ac:spMkLst>
        </pc:spChg>
        <pc:spChg chg="add mod">
          <ac:chgData name="Sylvie ROCHE" userId="60404d4e-bbf6-4ef1-963c-527a8dada0a5" providerId="ADAL" clId="{F1E5F0B4-FD2E-47E3-80DC-5894D9BB87F8}" dt="2023-03-07T14:06:49.425" v="13378"/>
          <ac:spMkLst>
            <pc:docMk/>
            <pc:sldMk cId="4253203289" sldId="335"/>
            <ac:spMk id="4" creationId="{EAF456BB-73E9-536F-2CAD-854807AC5FAB}"/>
          </ac:spMkLst>
        </pc:spChg>
      </pc:sldChg>
      <pc:sldChg chg="modNotes">
        <pc:chgData name="Sylvie ROCHE" userId="60404d4e-bbf6-4ef1-963c-527a8dada0a5" providerId="ADAL" clId="{F1E5F0B4-FD2E-47E3-80DC-5894D9BB87F8}" dt="2023-03-02T17:35:40.388" v="7320"/>
        <pc:sldMkLst>
          <pc:docMk/>
          <pc:sldMk cId="402122101" sldId="5007"/>
        </pc:sldMkLst>
      </pc:sldChg>
      <pc:sldChg chg="modNotes">
        <pc:chgData name="Sylvie ROCHE" userId="60404d4e-bbf6-4ef1-963c-527a8dada0a5" providerId="ADAL" clId="{F1E5F0B4-FD2E-47E3-80DC-5894D9BB87F8}" dt="2023-03-02T17:35:40.388" v="7320"/>
        <pc:sldMkLst>
          <pc:docMk/>
          <pc:sldMk cId="3676508015" sldId="5014"/>
        </pc:sldMkLst>
      </pc:sldChg>
      <pc:sldChg chg="addSp modSp addCm modCm modNotes">
        <pc:chgData name="Sylvie ROCHE" userId="60404d4e-bbf6-4ef1-963c-527a8dada0a5" providerId="ADAL" clId="{F1E5F0B4-FD2E-47E3-80DC-5894D9BB87F8}" dt="2023-03-03T08:19:21.436" v="13068" actId="2056"/>
        <pc:sldMkLst>
          <pc:docMk/>
          <pc:sldMk cId="1905401398" sldId="8792"/>
        </pc:sldMkLst>
        <pc:spChg chg="add mod">
          <ac:chgData name="Sylvie ROCHE" userId="60404d4e-bbf6-4ef1-963c-527a8dada0a5" providerId="ADAL" clId="{F1E5F0B4-FD2E-47E3-80DC-5894D9BB87F8}" dt="2023-03-02T21:53:29.069" v="12799"/>
          <ac:spMkLst>
            <pc:docMk/>
            <pc:sldMk cId="1905401398" sldId="8792"/>
            <ac:spMk id="18" creationId="{B7691142-A675-FCD6-899E-F2E9AF58A72E}"/>
          </ac:spMkLst>
        </pc:spChg>
        <pc:extLst>
          <p:ext xmlns:p="http://schemas.openxmlformats.org/presentationml/2006/main" uri="{D6D511B9-2390-475A-947B-AFAB55BFBCF1}">
            <pc226:cmChg xmlns:pc226="http://schemas.microsoft.com/office/powerpoint/2022/06/main/command" chg="add mod">
              <pc226:chgData name="Sylvie ROCHE" userId="60404d4e-bbf6-4ef1-963c-527a8dada0a5" providerId="ADAL" clId="{F1E5F0B4-FD2E-47E3-80DC-5894D9BB87F8}" dt="2023-03-03T08:19:21.436" v="13068" actId="2056"/>
              <pc2:cmMkLst xmlns:pc2="http://schemas.microsoft.com/office/powerpoint/2019/9/main/command">
                <pc:docMk/>
                <pc:sldMk cId="1905401398" sldId="8792"/>
                <pc2:cmMk id="{4694D34D-45C9-4C15-B20B-14060FFA343F}"/>
              </pc2:cmMkLst>
            </pc226:cmChg>
          </p:ext>
        </pc:extLst>
      </pc:sldChg>
      <pc:sldChg chg="addSp modSp add del mod modShow">
        <pc:chgData name="Sylvie ROCHE" userId="60404d4e-bbf6-4ef1-963c-527a8dada0a5" providerId="ADAL" clId="{F1E5F0B4-FD2E-47E3-80DC-5894D9BB87F8}" dt="2023-03-07T14:42:48.501" v="13914" actId="2696"/>
        <pc:sldMkLst>
          <pc:docMk/>
          <pc:sldMk cId="1379448671" sldId="8857"/>
        </pc:sldMkLst>
        <pc:spChg chg="add mod">
          <ac:chgData name="Sylvie ROCHE" userId="60404d4e-bbf6-4ef1-963c-527a8dada0a5" providerId="ADAL" clId="{F1E5F0B4-FD2E-47E3-80DC-5894D9BB87F8}" dt="2023-03-02T21:55:44.997" v="12844" actId="20577"/>
          <ac:spMkLst>
            <pc:docMk/>
            <pc:sldMk cId="1379448671" sldId="8857"/>
            <ac:spMk id="3" creationId="{6F458A50-ADE0-C30D-3C7F-E2B873A59422}"/>
          </ac:spMkLst>
        </pc:spChg>
      </pc:sldChg>
      <pc:sldChg chg="add del">
        <pc:chgData name="Sylvie ROCHE" userId="60404d4e-bbf6-4ef1-963c-527a8dada0a5" providerId="ADAL" clId="{F1E5F0B4-FD2E-47E3-80DC-5894D9BB87F8}" dt="2023-03-01T22:24:13.483" v="6073" actId="47"/>
        <pc:sldMkLst>
          <pc:docMk/>
          <pc:sldMk cId="3773677498" sldId="2076137191"/>
        </pc:sldMkLst>
      </pc:sldChg>
      <pc:sldChg chg="modSp mod addCm">
        <pc:chgData name="Sylvie ROCHE" userId="60404d4e-bbf6-4ef1-963c-527a8dada0a5" providerId="ADAL" clId="{F1E5F0B4-FD2E-47E3-80DC-5894D9BB87F8}" dt="2023-03-07T13:10:53.038" v="13317"/>
        <pc:sldMkLst>
          <pc:docMk/>
          <pc:sldMk cId="2383861275" sldId="2076138044"/>
        </pc:sldMkLst>
        <pc:spChg chg="mod">
          <ac:chgData name="Sylvie ROCHE" userId="60404d4e-bbf6-4ef1-963c-527a8dada0a5" providerId="ADAL" clId="{F1E5F0B4-FD2E-47E3-80DC-5894D9BB87F8}" dt="2023-03-07T13:10:21.566" v="13316" actId="1076"/>
          <ac:spMkLst>
            <pc:docMk/>
            <pc:sldMk cId="2383861275" sldId="2076138044"/>
            <ac:spMk id="10" creationId="{C60B4CC3-9811-C990-17E7-CBA6D90ACE54}"/>
          </ac:spMkLst>
        </pc:spChg>
        <pc:extLst>
          <p:ext xmlns:p="http://schemas.openxmlformats.org/presentationml/2006/main" uri="{D6D511B9-2390-475A-947B-AFAB55BFBCF1}">
            <pc226:cmChg xmlns:pc226="http://schemas.microsoft.com/office/powerpoint/2022/06/main/command" chg="add">
              <pc226:chgData name="Sylvie ROCHE" userId="60404d4e-bbf6-4ef1-963c-527a8dada0a5" providerId="ADAL" clId="{F1E5F0B4-FD2E-47E3-80DC-5894D9BB87F8}" dt="2023-03-07T13:10:53.038" v="13317"/>
              <pc2:cmMkLst xmlns:pc2="http://schemas.microsoft.com/office/powerpoint/2019/9/main/command">
                <pc:docMk/>
                <pc:sldMk cId="2383861275" sldId="2076138044"/>
                <pc2:cmMk id="{F34E62C1-439F-418A-9ACF-388F8F5D0F5E}"/>
              </pc2:cmMkLst>
            </pc226:cmChg>
          </p:ext>
        </pc:extLst>
      </pc:sldChg>
      <pc:sldChg chg="modSp mod">
        <pc:chgData name="Sylvie ROCHE" userId="60404d4e-bbf6-4ef1-963c-527a8dada0a5" providerId="ADAL" clId="{F1E5F0B4-FD2E-47E3-80DC-5894D9BB87F8}" dt="2023-03-07T13:12:04.336" v="13333" actId="20577"/>
        <pc:sldMkLst>
          <pc:docMk/>
          <pc:sldMk cId="2353512255" sldId="2076138045"/>
        </pc:sldMkLst>
        <pc:spChg chg="mod">
          <ac:chgData name="Sylvie ROCHE" userId="60404d4e-bbf6-4ef1-963c-527a8dada0a5" providerId="ADAL" clId="{F1E5F0B4-FD2E-47E3-80DC-5894D9BB87F8}" dt="2023-03-07T13:12:04.336" v="13333" actId="20577"/>
          <ac:spMkLst>
            <pc:docMk/>
            <pc:sldMk cId="2353512255" sldId="2076138045"/>
            <ac:spMk id="13" creationId="{B5301F70-A70C-A904-B05E-E86484EE1997}"/>
          </ac:spMkLst>
        </pc:spChg>
      </pc:sldChg>
      <pc:sldChg chg="addCm">
        <pc:chgData name="Sylvie ROCHE" userId="60404d4e-bbf6-4ef1-963c-527a8dada0a5" providerId="ADAL" clId="{F1E5F0B4-FD2E-47E3-80DC-5894D9BB87F8}" dt="2023-03-07T13:10:02.217" v="13315"/>
        <pc:sldMkLst>
          <pc:docMk/>
          <pc:sldMk cId="2388790830" sldId="2142532846"/>
        </pc:sldMkLst>
        <pc:extLst>
          <p:ext xmlns:p="http://schemas.openxmlformats.org/presentationml/2006/main" uri="{D6D511B9-2390-475A-947B-AFAB55BFBCF1}">
            <pc226:cmChg xmlns:pc226="http://schemas.microsoft.com/office/powerpoint/2022/06/main/command" chg="add">
              <pc226:chgData name="Sylvie ROCHE" userId="60404d4e-bbf6-4ef1-963c-527a8dada0a5" providerId="ADAL" clId="{F1E5F0B4-FD2E-47E3-80DC-5894D9BB87F8}" dt="2023-03-07T13:10:02.217" v="13315"/>
              <pc2:cmMkLst xmlns:pc2="http://schemas.microsoft.com/office/powerpoint/2019/9/main/command">
                <pc:docMk/>
                <pc:sldMk cId="2388790830" sldId="2142532846"/>
                <pc2:cmMk id="{A0ED2C78-4A4F-432B-9CD0-F9317BE03B7A}"/>
              </pc2:cmMkLst>
            </pc226:cmChg>
          </p:ext>
        </pc:extLst>
      </pc:sldChg>
      <pc:sldChg chg="addSp modSp del mod modNotes">
        <pc:chgData name="Sylvie ROCHE" userId="60404d4e-bbf6-4ef1-963c-527a8dada0a5" providerId="ADAL" clId="{F1E5F0B4-FD2E-47E3-80DC-5894D9BB87F8}" dt="2023-03-07T18:05:00.283" v="21016" actId="47"/>
        <pc:sldMkLst>
          <pc:docMk/>
          <pc:sldMk cId="3024465110" sldId="2142532887"/>
        </pc:sldMkLst>
        <pc:spChg chg="add mod">
          <ac:chgData name="Sylvie ROCHE" userId="60404d4e-bbf6-4ef1-963c-527a8dada0a5" providerId="ADAL" clId="{F1E5F0B4-FD2E-47E3-80DC-5894D9BB87F8}" dt="2023-03-07T16:08:25.940" v="15475" actId="14100"/>
          <ac:spMkLst>
            <pc:docMk/>
            <pc:sldMk cId="3024465110" sldId="2142532887"/>
            <ac:spMk id="2" creationId="{113A832E-E110-4D12-4DBA-D63E90D261A9}"/>
          </ac:spMkLst>
        </pc:spChg>
        <pc:spChg chg="mod">
          <ac:chgData name="Sylvie ROCHE" userId="60404d4e-bbf6-4ef1-963c-527a8dada0a5" providerId="ADAL" clId="{F1E5F0B4-FD2E-47E3-80DC-5894D9BB87F8}" dt="2023-03-07T16:10:22.512" v="15491" actId="20577"/>
          <ac:spMkLst>
            <pc:docMk/>
            <pc:sldMk cId="3024465110" sldId="2142532887"/>
            <ac:spMk id="46" creationId="{82F0A538-3873-43AF-A4A9-D11467F0A8B6}"/>
          </ac:spMkLst>
        </pc:spChg>
      </pc:sldChg>
      <pc:sldChg chg="addSp delSp modSp mod modNotes modNotesTx">
        <pc:chgData name="Sylvie ROCHE" userId="60404d4e-bbf6-4ef1-963c-527a8dada0a5" providerId="ADAL" clId="{F1E5F0B4-FD2E-47E3-80DC-5894D9BB87F8}" dt="2023-03-07T18:05:57.726" v="21029" actId="20577"/>
        <pc:sldMkLst>
          <pc:docMk/>
          <pc:sldMk cId="1629102341" sldId="2142532888"/>
        </pc:sldMkLst>
        <pc:spChg chg="add del mod">
          <ac:chgData name="Sylvie ROCHE" userId="60404d4e-bbf6-4ef1-963c-527a8dada0a5" providerId="ADAL" clId="{F1E5F0B4-FD2E-47E3-80DC-5894D9BB87F8}" dt="2023-03-07T18:02:43.303" v="20996" actId="478"/>
          <ac:spMkLst>
            <pc:docMk/>
            <pc:sldMk cId="1629102341" sldId="2142532888"/>
            <ac:spMk id="3" creationId="{C12FE1CF-77BD-D0C3-4682-8F8E9FAAED7F}"/>
          </ac:spMkLst>
        </pc:spChg>
        <pc:spChg chg="add mod">
          <ac:chgData name="Sylvie ROCHE" userId="60404d4e-bbf6-4ef1-963c-527a8dada0a5" providerId="ADAL" clId="{F1E5F0B4-FD2E-47E3-80DC-5894D9BB87F8}" dt="2023-03-07T18:03:50.938" v="21004" actId="1076"/>
          <ac:spMkLst>
            <pc:docMk/>
            <pc:sldMk cId="1629102341" sldId="2142532888"/>
            <ac:spMk id="5" creationId="{F9807F2F-324B-0002-9FFC-6BD6A33DBDD5}"/>
          </ac:spMkLst>
        </pc:spChg>
        <pc:spChg chg="add mod">
          <ac:chgData name="Sylvie ROCHE" userId="60404d4e-bbf6-4ef1-963c-527a8dada0a5" providerId="ADAL" clId="{F1E5F0B4-FD2E-47E3-80DC-5894D9BB87F8}" dt="2023-03-07T18:03:50.938" v="21004" actId="1076"/>
          <ac:spMkLst>
            <pc:docMk/>
            <pc:sldMk cId="1629102341" sldId="2142532888"/>
            <ac:spMk id="6" creationId="{1460F89F-D457-7062-B5C7-E677C0E6F14B}"/>
          </ac:spMkLst>
        </pc:spChg>
        <pc:spChg chg="add mod">
          <ac:chgData name="Sylvie ROCHE" userId="60404d4e-bbf6-4ef1-963c-527a8dada0a5" providerId="ADAL" clId="{F1E5F0B4-FD2E-47E3-80DC-5894D9BB87F8}" dt="2023-03-07T18:03:55.103" v="21005" actId="1076"/>
          <ac:spMkLst>
            <pc:docMk/>
            <pc:sldMk cId="1629102341" sldId="2142532888"/>
            <ac:spMk id="7" creationId="{5DF68B03-E948-4851-77C3-78C349F0D6CB}"/>
          </ac:spMkLst>
        </pc:spChg>
        <pc:spChg chg="add mod">
          <ac:chgData name="Sylvie ROCHE" userId="60404d4e-bbf6-4ef1-963c-527a8dada0a5" providerId="ADAL" clId="{F1E5F0B4-FD2E-47E3-80DC-5894D9BB87F8}" dt="2023-03-07T18:03:55.103" v="21005" actId="1076"/>
          <ac:spMkLst>
            <pc:docMk/>
            <pc:sldMk cId="1629102341" sldId="2142532888"/>
            <ac:spMk id="8" creationId="{1E9A9D18-79BE-0CD7-2673-AFF7DB5DFF44}"/>
          </ac:spMkLst>
        </pc:spChg>
        <pc:spChg chg="add mod">
          <ac:chgData name="Sylvie ROCHE" userId="60404d4e-bbf6-4ef1-963c-527a8dada0a5" providerId="ADAL" clId="{F1E5F0B4-FD2E-47E3-80DC-5894D9BB87F8}" dt="2023-03-07T18:04:00.016" v="21006" actId="1076"/>
          <ac:spMkLst>
            <pc:docMk/>
            <pc:sldMk cId="1629102341" sldId="2142532888"/>
            <ac:spMk id="9" creationId="{2D320EB2-4423-B0D8-2612-D20126843255}"/>
          </ac:spMkLst>
        </pc:spChg>
        <pc:spChg chg="add mod">
          <ac:chgData name="Sylvie ROCHE" userId="60404d4e-bbf6-4ef1-963c-527a8dada0a5" providerId="ADAL" clId="{F1E5F0B4-FD2E-47E3-80DC-5894D9BB87F8}" dt="2023-03-07T18:04:00.016" v="21006" actId="1076"/>
          <ac:spMkLst>
            <pc:docMk/>
            <pc:sldMk cId="1629102341" sldId="2142532888"/>
            <ac:spMk id="10" creationId="{3D298E1A-4CC4-1C28-4853-F048ED689294}"/>
          </ac:spMkLst>
        </pc:spChg>
        <pc:spChg chg="add mod">
          <ac:chgData name="Sylvie ROCHE" userId="60404d4e-bbf6-4ef1-963c-527a8dada0a5" providerId="ADAL" clId="{F1E5F0B4-FD2E-47E3-80DC-5894D9BB87F8}" dt="2023-03-07T18:04:54.112" v="21014" actId="14100"/>
          <ac:spMkLst>
            <pc:docMk/>
            <pc:sldMk cId="1629102341" sldId="2142532888"/>
            <ac:spMk id="12" creationId="{78C2CC30-2F9B-0CB6-20DF-84143FD855FE}"/>
          </ac:spMkLst>
        </pc:spChg>
        <pc:spChg chg="add mod">
          <ac:chgData name="Sylvie ROCHE" userId="60404d4e-bbf6-4ef1-963c-527a8dada0a5" providerId="ADAL" clId="{F1E5F0B4-FD2E-47E3-80DC-5894D9BB87F8}" dt="2023-03-07T18:05:57.726" v="21029" actId="20577"/>
          <ac:spMkLst>
            <pc:docMk/>
            <pc:sldMk cId="1629102341" sldId="2142532888"/>
            <ac:spMk id="13" creationId="{2BCDE059-CC0F-0EDE-86CC-ED2BC15CB89D}"/>
          </ac:spMkLst>
        </pc:spChg>
        <pc:spChg chg="mod">
          <ac:chgData name="Sylvie ROCHE" userId="60404d4e-bbf6-4ef1-963c-527a8dada0a5" providerId="ADAL" clId="{F1E5F0B4-FD2E-47E3-80DC-5894D9BB87F8}" dt="2023-03-07T18:04:36.839" v="21012" actId="108"/>
          <ac:spMkLst>
            <pc:docMk/>
            <pc:sldMk cId="1629102341" sldId="2142532888"/>
            <ac:spMk id="43" creationId="{6E0C743C-563C-4DAC-AB17-33635300D762}"/>
          </ac:spMkLst>
        </pc:spChg>
        <pc:spChg chg="del">
          <ac:chgData name="Sylvie ROCHE" userId="60404d4e-bbf6-4ef1-963c-527a8dada0a5" providerId="ADAL" clId="{F1E5F0B4-FD2E-47E3-80DC-5894D9BB87F8}" dt="2023-03-07T18:02:46.679" v="20997" actId="478"/>
          <ac:spMkLst>
            <pc:docMk/>
            <pc:sldMk cId="1629102341" sldId="2142532888"/>
            <ac:spMk id="118" creationId="{7F4D477F-F2EE-48ED-8CAE-1B31B06E77F5}"/>
          </ac:spMkLst>
        </pc:spChg>
        <pc:spChg chg="mod">
          <ac:chgData name="Sylvie ROCHE" userId="60404d4e-bbf6-4ef1-963c-527a8dada0a5" providerId="ADAL" clId="{F1E5F0B4-FD2E-47E3-80DC-5894D9BB87F8}" dt="2023-03-07T18:02:53.295" v="20998" actId="1076"/>
          <ac:spMkLst>
            <pc:docMk/>
            <pc:sldMk cId="1629102341" sldId="2142532888"/>
            <ac:spMk id="283" creationId="{ADA2507D-6452-4F83-AC6C-7338C3F91F85}"/>
          </ac:spMkLst>
        </pc:spChg>
        <pc:spChg chg="del">
          <ac:chgData name="Sylvie ROCHE" userId="60404d4e-bbf6-4ef1-963c-527a8dada0a5" providerId="ADAL" clId="{F1E5F0B4-FD2E-47E3-80DC-5894D9BB87F8}" dt="2023-03-07T18:02:46.679" v="20997" actId="478"/>
          <ac:spMkLst>
            <pc:docMk/>
            <pc:sldMk cId="1629102341" sldId="2142532888"/>
            <ac:spMk id="285" creationId="{9EE812D0-8520-4491-B608-3A2DF9ADD476}"/>
          </ac:spMkLst>
        </pc:spChg>
        <pc:grpChg chg="del">
          <ac:chgData name="Sylvie ROCHE" userId="60404d4e-bbf6-4ef1-963c-527a8dada0a5" providerId="ADAL" clId="{F1E5F0B4-FD2E-47E3-80DC-5894D9BB87F8}" dt="2023-03-07T18:02:46.679" v="20997" actId="478"/>
          <ac:grpSpMkLst>
            <pc:docMk/>
            <pc:sldMk cId="1629102341" sldId="2142532888"/>
            <ac:grpSpMk id="15" creationId="{414E3FD9-3839-4F1D-8AEA-FDA4FA268D31}"/>
          </ac:grpSpMkLst>
        </pc:grpChg>
        <pc:picChg chg="mod">
          <ac:chgData name="Sylvie ROCHE" userId="60404d4e-bbf6-4ef1-963c-527a8dada0a5" providerId="ADAL" clId="{F1E5F0B4-FD2E-47E3-80DC-5894D9BB87F8}" dt="2023-03-07T18:02:53.295" v="20998" actId="1076"/>
          <ac:picMkLst>
            <pc:docMk/>
            <pc:sldMk cId="1629102341" sldId="2142532888"/>
            <ac:picMk id="2" creationId="{951A93CE-97FC-B080-669A-CBA77F265002}"/>
          </ac:picMkLst>
        </pc:picChg>
        <pc:picChg chg="mod">
          <ac:chgData name="Sylvie ROCHE" userId="60404d4e-bbf6-4ef1-963c-527a8dada0a5" providerId="ADAL" clId="{F1E5F0B4-FD2E-47E3-80DC-5894D9BB87F8}" dt="2023-03-07T18:05:09.180" v="21017" actId="1076"/>
          <ac:picMkLst>
            <pc:docMk/>
            <pc:sldMk cId="1629102341" sldId="2142532888"/>
            <ac:picMk id="17" creationId="{D87AD4BC-D624-44C1-9651-CC9440DD0C43}"/>
          </ac:picMkLst>
        </pc:picChg>
        <pc:picChg chg="del">
          <ac:chgData name="Sylvie ROCHE" userId="60404d4e-bbf6-4ef1-963c-527a8dada0a5" providerId="ADAL" clId="{F1E5F0B4-FD2E-47E3-80DC-5894D9BB87F8}" dt="2023-03-07T18:02:46.679" v="20997" actId="478"/>
          <ac:picMkLst>
            <pc:docMk/>
            <pc:sldMk cId="1629102341" sldId="2142532888"/>
            <ac:picMk id="37" creationId="{9B04B0B4-9473-67F8-6877-9F861879DD6B}"/>
          </ac:picMkLst>
        </pc:picChg>
        <pc:picChg chg="del">
          <ac:chgData name="Sylvie ROCHE" userId="60404d4e-bbf6-4ef1-963c-527a8dada0a5" providerId="ADAL" clId="{F1E5F0B4-FD2E-47E3-80DC-5894D9BB87F8}" dt="2023-03-07T18:02:46.679" v="20997" actId="478"/>
          <ac:picMkLst>
            <pc:docMk/>
            <pc:sldMk cId="1629102341" sldId="2142532888"/>
            <ac:picMk id="119" creationId="{72B8D1FD-917B-2394-45E6-0B27E1D5B434}"/>
          </ac:picMkLst>
        </pc:picChg>
        <pc:picChg chg="del">
          <ac:chgData name="Sylvie ROCHE" userId="60404d4e-bbf6-4ef1-963c-527a8dada0a5" providerId="ADAL" clId="{F1E5F0B4-FD2E-47E3-80DC-5894D9BB87F8}" dt="2023-03-07T18:02:46.679" v="20997" actId="478"/>
          <ac:picMkLst>
            <pc:docMk/>
            <pc:sldMk cId="1629102341" sldId="2142532888"/>
            <ac:picMk id="292" creationId="{99CFAE98-4748-4E13-ABE4-84CF06CCCBA7}"/>
          </ac:picMkLst>
        </pc:picChg>
        <pc:picChg chg="del">
          <ac:chgData name="Sylvie ROCHE" userId="60404d4e-bbf6-4ef1-963c-527a8dada0a5" providerId="ADAL" clId="{F1E5F0B4-FD2E-47E3-80DC-5894D9BB87F8}" dt="2023-03-07T18:02:46.679" v="20997" actId="478"/>
          <ac:picMkLst>
            <pc:docMk/>
            <pc:sldMk cId="1629102341" sldId="2142532888"/>
            <ac:picMk id="1026" creationId="{8E26C8F2-2297-4BDD-98FC-910101DD5ACC}"/>
          </ac:picMkLst>
        </pc:picChg>
        <pc:picChg chg="del">
          <ac:chgData name="Sylvie ROCHE" userId="60404d4e-bbf6-4ef1-963c-527a8dada0a5" providerId="ADAL" clId="{F1E5F0B4-FD2E-47E3-80DC-5894D9BB87F8}" dt="2023-03-07T18:02:46.679" v="20997" actId="478"/>
          <ac:picMkLst>
            <pc:docMk/>
            <pc:sldMk cId="1629102341" sldId="2142532888"/>
            <ac:picMk id="58372" creationId="{F795FF15-15D0-4016-96A1-6F4526DA26A5}"/>
          </ac:picMkLst>
        </pc:picChg>
        <pc:cxnChg chg="mod">
          <ac:chgData name="Sylvie ROCHE" userId="60404d4e-bbf6-4ef1-963c-527a8dada0a5" providerId="ADAL" clId="{F1E5F0B4-FD2E-47E3-80DC-5894D9BB87F8}" dt="2023-03-07T18:02:53.295" v="20998" actId="1076"/>
          <ac:cxnSpMkLst>
            <pc:docMk/>
            <pc:sldMk cId="1629102341" sldId="2142532888"/>
            <ac:cxnSpMk id="116" creationId="{29046A99-EA55-40A3-B88C-FFDA107358D8}"/>
          </ac:cxnSpMkLst>
        </pc:cxnChg>
        <pc:cxnChg chg="del">
          <ac:chgData name="Sylvie ROCHE" userId="60404d4e-bbf6-4ef1-963c-527a8dada0a5" providerId="ADAL" clId="{F1E5F0B4-FD2E-47E3-80DC-5894D9BB87F8}" dt="2023-03-07T18:02:46.679" v="20997" actId="478"/>
          <ac:cxnSpMkLst>
            <pc:docMk/>
            <pc:sldMk cId="1629102341" sldId="2142532888"/>
            <ac:cxnSpMk id="117" creationId="{D64CA3DB-3302-48EC-8CF7-15AA1DC9F69F}"/>
          </ac:cxnSpMkLst>
        </pc:cxnChg>
      </pc:sldChg>
      <pc:sldChg chg="addSp delSp modSp del mod addCm modCm">
        <pc:chgData name="Sylvie ROCHE" userId="60404d4e-bbf6-4ef1-963c-527a8dada0a5" providerId="ADAL" clId="{F1E5F0B4-FD2E-47E3-80DC-5894D9BB87F8}" dt="2023-03-07T15:50:54.983" v="14999" actId="47"/>
        <pc:sldMkLst>
          <pc:docMk/>
          <pc:sldMk cId="696799349" sldId="2145706869"/>
        </pc:sldMkLst>
        <pc:spChg chg="mod">
          <ac:chgData name="Sylvie ROCHE" userId="60404d4e-bbf6-4ef1-963c-527a8dada0a5" providerId="ADAL" clId="{F1E5F0B4-FD2E-47E3-80DC-5894D9BB87F8}" dt="2023-03-02T20:24:28.925" v="8664" actId="20577"/>
          <ac:spMkLst>
            <pc:docMk/>
            <pc:sldMk cId="696799349" sldId="2145706869"/>
            <ac:spMk id="2" creationId="{9C92F45D-384F-4327-A381-C1AA2AB7717E}"/>
          </ac:spMkLst>
        </pc:spChg>
        <pc:spChg chg="mod">
          <ac:chgData name="Sylvie ROCHE" userId="60404d4e-bbf6-4ef1-963c-527a8dada0a5" providerId="ADAL" clId="{F1E5F0B4-FD2E-47E3-80DC-5894D9BB87F8}" dt="2023-03-02T20:10:43.979" v="8164" actId="207"/>
          <ac:spMkLst>
            <pc:docMk/>
            <pc:sldMk cId="696799349" sldId="2145706869"/>
            <ac:spMk id="3" creationId="{C9EC6A81-C5BC-CA49-2FC4-0D599CC53C46}"/>
          </ac:spMkLst>
        </pc:spChg>
        <pc:spChg chg="mod">
          <ac:chgData name="Sylvie ROCHE" userId="60404d4e-bbf6-4ef1-963c-527a8dada0a5" providerId="ADAL" clId="{F1E5F0B4-FD2E-47E3-80DC-5894D9BB87F8}" dt="2023-03-03T08:10:06.742" v="13018" actId="20577"/>
          <ac:spMkLst>
            <pc:docMk/>
            <pc:sldMk cId="696799349" sldId="2145706869"/>
            <ac:spMk id="6" creationId="{B708E912-2978-FB5D-A880-3C238B8B3C83}"/>
          </ac:spMkLst>
        </pc:spChg>
        <pc:spChg chg="mod">
          <ac:chgData name="Sylvie ROCHE" userId="60404d4e-bbf6-4ef1-963c-527a8dada0a5" providerId="ADAL" clId="{F1E5F0B4-FD2E-47E3-80DC-5894D9BB87F8}" dt="2023-03-02T20:11:34.348" v="8173" actId="13926"/>
          <ac:spMkLst>
            <pc:docMk/>
            <pc:sldMk cId="696799349" sldId="2145706869"/>
            <ac:spMk id="35" creationId="{42A95514-8FDD-434C-AA26-07AB8FB7D4E8}"/>
          </ac:spMkLst>
        </pc:spChg>
        <pc:spChg chg="add mod">
          <ac:chgData name="Sylvie ROCHE" userId="60404d4e-bbf6-4ef1-963c-527a8dada0a5" providerId="ADAL" clId="{F1E5F0B4-FD2E-47E3-80DC-5894D9BB87F8}" dt="2023-03-03T08:10:24.702" v="13040" actId="20577"/>
          <ac:spMkLst>
            <pc:docMk/>
            <pc:sldMk cId="696799349" sldId="2145706869"/>
            <ac:spMk id="36" creationId="{D05723DE-204F-6708-8034-747F4A46747B}"/>
          </ac:spMkLst>
        </pc:spChg>
        <pc:spChg chg="mod">
          <ac:chgData name="Sylvie ROCHE" userId="60404d4e-bbf6-4ef1-963c-527a8dada0a5" providerId="ADAL" clId="{F1E5F0B4-FD2E-47E3-80DC-5894D9BB87F8}" dt="2023-03-02T20:11:28.424" v="8171" actId="13926"/>
          <ac:spMkLst>
            <pc:docMk/>
            <pc:sldMk cId="696799349" sldId="2145706869"/>
            <ac:spMk id="37" creationId="{8A2B04B7-4FB4-42F9-BBD6-2D849CF35736}"/>
          </ac:spMkLst>
        </pc:spChg>
        <pc:spChg chg="mod">
          <ac:chgData name="Sylvie ROCHE" userId="60404d4e-bbf6-4ef1-963c-527a8dada0a5" providerId="ADAL" clId="{F1E5F0B4-FD2E-47E3-80DC-5894D9BB87F8}" dt="2023-03-02T20:11:25.491" v="8170" actId="13926"/>
          <ac:spMkLst>
            <pc:docMk/>
            <pc:sldMk cId="696799349" sldId="2145706869"/>
            <ac:spMk id="38" creationId="{C2D3C262-5FFC-4A4F-992A-67589F43BFB3}"/>
          </ac:spMkLst>
        </pc:spChg>
        <pc:spChg chg="mod">
          <ac:chgData name="Sylvie ROCHE" userId="60404d4e-bbf6-4ef1-963c-527a8dada0a5" providerId="ADAL" clId="{F1E5F0B4-FD2E-47E3-80DC-5894D9BB87F8}" dt="2023-03-02T20:12:00.354" v="8177" actId="20577"/>
          <ac:spMkLst>
            <pc:docMk/>
            <pc:sldMk cId="696799349" sldId="2145706869"/>
            <ac:spMk id="39" creationId="{2B273C91-4D45-40F7-884F-0D5E998348F4}"/>
          </ac:spMkLst>
        </pc:spChg>
        <pc:spChg chg="mod">
          <ac:chgData name="Sylvie ROCHE" userId="60404d4e-bbf6-4ef1-963c-527a8dada0a5" providerId="ADAL" clId="{F1E5F0B4-FD2E-47E3-80DC-5894D9BB87F8}" dt="2023-03-02T20:12:05.037" v="8178" actId="20577"/>
          <ac:spMkLst>
            <pc:docMk/>
            <pc:sldMk cId="696799349" sldId="2145706869"/>
            <ac:spMk id="40" creationId="{006AC63E-88E0-44A9-A114-C0352CBA74A2}"/>
          </ac:spMkLst>
        </pc:spChg>
        <pc:spChg chg="mod">
          <ac:chgData name="Sylvie ROCHE" userId="60404d4e-bbf6-4ef1-963c-527a8dada0a5" providerId="ADAL" clId="{F1E5F0B4-FD2E-47E3-80DC-5894D9BB87F8}" dt="2023-03-02T20:12:07.476" v="8179" actId="20577"/>
          <ac:spMkLst>
            <pc:docMk/>
            <pc:sldMk cId="696799349" sldId="2145706869"/>
            <ac:spMk id="41" creationId="{443AF5EC-1289-461F-9158-88D01756C114}"/>
          </ac:spMkLst>
        </pc:spChg>
        <pc:spChg chg="mod">
          <ac:chgData name="Sylvie ROCHE" userId="60404d4e-bbf6-4ef1-963c-527a8dada0a5" providerId="ADAL" clId="{F1E5F0B4-FD2E-47E3-80DC-5894D9BB87F8}" dt="2023-03-02T20:11:31.648" v="8172" actId="13926"/>
          <ac:spMkLst>
            <pc:docMk/>
            <pc:sldMk cId="696799349" sldId="2145706869"/>
            <ac:spMk id="53" creationId="{78B47C2D-A595-42D3-8406-88BFCB7B0AEA}"/>
          </ac:spMkLst>
        </pc:spChg>
        <pc:spChg chg="add mod">
          <ac:chgData name="Sylvie ROCHE" userId="60404d4e-bbf6-4ef1-963c-527a8dada0a5" providerId="ADAL" clId="{F1E5F0B4-FD2E-47E3-80DC-5894D9BB87F8}" dt="2023-03-02T21:53:32.875" v="12800"/>
          <ac:spMkLst>
            <pc:docMk/>
            <pc:sldMk cId="696799349" sldId="2145706869"/>
            <ac:spMk id="55" creationId="{DE677D33-BFA2-871C-9859-90E709F74065}"/>
          </ac:spMkLst>
        </pc:spChg>
        <pc:spChg chg="mod">
          <ac:chgData name="Sylvie ROCHE" userId="60404d4e-bbf6-4ef1-963c-527a8dada0a5" providerId="ADAL" clId="{F1E5F0B4-FD2E-47E3-80DC-5894D9BB87F8}" dt="2023-03-03T08:10:34.087" v="13065" actId="20577"/>
          <ac:spMkLst>
            <pc:docMk/>
            <pc:sldMk cId="696799349" sldId="2145706869"/>
            <ac:spMk id="76" creationId="{F4B88CFC-6C67-4759-9836-5AD65D9C6E23}"/>
          </ac:spMkLst>
        </pc:spChg>
        <pc:picChg chg="del mod">
          <ac:chgData name="Sylvie ROCHE" userId="60404d4e-bbf6-4ef1-963c-527a8dada0a5" providerId="ADAL" clId="{F1E5F0B4-FD2E-47E3-80DC-5894D9BB87F8}" dt="2023-03-07T14:19:33.733" v="13409" actId="478"/>
          <ac:picMkLst>
            <pc:docMk/>
            <pc:sldMk cId="696799349" sldId="2145706869"/>
            <ac:picMk id="5" creationId="{3D53FBC8-A5F0-0E5D-E973-83CE926230DC}"/>
          </ac:picMkLst>
        </pc:picChg>
        <pc:cxnChg chg="add mod">
          <ac:chgData name="Sylvie ROCHE" userId="60404d4e-bbf6-4ef1-963c-527a8dada0a5" providerId="ADAL" clId="{F1E5F0B4-FD2E-47E3-80DC-5894D9BB87F8}" dt="2023-03-02T20:13:10.276" v="8199" actId="1035"/>
          <ac:cxnSpMkLst>
            <pc:docMk/>
            <pc:sldMk cId="696799349" sldId="2145706869"/>
            <ac:cxnSpMk id="4" creationId="{5954BBC4-3AFF-8EDE-AD9A-5EAB394B0B4E}"/>
          </ac:cxnSpMkLst>
        </pc:cxnChg>
        <pc:cxnChg chg="mod">
          <ac:chgData name="Sylvie ROCHE" userId="60404d4e-bbf6-4ef1-963c-527a8dada0a5" providerId="ADAL" clId="{F1E5F0B4-FD2E-47E3-80DC-5894D9BB87F8}" dt="2023-03-02T20:13:22.685" v="8200" actId="14100"/>
          <ac:cxnSpMkLst>
            <pc:docMk/>
            <pc:sldMk cId="696799349" sldId="2145706869"/>
            <ac:cxnSpMk id="67" creationId="{890A0D41-D4A2-4108-8043-A3BC57E38A45}"/>
          </ac:cxnSpMkLst>
        </pc:cxnChg>
        <pc:cxnChg chg="mod">
          <ac:chgData name="Sylvie ROCHE" userId="60404d4e-bbf6-4ef1-963c-527a8dada0a5" providerId="ADAL" clId="{F1E5F0B4-FD2E-47E3-80DC-5894D9BB87F8}" dt="2023-03-02T20:13:10.276" v="8199" actId="1035"/>
          <ac:cxnSpMkLst>
            <pc:docMk/>
            <pc:sldMk cId="696799349" sldId="2145706869"/>
            <ac:cxnSpMk id="68" creationId="{EF56E103-21E0-4333-A0F7-9F69A0AF0BC3}"/>
          </ac:cxnSpMkLst>
        </pc:cxnChg>
        <pc:cxnChg chg="mod">
          <ac:chgData name="Sylvie ROCHE" userId="60404d4e-bbf6-4ef1-963c-527a8dada0a5" providerId="ADAL" clId="{F1E5F0B4-FD2E-47E3-80DC-5894D9BB87F8}" dt="2023-03-02T20:13:25.646" v="8201" actId="14100"/>
          <ac:cxnSpMkLst>
            <pc:docMk/>
            <pc:sldMk cId="696799349" sldId="2145706869"/>
            <ac:cxnSpMk id="73" creationId="{52C88639-5447-4654-843E-923AD07A63DE}"/>
          </ac:cxnSpMkLst>
        </pc:cxnChg>
        <pc:extLst>
          <p:ext xmlns:p="http://schemas.openxmlformats.org/presentationml/2006/main" uri="{D6D511B9-2390-475A-947B-AFAB55BFBCF1}">
            <pc226:cmChg xmlns:pc226="http://schemas.microsoft.com/office/powerpoint/2022/06/main/command" chg="add">
              <pc226:chgData name="Sylvie ROCHE" userId="60404d4e-bbf6-4ef1-963c-527a8dada0a5" providerId="ADAL" clId="{F1E5F0B4-FD2E-47E3-80DC-5894D9BB87F8}" dt="2023-03-03T08:12:52.938" v="13067"/>
              <pc2:cmMkLst xmlns:pc2="http://schemas.microsoft.com/office/powerpoint/2019/9/main/command">
                <pc:docMk/>
                <pc:sldMk cId="696799349" sldId="2145706869"/>
                <pc2:cmMk id="{4F3613F7-334A-4293-AE00-EDC89C489B79}"/>
              </pc2:cmMkLst>
              <pc226:cmRplyChg chg="add">
                <pc226:chgData name="Sylvie ROCHE" userId="60404d4e-bbf6-4ef1-963c-527a8dada0a5" providerId="ADAL" clId="{F1E5F0B4-FD2E-47E3-80DC-5894D9BB87F8}" dt="2023-03-03T08:12:52.938" v="13067"/>
                <pc2:cmRplyMkLst xmlns:pc2="http://schemas.microsoft.com/office/powerpoint/2019/9/main/command">
                  <pc:docMk/>
                  <pc:sldMk cId="696799349" sldId="2145706869"/>
                  <pc2:cmMk id="{4F3613F7-334A-4293-AE00-EDC89C489B79}"/>
                  <pc2:cmRplyMk id="{EFA5E580-8926-4791-AB20-B842E207A59E}"/>
                </pc2:cmRplyMkLst>
              </pc226:cmRplyChg>
            </pc226:cmChg>
          </p:ext>
        </pc:extLst>
      </pc:sldChg>
      <pc:sldChg chg="del">
        <pc:chgData name="Sylvie ROCHE" userId="60404d4e-bbf6-4ef1-963c-527a8dada0a5" providerId="ADAL" clId="{F1E5F0B4-FD2E-47E3-80DC-5894D9BB87F8}" dt="2023-03-07T14:41:49.684" v="13912" actId="2696"/>
        <pc:sldMkLst>
          <pc:docMk/>
          <pc:sldMk cId="2460948628" sldId="2145706870"/>
        </pc:sldMkLst>
      </pc:sldChg>
      <pc:sldChg chg="del mod ord modShow">
        <pc:chgData name="Sylvie ROCHE" userId="60404d4e-bbf6-4ef1-963c-527a8dada0a5" providerId="ADAL" clId="{F1E5F0B4-FD2E-47E3-80DC-5894D9BB87F8}" dt="2023-03-07T14:41:19.541" v="13911" actId="2696"/>
        <pc:sldMkLst>
          <pc:docMk/>
          <pc:sldMk cId="1458308701" sldId="2147469776"/>
        </pc:sldMkLst>
      </pc:sldChg>
      <pc:sldChg chg="modSp mod">
        <pc:chgData name="Sylvie ROCHE" userId="60404d4e-bbf6-4ef1-963c-527a8dada0a5" providerId="ADAL" clId="{F1E5F0B4-FD2E-47E3-80DC-5894D9BB87F8}" dt="2023-03-01T21:43:42.186" v="5650" actId="20577"/>
        <pc:sldMkLst>
          <pc:docMk/>
          <pc:sldMk cId="1985396647" sldId="2147469798"/>
        </pc:sldMkLst>
        <pc:spChg chg="mod">
          <ac:chgData name="Sylvie ROCHE" userId="60404d4e-bbf6-4ef1-963c-527a8dada0a5" providerId="ADAL" clId="{F1E5F0B4-FD2E-47E3-80DC-5894D9BB87F8}" dt="2023-03-01T21:43:05.345" v="5648" actId="20577"/>
          <ac:spMkLst>
            <pc:docMk/>
            <pc:sldMk cId="1985396647" sldId="2147469798"/>
            <ac:spMk id="4" creationId="{B38E534A-4BFA-B041-C1BB-3E2E2E141A43}"/>
          </ac:spMkLst>
        </pc:spChg>
        <pc:spChg chg="mod">
          <ac:chgData name="Sylvie ROCHE" userId="60404d4e-bbf6-4ef1-963c-527a8dada0a5" providerId="ADAL" clId="{F1E5F0B4-FD2E-47E3-80DC-5894D9BB87F8}" dt="2023-03-01T21:43:42.186" v="5650" actId="20577"/>
          <ac:spMkLst>
            <pc:docMk/>
            <pc:sldMk cId="1985396647" sldId="2147469798"/>
            <ac:spMk id="6" creationId="{EF35A969-8E72-F9E2-E4DF-353E6BF5883F}"/>
          </ac:spMkLst>
        </pc:spChg>
      </pc:sldChg>
      <pc:sldChg chg="addSp modSp add del">
        <pc:chgData name="Sylvie ROCHE" userId="60404d4e-bbf6-4ef1-963c-527a8dada0a5" providerId="ADAL" clId="{F1E5F0B4-FD2E-47E3-80DC-5894D9BB87F8}" dt="2023-03-07T17:46:05.864" v="19385" actId="47"/>
        <pc:sldMkLst>
          <pc:docMk/>
          <pc:sldMk cId="3999266684" sldId="2147469803"/>
        </pc:sldMkLst>
        <pc:spChg chg="add mod">
          <ac:chgData name="Sylvie ROCHE" userId="60404d4e-bbf6-4ef1-963c-527a8dada0a5" providerId="ADAL" clId="{F1E5F0B4-FD2E-47E3-80DC-5894D9BB87F8}" dt="2023-03-07T15:59:34.080" v="15399"/>
          <ac:spMkLst>
            <pc:docMk/>
            <pc:sldMk cId="3999266684" sldId="2147469803"/>
            <ac:spMk id="2" creationId="{CF29E820-4C4D-A52A-D456-EC947CACFA87}"/>
          </ac:spMkLst>
        </pc:spChg>
      </pc:sldChg>
      <pc:sldChg chg="modSp mod">
        <pc:chgData name="Sylvie ROCHE" userId="60404d4e-bbf6-4ef1-963c-527a8dada0a5" providerId="ADAL" clId="{F1E5F0B4-FD2E-47E3-80DC-5894D9BB87F8}" dt="2023-03-07T13:09:14.404" v="13314" actId="14100"/>
        <pc:sldMkLst>
          <pc:docMk/>
          <pc:sldMk cId="41662455" sldId="2147469804"/>
        </pc:sldMkLst>
        <pc:spChg chg="mod">
          <ac:chgData name="Sylvie ROCHE" userId="60404d4e-bbf6-4ef1-963c-527a8dada0a5" providerId="ADAL" clId="{F1E5F0B4-FD2E-47E3-80DC-5894D9BB87F8}" dt="2023-03-01T21:44:09.331" v="5657" actId="20577"/>
          <ac:spMkLst>
            <pc:docMk/>
            <pc:sldMk cId="41662455" sldId="2147469804"/>
            <ac:spMk id="11" creationId="{8159CABA-9735-4133-82FC-81C28BB0336F}"/>
          </ac:spMkLst>
        </pc:spChg>
        <pc:spChg chg="mod">
          <ac:chgData name="Sylvie ROCHE" userId="60404d4e-bbf6-4ef1-963c-527a8dada0a5" providerId="ADAL" clId="{F1E5F0B4-FD2E-47E3-80DC-5894D9BB87F8}" dt="2023-03-07T13:09:14.404" v="13314" actId="14100"/>
          <ac:spMkLst>
            <pc:docMk/>
            <pc:sldMk cId="41662455" sldId="2147469804"/>
            <ac:spMk id="21" creationId="{187C6CEF-58D0-4C02-8541-B88C48C766BA}"/>
          </ac:spMkLst>
        </pc:spChg>
      </pc:sldChg>
      <pc:sldChg chg="addSp delSp modSp add mod ord delCm">
        <pc:chgData name="Sylvie ROCHE" userId="60404d4e-bbf6-4ef1-963c-527a8dada0a5" providerId="ADAL" clId="{F1E5F0B4-FD2E-47E3-80DC-5894D9BB87F8}" dt="2023-03-07T17:59:24.787" v="20992" actId="20577"/>
        <pc:sldMkLst>
          <pc:docMk/>
          <pc:sldMk cId="1946307945" sldId="2147469814"/>
        </pc:sldMkLst>
        <pc:spChg chg="mod">
          <ac:chgData name="Sylvie ROCHE" userId="60404d4e-bbf6-4ef1-963c-527a8dada0a5" providerId="ADAL" clId="{F1E5F0B4-FD2E-47E3-80DC-5894D9BB87F8}" dt="2023-03-07T14:39:27.893" v="13898" actId="108"/>
          <ac:spMkLst>
            <pc:docMk/>
            <pc:sldMk cId="1946307945" sldId="2147469814"/>
            <ac:spMk id="2" creationId="{26FE86CE-D796-92B4-487A-BCCC0D40C12E}"/>
          </ac:spMkLst>
        </pc:spChg>
        <pc:spChg chg="mod">
          <ac:chgData name="Sylvie ROCHE" userId="60404d4e-bbf6-4ef1-963c-527a8dada0a5" providerId="ADAL" clId="{F1E5F0B4-FD2E-47E3-80DC-5894D9BB87F8}" dt="2023-03-07T17:59:24.787" v="20992" actId="20577"/>
          <ac:spMkLst>
            <pc:docMk/>
            <pc:sldMk cId="1946307945" sldId="2147469814"/>
            <ac:spMk id="4" creationId="{15DD90F7-F451-510E-DC3C-3935270A7118}"/>
          </ac:spMkLst>
        </pc:spChg>
        <pc:spChg chg="mod">
          <ac:chgData name="Sylvie ROCHE" userId="60404d4e-bbf6-4ef1-963c-527a8dada0a5" providerId="ADAL" clId="{F1E5F0B4-FD2E-47E3-80DC-5894D9BB87F8}" dt="2023-03-07T17:51:30.404" v="20232" actId="1035"/>
          <ac:spMkLst>
            <pc:docMk/>
            <pc:sldMk cId="1946307945" sldId="2147469814"/>
            <ac:spMk id="6" creationId="{5C4F8E70-E6D1-E0EA-856E-1A1F458B1CDD}"/>
          </ac:spMkLst>
        </pc:spChg>
        <pc:spChg chg="add del mod">
          <ac:chgData name="Sylvie ROCHE" userId="60404d4e-bbf6-4ef1-963c-527a8dada0a5" providerId="ADAL" clId="{F1E5F0B4-FD2E-47E3-80DC-5894D9BB87F8}" dt="2023-03-07T17:49:25.257" v="19877" actId="478"/>
          <ac:spMkLst>
            <pc:docMk/>
            <pc:sldMk cId="1946307945" sldId="2147469814"/>
            <ac:spMk id="7" creationId="{A263BA98-D38F-95E1-05B0-BBD06D1C3803}"/>
          </ac:spMkLst>
        </pc:spChg>
        <pc:spChg chg="add del mod">
          <ac:chgData name="Sylvie ROCHE" userId="60404d4e-bbf6-4ef1-963c-527a8dada0a5" providerId="ADAL" clId="{F1E5F0B4-FD2E-47E3-80DC-5894D9BB87F8}" dt="2023-03-02T21:10:53.955" v="10549" actId="478"/>
          <ac:spMkLst>
            <pc:docMk/>
            <pc:sldMk cId="1946307945" sldId="2147469814"/>
            <ac:spMk id="7" creationId="{DF9DE3E4-BF60-72C7-E52F-120EC2E3F712}"/>
          </ac:spMkLst>
        </pc:spChg>
        <pc:spChg chg="mod">
          <ac:chgData name="Sylvie ROCHE" userId="60404d4e-bbf6-4ef1-963c-527a8dada0a5" providerId="ADAL" clId="{F1E5F0B4-FD2E-47E3-80DC-5894D9BB87F8}" dt="2023-03-07T17:51:30.404" v="20232" actId="1035"/>
          <ac:spMkLst>
            <pc:docMk/>
            <pc:sldMk cId="1946307945" sldId="2147469814"/>
            <ac:spMk id="8" creationId="{02DAB6A1-D026-D451-EB2C-75643147F2BC}"/>
          </ac:spMkLst>
        </pc:spChg>
        <pc:spChg chg="mod">
          <ac:chgData name="Sylvie ROCHE" userId="60404d4e-bbf6-4ef1-963c-527a8dada0a5" providerId="ADAL" clId="{F1E5F0B4-FD2E-47E3-80DC-5894D9BB87F8}" dt="2023-03-07T17:55:32.498" v="20661" actId="1035"/>
          <ac:spMkLst>
            <pc:docMk/>
            <pc:sldMk cId="1946307945" sldId="2147469814"/>
            <ac:spMk id="9" creationId="{ED65A0BA-C8F8-1E43-E4C3-0F1CAB6297C4}"/>
          </ac:spMkLst>
        </pc:spChg>
        <pc:spChg chg="mod">
          <ac:chgData name="Sylvie ROCHE" userId="60404d4e-bbf6-4ef1-963c-527a8dada0a5" providerId="ADAL" clId="{F1E5F0B4-FD2E-47E3-80DC-5894D9BB87F8}" dt="2023-03-07T17:55:31.116" v="20659" actId="1035"/>
          <ac:spMkLst>
            <pc:docMk/>
            <pc:sldMk cId="1946307945" sldId="2147469814"/>
            <ac:spMk id="10" creationId="{C85AAFC8-045B-02F1-5FA7-0B2F8C3EB371}"/>
          </ac:spMkLst>
        </pc:spChg>
        <pc:spChg chg="mod">
          <ac:chgData name="Sylvie ROCHE" userId="60404d4e-bbf6-4ef1-963c-527a8dada0a5" providerId="ADAL" clId="{F1E5F0B4-FD2E-47E3-80DC-5894D9BB87F8}" dt="2023-03-07T17:55:29.452" v="20657" actId="1035"/>
          <ac:spMkLst>
            <pc:docMk/>
            <pc:sldMk cId="1946307945" sldId="2147469814"/>
            <ac:spMk id="11" creationId="{AF7C7458-5737-11A4-8D8E-9B9FA411B313}"/>
          </ac:spMkLst>
        </pc:spChg>
        <pc:spChg chg="mod">
          <ac:chgData name="Sylvie ROCHE" userId="60404d4e-bbf6-4ef1-963c-527a8dada0a5" providerId="ADAL" clId="{F1E5F0B4-FD2E-47E3-80DC-5894D9BB87F8}" dt="2023-03-07T17:55:27.885" v="20655" actId="1035"/>
          <ac:spMkLst>
            <pc:docMk/>
            <pc:sldMk cId="1946307945" sldId="2147469814"/>
            <ac:spMk id="12" creationId="{6BA7DB66-CBE9-5AD8-2838-C095C4BB2EB3}"/>
          </ac:spMkLst>
        </pc:spChg>
        <pc:spChg chg="add del mod">
          <ac:chgData name="Sylvie ROCHE" userId="60404d4e-bbf6-4ef1-963c-527a8dada0a5" providerId="ADAL" clId="{F1E5F0B4-FD2E-47E3-80DC-5894D9BB87F8}" dt="2023-03-07T17:48:22.492" v="19806" actId="478"/>
          <ac:spMkLst>
            <pc:docMk/>
            <pc:sldMk cId="1946307945" sldId="2147469814"/>
            <ac:spMk id="13" creationId="{DB59BE46-4533-EE81-13E7-C241CD139D23}"/>
          </ac:spMkLst>
        </pc:spChg>
        <pc:spChg chg="del mod">
          <ac:chgData name="Sylvie ROCHE" userId="60404d4e-bbf6-4ef1-963c-527a8dada0a5" providerId="ADAL" clId="{F1E5F0B4-FD2E-47E3-80DC-5894D9BB87F8}" dt="2023-03-02T21:10:50.440" v="10548" actId="478"/>
          <ac:spMkLst>
            <pc:docMk/>
            <pc:sldMk cId="1946307945" sldId="2147469814"/>
            <ac:spMk id="13" creationId="{E4B846B2-6F0F-0F4F-3ABA-3A0AE56C9200}"/>
          </ac:spMkLst>
        </pc:spChg>
        <pc:spChg chg="add del mod">
          <ac:chgData name="Sylvie ROCHE" userId="60404d4e-bbf6-4ef1-963c-527a8dada0a5" providerId="ADAL" clId="{F1E5F0B4-FD2E-47E3-80DC-5894D9BB87F8}" dt="2023-03-07T15:56:20.772" v="15212" actId="478"/>
          <ac:spMkLst>
            <pc:docMk/>
            <pc:sldMk cId="1946307945" sldId="2147469814"/>
            <ac:spMk id="15" creationId="{2A5E4933-F068-2B6B-97E8-296F3E3BEF26}"/>
          </ac:spMkLst>
        </pc:spChg>
        <pc:spChg chg="add mod">
          <ac:chgData name="Sylvie ROCHE" userId="60404d4e-bbf6-4ef1-963c-527a8dada0a5" providerId="ADAL" clId="{F1E5F0B4-FD2E-47E3-80DC-5894D9BB87F8}" dt="2023-03-07T17:59:21.716" v="20991"/>
          <ac:spMkLst>
            <pc:docMk/>
            <pc:sldMk cId="1946307945" sldId="2147469814"/>
            <ac:spMk id="17" creationId="{E33E4C86-016F-D9BE-006C-362E33BEFD29}"/>
          </ac:spMkLst>
        </pc:spChg>
        <pc:spChg chg="add mod">
          <ac:chgData name="Sylvie ROCHE" userId="60404d4e-bbf6-4ef1-963c-527a8dada0a5" providerId="ADAL" clId="{F1E5F0B4-FD2E-47E3-80DC-5894D9BB87F8}" dt="2023-03-07T17:55:24.541" v="20653" actId="404"/>
          <ac:spMkLst>
            <pc:docMk/>
            <pc:sldMk cId="1946307945" sldId="2147469814"/>
            <ac:spMk id="19" creationId="{E64885A3-B9BD-DAFB-5011-117DD36AF717}"/>
          </ac:spMkLst>
        </pc:spChg>
        <pc:spChg chg="add del mod">
          <ac:chgData name="Sylvie ROCHE" userId="60404d4e-bbf6-4ef1-963c-527a8dada0a5" providerId="ADAL" clId="{F1E5F0B4-FD2E-47E3-80DC-5894D9BB87F8}" dt="2023-03-07T17:53:26.910" v="20489" actId="478"/>
          <ac:spMkLst>
            <pc:docMk/>
            <pc:sldMk cId="1946307945" sldId="2147469814"/>
            <ac:spMk id="21" creationId="{F8EDAC32-AA92-00FC-744F-1428249B189D}"/>
          </ac:spMkLst>
        </pc:spChg>
        <pc:spChg chg="add del mod">
          <ac:chgData name="Sylvie ROCHE" userId="60404d4e-bbf6-4ef1-963c-527a8dada0a5" providerId="ADAL" clId="{F1E5F0B4-FD2E-47E3-80DC-5894D9BB87F8}" dt="2023-03-07T17:53:26.910" v="20489" actId="478"/>
          <ac:spMkLst>
            <pc:docMk/>
            <pc:sldMk cId="1946307945" sldId="2147469814"/>
            <ac:spMk id="23" creationId="{009E1B44-65F5-76BC-22BB-1E7B288897EC}"/>
          </ac:spMkLst>
        </pc:spChg>
        <pc:spChg chg="add del mod">
          <ac:chgData name="Sylvie ROCHE" userId="60404d4e-bbf6-4ef1-963c-527a8dada0a5" providerId="ADAL" clId="{F1E5F0B4-FD2E-47E3-80DC-5894D9BB87F8}" dt="2023-03-07T17:53:26.910" v="20489" actId="478"/>
          <ac:spMkLst>
            <pc:docMk/>
            <pc:sldMk cId="1946307945" sldId="2147469814"/>
            <ac:spMk id="25" creationId="{98C1BF00-E088-0089-D977-984720870175}"/>
          </ac:spMkLst>
        </pc:spChg>
        <pc:spChg chg="add del mod">
          <ac:chgData name="Sylvie ROCHE" userId="60404d4e-bbf6-4ef1-963c-527a8dada0a5" providerId="ADAL" clId="{F1E5F0B4-FD2E-47E3-80DC-5894D9BB87F8}" dt="2023-03-02T20:48:10.589" v="9358" actId="478"/>
          <ac:spMkLst>
            <pc:docMk/>
            <pc:sldMk cId="1946307945" sldId="2147469814"/>
            <ac:spMk id="26" creationId="{D0969E43-199F-911A-F16B-F46796A6BCD0}"/>
          </ac:spMkLst>
        </pc:spChg>
        <pc:spChg chg="add del mod">
          <ac:chgData name="Sylvie ROCHE" userId="60404d4e-bbf6-4ef1-963c-527a8dada0a5" providerId="ADAL" clId="{F1E5F0B4-FD2E-47E3-80DC-5894D9BB87F8}" dt="2023-03-07T17:53:26.910" v="20489" actId="478"/>
          <ac:spMkLst>
            <pc:docMk/>
            <pc:sldMk cId="1946307945" sldId="2147469814"/>
            <ac:spMk id="27" creationId="{0CEDDDAC-1FE9-5A81-5DA2-F5282C9025E8}"/>
          </ac:spMkLst>
        </pc:spChg>
        <pc:spChg chg="add del mod">
          <ac:chgData name="Sylvie ROCHE" userId="60404d4e-bbf6-4ef1-963c-527a8dada0a5" providerId="ADAL" clId="{F1E5F0B4-FD2E-47E3-80DC-5894D9BB87F8}" dt="2023-03-07T17:53:26.910" v="20489" actId="478"/>
          <ac:spMkLst>
            <pc:docMk/>
            <pc:sldMk cId="1946307945" sldId="2147469814"/>
            <ac:spMk id="28" creationId="{212FC9C6-337E-7AAA-5315-A73FD85868F1}"/>
          </ac:spMkLst>
        </pc:spChg>
        <pc:spChg chg="add del mod">
          <ac:chgData name="Sylvie ROCHE" userId="60404d4e-bbf6-4ef1-963c-527a8dada0a5" providerId="ADAL" clId="{F1E5F0B4-FD2E-47E3-80DC-5894D9BB87F8}" dt="2023-03-07T17:53:26.910" v="20489" actId="478"/>
          <ac:spMkLst>
            <pc:docMk/>
            <pc:sldMk cId="1946307945" sldId="2147469814"/>
            <ac:spMk id="29" creationId="{AA939E23-F3CD-0537-E2C5-0D426EC89CF5}"/>
          </ac:spMkLst>
        </pc:spChg>
        <pc:spChg chg="add del mod">
          <ac:chgData name="Sylvie ROCHE" userId="60404d4e-bbf6-4ef1-963c-527a8dada0a5" providerId="ADAL" clId="{F1E5F0B4-FD2E-47E3-80DC-5894D9BB87F8}" dt="2023-03-07T14:20:21.458" v="13438" actId="478"/>
          <ac:spMkLst>
            <pc:docMk/>
            <pc:sldMk cId="1946307945" sldId="2147469814"/>
            <ac:spMk id="30" creationId="{172E382E-6E20-D73C-E570-A0955CAED560}"/>
          </ac:spMkLst>
        </pc:spChg>
        <pc:graphicFrameChg chg="mod modGraphic">
          <ac:chgData name="Sylvie ROCHE" userId="60404d4e-bbf6-4ef1-963c-527a8dada0a5" providerId="ADAL" clId="{F1E5F0B4-FD2E-47E3-80DC-5894D9BB87F8}" dt="2023-03-07T17:59:13.030" v="20990" actId="313"/>
          <ac:graphicFrameMkLst>
            <pc:docMk/>
            <pc:sldMk cId="1946307945" sldId="2147469814"/>
            <ac:graphicFrameMk id="3" creationId="{81992096-3CCB-79FC-B948-7A4A1C42BBD8}"/>
          </ac:graphicFrameMkLst>
        </pc:graphicFrameChg>
        <pc:graphicFrameChg chg="mod modGraphic">
          <ac:chgData name="Sylvie ROCHE" userId="60404d4e-bbf6-4ef1-963c-527a8dada0a5" providerId="ADAL" clId="{F1E5F0B4-FD2E-47E3-80DC-5894D9BB87F8}" dt="2023-03-07T17:51:47.246" v="20233" actId="14100"/>
          <ac:graphicFrameMkLst>
            <pc:docMk/>
            <pc:sldMk cId="1946307945" sldId="2147469814"/>
            <ac:graphicFrameMk id="5" creationId="{B9B1D6E0-DD50-8430-A71B-3AFD3F68ECC5}"/>
          </ac:graphicFrameMkLst>
        </pc:graphicFrameChg>
        <pc:picChg chg="del">
          <ac:chgData name="Sylvie ROCHE" userId="60404d4e-bbf6-4ef1-963c-527a8dada0a5" providerId="ADAL" clId="{F1E5F0B4-FD2E-47E3-80DC-5894D9BB87F8}" dt="2023-03-07T17:51:18.276" v="20206" actId="478"/>
          <ac:picMkLst>
            <pc:docMk/>
            <pc:sldMk cId="1946307945" sldId="2147469814"/>
            <ac:picMk id="14" creationId="{7413F316-C647-83DB-85A9-B0303E92222C}"/>
          </ac:picMkLst>
        </pc:picChg>
        <pc:picChg chg="del">
          <ac:chgData name="Sylvie ROCHE" userId="60404d4e-bbf6-4ef1-963c-527a8dada0a5" providerId="ADAL" clId="{F1E5F0B4-FD2E-47E3-80DC-5894D9BB87F8}" dt="2023-03-07T17:51:18.276" v="20206" actId="478"/>
          <ac:picMkLst>
            <pc:docMk/>
            <pc:sldMk cId="1946307945" sldId="2147469814"/>
            <ac:picMk id="16" creationId="{A69F0F35-2657-776F-167E-81DCEEDD8E97}"/>
          </ac:picMkLst>
        </pc:picChg>
        <pc:picChg chg="del">
          <ac:chgData name="Sylvie ROCHE" userId="60404d4e-bbf6-4ef1-963c-527a8dada0a5" providerId="ADAL" clId="{F1E5F0B4-FD2E-47E3-80DC-5894D9BB87F8}" dt="2023-03-07T17:51:18.276" v="20206" actId="478"/>
          <ac:picMkLst>
            <pc:docMk/>
            <pc:sldMk cId="1946307945" sldId="2147469814"/>
            <ac:picMk id="18" creationId="{0E4790D8-AEC0-0C6B-FFC2-72DB90D6AA06}"/>
          </ac:picMkLst>
        </pc:picChg>
        <pc:picChg chg="del">
          <ac:chgData name="Sylvie ROCHE" userId="60404d4e-bbf6-4ef1-963c-527a8dada0a5" providerId="ADAL" clId="{F1E5F0B4-FD2E-47E3-80DC-5894D9BB87F8}" dt="2023-03-07T17:51:18.276" v="20206" actId="478"/>
          <ac:picMkLst>
            <pc:docMk/>
            <pc:sldMk cId="1946307945" sldId="2147469814"/>
            <ac:picMk id="20" creationId="{9781B637-EC31-9CE4-3F79-12C2E8252FB0}"/>
          </ac:picMkLst>
        </pc:picChg>
        <pc:picChg chg="del mod">
          <ac:chgData name="Sylvie ROCHE" userId="60404d4e-bbf6-4ef1-963c-527a8dada0a5" providerId="ADAL" clId="{F1E5F0B4-FD2E-47E3-80DC-5894D9BB87F8}" dt="2023-03-07T17:51:18.276" v="20206" actId="478"/>
          <ac:picMkLst>
            <pc:docMk/>
            <pc:sldMk cId="1946307945" sldId="2147469814"/>
            <ac:picMk id="22" creationId="{D4450E68-ADE2-1B76-C19C-4FEF4A4FBC37}"/>
          </ac:picMkLst>
        </pc:picChg>
        <pc:picChg chg="del">
          <ac:chgData name="Sylvie ROCHE" userId="60404d4e-bbf6-4ef1-963c-527a8dada0a5" providerId="ADAL" clId="{F1E5F0B4-FD2E-47E3-80DC-5894D9BB87F8}" dt="2023-03-07T17:51:18.276" v="20206" actId="478"/>
          <ac:picMkLst>
            <pc:docMk/>
            <pc:sldMk cId="1946307945" sldId="2147469814"/>
            <ac:picMk id="24" creationId="{4C9DFD62-E5B1-24BE-17E7-C0D06D735FCC}"/>
          </ac:picMkLst>
        </pc:picChg>
        <pc:extLst>
          <p:ext xmlns:p="http://schemas.openxmlformats.org/presentationml/2006/main" uri="{D6D511B9-2390-475A-947B-AFAB55BFBCF1}">
            <pc226:cmChg xmlns:pc226="http://schemas.microsoft.com/office/powerpoint/2022/06/main/command" chg="del">
              <pc226:chgData name="Sylvie ROCHE" userId="60404d4e-bbf6-4ef1-963c-527a8dada0a5" providerId="ADAL" clId="{F1E5F0B4-FD2E-47E3-80DC-5894D9BB87F8}" dt="2023-03-01T22:28:06.992" v="6075"/>
              <pc2:cmMkLst xmlns:pc2="http://schemas.microsoft.com/office/powerpoint/2019/9/main/command">
                <pc:docMk/>
                <pc:sldMk cId="1946307945" sldId="2147469814"/>
                <pc2:cmMk id="{00BDFAA3-8538-4F68-8611-F5384CCCCA6F}"/>
              </pc2:cmMkLst>
            </pc226:cmChg>
          </p:ext>
        </pc:extLst>
      </pc:sldChg>
      <pc:sldChg chg="modSp del mod modShow">
        <pc:chgData name="Sylvie ROCHE" userId="60404d4e-bbf6-4ef1-963c-527a8dada0a5" providerId="ADAL" clId="{F1E5F0B4-FD2E-47E3-80DC-5894D9BB87F8}" dt="2023-03-03T17:17:26.044" v="13296" actId="47"/>
        <pc:sldMkLst>
          <pc:docMk/>
          <pc:sldMk cId="3405077761" sldId="2147469832"/>
        </pc:sldMkLst>
        <pc:spChg chg="mod">
          <ac:chgData name="Sylvie ROCHE" userId="60404d4e-bbf6-4ef1-963c-527a8dada0a5" providerId="ADAL" clId="{F1E5F0B4-FD2E-47E3-80DC-5894D9BB87F8}" dt="2023-03-02T21:05:58.686" v="10241" actId="1076"/>
          <ac:spMkLst>
            <pc:docMk/>
            <pc:sldMk cId="3405077761" sldId="2147469832"/>
            <ac:spMk id="3" creationId="{102066CA-0422-3F43-2607-554E3C3CDDD6}"/>
          </ac:spMkLst>
        </pc:spChg>
      </pc:sldChg>
      <pc:sldChg chg="addSp modSp">
        <pc:chgData name="Sylvie ROCHE" userId="60404d4e-bbf6-4ef1-963c-527a8dada0a5" providerId="ADAL" clId="{F1E5F0B4-FD2E-47E3-80DC-5894D9BB87F8}" dt="2023-02-28T14:58:07.429" v="2"/>
        <pc:sldMkLst>
          <pc:docMk/>
          <pc:sldMk cId="3958617290" sldId="2147469834"/>
        </pc:sldMkLst>
        <pc:spChg chg="add mod">
          <ac:chgData name="Sylvie ROCHE" userId="60404d4e-bbf6-4ef1-963c-527a8dada0a5" providerId="ADAL" clId="{F1E5F0B4-FD2E-47E3-80DC-5894D9BB87F8}" dt="2023-02-28T14:58:07.429" v="2"/>
          <ac:spMkLst>
            <pc:docMk/>
            <pc:sldMk cId="3958617290" sldId="2147469834"/>
            <ac:spMk id="4" creationId="{64BE347D-8DA0-FB26-F446-D0C20A072417}"/>
          </ac:spMkLst>
        </pc:spChg>
      </pc:sldChg>
      <pc:sldChg chg="modSp mod">
        <pc:chgData name="Sylvie ROCHE" userId="60404d4e-bbf6-4ef1-963c-527a8dada0a5" providerId="ADAL" clId="{F1E5F0B4-FD2E-47E3-80DC-5894D9BB87F8}" dt="2023-03-07T14:39:02.733" v="13894" actId="1076"/>
        <pc:sldMkLst>
          <pc:docMk/>
          <pc:sldMk cId="326061754" sldId="2147469843"/>
        </pc:sldMkLst>
        <pc:spChg chg="mod">
          <ac:chgData name="Sylvie ROCHE" userId="60404d4e-bbf6-4ef1-963c-527a8dada0a5" providerId="ADAL" clId="{F1E5F0B4-FD2E-47E3-80DC-5894D9BB87F8}" dt="2023-03-07T14:39:02.733" v="13894" actId="1076"/>
          <ac:spMkLst>
            <pc:docMk/>
            <pc:sldMk cId="326061754" sldId="2147469843"/>
            <ac:spMk id="6" creationId="{8A88337F-C6B5-43D7-BAFD-2A01BE57E6CF}"/>
          </ac:spMkLst>
        </pc:spChg>
      </pc:sldChg>
      <pc:sldChg chg="addSp delSp modSp add del mod ord addCm">
        <pc:chgData name="Sylvie ROCHE" userId="60404d4e-bbf6-4ef1-963c-527a8dada0a5" providerId="ADAL" clId="{F1E5F0B4-FD2E-47E3-80DC-5894D9BB87F8}" dt="2023-03-07T14:41:19.541" v="13911" actId="2696"/>
        <pc:sldMkLst>
          <pc:docMk/>
          <pc:sldMk cId="4185517883" sldId="2147469859"/>
        </pc:sldMkLst>
        <pc:spChg chg="mod">
          <ac:chgData name="Sylvie ROCHE" userId="60404d4e-bbf6-4ef1-963c-527a8dada0a5" providerId="ADAL" clId="{F1E5F0B4-FD2E-47E3-80DC-5894D9BB87F8}" dt="2023-03-01T22:33:21.472" v="6148"/>
          <ac:spMkLst>
            <pc:docMk/>
            <pc:sldMk cId="4185517883" sldId="2147469859"/>
            <ac:spMk id="2" creationId="{7E979A45-D23D-F18D-7FE5-28AA71C04928}"/>
          </ac:spMkLst>
        </pc:spChg>
        <pc:spChg chg="mod">
          <ac:chgData name="Sylvie ROCHE" userId="60404d4e-bbf6-4ef1-963c-527a8dada0a5" providerId="ADAL" clId="{F1E5F0B4-FD2E-47E3-80DC-5894D9BB87F8}" dt="2023-03-02T21:35:39.383" v="12044" actId="14100"/>
          <ac:spMkLst>
            <pc:docMk/>
            <pc:sldMk cId="4185517883" sldId="2147469859"/>
            <ac:spMk id="3" creationId="{0371E08F-2029-426C-1482-951A3C959600}"/>
          </ac:spMkLst>
        </pc:spChg>
        <pc:spChg chg="add mod">
          <ac:chgData name="Sylvie ROCHE" userId="60404d4e-bbf6-4ef1-963c-527a8dada0a5" providerId="ADAL" clId="{F1E5F0B4-FD2E-47E3-80DC-5894D9BB87F8}" dt="2023-03-03T08:26:17.489" v="13242" actId="20577"/>
          <ac:spMkLst>
            <pc:docMk/>
            <pc:sldMk cId="4185517883" sldId="2147469859"/>
            <ac:spMk id="13" creationId="{D609EF9F-8C64-EF13-21ED-984110F08EA8}"/>
          </ac:spMkLst>
        </pc:spChg>
        <pc:grpChg chg="del">
          <ac:chgData name="Sylvie ROCHE" userId="60404d4e-bbf6-4ef1-963c-527a8dada0a5" providerId="ADAL" clId="{F1E5F0B4-FD2E-47E3-80DC-5894D9BB87F8}" dt="2023-03-02T21:34:02.872" v="12011" actId="478"/>
          <ac:grpSpMkLst>
            <pc:docMk/>
            <pc:sldMk cId="4185517883" sldId="2147469859"/>
            <ac:grpSpMk id="49" creationId="{951E465B-38F1-29CA-88A8-70C5A4AF18FC}"/>
          </ac:grpSpMkLst>
        </pc:grpChg>
        <pc:extLst>
          <p:ext xmlns:p="http://schemas.openxmlformats.org/presentationml/2006/main" uri="{D6D511B9-2390-475A-947B-AFAB55BFBCF1}">
            <pc226:cmChg xmlns:pc226="http://schemas.microsoft.com/office/powerpoint/2022/06/main/command" chg="add">
              <pc226:chgData name="Sylvie ROCHE" userId="60404d4e-bbf6-4ef1-963c-527a8dada0a5" providerId="ADAL" clId="{F1E5F0B4-FD2E-47E3-80DC-5894D9BB87F8}" dt="2023-03-02T21:35:34.013" v="12043"/>
              <pc2:cmMkLst xmlns:pc2="http://schemas.microsoft.com/office/powerpoint/2019/9/main/command">
                <pc:docMk/>
                <pc:sldMk cId="4185517883" sldId="2147469859"/>
                <pc2:cmMk id="{54481519-5DDD-46AD-B67C-0569BBFDE86B}"/>
              </pc2:cmMkLst>
            </pc226:cmChg>
          </p:ext>
        </pc:extLst>
      </pc:sldChg>
      <pc:sldChg chg="addSp delSp modSp mod addCm delCm modCm">
        <pc:chgData name="Sylvie ROCHE" userId="60404d4e-bbf6-4ef1-963c-527a8dada0a5" providerId="ADAL" clId="{F1E5F0B4-FD2E-47E3-80DC-5894D9BB87F8}" dt="2023-03-07T14:39:57.288" v="13902" actId="108"/>
        <pc:sldMkLst>
          <pc:docMk/>
          <pc:sldMk cId="3013144948" sldId="2147469870"/>
        </pc:sldMkLst>
        <pc:spChg chg="add mod">
          <ac:chgData name="Sylvie ROCHE" userId="60404d4e-bbf6-4ef1-963c-527a8dada0a5" providerId="ADAL" clId="{F1E5F0B4-FD2E-47E3-80DC-5894D9BB87F8}" dt="2023-02-28T14:58:01.142" v="1"/>
          <ac:spMkLst>
            <pc:docMk/>
            <pc:sldMk cId="3013144948" sldId="2147469870"/>
            <ac:spMk id="4" creationId="{454493B7-B2EF-85CA-6174-6956590A24EB}"/>
          </ac:spMkLst>
        </pc:spChg>
        <pc:spChg chg="mod">
          <ac:chgData name="Sylvie ROCHE" userId="60404d4e-bbf6-4ef1-963c-527a8dada0a5" providerId="ADAL" clId="{F1E5F0B4-FD2E-47E3-80DC-5894D9BB87F8}" dt="2023-03-07T14:39:57.288" v="13902" actId="108"/>
          <ac:spMkLst>
            <pc:docMk/>
            <pc:sldMk cId="3013144948" sldId="2147469870"/>
            <ac:spMk id="18" creationId="{FD132F13-E9AF-5C15-F1B7-783F67793B89}"/>
          </ac:spMkLst>
        </pc:spChg>
        <pc:spChg chg="del">
          <ac:chgData name="Sylvie ROCHE" userId="60404d4e-bbf6-4ef1-963c-527a8dada0a5" providerId="ADAL" clId="{F1E5F0B4-FD2E-47E3-80DC-5894D9BB87F8}" dt="2023-03-07T14:18:00.034" v="13399" actId="478"/>
          <ac:spMkLst>
            <pc:docMk/>
            <pc:sldMk cId="3013144948" sldId="2147469870"/>
            <ac:spMk id="19" creationId="{5FC4888C-615A-789C-CC21-D3F79F13CD61}"/>
          </ac:spMkLst>
        </pc:spChg>
        <pc:graphicFrameChg chg="mod modGraphic">
          <ac:chgData name="Sylvie ROCHE" userId="60404d4e-bbf6-4ef1-963c-527a8dada0a5" providerId="ADAL" clId="{F1E5F0B4-FD2E-47E3-80DC-5894D9BB87F8}" dt="2023-03-07T14:16:43.157" v="13386" actId="108"/>
          <ac:graphicFrameMkLst>
            <pc:docMk/>
            <pc:sldMk cId="3013144948" sldId="2147469870"/>
            <ac:graphicFrameMk id="5" creationId="{404A56CB-BEC8-40A7-BE54-3CDF8CFFA74C}"/>
          </ac:graphicFrameMkLst>
        </pc:graphicFrameChg>
        <pc:extLst>
          <p:ext xmlns:p="http://schemas.openxmlformats.org/presentationml/2006/main" uri="{D6D511B9-2390-475A-947B-AFAB55BFBCF1}">
            <pc226:cmChg xmlns:pc226="http://schemas.microsoft.com/office/powerpoint/2022/06/main/command" chg="add del mod">
              <pc226:chgData name="Sylvie ROCHE" userId="60404d4e-bbf6-4ef1-963c-527a8dada0a5" providerId="ADAL" clId="{F1E5F0B4-FD2E-47E3-80DC-5894D9BB87F8}" dt="2023-03-02T17:29:04.060" v="7195"/>
              <pc2:cmMkLst xmlns:pc2="http://schemas.microsoft.com/office/powerpoint/2019/9/main/command">
                <pc:docMk/>
                <pc:sldMk cId="3013144948" sldId="2147469870"/>
                <pc2:cmMk id="{0D6613F1-4AAD-40E7-8595-92203191D326}"/>
              </pc2:cmMkLst>
            </pc226:cmChg>
          </p:ext>
        </pc:extLst>
      </pc:sldChg>
      <pc:sldChg chg="delSp mod">
        <pc:chgData name="Sylvie ROCHE" userId="60404d4e-bbf6-4ef1-963c-527a8dada0a5" providerId="ADAL" clId="{F1E5F0B4-FD2E-47E3-80DC-5894D9BB87F8}" dt="2023-02-28T14:58:12.217" v="3" actId="478"/>
        <pc:sldMkLst>
          <pc:docMk/>
          <pc:sldMk cId="697415066" sldId="2147469877"/>
        </pc:sldMkLst>
        <pc:spChg chg="del">
          <ac:chgData name="Sylvie ROCHE" userId="60404d4e-bbf6-4ef1-963c-527a8dada0a5" providerId="ADAL" clId="{F1E5F0B4-FD2E-47E3-80DC-5894D9BB87F8}" dt="2023-02-28T14:58:12.217" v="3" actId="478"/>
          <ac:spMkLst>
            <pc:docMk/>
            <pc:sldMk cId="697415066" sldId="2147469877"/>
            <ac:spMk id="18" creationId="{C3435A50-3B48-1BEA-11D6-C714E26C8150}"/>
          </ac:spMkLst>
        </pc:spChg>
        <pc:spChg chg="del">
          <ac:chgData name="Sylvie ROCHE" userId="60404d4e-bbf6-4ef1-963c-527a8dada0a5" providerId="ADAL" clId="{F1E5F0B4-FD2E-47E3-80DC-5894D9BB87F8}" dt="2023-02-28T14:57:57.992" v="0" actId="21"/>
          <ac:spMkLst>
            <pc:docMk/>
            <pc:sldMk cId="697415066" sldId="2147469877"/>
            <ac:spMk id="23" creationId="{D4340F3E-EC9D-0B6E-B0C9-AC5A00EC0A9E}"/>
          </ac:spMkLst>
        </pc:spChg>
      </pc:sldChg>
      <pc:sldChg chg="del mod modShow">
        <pc:chgData name="Sylvie ROCHE" userId="60404d4e-bbf6-4ef1-963c-527a8dada0a5" providerId="ADAL" clId="{F1E5F0B4-FD2E-47E3-80DC-5894D9BB87F8}" dt="2023-03-03T17:09:46.214" v="13294" actId="47"/>
        <pc:sldMkLst>
          <pc:docMk/>
          <pc:sldMk cId="1045340878" sldId="2147469879"/>
        </pc:sldMkLst>
      </pc:sldChg>
      <pc:sldChg chg="del mod modShow">
        <pc:chgData name="Sylvie ROCHE" userId="60404d4e-bbf6-4ef1-963c-527a8dada0a5" providerId="ADAL" clId="{F1E5F0B4-FD2E-47E3-80DC-5894D9BB87F8}" dt="2023-03-03T17:17:20.979" v="13295" actId="47"/>
        <pc:sldMkLst>
          <pc:docMk/>
          <pc:sldMk cId="3936089025" sldId="2147469880"/>
        </pc:sldMkLst>
      </pc:sldChg>
      <pc:sldChg chg="modSp del mod ord">
        <pc:chgData name="Sylvie ROCHE" userId="60404d4e-bbf6-4ef1-963c-527a8dada0a5" providerId="ADAL" clId="{F1E5F0B4-FD2E-47E3-80DC-5894D9BB87F8}" dt="2023-03-07T14:42:19.101" v="13913" actId="2696"/>
        <pc:sldMkLst>
          <pc:docMk/>
          <pc:sldMk cId="2287963091" sldId="2147469882"/>
        </pc:sldMkLst>
        <pc:spChg chg="mod">
          <ac:chgData name="Sylvie ROCHE" userId="60404d4e-bbf6-4ef1-963c-527a8dada0a5" providerId="ADAL" clId="{F1E5F0B4-FD2E-47E3-80DC-5894D9BB87F8}" dt="2023-03-01T22:19:10.617" v="5944" actId="14100"/>
          <ac:spMkLst>
            <pc:docMk/>
            <pc:sldMk cId="2287963091" sldId="2147469882"/>
            <ac:spMk id="3" creationId="{B6A3501C-8E4C-8AE8-F27F-4A6A263905D1}"/>
          </ac:spMkLst>
        </pc:spChg>
        <pc:spChg chg="mod">
          <ac:chgData name="Sylvie ROCHE" userId="60404d4e-bbf6-4ef1-963c-527a8dada0a5" providerId="ADAL" clId="{F1E5F0B4-FD2E-47E3-80DC-5894D9BB87F8}" dt="2023-03-02T21:45:08.222" v="12619" actId="20577"/>
          <ac:spMkLst>
            <pc:docMk/>
            <pc:sldMk cId="2287963091" sldId="2147469882"/>
            <ac:spMk id="4" creationId="{4EB500D0-76D6-F3C9-FAEA-74E68483DCC6}"/>
          </ac:spMkLst>
        </pc:spChg>
        <pc:spChg chg="mod">
          <ac:chgData name="Sylvie ROCHE" userId="60404d4e-bbf6-4ef1-963c-527a8dada0a5" providerId="ADAL" clId="{F1E5F0B4-FD2E-47E3-80DC-5894D9BB87F8}" dt="2023-03-02T21:48:38.751" v="12729" actId="20577"/>
          <ac:spMkLst>
            <pc:docMk/>
            <pc:sldMk cId="2287963091" sldId="2147469882"/>
            <ac:spMk id="37" creationId="{69D17FBE-FA95-89CD-AFC6-9C63A23DDB6F}"/>
          </ac:spMkLst>
        </pc:spChg>
        <pc:spChg chg="mod">
          <ac:chgData name="Sylvie ROCHE" userId="60404d4e-bbf6-4ef1-963c-527a8dada0a5" providerId="ADAL" clId="{F1E5F0B4-FD2E-47E3-80DC-5894D9BB87F8}" dt="2023-03-02T21:48:27.712" v="12726" actId="20577"/>
          <ac:spMkLst>
            <pc:docMk/>
            <pc:sldMk cId="2287963091" sldId="2147469882"/>
            <ac:spMk id="58" creationId="{C8F7969A-0F3B-F2F3-391E-173E0DA767DF}"/>
          </ac:spMkLst>
        </pc:spChg>
      </pc:sldChg>
      <pc:sldChg chg="delSp modSp mod">
        <pc:chgData name="Sylvie ROCHE" userId="60404d4e-bbf6-4ef1-963c-527a8dada0a5" providerId="ADAL" clId="{F1E5F0B4-FD2E-47E3-80DC-5894D9BB87F8}" dt="2023-03-07T14:40:03.775" v="13903" actId="108"/>
        <pc:sldMkLst>
          <pc:docMk/>
          <pc:sldMk cId="2809162801" sldId="2147469883"/>
        </pc:sldMkLst>
        <pc:spChg chg="mod">
          <ac:chgData name="Sylvie ROCHE" userId="60404d4e-bbf6-4ef1-963c-527a8dada0a5" providerId="ADAL" clId="{F1E5F0B4-FD2E-47E3-80DC-5894D9BB87F8}" dt="2023-03-07T14:40:03.775" v="13903" actId="108"/>
          <ac:spMkLst>
            <pc:docMk/>
            <pc:sldMk cId="2809162801" sldId="2147469883"/>
            <ac:spMk id="5" creationId="{FB3FF2C0-EF0B-47FD-88D3-D36CBAF5C9D0}"/>
          </ac:spMkLst>
        </pc:spChg>
        <pc:spChg chg="del">
          <ac:chgData name="Sylvie ROCHE" userId="60404d4e-bbf6-4ef1-963c-527a8dada0a5" providerId="ADAL" clId="{F1E5F0B4-FD2E-47E3-80DC-5894D9BB87F8}" dt="2023-03-07T14:17:56.209" v="13398" actId="478"/>
          <ac:spMkLst>
            <pc:docMk/>
            <pc:sldMk cId="2809162801" sldId="2147469883"/>
            <ac:spMk id="10" creationId="{CD55AE63-A5CE-E978-9BBA-3735C5248FD5}"/>
          </ac:spMkLst>
        </pc:spChg>
      </pc:sldChg>
      <pc:sldChg chg="addSp modSp mod modShow addCm">
        <pc:chgData name="Sylvie ROCHE" userId="60404d4e-bbf6-4ef1-963c-527a8dada0a5" providerId="ADAL" clId="{F1E5F0B4-FD2E-47E3-80DC-5894D9BB87F8}" dt="2023-03-07T16:17:53.756" v="15768" actId="729"/>
        <pc:sldMkLst>
          <pc:docMk/>
          <pc:sldMk cId="794980644" sldId="2147469907"/>
        </pc:sldMkLst>
        <pc:spChg chg="add mod">
          <ac:chgData name="Sylvie ROCHE" userId="60404d4e-bbf6-4ef1-963c-527a8dada0a5" providerId="ADAL" clId="{F1E5F0B4-FD2E-47E3-80DC-5894D9BB87F8}" dt="2023-03-07T16:16:47.707" v="15710" actId="14100"/>
          <ac:spMkLst>
            <pc:docMk/>
            <pc:sldMk cId="794980644" sldId="2147469907"/>
            <ac:spMk id="3" creationId="{9FD85F3A-099F-6C5B-28C6-01A7A229F3FC}"/>
          </ac:spMkLst>
        </pc:spChg>
        <pc:spChg chg="mod">
          <ac:chgData name="Sylvie ROCHE" userId="60404d4e-bbf6-4ef1-963c-527a8dada0a5" providerId="ADAL" clId="{F1E5F0B4-FD2E-47E3-80DC-5894D9BB87F8}" dt="2023-03-07T14:51:50.874" v="13918" actId="554"/>
          <ac:spMkLst>
            <pc:docMk/>
            <pc:sldMk cId="794980644" sldId="2147469907"/>
            <ac:spMk id="8" creationId="{1EF462B9-7576-442E-96A8-3F544DAF1738}"/>
          </ac:spMkLst>
        </pc:spChg>
        <pc:spChg chg="mod">
          <ac:chgData name="Sylvie ROCHE" userId="60404d4e-bbf6-4ef1-963c-527a8dada0a5" providerId="ADAL" clId="{F1E5F0B4-FD2E-47E3-80DC-5894D9BB87F8}" dt="2023-03-07T14:51:50.874" v="13918" actId="554"/>
          <ac:spMkLst>
            <pc:docMk/>
            <pc:sldMk cId="794980644" sldId="2147469907"/>
            <ac:spMk id="12" creationId="{96565144-A0FF-4E2B-9AB6-534C906FE573}"/>
          </ac:spMkLst>
        </pc:spChg>
        <pc:spChg chg="mod">
          <ac:chgData name="Sylvie ROCHE" userId="60404d4e-bbf6-4ef1-963c-527a8dada0a5" providerId="ADAL" clId="{F1E5F0B4-FD2E-47E3-80DC-5894D9BB87F8}" dt="2023-03-07T14:51:50.874" v="13918" actId="554"/>
          <ac:spMkLst>
            <pc:docMk/>
            <pc:sldMk cId="794980644" sldId="2147469907"/>
            <ac:spMk id="16" creationId="{CABD472D-CB84-4F38-9A63-95B830C9FC08}"/>
          </ac:spMkLst>
        </pc:spChg>
        <pc:extLst>
          <p:ext xmlns:p="http://schemas.openxmlformats.org/presentationml/2006/main" uri="{D6D511B9-2390-475A-947B-AFAB55BFBCF1}">
            <pc226:cmChg xmlns:pc226="http://schemas.microsoft.com/office/powerpoint/2022/06/main/command" chg="add">
              <pc226:chgData name="Sylvie ROCHE" userId="60404d4e-bbf6-4ef1-963c-527a8dada0a5" providerId="ADAL" clId="{F1E5F0B4-FD2E-47E3-80DC-5894D9BB87F8}" dt="2023-03-07T16:17:07.973" v="15711"/>
              <pc2:cmMkLst xmlns:pc2="http://schemas.microsoft.com/office/powerpoint/2019/9/main/command">
                <pc:docMk/>
                <pc:sldMk cId="794980644" sldId="2147469907"/>
                <pc2:cmMk id="{1C3C05D5-5C63-410D-AF60-7D1A2E4AC7C8}"/>
              </pc2:cmMkLst>
            </pc226:cmChg>
          </p:ext>
        </pc:extLst>
      </pc:sldChg>
      <pc:sldChg chg="addSp delSp modSp mod addCm delCm modCm">
        <pc:chgData name="Sylvie ROCHE" userId="60404d4e-bbf6-4ef1-963c-527a8dada0a5" providerId="ADAL" clId="{F1E5F0B4-FD2E-47E3-80DC-5894D9BB87F8}" dt="2023-03-07T17:16:18.235" v="18482"/>
        <pc:sldMkLst>
          <pc:docMk/>
          <pc:sldMk cId="3144834754" sldId="2147469909"/>
        </pc:sldMkLst>
        <pc:spChg chg="mod">
          <ac:chgData name="Sylvie ROCHE" userId="60404d4e-bbf6-4ef1-963c-527a8dada0a5" providerId="ADAL" clId="{F1E5F0B4-FD2E-47E3-80DC-5894D9BB87F8}" dt="2023-03-07T16:22:13.686" v="15783" actId="20577"/>
          <ac:spMkLst>
            <pc:docMk/>
            <pc:sldMk cId="3144834754" sldId="2147469909"/>
            <ac:spMk id="2" creationId="{815C57AF-169F-4314-AC66-D8269E11F446}"/>
          </ac:spMkLst>
        </pc:spChg>
        <pc:spChg chg="add mod">
          <ac:chgData name="Sylvie ROCHE" userId="60404d4e-bbf6-4ef1-963c-527a8dada0a5" providerId="ADAL" clId="{F1E5F0B4-FD2E-47E3-80DC-5894D9BB87F8}" dt="2023-03-07T16:28:33.371" v="16255" actId="20577"/>
          <ac:spMkLst>
            <pc:docMk/>
            <pc:sldMk cId="3144834754" sldId="2147469909"/>
            <ac:spMk id="3" creationId="{8914145C-665B-F43D-7281-42FA4C72F63B}"/>
          </ac:spMkLst>
        </pc:spChg>
        <pc:spChg chg="add mod">
          <ac:chgData name="Sylvie ROCHE" userId="60404d4e-bbf6-4ef1-963c-527a8dada0a5" providerId="ADAL" clId="{F1E5F0B4-FD2E-47E3-80DC-5894D9BB87F8}" dt="2023-03-07T16:27:44.085" v="16250" actId="20577"/>
          <ac:spMkLst>
            <pc:docMk/>
            <pc:sldMk cId="3144834754" sldId="2147469909"/>
            <ac:spMk id="15" creationId="{08585585-5AA1-221A-F34A-790F49CFB57B}"/>
          </ac:spMkLst>
        </pc:spChg>
        <pc:spChg chg="mod">
          <ac:chgData name="Sylvie ROCHE" userId="60404d4e-bbf6-4ef1-963c-527a8dada0a5" providerId="ADAL" clId="{F1E5F0B4-FD2E-47E3-80DC-5894D9BB87F8}" dt="2023-03-07T16:27:19.739" v="16245" actId="20577"/>
          <ac:spMkLst>
            <pc:docMk/>
            <pc:sldMk cId="3144834754" sldId="2147469909"/>
            <ac:spMk id="18" creationId="{A1E8DA8D-DDA9-9516-4600-D91AAD8CD040}"/>
          </ac:spMkLst>
        </pc:spChg>
        <pc:spChg chg="del mod">
          <ac:chgData name="Sylvie ROCHE" userId="60404d4e-bbf6-4ef1-963c-527a8dada0a5" providerId="ADAL" clId="{F1E5F0B4-FD2E-47E3-80DC-5894D9BB87F8}" dt="2023-03-07T16:26:43.338" v="16148" actId="478"/>
          <ac:spMkLst>
            <pc:docMk/>
            <pc:sldMk cId="3144834754" sldId="2147469909"/>
            <ac:spMk id="19" creationId="{CBD6D245-BF5B-1DC2-AC45-A423A8E00CBE}"/>
          </ac:spMkLst>
        </pc:spChg>
        <pc:spChg chg="mod">
          <ac:chgData name="Sylvie ROCHE" userId="60404d4e-bbf6-4ef1-963c-527a8dada0a5" providerId="ADAL" clId="{F1E5F0B4-FD2E-47E3-80DC-5894D9BB87F8}" dt="2023-03-07T16:15:18.961" v="15524" actId="20577"/>
          <ac:spMkLst>
            <pc:docMk/>
            <pc:sldMk cId="3144834754" sldId="2147469909"/>
            <ac:spMk id="25" creationId="{ED42A14E-AA65-2244-0FAC-744C00CCE5DB}"/>
          </ac:spMkLst>
        </pc:spChg>
        <pc:extLst>
          <p:ext xmlns:p="http://schemas.openxmlformats.org/presentationml/2006/main" uri="{D6D511B9-2390-475A-947B-AFAB55BFBCF1}">
            <pc226:cmChg xmlns:pc226="http://schemas.microsoft.com/office/powerpoint/2022/06/main/command" chg="add del mod">
              <pc226:chgData name="Sylvie ROCHE" userId="60404d4e-bbf6-4ef1-963c-527a8dada0a5" providerId="ADAL" clId="{F1E5F0B4-FD2E-47E3-80DC-5894D9BB87F8}" dt="2023-03-07T17:16:18.235" v="18482"/>
              <pc2:cmMkLst xmlns:pc2="http://schemas.microsoft.com/office/powerpoint/2019/9/main/command">
                <pc:docMk/>
                <pc:sldMk cId="3144834754" sldId="2147469909"/>
                <pc2:cmMk id="{9DDF419F-5686-45F6-9AE3-D219B37BF59B}"/>
              </pc2:cmMkLst>
            </pc226:cmChg>
          </p:ext>
        </pc:extLst>
      </pc:sldChg>
      <pc:sldChg chg="addSp delSp modSp del mod">
        <pc:chgData name="Sylvie ROCHE" userId="60404d4e-bbf6-4ef1-963c-527a8dada0a5" providerId="ADAL" clId="{F1E5F0B4-FD2E-47E3-80DC-5894D9BB87F8}" dt="2023-03-07T16:15:28.198" v="15526" actId="47"/>
        <pc:sldMkLst>
          <pc:docMk/>
          <pc:sldMk cId="975935074" sldId="2147469910"/>
        </pc:sldMkLst>
        <pc:spChg chg="add mod">
          <ac:chgData name="Sylvie ROCHE" userId="60404d4e-bbf6-4ef1-963c-527a8dada0a5" providerId="ADAL" clId="{F1E5F0B4-FD2E-47E3-80DC-5894D9BB87F8}" dt="2023-03-07T15:47:45.059" v="14728" actId="20577"/>
          <ac:spMkLst>
            <pc:docMk/>
            <pc:sldMk cId="975935074" sldId="2147469910"/>
            <ac:spMk id="3" creationId="{8CFA208E-55C0-77E1-F65C-F4C5DAB2AAC5}"/>
          </ac:spMkLst>
        </pc:spChg>
        <pc:spChg chg="add del mod">
          <ac:chgData name="Sylvie ROCHE" userId="60404d4e-bbf6-4ef1-963c-527a8dada0a5" providerId="ADAL" clId="{F1E5F0B4-FD2E-47E3-80DC-5894D9BB87F8}" dt="2023-03-07T16:15:26.293" v="15525" actId="478"/>
          <ac:spMkLst>
            <pc:docMk/>
            <pc:sldMk cId="975935074" sldId="2147469910"/>
            <ac:spMk id="5" creationId="{B29477C6-A05E-8A79-9B0A-212460F4B6B8}"/>
          </ac:spMkLst>
        </pc:spChg>
        <pc:spChg chg="add del mod">
          <ac:chgData name="Sylvie ROCHE" userId="60404d4e-bbf6-4ef1-963c-527a8dada0a5" providerId="ADAL" clId="{F1E5F0B4-FD2E-47E3-80DC-5894D9BB87F8}" dt="2023-03-07T16:15:26.293" v="15525" actId="478"/>
          <ac:spMkLst>
            <pc:docMk/>
            <pc:sldMk cId="975935074" sldId="2147469910"/>
            <ac:spMk id="15" creationId="{4E6987EC-0771-AAE5-C954-67A28959012D}"/>
          </ac:spMkLst>
        </pc:spChg>
      </pc:sldChg>
      <pc:sldChg chg="delSp modSp del mod">
        <pc:chgData name="Sylvie ROCHE" userId="60404d4e-bbf6-4ef1-963c-527a8dada0a5" providerId="ADAL" clId="{F1E5F0B4-FD2E-47E3-80DC-5894D9BB87F8}" dt="2023-03-07T14:42:48.501" v="13914" actId="2696"/>
        <pc:sldMkLst>
          <pc:docMk/>
          <pc:sldMk cId="969046141" sldId="2147469928"/>
        </pc:sldMkLst>
        <pc:spChg chg="del">
          <ac:chgData name="Sylvie ROCHE" userId="60404d4e-bbf6-4ef1-963c-527a8dada0a5" providerId="ADAL" clId="{F1E5F0B4-FD2E-47E3-80DC-5894D9BB87F8}" dt="2023-03-02T21:49:14.723" v="12732" actId="478"/>
          <ac:spMkLst>
            <pc:docMk/>
            <pc:sldMk cId="969046141" sldId="2147469928"/>
            <ac:spMk id="3" creationId="{A13CE5F4-3105-1BF6-BC04-36439C68725D}"/>
          </ac:spMkLst>
        </pc:spChg>
        <pc:spChg chg="del">
          <ac:chgData name="Sylvie ROCHE" userId="60404d4e-bbf6-4ef1-963c-527a8dada0a5" providerId="ADAL" clId="{F1E5F0B4-FD2E-47E3-80DC-5894D9BB87F8}" dt="2023-03-02T21:49:17.158" v="12733" actId="478"/>
          <ac:spMkLst>
            <pc:docMk/>
            <pc:sldMk cId="969046141" sldId="2147469928"/>
            <ac:spMk id="4" creationId="{D64FC195-6AD5-2492-3B44-E7A1EE9DD841}"/>
          </ac:spMkLst>
        </pc:spChg>
        <pc:spChg chg="mod">
          <ac:chgData name="Sylvie ROCHE" userId="60404d4e-bbf6-4ef1-963c-527a8dada0a5" providerId="ADAL" clId="{F1E5F0B4-FD2E-47E3-80DC-5894D9BB87F8}" dt="2023-03-02T21:50:59.188" v="12775" actId="1076"/>
          <ac:spMkLst>
            <pc:docMk/>
            <pc:sldMk cId="969046141" sldId="2147469928"/>
            <ac:spMk id="6" creationId="{E2D43322-F81D-59A6-107F-1EF80DD58EDF}"/>
          </ac:spMkLst>
        </pc:spChg>
        <pc:spChg chg="mod">
          <ac:chgData name="Sylvie ROCHE" userId="60404d4e-bbf6-4ef1-963c-527a8dada0a5" providerId="ADAL" clId="{F1E5F0B4-FD2E-47E3-80DC-5894D9BB87F8}" dt="2023-03-02T21:50:53.705" v="12774" actId="14100"/>
          <ac:spMkLst>
            <pc:docMk/>
            <pc:sldMk cId="969046141" sldId="2147469928"/>
            <ac:spMk id="8" creationId="{E12D9020-D820-4B75-1FDC-3075E80DDFBE}"/>
          </ac:spMkLst>
        </pc:spChg>
        <pc:spChg chg="mod">
          <ac:chgData name="Sylvie ROCHE" userId="60404d4e-bbf6-4ef1-963c-527a8dada0a5" providerId="ADAL" clId="{F1E5F0B4-FD2E-47E3-80DC-5894D9BB87F8}" dt="2023-03-02T21:49:34.601" v="12735" actId="1076"/>
          <ac:spMkLst>
            <pc:docMk/>
            <pc:sldMk cId="969046141" sldId="2147469928"/>
            <ac:spMk id="11" creationId="{8FDF1839-1BCD-0C3D-5CE8-D06A81CFCF3D}"/>
          </ac:spMkLst>
        </pc:spChg>
      </pc:sldChg>
      <pc:sldChg chg="modNotes">
        <pc:chgData name="Sylvie ROCHE" userId="60404d4e-bbf6-4ef1-963c-527a8dada0a5" providerId="ADAL" clId="{F1E5F0B4-FD2E-47E3-80DC-5894D9BB87F8}" dt="2023-03-02T17:35:40.388" v="7320"/>
        <pc:sldMkLst>
          <pc:docMk/>
          <pc:sldMk cId="86000251" sldId="2147469954"/>
        </pc:sldMkLst>
      </pc:sldChg>
      <pc:sldChg chg="del">
        <pc:chgData name="Sylvie ROCHE" userId="60404d4e-bbf6-4ef1-963c-527a8dada0a5" providerId="ADAL" clId="{F1E5F0B4-FD2E-47E3-80DC-5894D9BB87F8}" dt="2023-03-03T17:17:30.478" v="13297" actId="47"/>
        <pc:sldMkLst>
          <pc:docMk/>
          <pc:sldMk cId="624835803" sldId="2147469958"/>
        </pc:sldMkLst>
      </pc:sldChg>
      <pc:sldChg chg="modNotes">
        <pc:chgData name="Sylvie ROCHE" userId="60404d4e-bbf6-4ef1-963c-527a8dada0a5" providerId="ADAL" clId="{F1E5F0B4-FD2E-47E3-80DC-5894D9BB87F8}" dt="2023-03-02T17:35:40.388" v="7320"/>
        <pc:sldMkLst>
          <pc:docMk/>
          <pc:sldMk cId="3680308212" sldId="2147469959"/>
        </pc:sldMkLst>
      </pc:sldChg>
      <pc:sldChg chg="modNotes">
        <pc:chgData name="Sylvie ROCHE" userId="60404d4e-bbf6-4ef1-963c-527a8dada0a5" providerId="ADAL" clId="{F1E5F0B4-FD2E-47E3-80DC-5894D9BB87F8}" dt="2023-03-02T17:35:40.388" v="7320"/>
        <pc:sldMkLst>
          <pc:docMk/>
          <pc:sldMk cId="2368134167" sldId="2147469960"/>
        </pc:sldMkLst>
      </pc:sldChg>
      <pc:sldChg chg="addSp modSp del mod modShow">
        <pc:chgData name="Sylvie ROCHE" userId="60404d4e-bbf6-4ef1-963c-527a8dada0a5" providerId="ADAL" clId="{F1E5F0B4-FD2E-47E3-80DC-5894D9BB87F8}" dt="2023-03-07T14:41:19.541" v="13911" actId="2696"/>
        <pc:sldMkLst>
          <pc:docMk/>
          <pc:sldMk cId="846647049" sldId="2147469961"/>
        </pc:sldMkLst>
        <pc:spChg chg="mod">
          <ac:chgData name="Sylvie ROCHE" userId="60404d4e-bbf6-4ef1-963c-527a8dada0a5" providerId="ADAL" clId="{F1E5F0B4-FD2E-47E3-80DC-5894D9BB87F8}" dt="2023-03-02T21:00:10.080" v="10080" actId="400"/>
          <ac:spMkLst>
            <pc:docMk/>
            <pc:sldMk cId="846647049" sldId="2147469961"/>
            <ac:spMk id="3" creationId="{60E804CD-6A42-AA1C-3C1B-F3DA3FC13969}"/>
          </ac:spMkLst>
        </pc:spChg>
        <pc:spChg chg="mod">
          <ac:chgData name="Sylvie ROCHE" userId="60404d4e-bbf6-4ef1-963c-527a8dada0a5" providerId="ADAL" clId="{F1E5F0B4-FD2E-47E3-80DC-5894D9BB87F8}" dt="2023-03-02T21:23:28.207" v="11432" actId="14100"/>
          <ac:spMkLst>
            <pc:docMk/>
            <pc:sldMk cId="846647049" sldId="2147469961"/>
            <ac:spMk id="4" creationId="{72AE39A3-CC7E-2FDD-06C2-ACDC66E0838A}"/>
          </ac:spMkLst>
        </pc:spChg>
        <pc:spChg chg="mod">
          <ac:chgData name="Sylvie ROCHE" userId="60404d4e-bbf6-4ef1-963c-527a8dada0a5" providerId="ADAL" clId="{F1E5F0B4-FD2E-47E3-80DC-5894D9BB87F8}" dt="2023-03-02T21:15:01.224" v="10828" actId="1076"/>
          <ac:spMkLst>
            <pc:docMk/>
            <pc:sldMk cId="846647049" sldId="2147469961"/>
            <ac:spMk id="5" creationId="{0F0DE882-40A9-52F8-618F-FE92F56D80D7}"/>
          </ac:spMkLst>
        </pc:spChg>
        <pc:spChg chg="add mod">
          <ac:chgData name="Sylvie ROCHE" userId="60404d4e-bbf6-4ef1-963c-527a8dada0a5" providerId="ADAL" clId="{F1E5F0B4-FD2E-47E3-80DC-5894D9BB87F8}" dt="2023-03-02T21:00:39.584" v="10092" actId="400"/>
          <ac:spMkLst>
            <pc:docMk/>
            <pc:sldMk cId="846647049" sldId="2147469961"/>
            <ac:spMk id="6" creationId="{7E986661-16BA-18B8-FB52-479A92AEAAD7}"/>
          </ac:spMkLst>
        </pc:spChg>
      </pc:sldChg>
      <pc:sldChg chg="addSp delSp modSp del mod addCm modCm">
        <pc:chgData name="Sylvie ROCHE" userId="60404d4e-bbf6-4ef1-963c-527a8dada0a5" providerId="ADAL" clId="{F1E5F0B4-FD2E-47E3-80DC-5894D9BB87F8}" dt="2023-03-07T15:32:13.051" v="14012" actId="2696"/>
        <pc:sldMkLst>
          <pc:docMk/>
          <pc:sldMk cId="1111061792" sldId="2147469962"/>
        </pc:sldMkLst>
        <pc:spChg chg="mod">
          <ac:chgData name="Sylvie ROCHE" userId="60404d4e-bbf6-4ef1-963c-527a8dada0a5" providerId="ADAL" clId="{F1E5F0B4-FD2E-47E3-80DC-5894D9BB87F8}" dt="2023-03-02T21:50:37.121" v="12772" actId="20577"/>
          <ac:spMkLst>
            <pc:docMk/>
            <pc:sldMk cId="1111061792" sldId="2147469962"/>
            <ac:spMk id="3" creationId="{60E804CD-6A42-AA1C-3C1B-F3DA3FC13969}"/>
          </ac:spMkLst>
        </pc:spChg>
        <pc:spChg chg="mod">
          <ac:chgData name="Sylvie ROCHE" userId="60404d4e-bbf6-4ef1-963c-527a8dada0a5" providerId="ADAL" clId="{F1E5F0B4-FD2E-47E3-80DC-5894D9BB87F8}" dt="2023-03-01T22:14:16.425" v="5936" actId="20577"/>
          <ac:spMkLst>
            <pc:docMk/>
            <pc:sldMk cId="1111061792" sldId="2147469962"/>
            <ac:spMk id="4" creationId="{864C2912-A70D-AC2C-8B20-19C96CBA9585}"/>
          </ac:spMkLst>
        </pc:spChg>
        <pc:spChg chg="add mod">
          <ac:chgData name="Sylvie ROCHE" userId="60404d4e-bbf6-4ef1-963c-527a8dada0a5" providerId="ADAL" clId="{F1E5F0B4-FD2E-47E3-80DC-5894D9BB87F8}" dt="2023-03-01T15:28:52.946" v="5072" actId="20577"/>
          <ac:spMkLst>
            <pc:docMk/>
            <pc:sldMk cId="1111061792" sldId="2147469962"/>
            <ac:spMk id="5" creationId="{16AD8161-7C80-81B2-49A0-3E53F703867D}"/>
          </ac:spMkLst>
        </pc:spChg>
        <pc:spChg chg="mod">
          <ac:chgData name="Sylvie ROCHE" userId="60404d4e-bbf6-4ef1-963c-527a8dada0a5" providerId="ADAL" clId="{F1E5F0B4-FD2E-47E3-80DC-5894D9BB87F8}" dt="2023-03-02T21:36:23.948" v="12046"/>
          <ac:spMkLst>
            <pc:docMk/>
            <pc:sldMk cId="1111061792" sldId="2147469962"/>
            <ac:spMk id="8" creationId="{3E0E7354-AF7A-4835-BB3E-468245B45021}"/>
          </ac:spMkLst>
        </pc:spChg>
        <pc:grpChg chg="add del mod">
          <ac:chgData name="Sylvie ROCHE" userId="60404d4e-bbf6-4ef1-963c-527a8dada0a5" providerId="ADAL" clId="{F1E5F0B4-FD2E-47E3-80DC-5894D9BB87F8}" dt="2023-03-02T21:37:24.601" v="12076" actId="478"/>
          <ac:grpSpMkLst>
            <pc:docMk/>
            <pc:sldMk cId="1111061792" sldId="2147469962"/>
            <ac:grpSpMk id="6" creationId="{CE8C3178-F7F8-A4CB-3337-1AC559BED2DE}"/>
          </ac:grpSpMkLst>
        </pc:grpChg>
        <pc:grpChg chg="mod">
          <ac:chgData name="Sylvie ROCHE" userId="60404d4e-bbf6-4ef1-963c-527a8dada0a5" providerId="ADAL" clId="{F1E5F0B4-FD2E-47E3-80DC-5894D9BB87F8}" dt="2023-03-02T21:36:23.948" v="12046"/>
          <ac:grpSpMkLst>
            <pc:docMk/>
            <pc:sldMk cId="1111061792" sldId="2147469962"/>
            <ac:grpSpMk id="9" creationId="{CA3E40D1-4D1E-56FC-75A8-5956E8D246FB}"/>
          </ac:grpSpMkLst>
        </pc:grpChg>
        <pc:picChg chg="add mod">
          <ac:chgData name="Sylvie ROCHE" userId="60404d4e-bbf6-4ef1-963c-527a8dada0a5" providerId="ADAL" clId="{F1E5F0B4-FD2E-47E3-80DC-5894D9BB87F8}" dt="2023-03-02T21:37:27.055" v="12077" actId="14100"/>
          <ac:picMkLst>
            <pc:docMk/>
            <pc:sldMk cId="1111061792" sldId="2147469962"/>
            <ac:picMk id="7" creationId="{E82342CF-996D-804D-E534-609E8C794AB5}"/>
          </ac:picMkLst>
        </pc:picChg>
        <pc:picChg chg="add del mod">
          <ac:chgData name="Sylvie ROCHE" userId="60404d4e-bbf6-4ef1-963c-527a8dada0a5" providerId="ADAL" clId="{F1E5F0B4-FD2E-47E3-80DC-5894D9BB87F8}" dt="2023-03-01T22:19:00.868" v="5943" actId="478"/>
          <ac:picMkLst>
            <pc:docMk/>
            <pc:sldMk cId="1111061792" sldId="2147469962"/>
            <ac:picMk id="9" creationId="{819ADA96-78D7-CFD0-FABF-3A8C6F741B88}"/>
          </ac:picMkLst>
        </pc:picChg>
        <pc:picChg chg="mod">
          <ac:chgData name="Sylvie ROCHE" userId="60404d4e-bbf6-4ef1-963c-527a8dada0a5" providerId="ADAL" clId="{F1E5F0B4-FD2E-47E3-80DC-5894D9BB87F8}" dt="2023-03-02T21:36:23.948" v="12046"/>
          <ac:picMkLst>
            <pc:docMk/>
            <pc:sldMk cId="1111061792" sldId="2147469962"/>
            <ac:picMk id="10" creationId="{335C0495-8B42-58CE-C5AA-92DCCB59A9F0}"/>
          </ac:picMkLst>
        </pc:picChg>
        <pc:picChg chg="mod">
          <ac:chgData name="Sylvie ROCHE" userId="60404d4e-bbf6-4ef1-963c-527a8dada0a5" providerId="ADAL" clId="{F1E5F0B4-FD2E-47E3-80DC-5894D9BB87F8}" dt="2023-03-02T21:36:23.948" v="12046"/>
          <ac:picMkLst>
            <pc:docMk/>
            <pc:sldMk cId="1111061792" sldId="2147469962"/>
            <ac:picMk id="11" creationId="{F3B6B1F5-74EB-8D6A-7436-F93FCB90E68D}"/>
          </ac:picMkLst>
        </pc:picChg>
      </pc:sldChg>
      <pc:sldChg chg="addSp delSp modSp del mod ord modShow">
        <pc:chgData name="Sylvie ROCHE" userId="60404d4e-bbf6-4ef1-963c-527a8dada0a5" providerId="ADAL" clId="{F1E5F0B4-FD2E-47E3-80DC-5894D9BB87F8}" dt="2023-03-07T14:41:19.541" v="13911" actId="2696"/>
        <pc:sldMkLst>
          <pc:docMk/>
          <pc:sldMk cId="3397114460" sldId="2147469963"/>
        </pc:sldMkLst>
        <pc:spChg chg="mod">
          <ac:chgData name="Sylvie ROCHE" userId="60404d4e-bbf6-4ef1-963c-527a8dada0a5" providerId="ADAL" clId="{F1E5F0B4-FD2E-47E3-80DC-5894D9BB87F8}" dt="2023-03-01T22:05:22.808" v="5752" actId="20577"/>
          <ac:spMkLst>
            <pc:docMk/>
            <pc:sldMk cId="3397114460" sldId="2147469963"/>
            <ac:spMk id="2" creationId="{AB53A934-65D5-BCF6-DCD4-8D3180660FE9}"/>
          </ac:spMkLst>
        </pc:spChg>
        <pc:spChg chg="mod">
          <ac:chgData name="Sylvie ROCHE" userId="60404d4e-bbf6-4ef1-963c-527a8dada0a5" providerId="ADAL" clId="{F1E5F0B4-FD2E-47E3-80DC-5894D9BB87F8}" dt="2023-03-01T22:07:41.785" v="5770" actId="20577"/>
          <ac:spMkLst>
            <pc:docMk/>
            <pc:sldMk cId="3397114460" sldId="2147469963"/>
            <ac:spMk id="3" creationId="{60E804CD-6A42-AA1C-3C1B-F3DA3FC13969}"/>
          </ac:spMkLst>
        </pc:spChg>
        <pc:spChg chg="add mod">
          <ac:chgData name="Sylvie ROCHE" userId="60404d4e-bbf6-4ef1-963c-527a8dada0a5" providerId="ADAL" clId="{F1E5F0B4-FD2E-47E3-80DC-5894D9BB87F8}" dt="2023-03-02T21:23:19.907" v="11429" actId="20577"/>
          <ac:spMkLst>
            <pc:docMk/>
            <pc:sldMk cId="3397114460" sldId="2147469963"/>
            <ac:spMk id="4" creationId="{23A45A1D-D6D1-3D01-C8F2-DD42807A8BFC}"/>
          </ac:spMkLst>
        </pc:spChg>
        <pc:spChg chg="del">
          <ac:chgData name="Sylvie ROCHE" userId="60404d4e-bbf6-4ef1-963c-527a8dada0a5" providerId="ADAL" clId="{F1E5F0B4-FD2E-47E3-80DC-5894D9BB87F8}" dt="2023-03-01T15:38:47.274" v="5310" actId="478"/>
          <ac:spMkLst>
            <pc:docMk/>
            <pc:sldMk cId="3397114460" sldId="2147469963"/>
            <ac:spMk id="4" creationId="{B69E885B-7E85-A48D-2EE8-0589E1C391ED}"/>
          </ac:spMkLst>
        </pc:spChg>
        <pc:spChg chg="add del mod">
          <ac:chgData name="Sylvie ROCHE" userId="60404d4e-bbf6-4ef1-963c-527a8dada0a5" providerId="ADAL" clId="{F1E5F0B4-FD2E-47E3-80DC-5894D9BB87F8}" dt="2023-03-01T22:05:25.371" v="5753" actId="478"/>
          <ac:spMkLst>
            <pc:docMk/>
            <pc:sldMk cId="3397114460" sldId="2147469963"/>
            <ac:spMk id="5" creationId="{96AEBDB6-8939-D0F4-A8E7-47DAB3470845}"/>
          </ac:spMkLst>
        </pc:spChg>
        <pc:spChg chg="mod">
          <ac:chgData name="Sylvie ROCHE" userId="60404d4e-bbf6-4ef1-963c-527a8dada0a5" providerId="ADAL" clId="{F1E5F0B4-FD2E-47E3-80DC-5894D9BB87F8}" dt="2023-03-01T22:07:51.068" v="5772" actId="1076"/>
          <ac:spMkLst>
            <pc:docMk/>
            <pc:sldMk cId="3397114460" sldId="2147469963"/>
            <ac:spMk id="6" creationId="{6F148A48-6ADF-4053-B8FA-7F27CC8DCB86}"/>
          </ac:spMkLst>
        </pc:spChg>
      </pc:sldChg>
      <pc:sldChg chg="modSp add del mod">
        <pc:chgData name="Sylvie ROCHE" userId="60404d4e-bbf6-4ef1-963c-527a8dada0a5" providerId="ADAL" clId="{F1E5F0B4-FD2E-47E3-80DC-5894D9BB87F8}" dt="2023-02-28T15:09:23.751" v="15" actId="47"/>
        <pc:sldMkLst>
          <pc:docMk/>
          <pc:sldMk cId="1205940127" sldId="2147469964"/>
        </pc:sldMkLst>
        <pc:spChg chg="mod">
          <ac:chgData name="Sylvie ROCHE" userId="60404d4e-bbf6-4ef1-963c-527a8dada0a5" providerId="ADAL" clId="{F1E5F0B4-FD2E-47E3-80DC-5894D9BB87F8}" dt="2023-02-28T15:09:06.986" v="14" actId="20577"/>
          <ac:spMkLst>
            <pc:docMk/>
            <pc:sldMk cId="1205940127" sldId="2147469964"/>
            <ac:spMk id="2" creationId="{AB53A934-65D5-BCF6-DCD4-8D3180660FE9}"/>
          </ac:spMkLst>
        </pc:spChg>
      </pc:sldChg>
      <pc:sldChg chg="addSp delSp modSp add del mod modShow addCm delCm modNotesTx">
        <pc:chgData name="Sylvie ROCHE" userId="60404d4e-bbf6-4ef1-963c-527a8dada0a5" providerId="ADAL" clId="{F1E5F0B4-FD2E-47E3-80DC-5894D9BB87F8}" dt="2023-03-07T14:41:19.541" v="13911" actId="2696"/>
        <pc:sldMkLst>
          <pc:docMk/>
          <pc:sldMk cId="2308194529" sldId="2147469965"/>
        </pc:sldMkLst>
        <pc:spChg chg="mod">
          <ac:chgData name="Sylvie ROCHE" userId="60404d4e-bbf6-4ef1-963c-527a8dada0a5" providerId="ADAL" clId="{F1E5F0B4-FD2E-47E3-80DC-5894D9BB87F8}" dt="2023-02-28T17:04:56.494" v="2895" actId="20577"/>
          <ac:spMkLst>
            <pc:docMk/>
            <pc:sldMk cId="2308194529" sldId="2147469965"/>
            <ac:spMk id="3" creationId="{60E804CD-6A42-AA1C-3C1B-F3DA3FC13969}"/>
          </ac:spMkLst>
        </pc:spChg>
        <pc:spChg chg="mod">
          <ac:chgData name="Sylvie ROCHE" userId="60404d4e-bbf6-4ef1-963c-527a8dada0a5" providerId="ADAL" clId="{F1E5F0B4-FD2E-47E3-80DC-5894D9BB87F8}" dt="2023-03-02T21:23:48.577" v="11436" actId="14100"/>
          <ac:spMkLst>
            <pc:docMk/>
            <pc:sldMk cId="2308194529" sldId="2147469965"/>
            <ac:spMk id="4" creationId="{72AE39A3-CC7E-2FDD-06C2-ACDC66E0838A}"/>
          </ac:spMkLst>
        </pc:spChg>
        <pc:spChg chg="del">
          <ac:chgData name="Sylvie ROCHE" userId="60404d4e-bbf6-4ef1-963c-527a8dada0a5" providerId="ADAL" clId="{F1E5F0B4-FD2E-47E3-80DC-5894D9BB87F8}" dt="2023-02-28T17:05:39.459" v="3020" actId="478"/>
          <ac:spMkLst>
            <pc:docMk/>
            <pc:sldMk cId="2308194529" sldId="2147469965"/>
            <ac:spMk id="5" creationId="{0F0DE882-40A9-52F8-618F-FE92F56D80D7}"/>
          </ac:spMkLst>
        </pc:spChg>
        <pc:spChg chg="mod">
          <ac:chgData name="Sylvie ROCHE" userId="60404d4e-bbf6-4ef1-963c-527a8dada0a5" providerId="ADAL" clId="{F1E5F0B4-FD2E-47E3-80DC-5894D9BB87F8}" dt="2023-03-02T20:42:48.521" v="8959" actId="400"/>
          <ac:spMkLst>
            <pc:docMk/>
            <pc:sldMk cId="2308194529" sldId="2147469965"/>
            <ac:spMk id="6" creationId="{7E986661-16BA-18B8-FB52-479A92AEAAD7}"/>
          </ac:spMkLst>
        </pc:spChg>
        <pc:spChg chg="add mod">
          <ac:chgData name="Sylvie ROCHE" userId="60404d4e-bbf6-4ef1-963c-527a8dada0a5" providerId="ADAL" clId="{F1E5F0B4-FD2E-47E3-80DC-5894D9BB87F8}" dt="2023-02-28T17:30:35.363" v="4387" actId="13926"/>
          <ac:spMkLst>
            <pc:docMk/>
            <pc:sldMk cId="2308194529" sldId="2147469965"/>
            <ac:spMk id="7" creationId="{4DA18738-4DE8-FC65-9C02-B41957BE436B}"/>
          </ac:spMkLst>
        </pc:spChg>
      </pc:sldChg>
      <pc:sldChg chg="addSp delSp modSp add mod ord addCm">
        <pc:chgData name="Sylvie ROCHE" userId="60404d4e-bbf6-4ef1-963c-527a8dada0a5" providerId="ADAL" clId="{F1E5F0B4-FD2E-47E3-80DC-5894D9BB87F8}" dt="2023-03-02T21:53:48.918" v="12804"/>
        <pc:sldMkLst>
          <pc:docMk/>
          <pc:sldMk cId="1331144116" sldId="2147469967"/>
        </pc:sldMkLst>
        <pc:spChg chg="mod">
          <ac:chgData name="Sylvie ROCHE" userId="60404d4e-bbf6-4ef1-963c-527a8dada0a5" providerId="ADAL" clId="{F1E5F0B4-FD2E-47E3-80DC-5894D9BB87F8}" dt="2023-02-28T17:13:54.511" v="3802" actId="6549"/>
          <ac:spMkLst>
            <pc:docMk/>
            <pc:sldMk cId="1331144116" sldId="2147469967"/>
            <ac:spMk id="2" creationId="{AB53A934-65D5-BCF6-DCD4-8D3180660FE9}"/>
          </ac:spMkLst>
        </pc:spChg>
        <pc:spChg chg="add mod">
          <ac:chgData name="Sylvie ROCHE" userId="60404d4e-bbf6-4ef1-963c-527a8dada0a5" providerId="ADAL" clId="{F1E5F0B4-FD2E-47E3-80DC-5894D9BB87F8}" dt="2023-03-02T21:26:06.848" v="11628" actId="14100"/>
          <ac:spMkLst>
            <pc:docMk/>
            <pc:sldMk cId="1331144116" sldId="2147469967"/>
            <ac:spMk id="5" creationId="{54E52A17-7380-E28A-B505-5662A8DFF90D}"/>
          </ac:spMkLst>
        </pc:spChg>
        <pc:spChg chg="mod">
          <ac:chgData name="Sylvie ROCHE" userId="60404d4e-bbf6-4ef1-963c-527a8dada0a5" providerId="ADAL" clId="{F1E5F0B4-FD2E-47E3-80DC-5894D9BB87F8}" dt="2023-03-02T21:26:06.848" v="11628" actId="14100"/>
          <ac:spMkLst>
            <pc:docMk/>
            <pc:sldMk cId="1331144116" sldId="2147469967"/>
            <ac:spMk id="6" creationId="{7E986661-16BA-18B8-FB52-479A92AEAAD7}"/>
          </ac:spMkLst>
        </pc:spChg>
        <pc:spChg chg="add mod">
          <ac:chgData name="Sylvie ROCHE" userId="60404d4e-bbf6-4ef1-963c-527a8dada0a5" providerId="ADAL" clId="{F1E5F0B4-FD2E-47E3-80DC-5894D9BB87F8}" dt="2023-03-02T21:25:04.095" v="11608" actId="1076"/>
          <ac:spMkLst>
            <pc:docMk/>
            <pc:sldMk cId="1331144116" sldId="2147469967"/>
            <ac:spMk id="7" creationId="{363659C5-B385-692A-E0CC-D63305F24FEB}"/>
          </ac:spMkLst>
        </pc:spChg>
        <pc:spChg chg="add mod">
          <ac:chgData name="Sylvie ROCHE" userId="60404d4e-bbf6-4ef1-963c-527a8dada0a5" providerId="ADAL" clId="{F1E5F0B4-FD2E-47E3-80DC-5894D9BB87F8}" dt="2023-03-02T21:21:03.766" v="11306" actId="21"/>
          <ac:spMkLst>
            <pc:docMk/>
            <pc:sldMk cId="1331144116" sldId="2147469967"/>
            <ac:spMk id="8" creationId="{268642E6-F6DA-9736-7783-8B19FEB57CD4}"/>
          </ac:spMkLst>
        </pc:spChg>
        <pc:spChg chg="add mod">
          <ac:chgData name="Sylvie ROCHE" userId="60404d4e-bbf6-4ef1-963c-527a8dada0a5" providerId="ADAL" clId="{F1E5F0B4-FD2E-47E3-80DC-5894D9BB87F8}" dt="2023-03-02T21:28:22.738" v="11996" actId="20577"/>
          <ac:spMkLst>
            <pc:docMk/>
            <pc:sldMk cId="1331144116" sldId="2147469967"/>
            <ac:spMk id="9" creationId="{510D8B63-AD80-1AC9-F845-E65CBCE2FF74}"/>
          </ac:spMkLst>
        </pc:spChg>
        <pc:spChg chg="add mod">
          <ac:chgData name="Sylvie ROCHE" userId="60404d4e-bbf6-4ef1-963c-527a8dada0a5" providerId="ADAL" clId="{F1E5F0B4-FD2E-47E3-80DC-5894D9BB87F8}" dt="2023-03-02T21:53:48.918" v="12804"/>
          <ac:spMkLst>
            <pc:docMk/>
            <pc:sldMk cId="1331144116" sldId="2147469967"/>
            <ac:spMk id="24" creationId="{01E1F486-F08D-7FBE-1C9B-DB081AE72A61}"/>
          </ac:spMkLst>
        </pc:spChg>
        <pc:cxnChg chg="add mod">
          <ac:chgData name="Sylvie ROCHE" userId="60404d4e-bbf6-4ef1-963c-527a8dada0a5" providerId="ADAL" clId="{F1E5F0B4-FD2E-47E3-80DC-5894D9BB87F8}" dt="2023-03-02T21:25:07.831" v="11609" actId="14100"/>
          <ac:cxnSpMkLst>
            <pc:docMk/>
            <pc:sldMk cId="1331144116" sldId="2147469967"/>
            <ac:cxnSpMk id="10" creationId="{B8983157-8D22-3C73-6CC4-C2A300E3716C}"/>
          </ac:cxnSpMkLst>
        </pc:cxnChg>
        <pc:cxnChg chg="add mod">
          <ac:chgData name="Sylvie ROCHE" userId="60404d4e-bbf6-4ef1-963c-527a8dada0a5" providerId="ADAL" clId="{F1E5F0B4-FD2E-47E3-80DC-5894D9BB87F8}" dt="2023-03-02T21:25:14.908" v="11611" actId="14100"/>
          <ac:cxnSpMkLst>
            <pc:docMk/>
            <pc:sldMk cId="1331144116" sldId="2147469967"/>
            <ac:cxnSpMk id="11" creationId="{930D427C-2D87-4543-E479-B9D2F6C1589C}"/>
          </ac:cxnSpMkLst>
        </pc:cxnChg>
        <pc:cxnChg chg="add mod">
          <ac:chgData name="Sylvie ROCHE" userId="60404d4e-bbf6-4ef1-963c-527a8dada0a5" providerId="ADAL" clId="{F1E5F0B4-FD2E-47E3-80DC-5894D9BB87F8}" dt="2023-03-02T21:25:25.135" v="11614" actId="14100"/>
          <ac:cxnSpMkLst>
            <pc:docMk/>
            <pc:sldMk cId="1331144116" sldId="2147469967"/>
            <ac:cxnSpMk id="13" creationId="{7B614833-6F1B-D66E-9128-38C56588ACF9}"/>
          </ac:cxnSpMkLst>
        </pc:cxnChg>
        <pc:cxnChg chg="add del mod">
          <ac:chgData name="Sylvie ROCHE" userId="60404d4e-bbf6-4ef1-963c-527a8dada0a5" providerId="ADAL" clId="{F1E5F0B4-FD2E-47E3-80DC-5894D9BB87F8}" dt="2023-03-02T21:25:27.046" v="11616" actId="478"/>
          <ac:cxnSpMkLst>
            <pc:docMk/>
            <pc:sldMk cId="1331144116" sldId="2147469967"/>
            <ac:cxnSpMk id="15" creationId="{27FC0995-93ED-ECDF-CE8F-A322BE49B3DE}"/>
          </ac:cxnSpMkLst>
        </pc:cxnChg>
        <pc:cxnChg chg="add del mod">
          <ac:chgData name="Sylvie ROCHE" userId="60404d4e-bbf6-4ef1-963c-527a8dada0a5" providerId="ADAL" clId="{F1E5F0B4-FD2E-47E3-80DC-5894D9BB87F8}" dt="2023-03-02T21:25:28.641" v="11617" actId="478"/>
          <ac:cxnSpMkLst>
            <pc:docMk/>
            <pc:sldMk cId="1331144116" sldId="2147469967"/>
            <ac:cxnSpMk id="17" creationId="{6F1E0DC6-F5E2-8A56-61C9-E51314531EEF}"/>
          </ac:cxnSpMkLst>
        </pc:cxnChg>
        <pc:cxnChg chg="add mod">
          <ac:chgData name="Sylvie ROCHE" userId="60404d4e-bbf6-4ef1-963c-527a8dada0a5" providerId="ADAL" clId="{F1E5F0B4-FD2E-47E3-80DC-5894D9BB87F8}" dt="2023-03-02T21:25:37.983" v="11620" actId="1076"/>
          <ac:cxnSpMkLst>
            <pc:docMk/>
            <pc:sldMk cId="1331144116" sldId="2147469967"/>
            <ac:cxnSpMk id="20" creationId="{B873CE04-E885-001B-65F7-E134C135BF3E}"/>
          </ac:cxnSpMkLst>
        </pc:cxnChg>
        <pc:cxnChg chg="add mod">
          <ac:chgData name="Sylvie ROCHE" userId="60404d4e-bbf6-4ef1-963c-527a8dada0a5" providerId="ADAL" clId="{F1E5F0B4-FD2E-47E3-80DC-5894D9BB87F8}" dt="2023-03-02T21:25:43.953" v="11623" actId="14100"/>
          <ac:cxnSpMkLst>
            <pc:docMk/>
            <pc:sldMk cId="1331144116" sldId="2147469967"/>
            <ac:cxnSpMk id="22" creationId="{4E0403FC-3F6B-D417-3CE2-46B779634096}"/>
          </ac:cxnSpMkLst>
        </pc:cxnChg>
        <pc:extLst>
          <p:ext xmlns:p="http://schemas.openxmlformats.org/presentationml/2006/main" uri="{D6D511B9-2390-475A-947B-AFAB55BFBCF1}">
            <pc226:cmChg xmlns:pc226="http://schemas.microsoft.com/office/powerpoint/2022/06/main/command" chg="add">
              <pc226:chgData name="Sylvie ROCHE" userId="60404d4e-bbf6-4ef1-963c-527a8dada0a5" providerId="ADAL" clId="{F1E5F0B4-FD2E-47E3-80DC-5894D9BB87F8}" dt="2023-03-02T21:28:47.236" v="11997"/>
              <pc2:cmMkLst xmlns:pc2="http://schemas.microsoft.com/office/powerpoint/2019/9/main/command">
                <pc:docMk/>
                <pc:sldMk cId="1331144116" sldId="2147469967"/>
                <pc2:cmMk id="{04391876-C9A7-4BD1-A0EC-77EC269B7DB5}"/>
              </pc2:cmMkLst>
            </pc226:cmChg>
          </p:ext>
        </pc:extLst>
      </pc:sldChg>
      <pc:sldChg chg="addSp delSp modSp mod ord delCm">
        <pc:chgData name="Sylvie ROCHE" userId="60404d4e-bbf6-4ef1-963c-527a8dada0a5" providerId="ADAL" clId="{F1E5F0B4-FD2E-47E3-80DC-5894D9BB87F8}" dt="2023-03-07T17:45:19.505" v="19383" actId="1076"/>
        <pc:sldMkLst>
          <pc:docMk/>
          <pc:sldMk cId="2966111978" sldId="2147469968"/>
        </pc:sldMkLst>
        <pc:spChg chg="del">
          <ac:chgData name="Sylvie ROCHE" userId="60404d4e-bbf6-4ef1-963c-527a8dada0a5" providerId="ADAL" clId="{F1E5F0B4-FD2E-47E3-80DC-5894D9BB87F8}" dt="2023-03-07T17:25:57.122" v="18855" actId="478"/>
          <ac:spMkLst>
            <pc:docMk/>
            <pc:sldMk cId="2966111978" sldId="2147469968"/>
            <ac:spMk id="7" creationId="{A0D5BAE4-0F6B-A66B-F36D-599C7FFFBF05}"/>
          </ac:spMkLst>
        </pc:spChg>
        <pc:spChg chg="mod">
          <ac:chgData name="Sylvie ROCHE" userId="60404d4e-bbf6-4ef1-963c-527a8dada0a5" providerId="ADAL" clId="{F1E5F0B4-FD2E-47E3-80DC-5894D9BB87F8}" dt="2023-03-07T17:14:16.419" v="18462" actId="1035"/>
          <ac:spMkLst>
            <pc:docMk/>
            <pc:sldMk cId="2966111978" sldId="2147469968"/>
            <ac:spMk id="16" creationId="{B36437D6-51E8-4436-A440-732FDD660C60}"/>
          </ac:spMkLst>
        </pc:spChg>
        <pc:spChg chg="add del mod">
          <ac:chgData name="Sylvie ROCHE" userId="60404d4e-bbf6-4ef1-963c-527a8dada0a5" providerId="ADAL" clId="{F1E5F0B4-FD2E-47E3-80DC-5894D9BB87F8}" dt="2023-03-07T15:51:46.836" v="15020" actId="478"/>
          <ac:spMkLst>
            <pc:docMk/>
            <pc:sldMk cId="2966111978" sldId="2147469968"/>
            <ac:spMk id="20" creationId="{0134E210-9E2D-FE3B-4B5B-E9951D53827A}"/>
          </ac:spMkLst>
        </pc:spChg>
        <pc:spChg chg="add mod">
          <ac:chgData name="Sylvie ROCHE" userId="60404d4e-bbf6-4ef1-963c-527a8dada0a5" providerId="ADAL" clId="{F1E5F0B4-FD2E-47E3-80DC-5894D9BB87F8}" dt="2023-03-07T15:57:20.607" v="15336" actId="20577"/>
          <ac:spMkLst>
            <pc:docMk/>
            <pc:sldMk cId="2966111978" sldId="2147469968"/>
            <ac:spMk id="21" creationId="{644EB278-9CD3-5494-CC1C-6D524FA4FBE3}"/>
          </ac:spMkLst>
        </pc:spChg>
        <pc:spChg chg="add mod">
          <ac:chgData name="Sylvie ROCHE" userId="60404d4e-bbf6-4ef1-963c-527a8dada0a5" providerId="ADAL" clId="{F1E5F0B4-FD2E-47E3-80DC-5894D9BB87F8}" dt="2023-03-07T17:45:19.505" v="19383" actId="1076"/>
          <ac:spMkLst>
            <pc:docMk/>
            <pc:sldMk cId="2966111978" sldId="2147469968"/>
            <ac:spMk id="24" creationId="{D08465D6-F162-8078-BC09-B3AC48192AAF}"/>
          </ac:spMkLst>
        </pc:spChg>
        <pc:spChg chg="del">
          <ac:chgData name="Sylvie ROCHE" userId="60404d4e-bbf6-4ef1-963c-527a8dada0a5" providerId="ADAL" clId="{F1E5F0B4-FD2E-47E3-80DC-5894D9BB87F8}" dt="2023-03-07T17:45:14.049" v="19381" actId="478"/>
          <ac:spMkLst>
            <pc:docMk/>
            <pc:sldMk cId="2966111978" sldId="2147469968"/>
            <ac:spMk id="43" creationId="{B76A8309-6F20-926E-9004-B3DFA0ED7607}"/>
          </ac:spMkLst>
        </pc:spChg>
        <pc:spChg chg="del mod">
          <ac:chgData name="Sylvie ROCHE" userId="60404d4e-bbf6-4ef1-963c-527a8dada0a5" providerId="ADAL" clId="{F1E5F0B4-FD2E-47E3-80DC-5894D9BB87F8}" dt="2023-03-07T15:57:13.437" v="15328" actId="478"/>
          <ac:spMkLst>
            <pc:docMk/>
            <pc:sldMk cId="2966111978" sldId="2147469968"/>
            <ac:spMk id="44" creationId="{CC82F256-01DF-6582-E49E-1B3BC0E3E00D}"/>
          </ac:spMkLst>
        </pc:spChg>
        <pc:spChg chg="mod">
          <ac:chgData name="Sylvie ROCHE" userId="60404d4e-bbf6-4ef1-963c-527a8dada0a5" providerId="ADAL" clId="{F1E5F0B4-FD2E-47E3-80DC-5894D9BB87F8}" dt="2023-03-07T15:53:04.566" v="15180" actId="20577"/>
          <ac:spMkLst>
            <pc:docMk/>
            <pc:sldMk cId="2966111978" sldId="2147469968"/>
            <ac:spMk id="51" creationId="{AB1C3439-9156-1248-22EE-F16F6F6BFAFD}"/>
          </ac:spMkLst>
        </pc:spChg>
        <pc:spChg chg="mod">
          <ac:chgData name="Sylvie ROCHE" userId="60404d4e-bbf6-4ef1-963c-527a8dada0a5" providerId="ADAL" clId="{F1E5F0B4-FD2E-47E3-80DC-5894D9BB87F8}" dt="2023-03-07T17:45:08.650" v="19380" actId="20577"/>
          <ac:spMkLst>
            <pc:docMk/>
            <pc:sldMk cId="2966111978" sldId="2147469968"/>
            <ac:spMk id="52" creationId="{15CFE7AE-447D-647B-8C8B-D90C5159B1BC}"/>
          </ac:spMkLst>
        </pc:spChg>
        <pc:spChg chg="mod">
          <ac:chgData name="Sylvie ROCHE" userId="60404d4e-bbf6-4ef1-963c-527a8dada0a5" providerId="ADAL" clId="{F1E5F0B4-FD2E-47E3-80DC-5894D9BB87F8}" dt="2023-03-07T16:32:31.339" v="16369" actId="21"/>
          <ac:spMkLst>
            <pc:docMk/>
            <pc:sldMk cId="2966111978" sldId="2147469968"/>
            <ac:spMk id="58" creationId="{5BE98F25-BA9F-4AFF-F335-9B2EB1BB472F}"/>
          </ac:spMkLst>
        </pc:spChg>
        <pc:spChg chg="mod">
          <ac:chgData name="Sylvie ROCHE" userId="60404d4e-bbf6-4ef1-963c-527a8dada0a5" providerId="ADAL" clId="{F1E5F0B4-FD2E-47E3-80DC-5894D9BB87F8}" dt="2023-03-07T16:32:34.314" v="16370"/>
          <ac:spMkLst>
            <pc:docMk/>
            <pc:sldMk cId="2966111978" sldId="2147469968"/>
            <ac:spMk id="59" creationId="{279ABEF7-8A60-6FCF-1202-4BAA373923E1}"/>
          </ac:spMkLst>
        </pc:spChg>
        <pc:spChg chg="mod">
          <ac:chgData name="Sylvie ROCHE" userId="60404d4e-bbf6-4ef1-963c-527a8dada0a5" providerId="ADAL" clId="{F1E5F0B4-FD2E-47E3-80DC-5894D9BB87F8}" dt="2023-03-07T17:14:08.653" v="18437" actId="14100"/>
          <ac:spMkLst>
            <pc:docMk/>
            <pc:sldMk cId="2966111978" sldId="2147469968"/>
            <ac:spMk id="60" creationId="{A63E2F5A-3053-DB59-4E60-7CC46A615F2D}"/>
          </ac:spMkLst>
        </pc:spChg>
        <pc:cxnChg chg="mod">
          <ac:chgData name="Sylvie ROCHE" userId="60404d4e-bbf6-4ef1-963c-527a8dada0a5" providerId="ADAL" clId="{F1E5F0B4-FD2E-47E3-80DC-5894D9BB87F8}" dt="2023-03-07T17:14:16.419" v="18462" actId="1035"/>
          <ac:cxnSpMkLst>
            <pc:docMk/>
            <pc:sldMk cId="2966111978" sldId="2147469968"/>
            <ac:cxnSpMk id="48" creationId="{46904D7D-159D-996F-7E37-A0C4C7F1A37F}"/>
          </ac:cxnSpMkLst>
        </pc:cxnChg>
        <pc:extLst>
          <p:ext xmlns:p="http://schemas.openxmlformats.org/presentationml/2006/main" uri="{D6D511B9-2390-475A-947B-AFAB55BFBCF1}">
            <pc226:cmChg xmlns:pc226="http://schemas.microsoft.com/office/powerpoint/2022/06/main/command" chg="del">
              <pc226:chgData name="Sylvie ROCHE" userId="60404d4e-bbf6-4ef1-963c-527a8dada0a5" providerId="ADAL" clId="{F1E5F0B4-FD2E-47E3-80DC-5894D9BB87F8}" dt="2023-03-07T17:25:55.173" v="18854"/>
              <pc2:cmMkLst xmlns:pc2="http://schemas.microsoft.com/office/powerpoint/2019/9/main/command">
                <pc:docMk/>
                <pc:sldMk cId="2966111978" sldId="2147469968"/>
                <pc2:cmMk id="{EF43825D-2073-400F-8139-11E4FFA90846}"/>
              </pc2:cmMkLst>
            </pc226:cmChg>
          </p:ext>
        </pc:extLst>
      </pc:sldChg>
      <pc:sldChg chg="addSp delSp modSp mod ord">
        <pc:chgData name="Sylvie ROCHE" userId="60404d4e-bbf6-4ef1-963c-527a8dada0a5" providerId="ADAL" clId="{F1E5F0B4-FD2E-47E3-80DC-5894D9BB87F8}" dt="2023-03-07T18:22:43.407" v="21403" actId="1076"/>
        <pc:sldMkLst>
          <pc:docMk/>
          <pc:sldMk cId="3159731328" sldId="2147469969"/>
        </pc:sldMkLst>
        <pc:spChg chg="mod">
          <ac:chgData name="Sylvie ROCHE" userId="60404d4e-bbf6-4ef1-963c-527a8dada0a5" providerId="ADAL" clId="{F1E5F0B4-FD2E-47E3-80DC-5894D9BB87F8}" dt="2023-03-07T15:50:39.364" v="14998" actId="20577"/>
          <ac:spMkLst>
            <pc:docMk/>
            <pc:sldMk cId="3159731328" sldId="2147469969"/>
            <ac:spMk id="2" creationId="{E11BF5BD-75C4-4E77-9598-7225EFF82CC5}"/>
          </ac:spMkLst>
        </pc:spChg>
        <pc:spChg chg="del">
          <ac:chgData name="Sylvie ROCHE" userId="60404d4e-bbf6-4ef1-963c-527a8dada0a5" providerId="ADAL" clId="{F1E5F0B4-FD2E-47E3-80DC-5894D9BB87F8}" dt="2023-03-07T15:31:01.989" v="14010" actId="478"/>
          <ac:spMkLst>
            <pc:docMk/>
            <pc:sldMk cId="3159731328" sldId="2147469969"/>
            <ac:spMk id="3" creationId="{A4EA183B-BA85-9F86-35DA-5274AEC6D969}"/>
          </ac:spMkLst>
        </pc:spChg>
        <pc:spChg chg="mod">
          <ac:chgData name="Sylvie ROCHE" userId="60404d4e-bbf6-4ef1-963c-527a8dada0a5" providerId="ADAL" clId="{F1E5F0B4-FD2E-47E3-80DC-5894D9BB87F8}" dt="2023-03-07T17:43:25.715" v="19179" actId="1076"/>
          <ac:spMkLst>
            <pc:docMk/>
            <pc:sldMk cId="3159731328" sldId="2147469969"/>
            <ac:spMk id="10" creationId="{2C1BE3D3-AF86-4F00-99E9-C106820D1EEC}"/>
          </ac:spMkLst>
        </pc:spChg>
        <pc:spChg chg="mod">
          <ac:chgData name="Sylvie ROCHE" userId="60404d4e-bbf6-4ef1-963c-527a8dada0a5" providerId="ADAL" clId="{F1E5F0B4-FD2E-47E3-80DC-5894D9BB87F8}" dt="2023-03-07T17:43:25.715" v="19179" actId="1076"/>
          <ac:spMkLst>
            <pc:docMk/>
            <pc:sldMk cId="3159731328" sldId="2147469969"/>
            <ac:spMk id="13" creationId="{E22D3A68-8C63-4250-BAEB-59D55544985D}"/>
          </ac:spMkLst>
        </pc:spChg>
        <pc:spChg chg="mod">
          <ac:chgData name="Sylvie ROCHE" userId="60404d4e-bbf6-4ef1-963c-527a8dada0a5" providerId="ADAL" clId="{F1E5F0B4-FD2E-47E3-80DC-5894D9BB87F8}" dt="2023-03-07T17:21:50.224" v="18754" actId="1036"/>
          <ac:spMkLst>
            <pc:docMk/>
            <pc:sldMk cId="3159731328" sldId="2147469969"/>
            <ac:spMk id="15" creationId="{864E3EB6-63A0-4187-87C2-15847F11EF55}"/>
          </ac:spMkLst>
        </pc:spChg>
        <pc:spChg chg="mod">
          <ac:chgData name="Sylvie ROCHE" userId="60404d4e-bbf6-4ef1-963c-527a8dada0a5" providerId="ADAL" clId="{F1E5F0B4-FD2E-47E3-80DC-5894D9BB87F8}" dt="2023-03-07T17:21:50.224" v="18754" actId="1036"/>
          <ac:spMkLst>
            <pc:docMk/>
            <pc:sldMk cId="3159731328" sldId="2147469969"/>
            <ac:spMk id="17" creationId="{081C14F2-F0CF-453C-B5E6-3AB28B427042}"/>
          </ac:spMkLst>
        </pc:spChg>
        <pc:spChg chg="del">
          <ac:chgData name="Sylvie ROCHE" userId="60404d4e-bbf6-4ef1-963c-527a8dada0a5" providerId="ADAL" clId="{F1E5F0B4-FD2E-47E3-80DC-5894D9BB87F8}" dt="2023-03-07T15:48:10.010" v="14777" actId="478"/>
          <ac:spMkLst>
            <pc:docMk/>
            <pc:sldMk cId="3159731328" sldId="2147469969"/>
            <ac:spMk id="18" creationId="{BDCB2577-DAD6-BF9E-8070-A450A0CD0FED}"/>
          </ac:spMkLst>
        </pc:spChg>
        <pc:spChg chg="mod">
          <ac:chgData name="Sylvie ROCHE" userId="60404d4e-bbf6-4ef1-963c-527a8dada0a5" providerId="ADAL" clId="{F1E5F0B4-FD2E-47E3-80DC-5894D9BB87F8}" dt="2023-03-02T21:37:10.944" v="12073"/>
          <ac:spMkLst>
            <pc:docMk/>
            <pc:sldMk cId="3159731328" sldId="2147469969"/>
            <ac:spMk id="20" creationId="{251B186A-DAA4-2D35-5E5C-926EDB0A9D0F}"/>
          </ac:spMkLst>
        </pc:spChg>
        <pc:spChg chg="add mod">
          <ac:chgData name="Sylvie ROCHE" userId="60404d4e-bbf6-4ef1-963c-527a8dada0a5" providerId="ADAL" clId="{F1E5F0B4-FD2E-47E3-80DC-5894D9BB87F8}" dt="2023-03-07T17:24:29.145" v="18853" actId="20577"/>
          <ac:spMkLst>
            <pc:docMk/>
            <pc:sldMk cId="3159731328" sldId="2147469969"/>
            <ac:spMk id="26" creationId="{FCBE5C3B-60E5-0414-1723-592FF4F5A1C6}"/>
          </ac:spMkLst>
        </pc:spChg>
        <pc:spChg chg="add del mod">
          <ac:chgData name="Sylvie ROCHE" userId="60404d4e-bbf6-4ef1-963c-527a8dada0a5" providerId="ADAL" clId="{F1E5F0B4-FD2E-47E3-80DC-5894D9BB87F8}" dt="2023-03-07T15:40:37.118" v="14194" actId="21"/>
          <ac:spMkLst>
            <pc:docMk/>
            <pc:sldMk cId="3159731328" sldId="2147469969"/>
            <ac:spMk id="27" creationId="{4519CCF5-51EB-E6D5-EEB2-0A11F49D419E}"/>
          </ac:spMkLst>
        </pc:spChg>
        <pc:spChg chg="add del mod">
          <ac:chgData name="Sylvie ROCHE" userId="60404d4e-bbf6-4ef1-963c-527a8dada0a5" providerId="ADAL" clId="{F1E5F0B4-FD2E-47E3-80DC-5894D9BB87F8}" dt="2023-03-02T21:51:35.387" v="12777"/>
          <ac:spMkLst>
            <pc:docMk/>
            <pc:sldMk cId="3159731328" sldId="2147469969"/>
            <ac:spMk id="27" creationId="{7CD61D97-E586-5BE9-0B05-61E4ED3EF6C8}"/>
          </ac:spMkLst>
        </pc:spChg>
        <pc:spChg chg="add del mod">
          <ac:chgData name="Sylvie ROCHE" userId="60404d4e-bbf6-4ef1-963c-527a8dada0a5" providerId="ADAL" clId="{F1E5F0B4-FD2E-47E3-80DC-5894D9BB87F8}" dt="2023-03-07T15:40:37.118" v="14194" actId="21"/>
          <ac:spMkLst>
            <pc:docMk/>
            <pc:sldMk cId="3159731328" sldId="2147469969"/>
            <ac:spMk id="28" creationId="{0902E614-C3BE-C1A3-7BA2-5B7B9D854C45}"/>
          </ac:spMkLst>
        </pc:spChg>
        <pc:spChg chg="add del mod">
          <ac:chgData name="Sylvie ROCHE" userId="60404d4e-bbf6-4ef1-963c-527a8dada0a5" providerId="ADAL" clId="{F1E5F0B4-FD2E-47E3-80DC-5894D9BB87F8}" dt="2023-03-07T15:40:37.118" v="14194" actId="21"/>
          <ac:spMkLst>
            <pc:docMk/>
            <pc:sldMk cId="3159731328" sldId="2147469969"/>
            <ac:spMk id="29" creationId="{4410E4E7-6358-4C2E-BF43-D2B9DE4DCAA9}"/>
          </ac:spMkLst>
        </pc:spChg>
        <pc:spChg chg="add del mod">
          <ac:chgData name="Sylvie ROCHE" userId="60404d4e-bbf6-4ef1-963c-527a8dada0a5" providerId="ADAL" clId="{F1E5F0B4-FD2E-47E3-80DC-5894D9BB87F8}" dt="2023-03-07T15:40:37.118" v="14194" actId="21"/>
          <ac:spMkLst>
            <pc:docMk/>
            <pc:sldMk cId="3159731328" sldId="2147469969"/>
            <ac:spMk id="30" creationId="{BE59FE71-E21F-0E9D-01AA-BB02952E6FEC}"/>
          </ac:spMkLst>
        </pc:spChg>
        <pc:spChg chg="add del mod">
          <ac:chgData name="Sylvie ROCHE" userId="60404d4e-bbf6-4ef1-963c-527a8dada0a5" providerId="ADAL" clId="{F1E5F0B4-FD2E-47E3-80DC-5894D9BB87F8}" dt="2023-03-07T15:40:37.118" v="14194" actId="21"/>
          <ac:spMkLst>
            <pc:docMk/>
            <pc:sldMk cId="3159731328" sldId="2147469969"/>
            <ac:spMk id="31" creationId="{C678E30C-AD6F-164B-0FEA-FDF95B47BA98}"/>
          </ac:spMkLst>
        </pc:spChg>
        <pc:spChg chg="add del mod">
          <ac:chgData name="Sylvie ROCHE" userId="60404d4e-bbf6-4ef1-963c-527a8dada0a5" providerId="ADAL" clId="{F1E5F0B4-FD2E-47E3-80DC-5894D9BB87F8}" dt="2023-03-07T15:40:37.118" v="14194" actId="21"/>
          <ac:spMkLst>
            <pc:docMk/>
            <pc:sldMk cId="3159731328" sldId="2147469969"/>
            <ac:spMk id="32" creationId="{C4F9FA9F-BDA7-1310-6BC6-68E4C6011ACD}"/>
          </ac:spMkLst>
        </pc:spChg>
        <pc:spChg chg="add del mod">
          <ac:chgData name="Sylvie ROCHE" userId="60404d4e-bbf6-4ef1-963c-527a8dada0a5" providerId="ADAL" clId="{F1E5F0B4-FD2E-47E3-80DC-5894D9BB87F8}" dt="2023-03-07T15:39:54.842" v="14185" actId="478"/>
          <ac:spMkLst>
            <pc:docMk/>
            <pc:sldMk cId="3159731328" sldId="2147469969"/>
            <ac:spMk id="33" creationId="{671E8962-BD51-6FC9-45AF-0EE7762E3690}"/>
          </ac:spMkLst>
        </pc:spChg>
        <pc:spChg chg="add del mod">
          <ac:chgData name="Sylvie ROCHE" userId="60404d4e-bbf6-4ef1-963c-527a8dada0a5" providerId="ADAL" clId="{F1E5F0B4-FD2E-47E3-80DC-5894D9BB87F8}" dt="2023-03-07T15:40:40.107" v="14196"/>
          <ac:spMkLst>
            <pc:docMk/>
            <pc:sldMk cId="3159731328" sldId="2147469969"/>
            <ac:spMk id="34" creationId="{6F17D760-9B60-F7EA-E60B-8034E8F86BC3}"/>
          </ac:spMkLst>
        </pc:spChg>
        <pc:spChg chg="add del mod">
          <ac:chgData name="Sylvie ROCHE" userId="60404d4e-bbf6-4ef1-963c-527a8dada0a5" providerId="ADAL" clId="{F1E5F0B4-FD2E-47E3-80DC-5894D9BB87F8}" dt="2023-03-07T15:40:40.107" v="14196"/>
          <ac:spMkLst>
            <pc:docMk/>
            <pc:sldMk cId="3159731328" sldId="2147469969"/>
            <ac:spMk id="35" creationId="{68ACE489-3746-D4DE-E2D5-49AE57F33579}"/>
          </ac:spMkLst>
        </pc:spChg>
        <pc:spChg chg="add del mod">
          <ac:chgData name="Sylvie ROCHE" userId="60404d4e-bbf6-4ef1-963c-527a8dada0a5" providerId="ADAL" clId="{F1E5F0B4-FD2E-47E3-80DC-5894D9BB87F8}" dt="2023-03-07T15:40:40.107" v="14196"/>
          <ac:spMkLst>
            <pc:docMk/>
            <pc:sldMk cId="3159731328" sldId="2147469969"/>
            <ac:spMk id="36" creationId="{3341E450-D343-6D8E-A393-A1B1E0EBC329}"/>
          </ac:spMkLst>
        </pc:spChg>
        <pc:spChg chg="add del mod">
          <ac:chgData name="Sylvie ROCHE" userId="60404d4e-bbf6-4ef1-963c-527a8dada0a5" providerId="ADAL" clId="{F1E5F0B4-FD2E-47E3-80DC-5894D9BB87F8}" dt="2023-03-07T15:40:40.107" v="14196"/>
          <ac:spMkLst>
            <pc:docMk/>
            <pc:sldMk cId="3159731328" sldId="2147469969"/>
            <ac:spMk id="37" creationId="{63501B0E-3E4B-02C4-251D-D565F3578D22}"/>
          </ac:spMkLst>
        </pc:spChg>
        <pc:spChg chg="add del mod">
          <ac:chgData name="Sylvie ROCHE" userId="60404d4e-bbf6-4ef1-963c-527a8dada0a5" providerId="ADAL" clId="{F1E5F0B4-FD2E-47E3-80DC-5894D9BB87F8}" dt="2023-03-07T15:40:40.107" v="14196"/>
          <ac:spMkLst>
            <pc:docMk/>
            <pc:sldMk cId="3159731328" sldId="2147469969"/>
            <ac:spMk id="38" creationId="{17A3B861-9817-4B98-D1B0-8CFC23770B62}"/>
          </ac:spMkLst>
        </pc:spChg>
        <pc:spChg chg="add del mod">
          <ac:chgData name="Sylvie ROCHE" userId="60404d4e-bbf6-4ef1-963c-527a8dada0a5" providerId="ADAL" clId="{F1E5F0B4-FD2E-47E3-80DC-5894D9BB87F8}" dt="2023-03-07T15:40:40.107" v="14196"/>
          <ac:spMkLst>
            <pc:docMk/>
            <pc:sldMk cId="3159731328" sldId="2147469969"/>
            <ac:spMk id="39" creationId="{D97093EB-E50B-1940-8E18-46D0CAB1CEE7}"/>
          </ac:spMkLst>
        </pc:spChg>
        <pc:spChg chg="add del mod">
          <ac:chgData name="Sylvie ROCHE" userId="60404d4e-bbf6-4ef1-963c-527a8dada0a5" providerId="ADAL" clId="{F1E5F0B4-FD2E-47E3-80DC-5894D9BB87F8}" dt="2023-03-07T15:41:27.236" v="14208" actId="21"/>
          <ac:spMkLst>
            <pc:docMk/>
            <pc:sldMk cId="3159731328" sldId="2147469969"/>
            <ac:spMk id="41" creationId="{6B909CF8-7FD7-D821-6037-588A071D0A89}"/>
          </ac:spMkLst>
        </pc:spChg>
        <pc:spChg chg="add del mod">
          <ac:chgData name="Sylvie ROCHE" userId="60404d4e-bbf6-4ef1-963c-527a8dada0a5" providerId="ADAL" clId="{F1E5F0B4-FD2E-47E3-80DC-5894D9BB87F8}" dt="2023-03-07T15:41:27.236" v="14208" actId="21"/>
          <ac:spMkLst>
            <pc:docMk/>
            <pc:sldMk cId="3159731328" sldId="2147469969"/>
            <ac:spMk id="42" creationId="{011FE00C-0A99-F478-346E-3924F13AA64D}"/>
          </ac:spMkLst>
        </pc:spChg>
        <pc:spChg chg="add del mod">
          <ac:chgData name="Sylvie ROCHE" userId="60404d4e-bbf6-4ef1-963c-527a8dada0a5" providerId="ADAL" clId="{F1E5F0B4-FD2E-47E3-80DC-5894D9BB87F8}" dt="2023-03-07T15:41:27.236" v="14208" actId="21"/>
          <ac:spMkLst>
            <pc:docMk/>
            <pc:sldMk cId="3159731328" sldId="2147469969"/>
            <ac:spMk id="43" creationId="{22B3800D-4FE1-55D9-E9F0-FE937E26EAE8}"/>
          </ac:spMkLst>
        </pc:spChg>
        <pc:spChg chg="add del mod">
          <ac:chgData name="Sylvie ROCHE" userId="60404d4e-bbf6-4ef1-963c-527a8dada0a5" providerId="ADAL" clId="{F1E5F0B4-FD2E-47E3-80DC-5894D9BB87F8}" dt="2023-03-07T15:41:27.236" v="14208" actId="21"/>
          <ac:spMkLst>
            <pc:docMk/>
            <pc:sldMk cId="3159731328" sldId="2147469969"/>
            <ac:spMk id="44" creationId="{5AAB8F84-8B8F-6410-C592-3F14CF10372D}"/>
          </ac:spMkLst>
        </pc:spChg>
        <pc:spChg chg="add del mod">
          <ac:chgData name="Sylvie ROCHE" userId="60404d4e-bbf6-4ef1-963c-527a8dada0a5" providerId="ADAL" clId="{F1E5F0B4-FD2E-47E3-80DC-5894D9BB87F8}" dt="2023-03-07T15:41:27.236" v="14208" actId="21"/>
          <ac:spMkLst>
            <pc:docMk/>
            <pc:sldMk cId="3159731328" sldId="2147469969"/>
            <ac:spMk id="45" creationId="{7B017E9C-15C5-FBBC-4173-A11E3BB6719F}"/>
          </ac:spMkLst>
        </pc:spChg>
        <pc:spChg chg="add del mod">
          <ac:chgData name="Sylvie ROCHE" userId="60404d4e-bbf6-4ef1-963c-527a8dada0a5" providerId="ADAL" clId="{F1E5F0B4-FD2E-47E3-80DC-5894D9BB87F8}" dt="2023-03-07T15:41:15.307" v="14206" actId="478"/>
          <ac:spMkLst>
            <pc:docMk/>
            <pc:sldMk cId="3159731328" sldId="2147469969"/>
            <ac:spMk id="46" creationId="{2DBB7729-D4AF-4229-7695-9319B24B4107}"/>
          </ac:spMkLst>
        </pc:spChg>
        <pc:spChg chg="add del mod">
          <ac:chgData name="Sylvie ROCHE" userId="60404d4e-bbf6-4ef1-963c-527a8dada0a5" providerId="ADAL" clId="{F1E5F0B4-FD2E-47E3-80DC-5894D9BB87F8}" dt="2023-03-07T15:41:29.944" v="14210"/>
          <ac:spMkLst>
            <pc:docMk/>
            <pc:sldMk cId="3159731328" sldId="2147469969"/>
            <ac:spMk id="47" creationId="{7376E474-D2BD-0B6C-0F3C-CD68A18D7903}"/>
          </ac:spMkLst>
        </pc:spChg>
        <pc:spChg chg="add del mod">
          <ac:chgData name="Sylvie ROCHE" userId="60404d4e-bbf6-4ef1-963c-527a8dada0a5" providerId="ADAL" clId="{F1E5F0B4-FD2E-47E3-80DC-5894D9BB87F8}" dt="2023-03-07T15:41:29.944" v="14210"/>
          <ac:spMkLst>
            <pc:docMk/>
            <pc:sldMk cId="3159731328" sldId="2147469969"/>
            <ac:spMk id="48" creationId="{FF09135F-07B4-ACF0-E8E0-35F9064A7650}"/>
          </ac:spMkLst>
        </pc:spChg>
        <pc:spChg chg="add del mod">
          <ac:chgData name="Sylvie ROCHE" userId="60404d4e-bbf6-4ef1-963c-527a8dada0a5" providerId="ADAL" clId="{F1E5F0B4-FD2E-47E3-80DC-5894D9BB87F8}" dt="2023-03-07T15:41:29.944" v="14210"/>
          <ac:spMkLst>
            <pc:docMk/>
            <pc:sldMk cId="3159731328" sldId="2147469969"/>
            <ac:spMk id="49" creationId="{09CA5D39-5984-E266-21F0-66082FDBAA32}"/>
          </ac:spMkLst>
        </pc:spChg>
        <pc:spChg chg="add del mod">
          <ac:chgData name="Sylvie ROCHE" userId="60404d4e-bbf6-4ef1-963c-527a8dada0a5" providerId="ADAL" clId="{F1E5F0B4-FD2E-47E3-80DC-5894D9BB87F8}" dt="2023-03-07T15:41:29.944" v="14210"/>
          <ac:spMkLst>
            <pc:docMk/>
            <pc:sldMk cId="3159731328" sldId="2147469969"/>
            <ac:spMk id="50" creationId="{FA1D3555-617D-D60B-92F1-A67898C79B1C}"/>
          </ac:spMkLst>
        </pc:spChg>
        <pc:spChg chg="add del mod">
          <ac:chgData name="Sylvie ROCHE" userId="60404d4e-bbf6-4ef1-963c-527a8dada0a5" providerId="ADAL" clId="{F1E5F0B4-FD2E-47E3-80DC-5894D9BB87F8}" dt="2023-03-07T15:41:29.944" v="14210"/>
          <ac:spMkLst>
            <pc:docMk/>
            <pc:sldMk cId="3159731328" sldId="2147469969"/>
            <ac:spMk id="51" creationId="{80AE6D62-070E-623A-E39B-CA2D5D904956}"/>
          </ac:spMkLst>
        </pc:spChg>
        <pc:spChg chg="add del mod">
          <ac:chgData name="Sylvie ROCHE" userId="60404d4e-bbf6-4ef1-963c-527a8dada0a5" providerId="ADAL" clId="{F1E5F0B4-FD2E-47E3-80DC-5894D9BB87F8}" dt="2023-03-07T15:44:04.394" v="14219"/>
          <ac:spMkLst>
            <pc:docMk/>
            <pc:sldMk cId="3159731328" sldId="2147469969"/>
            <ac:spMk id="53" creationId="{F3BA8642-B015-E0C7-5A54-72B3F5ACD5CA}"/>
          </ac:spMkLst>
        </pc:spChg>
        <pc:spChg chg="add del mod">
          <ac:chgData name="Sylvie ROCHE" userId="60404d4e-bbf6-4ef1-963c-527a8dada0a5" providerId="ADAL" clId="{F1E5F0B4-FD2E-47E3-80DC-5894D9BB87F8}" dt="2023-03-07T15:44:04.394" v="14219"/>
          <ac:spMkLst>
            <pc:docMk/>
            <pc:sldMk cId="3159731328" sldId="2147469969"/>
            <ac:spMk id="54" creationId="{DEFEE924-283D-08D2-CBD1-181B876FB0C6}"/>
          </ac:spMkLst>
        </pc:spChg>
        <pc:spChg chg="add del mod">
          <ac:chgData name="Sylvie ROCHE" userId="60404d4e-bbf6-4ef1-963c-527a8dada0a5" providerId="ADAL" clId="{F1E5F0B4-FD2E-47E3-80DC-5894D9BB87F8}" dt="2023-03-07T15:44:04.394" v="14219"/>
          <ac:spMkLst>
            <pc:docMk/>
            <pc:sldMk cId="3159731328" sldId="2147469969"/>
            <ac:spMk id="55" creationId="{F81F8CF9-A8A8-B107-8570-FCC5A140B5CC}"/>
          </ac:spMkLst>
        </pc:spChg>
        <pc:spChg chg="add del mod">
          <ac:chgData name="Sylvie ROCHE" userId="60404d4e-bbf6-4ef1-963c-527a8dada0a5" providerId="ADAL" clId="{F1E5F0B4-FD2E-47E3-80DC-5894D9BB87F8}" dt="2023-03-07T15:44:04.394" v="14219"/>
          <ac:spMkLst>
            <pc:docMk/>
            <pc:sldMk cId="3159731328" sldId="2147469969"/>
            <ac:spMk id="56" creationId="{C8C8C0FE-587B-0CAE-633A-C7739435F9AB}"/>
          </ac:spMkLst>
        </pc:spChg>
        <pc:spChg chg="add del mod">
          <ac:chgData name="Sylvie ROCHE" userId="60404d4e-bbf6-4ef1-963c-527a8dada0a5" providerId="ADAL" clId="{F1E5F0B4-FD2E-47E3-80DC-5894D9BB87F8}" dt="2023-03-07T15:44:04.394" v="14219"/>
          <ac:spMkLst>
            <pc:docMk/>
            <pc:sldMk cId="3159731328" sldId="2147469969"/>
            <ac:spMk id="57" creationId="{C2DB8A13-1281-374C-FFA9-F926199C5A22}"/>
          </ac:spMkLst>
        </pc:spChg>
        <pc:spChg chg="add del mod">
          <ac:chgData name="Sylvie ROCHE" userId="60404d4e-bbf6-4ef1-963c-527a8dada0a5" providerId="ADAL" clId="{F1E5F0B4-FD2E-47E3-80DC-5894D9BB87F8}" dt="2023-03-07T15:44:04.394" v="14219"/>
          <ac:spMkLst>
            <pc:docMk/>
            <pc:sldMk cId="3159731328" sldId="2147469969"/>
            <ac:spMk id="58" creationId="{71C0A68A-6C40-83B6-E88B-429D7F28076D}"/>
          </ac:spMkLst>
        </pc:spChg>
        <pc:spChg chg="add del mod">
          <ac:chgData name="Sylvie ROCHE" userId="60404d4e-bbf6-4ef1-963c-527a8dada0a5" providerId="ADAL" clId="{F1E5F0B4-FD2E-47E3-80DC-5894D9BB87F8}" dt="2023-03-07T15:44:04.394" v="14219"/>
          <ac:spMkLst>
            <pc:docMk/>
            <pc:sldMk cId="3159731328" sldId="2147469969"/>
            <ac:spMk id="59" creationId="{72EAD51C-7202-3E55-4BCC-D4AAD8C33A4D}"/>
          </ac:spMkLst>
        </pc:spChg>
        <pc:spChg chg="add mod">
          <ac:chgData name="Sylvie ROCHE" userId="60404d4e-bbf6-4ef1-963c-527a8dada0a5" providerId="ADAL" clId="{F1E5F0B4-FD2E-47E3-80DC-5894D9BB87F8}" dt="2023-03-07T18:02:07.207" v="20994" actId="13926"/>
          <ac:spMkLst>
            <pc:docMk/>
            <pc:sldMk cId="3159731328" sldId="2147469969"/>
            <ac:spMk id="61" creationId="{7352CFF2-FBA9-70C9-3F62-89C7962BEDEF}"/>
          </ac:spMkLst>
        </pc:spChg>
        <pc:spChg chg="add del mod">
          <ac:chgData name="Sylvie ROCHE" userId="60404d4e-bbf6-4ef1-963c-527a8dada0a5" providerId="ADAL" clId="{F1E5F0B4-FD2E-47E3-80DC-5894D9BB87F8}" dt="2023-03-07T18:02:09.952" v="20995" actId="478"/>
          <ac:spMkLst>
            <pc:docMk/>
            <pc:sldMk cId="3159731328" sldId="2147469969"/>
            <ac:spMk id="62" creationId="{90634D84-C819-E3B5-856F-44A3DEEC75F0}"/>
          </ac:spMkLst>
        </pc:spChg>
        <pc:spChg chg="add mod">
          <ac:chgData name="Sylvie ROCHE" userId="60404d4e-bbf6-4ef1-963c-527a8dada0a5" providerId="ADAL" clId="{F1E5F0B4-FD2E-47E3-80DC-5894D9BB87F8}" dt="2023-03-07T17:21:50.224" v="18754" actId="1036"/>
          <ac:spMkLst>
            <pc:docMk/>
            <pc:sldMk cId="3159731328" sldId="2147469969"/>
            <ac:spMk id="63" creationId="{74D56A87-5FA0-2D7D-BF12-4A8BDE2126AF}"/>
          </ac:spMkLst>
        </pc:spChg>
        <pc:spChg chg="add mod">
          <ac:chgData name="Sylvie ROCHE" userId="60404d4e-bbf6-4ef1-963c-527a8dada0a5" providerId="ADAL" clId="{F1E5F0B4-FD2E-47E3-80DC-5894D9BB87F8}" dt="2023-03-07T16:32:48.839" v="16371" actId="1076"/>
          <ac:spMkLst>
            <pc:docMk/>
            <pc:sldMk cId="3159731328" sldId="2147469969"/>
            <ac:spMk id="64" creationId="{D18489B3-318E-BCF7-163E-21C7A6BB5398}"/>
          </ac:spMkLst>
        </pc:spChg>
        <pc:spChg chg="add del mod">
          <ac:chgData name="Sylvie ROCHE" userId="60404d4e-bbf6-4ef1-963c-527a8dada0a5" providerId="ADAL" clId="{F1E5F0B4-FD2E-47E3-80DC-5894D9BB87F8}" dt="2023-03-07T15:55:57.434" v="15207"/>
          <ac:spMkLst>
            <pc:docMk/>
            <pc:sldMk cId="3159731328" sldId="2147469969"/>
            <ac:spMk id="65" creationId="{169F8F94-2AA8-C82C-3EF8-A1B3663B3D63}"/>
          </ac:spMkLst>
        </pc:spChg>
        <pc:spChg chg="add del mod">
          <ac:chgData name="Sylvie ROCHE" userId="60404d4e-bbf6-4ef1-963c-527a8dada0a5" providerId="ADAL" clId="{F1E5F0B4-FD2E-47E3-80DC-5894D9BB87F8}" dt="2023-03-07T15:55:57.434" v="15207"/>
          <ac:spMkLst>
            <pc:docMk/>
            <pc:sldMk cId="3159731328" sldId="2147469969"/>
            <ac:spMk id="66" creationId="{2B12D62B-E083-FAD0-24F3-7752ABA9FC1F}"/>
          </ac:spMkLst>
        </pc:spChg>
        <pc:spChg chg="add del mod">
          <ac:chgData name="Sylvie ROCHE" userId="60404d4e-bbf6-4ef1-963c-527a8dada0a5" providerId="ADAL" clId="{F1E5F0B4-FD2E-47E3-80DC-5894D9BB87F8}" dt="2023-03-07T15:55:57.434" v="15207"/>
          <ac:spMkLst>
            <pc:docMk/>
            <pc:sldMk cId="3159731328" sldId="2147469969"/>
            <ac:spMk id="67" creationId="{C81F9641-9656-12A5-84F3-E758A66ED3BD}"/>
          </ac:spMkLst>
        </pc:spChg>
        <pc:spChg chg="add del mod">
          <ac:chgData name="Sylvie ROCHE" userId="60404d4e-bbf6-4ef1-963c-527a8dada0a5" providerId="ADAL" clId="{F1E5F0B4-FD2E-47E3-80DC-5894D9BB87F8}" dt="2023-03-07T15:55:57.434" v="15207"/>
          <ac:spMkLst>
            <pc:docMk/>
            <pc:sldMk cId="3159731328" sldId="2147469969"/>
            <ac:spMk id="68" creationId="{A0B03509-013D-A029-9A32-4F3483C81C46}"/>
          </ac:spMkLst>
        </pc:spChg>
        <pc:spChg chg="add del mod">
          <ac:chgData name="Sylvie ROCHE" userId="60404d4e-bbf6-4ef1-963c-527a8dada0a5" providerId="ADAL" clId="{F1E5F0B4-FD2E-47E3-80DC-5894D9BB87F8}" dt="2023-03-07T15:55:57.434" v="15207"/>
          <ac:spMkLst>
            <pc:docMk/>
            <pc:sldMk cId="3159731328" sldId="2147469969"/>
            <ac:spMk id="69" creationId="{51A5F58B-67CA-C9F8-CEDA-B3EEC344DC6C}"/>
          </ac:spMkLst>
        </pc:spChg>
        <pc:spChg chg="add del mod">
          <ac:chgData name="Sylvie ROCHE" userId="60404d4e-bbf6-4ef1-963c-527a8dada0a5" providerId="ADAL" clId="{F1E5F0B4-FD2E-47E3-80DC-5894D9BB87F8}" dt="2023-03-07T15:55:57.434" v="15207"/>
          <ac:spMkLst>
            <pc:docMk/>
            <pc:sldMk cId="3159731328" sldId="2147469969"/>
            <ac:spMk id="70" creationId="{ADFDCB83-962A-6029-47FB-4FC1E3037586}"/>
          </ac:spMkLst>
        </pc:spChg>
        <pc:spChg chg="add del mod">
          <ac:chgData name="Sylvie ROCHE" userId="60404d4e-bbf6-4ef1-963c-527a8dada0a5" providerId="ADAL" clId="{F1E5F0B4-FD2E-47E3-80DC-5894D9BB87F8}" dt="2023-03-07T15:55:57.434" v="15207"/>
          <ac:spMkLst>
            <pc:docMk/>
            <pc:sldMk cId="3159731328" sldId="2147469969"/>
            <ac:spMk id="71" creationId="{B90E980C-25B3-BFBF-EDA3-0E737C6063A5}"/>
          </ac:spMkLst>
        </pc:spChg>
        <pc:spChg chg="del">
          <ac:chgData name="Sylvie ROCHE" userId="60404d4e-bbf6-4ef1-963c-527a8dada0a5" providerId="ADAL" clId="{F1E5F0B4-FD2E-47E3-80DC-5894D9BB87F8}" dt="2023-03-02T21:36:48.359" v="12050" actId="478"/>
          <ac:spMkLst>
            <pc:docMk/>
            <pc:sldMk cId="3159731328" sldId="2147469969"/>
            <ac:spMk id="95" creationId="{F41CA78C-CDA5-D835-6B0D-85F5CAC19710}"/>
          </ac:spMkLst>
        </pc:spChg>
        <pc:spChg chg="del">
          <ac:chgData name="Sylvie ROCHE" userId="60404d4e-bbf6-4ef1-963c-527a8dada0a5" providerId="ADAL" clId="{F1E5F0B4-FD2E-47E3-80DC-5894D9BB87F8}" dt="2023-03-02T21:36:50.150" v="12051" actId="478"/>
          <ac:spMkLst>
            <pc:docMk/>
            <pc:sldMk cId="3159731328" sldId="2147469969"/>
            <ac:spMk id="98" creationId="{5C400FA5-30FD-5BB0-0B0D-BB9FF8DFC2BD}"/>
          </ac:spMkLst>
        </pc:spChg>
        <pc:grpChg chg="add del mod">
          <ac:chgData name="Sylvie ROCHE" userId="60404d4e-bbf6-4ef1-963c-527a8dada0a5" providerId="ADAL" clId="{F1E5F0B4-FD2E-47E3-80DC-5894D9BB87F8}" dt="2023-03-07T15:48:38.609" v="14779" actId="478"/>
          <ac:grpSpMkLst>
            <pc:docMk/>
            <pc:sldMk cId="3159731328" sldId="2147469969"/>
            <ac:grpSpMk id="19" creationId="{73ADEAEF-219E-517F-6003-79262F555F1F}"/>
          </ac:grpSpMkLst>
        </pc:grpChg>
        <pc:grpChg chg="mod">
          <ac:chgData name="Sylvie ROCHE" userId="60404d4e-bbf6-4ef1-963c-527a8dada0a5" providerId="ADAL" clId="{F1E5F0B4-FD2E-47E3-80DC-5894D9BB87F8}" dt="2023-03-02T21:37:10.944" v="12073"/>
          <ac:grpSpMkLst>
            <pc:docMk/>
            <pc:sldMk cId="3159731328" sldId="2147469969"/>
            <ac:grpSpMk id="21" creationId="{D98490DE-944A-2A29-043C-C2A9F056F431}"/>
          </ac:grpSpMkLst>
        </pc:grpChg>
        <pc:graphicFrameChg chg="add mod modGraphic">
          <ac:chgData name="Sylvie ROCHE" userId="60404d4e-bbf6-4ef1-963c-527a8dada0a5" providerId="ADAL" clId="{F1E5F0B4-FD2E-47E3-80DC-5894D9BB87F8}" dt="2023-03-07T18:22:37.843" v="21402" actId="113"/>
          <ac:graphicFrameMkLst>
            <pc:docMk/>
            <pc:sldMk cId="3159731328" sldId="2147469969"/>
            <ac:graphicFrameMk id="25" creationId="{81300CDA-423A-7C98-ED73-0AB23A4F94FE}"/>
          </ac:graphicFrameMkLst>
        </pc:graphicFrameChg>
        <pc:picChg chg="mod">
          <ac:chgData name="Sylvie ROCHE" userId="60404d4e-bbf6-4ef1-963c-527a8dada0a5" providerId="ADAL" clId="{F1E5F0B4-FD2E-47E3-80DC-5894D9BB87F8}" dt="2023-03-07T17:43:25.715" v="19179" actId="1076"/>
          <ac:picMkLst>
            <pc:docMk/>
            <pc:sldMk cId="3159731328" sldId="2147469969"/>
            <ac:picMk id="6" creationId="{CCA51F63-3D45-49D1-A294-FEE7069F69F3}"/>
          </ac:picMkLst>
        </pc:picChg>
        <pc:picChg chg="mod">
          <ac:chgData name="Sylvie ROCHE" userId="60404d4e-bbf6-4ef1-963c-527a8dada0a5" providerId="ADAL" clId="{F1E5F0B4-FD2E-47E3-80DC-5894D9BB87F8}" dt="2023-03-02T21:37:10.944" v="12073"/>
          <ac:picMkLst>
            <pc:docMk/>
            <pc:sldMk cId="3159731328" sldId="2147469969"/>
            <ac:picMk id="22" creationId="{FF357C5A-2926-4944-8201-A88169A3CB09}"/>
          </ac:picMkLst>
        </pc:picChg>
        <pc:picChg chg="mod">
          <ac:chgData name="Sylvie ROCHE" userId="60404d4e-bbf6-4ef1-963c-527a8dada0a5" providerId="ADAL" clId="{F1E5F0B4-FD2E-47E3-80DC-5894D9BB87F8}" dt="2023-03-02T21:37:10.944" v="12073"/>
          <ac:picMkLst>
            <pc:docMk/>
            <pc:sldMk cId="3159731328" sldId="2147469969"/>
            <ac:picMk id="23" creationId="{35C106ED-BD59-E33C-828A-F72AE707D44D}"/>
          </ac:picMkLst>
        </pc:picChg>
        <pc:picChg chg="mod">
          <ac:chgData name="Sylvie ROCHE" userId="60404d4e-bbf6-4ef1-963c-527a8dada0a5" providerId="ADAL" clId="{F1E5F0B4-FD2E-47E3-80DC-5894D9BB87F8}" dt="2023-03-07T17:21:50.224" v="18754" actId="1036"/>
          <ac:picMkLst>
            <pc:docMk/>
            <pc:sldMk cId="3159731328" sldId="2147469969"/>
            <ac:picMk id="24" creationId="{07A552B2-1363-45E7-BB1D-2B6DAE61A8ED}"/>
          </ac:picMkLst>
        </pc:picChg>
        <pc:picChg chg="add del mod">
          <ac:chgData name="Sylvie ROCHE" userId="60404d4e-bbf6-4ef1-963c-527a8dada0a5" providerId="ADAL" clId="{F1E5F0B4-FD2E-47E3-80DC-5894D9BB87F8}" dt="2023-03-02T21:44:17.341" v="12610" actId="478"/>
          <ac:picMkLst>
            <pc:docMk/>
            <pc:sldMk cId="3159731328" sldId="2147469969"/>
            <ac:picMk id="26" creationId="{7ADB9838-E552-1B66-41C9-3A23A978F99B}"/>
          </ac:picMkLst>
        </pc:picChg>
        <pc:picChg chg="add del mod">
          <ac:chgData name="Sylvie ROCHE" userId="60404d4e-bbf6-4ef1-963c-527a8dada0a5" providerId="ADAL" clId="{F1E5F0B4-FD2E-47E3-80DC-5894D9BB87F8}" dt="2023-03-07T15:41:03.472" v="14204" actId="478"/>
          <ac:picMkLst>
            <pc:docMk/>
            <pc:sldMk cId="3159731328" sldId="2147469969"/>
            <ac:picMk id="40" creationId="{D39B4907-895F-9F4E-55CC-729E78C36670}"/>
          </ac:picMkLst>
        </pc:picChg>
        <pc:picChg chg="add del mod">
          <ac:chgData name="Sylvie ROCHE" userId="60404d4e-bbf6-4ef1-963c-527a8dada0a5" providerId="ADAL" clId="{F1E5F0B4-FD2E-47E3-80DC-5894D9BB87F8}" dt="2023-03-07T15:41:52.228" v="14217" actId="478"/>
          <ac:picMkLst>
            <pc:docMk/>
            <pc:sldMk cId="3159731328" sldId="2147469969"/>
            <ac:picMk id="52" creationId="{00DC7185-3973-D38F-E956-DB555B4348B2}"/>
          </ac:picMkLst>
        </pc:picChg>
        <pc:picChg chg="add del mod">
          <ac:chgData name="Sylvie ROCHE" userId="60404d4e-bbf6-4ef1-963c-527a8dada0a5" providerId="ADAL" clId="{F1E5F0B4-FD2E-47E3-80DC-5894D9BB87F8}" dt="2023-03-07T15:55:49.634" v="15205" actId="478"/>
          <ac:picMkLst>
            <pc:docMk/>
            <pc:sldMk cId="3159731328" sldId="2147469969"/>
            <ac:picMk id="60" creationId="{BA3DFC84-79A2-E459-20DA-4AB15437895A}"/>
          </ac:picMkLst>
        </pc:picChg>
        <pc:picChg chg="add mod">
          <ac:chgData name="Sylvie ROCHE" userId="60404d4e-bbf6-4ef1-963c-527a8dada0a5" providerId="ADAL" clId="{F1E5F0B4-FD2E-47E3-80DC-5894D9BB87F8}" dt="2023-03-07T18:22:43.407" v="21403" actId="1076"/>
          <ac:picMkLst>
            <pc:docMk/>
            <pc:sldMk cId="3159731328" sldId="2147469969"/>
            <ac:picMk id="72" creationId="{79670090-A8CB-9AD4-9B23-174AF10752C8}"/>
          </ac:picMkLst>
        </pc:picChg>
        <pc:cxnChg chg="mod">
          <ac:chgData name="Sylvie ROCHE" userId="60404d4e-bbf6-4ef1-963c-527a8dada0a5" providerId="ADAL" clId="{F1E5F0B4-FD2E-47E3-80DC-5894D9BB87F8}" dt="2023-03-07T17:43:25.715" v="19179" actId="1076"/>
          <ac:cxnSpMkLst>
            <pc:docMk/>
            <pc:sldMk cId="3159731328" sldId="2147469969"/>
            <ac:cxnSpMk id="14" creationId="{CA362DFC-94B7-4CD5-8459-C95A5EA44217}"/>
          </ac:cxnSpMkLst>
        </pc:cxnChg>
        <pc:cxnChg chg="mod">
          <ac:chgData name="Sylvie ROCHE" userId="60404d4e-bbf6-4ef1-963c-527a8dada0a5" providerId="ADAL" clId="{F1E5F0B4-FD2E-47E3-80DC-5894D9BB87F8}" dt="2023-03-07T17:21:50.224" v="18754" actId="1036"/>
          <ac:cxnSpMkLst>
            <pc:docMk/>
            <pc:sldMk cId="3159731328" sldId="2147469969"/>
            <ac:cxnSpMk id="16" creationId="{B8AE57C4-69CE-4608-8DDB-7E6E3218F160}"/>
          </ac:cxnSpMkLst>
        </pc:cxnChg>
      </pc:sldChg>
      <pc:sldChg chg="addSp delSp modSp new mod">
        <pc:chgData name="Sylvie ROCHE" userId="60404d4e-bbf6-4ef1-963c-527a8dada0a5" providerId="ADAL" clId="{F1E5F0B4-FD2E-47E3-80DC-5894D9BB87F8}" dt="2023-03-07T18:26:48.023" v="21824"/>
        <pc:sldMkLst>
          <pc:docMk/>
          <pc:sldMk cId="4116724848" sldId="2147469970"/>
        </pc:sldMkLst>
        <pc:spChg chg="add del mod">
          <ac:chgData name="Sylvie ROCHE" userId="60404d4e-bbf6-4ef1-963c-527a8dada0a5" providerId="ADAL" clId="{F1E5F0B4-FD2E-47E3-80DC-5894D9BB87F8}" dt="2023-03-01T15:11:00.700" v="4427" actId="478"/>
          <ac:spMkLst>
            <pc:docMk/>
            <pc:sldMk cId="4116724848" sldId="2147469970"/>
            <ac:spMk id="3" creationId="{B97F2435-D716-8DDF-0083-EF6C9454AFEA}"/>
          </ac:spMkLst>
        </pc:spChg>
        <pc:spChg chg="add mod">
          <ac:chgData name="Sylvie ROCHE" userId="60404d4e-bbf6-4ef1-963c-527a8dada0a5" providerId="ADAL" clId="{F1E5F0B4-FD2E-47E3-80DC-5894D9BB87F8}" dt="2023-03-01T15:09:25.626" v="4396" actId="14100"/>
          <ac:spMkLst>
            <pc:docMk/>
            <pc:sldMk cId="4116724848" sldId="2147469970"/>
            <ac:spMk id="4" creationId="{189209A9-621E-F690-894D-25383ED112E3}"/>
          </ac:spMkLst>
        </pc:spChg>
        <pc:spChg chg="add del mod">
          <ac:chgData name="Sylvie ROCHE" userId="60404d4e-bbf6-4ef1-963c-527a8dada0a5" providerId="ADAL" clId="{F1E5F0B4-FD2E-47E3-80DC-5894D9BB87F8}" dt="2023-03-01T15:09:54.953" v="4398" actId="478"/>
          <ac:spMkLst>
            <pc:docMk/>
            <pc:sldMk cId="4116724848" sldId="2147469970"/>
            <ac:spMk id="5" creationId="{0B26545D-39FB-6035-4F58-134BEA11EB46}"/>
          </ac:spMkLst>
        </pc:spChg>
        <pc:spChg chg="add mod">
          <ac:chgData name="Sylvie ROCHE" userId="60404d4e-bbf6-4ef1-963c-527a8dada0a5" providerId="ADAL" clId="{F1E5F0B4-FD2E-47E3-80DC-5894D9BB87F8}" dt="2023-03-01T15:10:34.788" v="4422" actId="207"/>
          <ac:spMkLst>
            <pc:docMk/>
            <pc:sldMk cId="4116724848" sldId="2147469970"/>
            <ac:spMk id="6" creationId="{2943E940-BDE7-28AA-6994-FFF299A40E3E}"/>
          </ac:spMkLst>
        </pc:spChg>
        <pc:spChg chg="add del mod">
          <ac:chgData name="Sylvie ROCHE" userId="60404d4e-bbf6-4ef1-963c-527a8dada0a5" providerId="ADAL" clId="{F1E5F0B4-FD2E-47E3-80DC-5894D9BB87F8}" dt="2023-03-01T15:13:16.589" v="4474" actId="478"/>
          <ac:spMkLst>
            <pc:docMk/>
            <pc:sldMk cId="4116724848" sldId="2147469970"/>
            <ac:spMk id="7" creationId="{900C2F17-265D-CEA1-6D98-71926998FE58}"/>
          </ac:spMkLst>
        </pc:spChg>
        <pc:spChg chg="add del">
          <ac:chgData name="Sylvie ROCHE" userId="60404d4e-bbf6-4ef1-963c-527a8dada0a5" providerId="ADAL" clId="{F1E5F0B4-FD2E-47E3-80DC-5894D9BB87F8}" dt="2023-03-01T15:12:42.847" v="4465"/>
          <ac:spMkLst>
            <pc:docMk/>
            <pc:sldMk cId="4116724848" sldId="2147469970"/>
            <ac:spMk id="8" creationId="{C43B00D6-784C-0003-BA32-D6FC12C16E75}"/>
          </ac:spMkLst>
        </pc:spChg>
        <pc:spChg chg="add del mod">
          <ac:chgData name="Sylvie ROCHE" userId="60404d4e-bbf6-4ef1-963c-527a8dada0a5" providerId="ADAL" clId="{F1E5F0B4-FD2E-47E3-80DC-5894D9BB87F8}" dt="2023-03-01T15:13:16.592" v="4476"/>
          <ac:spMkLst>
            <pc:docMk/>
            <pc:sldMk cId="4116724848" sldId="2147469970"/>
            <ac:spMk id="9" creationId="{3D398574-EDA2-635E-AB78-D6CC6A8F31FD}"/>
          </ac:spMkLst>
        </pc:spChg>
        <pc:spChg chg="add del">
          <ac:chgData name="Sylvie ROCHE" userId="60404d4e-bbf6-4ef1-963c-527a8dada0a5" providerId="ADAL" clId="{F1E5F0B4-FD2E-47E3-80DC-5894D9BB87F8}" dt="2023-03-01T15:13:01.912" v="4470"/>
          <ac:spMkLst>
            <pc:docMk/>
            <pc:sldMk cId="4116724848" sldId="2147469970"/>
            <ac:spMk id="10" creationId="{62524E07-1F09-0DDD-F7DB-995E98763F16}"/>
          </ac:spMkLst>
        </pc:spChg>
        <pc:spChg chg="add del">
          <ac:chgData name="Sylvie ROCHE" userId="60404d4e-bbf6-4ef1-963c-527a8dada0a5" providerId="ADAL" clId="{F1E5F0B4-FD2E-47E3-80DC-5894D9BB87F8}" dt="2023-03-01T15:13:14.085" v="4473"/>
          <ac:spMkLst>
            <pc:docMk/>
            <pc:sldMk cId="4116724848" sldId="2147469970"/>
            <ac:spMk id="11" creationId="{D42BAC20-51F8-8EFC-8AC1-C75E0B20846B}"/>
          </ac:spMkLst>
        </pc:spChg>
        <pc:spChg chg="add del mod">
          <ac:chgData name="Sylvie ROCHE" userId="60404d4e-bbf6-4ef1-963c-527a8dada0a5" providerId="ADAL" clId="{F1E5F0B4-FD2E-47E3-80DC-5894D9BB87F8}" dt="2023-03-01T15:49:54.341" v="5512" actId="478"/>
          <ac:spMkLst>
            <pc:docMk/>
            <pc:sldMk cId="4116724848" sldId="2147469970"/>
            <ac:spMk id="12" creationId="{1A8CF276-A5D9-0FA1-DDD2-7239A722B785}"/>
          </ac:spMkLst>
        </pc:spChg>
        <pc:spChg chg="add del mod">
          <ac:chgData name="Sylvie ROCHE" userId="60404d4e-bbf6-4ef1-963c-527a8dada0a5" providerId="ADAL" clId="{F1E5F0B4-FD2E-47E3-80DC-5894D9BB87F8}" dt="2023-03-01T15:19:06.901" v="4493"/>
          <ac:spMkLst>
            <pc:docMk/>
            <pc:sldMk cId="4116724848" sldId="2147469970"/>
            <ac:spMk id="13" creationId="{EFACE69E-6B78-39C0-1700-974528E04721}"/>
          </ac:spMkLst>
        </pc:spChg>
        <pc:graphicFrameChg chg="add mod modGraphic">
          <ac:chgData name="Sylvie ROCHE" userId="60404d4e-bbf6-4ef1-963c-527a8dada0a5" providerId="ADAL" clId="{F1E5F0B4-FD2E-47E3-80DC-5894D9BB87F8}" dt="2023-03-07T18:26:48.023" v="21824"/>
          <ac:graphicFrameMkLst>
            <pc:docMk/>
            <pc:sldMk cId="4116724848" sldId="2147469970"/>
            <ac:graphicFrameMk id="2" creationId="{7F94D593-277D-3A59-B987-BD85E51AB418}"/>
          </ac:graphicFrameMkLst>
        </pc:graphicFrameChg>
        <pc:picChg chg="add del mod">
          <ac:chgData name="Sylvie ROCHE" userId="60404d4e-bbf6-4ef1-963c-527a8dada0a5" providerId="ADAL" clId="{F1E5F0B4-FD2E-47E3-80DC-5894D9BB87F8}" dt="2023-03-01T15:10:48.214" v="4425" actId="478"/>
          <ac:picMkLst>
            <pc:docMk/>
            <pc:sldMk cId="4116724848" sldId="2147469970"/>
            <ac:picMk id="1025" creationId="{8CADD51F-F52B-E564-A116-BA6DB27948C0}"/>
          </ac:picMkLst>
        </pc:picChg>
      </pc:sldChg>
      <pc:sldChg chg="modSp mod">
        <pc:chgData name="Sylvie ROCHE" userId="60404d4e-bbf6-4ef1-963c-527a8dada0a5" providerId="ADAL" clId="{F1E5F0B4-FD2E-47E3-80DC-5894D9BB87F8}" dt="2023-03-07T14:39:17.148" v="13896" actId="108"/>
        <pc:sldMkLst>
          <pc:docMk/>
          <pc:sldMk cId="1771392329" sldId="2147469971"/>
        </pc:sldMkLst>
        <pc:spChg chg="mod">
          <ac:chgData name="Sylvie ROCHE" userId="60404d4e-bbf6-4ef1-963c-527a8dada0a5" providerId="ADAL" clId="{F1E5F0B4-FD2E-47E3-80DC-5894D9BB87F8}" dt="2023-03-07T14:39:10.849" v="13895" actId="108"/>
          <ac:spMkLst>
            <pc:docMk/>
            <pc:sldMk cId="1771392329" sldId="2147469971"/>
            <ac:spMk id="3" creationId="{9A5F46FE-E970-7C59-B32C-9892E8B7EB95}"/>
          </ac:spMkLst>
        </pc:spChg>
        <pc:spChg chg="mod">
          <ac:chgData name="Sylvie ROCHE" userId="60404d4e-bbf6-4ef1-963c-527a8dada0a5" providerId="ADAL" clId="{F1E5F0B4-FD2E-47E3-80DC-5894D9BB87F8}" dt="2023-03-07T14:39:17.148" v="13896" actId="108"/>
          <ac:spMkLst>
            <pc:docMk/>
            <pc:sldMk cId="1771392329" sldId="2147469971"/>
            <ac:spMk id="11" creationId="{E91348FE-6487-E625-958A-AADD584445ED}"/>
          </ac:spMkLst>
        </pc:spChg>
      </pc:sldChg>
      <pc:sldChg chg="addSp delSp modSp add del mod">
        <pc:chgData name="Sylvie ROCHE" userId="60404d4e-bbf6-4ef1-963c-527a8dada0a5" providerId="ADAL" clId="{F1E5F0B4-FD2E-47E3-80DC-5894D9BB87F8}" dt="2023-03-02T21:23:58.716" v="11437" actId="47"/>
        <pc:sldMkLst>
          <pc:docMk/>
          <pc:sldMk cId="4278307972" sldId="2147469971"/>
        </pc:sldMkLst>
        <pc:spChg chg="mod">
          <ac:chgData name="Sylvie ROCHE" userId="60404d4e-bbf6-4ef1-963c-527a8dada0a5" providerId="ADAL" clId="{F1E5F0B4-FD2E-47E3-80DC-5894D9BB87F8}" dt="2023-03-01T22:12:33.490" v="5835" actId="20577"/>
          <ac:spMkLst>
            <pc:docMk/>
            <pc:sldMk cId="4278307972" sldId="2147469971"/>
            <ac:spMk id="2" creationId="{AB53A934-65D5-BCF6-DCD4-8D3180660FE9}"/>
          </ac:spMkLst>
        </pc:spChg>
        <pc:spChg chg="mod">
          <ac:chgData name="Sylvie ROCHE" userId="60404d4e-bbf6-4ef1-963c-527a8dada0a5" providerId="ADAL" clId="{F1E5F0B4-FD2E-47E3-80DC-5894D9BB87F8}" dt="2023-03-01T22:12:38.120" v="5836" actId="20577"/>
          <ac:spMkLst>
            <pc:docMk/>
            <pc:sldMk cId="4278307972" sldId="2147469971"/>
            <ac:spMk id="3" creationId="{60E804CD-6A42-AA1C-3C1B-F3DA3FC13969}"/>
          </ac:spMkLst>
        </pc:spChg>
        <pc:spChg chg="add del">
          <ac:chgData name="Sylvie ROCHE" userId="60404d4e-bbf6-4ef1-963c-527a8dada0a5" providerId="ADAL" clId="{F1E5F0B4-FD2E-47E3-80DC-5894D9BB87F8}" dt="2023-03-01T22:12:06.491" v="5793" actId="22"/>
          <ac:spMkLst>
            <pc:docMk/>
            <pc:sldMk cId="4278307972" sldId="2147469971"/>
            <ac:spMk id="6" creationId="{075C1F52-246C-7E37-F8D3-366D13C5E90F}"/>
          </ac:spMkLst>
        </pc:spChg>
      </pc:sldChg>
      <pc:sldChg chg="delSp modSp add del mod ord modShow">
        <pc:chgData name="Sylvie ROCHE" userId="60404d4e-bbf6-4ef1-963c-527a8dada0a5" providerId="ADAL" clId="{F1E5F0B4-FD2E-47E3-80DC-5894D9BB87F8}" dt="2023-03-07T14:41:19.541" v="13911" actId="2696"/>
        <pc:sldMkLst>
          <pc:docMk/>
          <pc:sldMk cId="3736823519" sldId="2147469972"/>
        </pc:sldMkLst>
        <pc:spChg chg="mod">
          <ac:chgData name="Sylvie ROCHE" userId="60404d4e-bbf6-4ef1-963c-527a8dada0a5" providerId="ADAL" clId="{F1E5F0B4-FD2E-47E3-80DC-5894D9BB87F8}" dt="2023-03-01T22:05:14.247" v="5746" actId="20577"/>
          <ac:spMkLst>
            <pc:docMk/>
            <pc:sldMk cId="3736823519" sldId="2147469972"/>
            <ac:spMk id="2" creationId="{AB53A934-65D5-BCF6-DCD4-8D3180660FE9}"/>
          </ac:spMkLst>
        </pc:spChg>
        <pc:spChg chg="mod">
          <ac:chgData name="Sylvie ROCHE" userId="60404d4e-bbf6-4ef1-963c-527a8dada0a5" providerId="ADAL" clId="{F1E5F0B4-FD2E-47E3-80DC-5894D9BB87F8}" dt="2023-03-01T22:07:35.220" v="5769" actId="13926"/>
          <ac:spMkLst>
            <pc:docMk/>
            <pc:sldMk cId="3736823519" sldId="2147469972"/>
            <ac:spMk id="3" creationId="{60E804CD-6A42-AA1C-3C1B-F3DA3FC13969}"/>
          </ac:spMkLst>
        </pc:spChg>
        <pc:spChg chg="mod">
          <ac:chgData name="Sylvie ROCHE" userId="60404d4e-bbf6-4ef1-963c-527a8dada0a5" providerId="ADAL" clId="{F1E5F0B4-FD2E-47E3-80DC-5894D9BB87F8}" dt="2023-03-02T21:23:07.910" v="11416" actId="20577"/>
          <ac:spMkLst>
            <pc:docMk/>
            <pc:sldMk cId="3736823519" sldId="2147469972"/>
            <ac:spMk id="4" creationId="{23A45A1D-D6D1-3D01-C8F2-DD42807A8BFC}"/>
          </ac:spMkLst>
        </pc:spChg>
        <pc:spChg chg="del">
          <ac:chgData name="Sylvie ROCHE" userId="60404d4e-bbf6-4ef1-963c-527a8dada0a5" providerId="ADAL" clId="{F1E5F0B4-FD2E-47E3-80DC-5894D9BB87F8}" dt="2023-03-01T22:05:32.027" v="5754" actId="478"/>
          <ac:spMkLst>
            <pc:docMk/>
            <pc:sldMk cId="3736823519" sldId="2147469972"/>
            <ac:spMk id="5" creationId="{96AEBDB6-8939-D0F4-A8E7-47DAB3470845}"/>
          </ac:spMkLst>
        </pc:spChg>
        <pc:spChg chg="mod">
          <ac:chgData name="Sylvie ROCHE" userId="60404d4e-bbf6-4ef1-963c-527a8dada0a5" providerId="ADAL" clId="{F1E5F0B4-FD2E-47E3-80DC-5894D9BB87F8}" dt="2023-03-01T22:10:49.570" v="5791" actId="1076"/>
          <ac:spMkLst>
            <pc:docMk/>
            <pc:sldMk cId="3736823519" sldId="2147469972"/>
            <ac:spMk id="6" creationId="{6F148A48-6ADF-4053-B8FA-7F27CC8DCB86}"/>
          </ac:spMkLst>
        </pc:spChg>
      </pc:sldChg>
      <pc:sldChg chg="modSp add del mod">
        <pc:chgData name="Sylvie ROCHE" userId="60404d4e-bbf6-4ef1-963c-527a8dada0a5" providerId="ADAL" clId="{F1E5F0B4-FD2E-47E3-80DC-5894D9BB87F8}" dt="2023-03-02T20:49:16.829" v="9361" actId="47"/>
        <pc:sldMkLst>
          <pc:docMk/>
          <pc:sldMk cId="1283695463" sldId="2147469973"/>
        </pc:sldMkLst>
        <pc:spChg chg="mod">
          <ac:chgData name="Sylvie ROCHE" userId="60404d4e-bbf6-4ef1-963c-527a8dada0a5" providerId="ADAL" clId="{F1E5F0B4-FD2E-47E3-80DC-5894D9BB87F8}" dt="2023-03-01T22:13:01.009" v="5874" actId="14100"/>
          <ac:spMkLst>
            <pc:docMk/>
            <pc:sldMk cId="1283695463" sldId="2147469973"/>
            <ac:spMk id="2" creationId="{AB53A934-65D5-BCF6-DCD4-8D3180660FE9}"/>
          </ac:spMkLst>
        </pc:spChg>
      </pc:sldChg>
      <pc:sldChg chg="modSp add del mod addCm">
        <pc:chgData name="Sylvie ROCHE" userId="60404d4e-bbf6-4ef1-963c-527a8dada0a5" providerId="ADAL" clId="{F1E5F0B4-FD2E-47E3-80DC-5894D9BB87F8}" dt="2023-03-02T20:54:02.065" v="9407" actId="2696"/>
        <pc:sldMkLst>
          <pc:docMk/>
          <pc:sldMk cId="2642809090" sldId="2147469974"/>
        </pc:sldMkLst>
        <pc:spChg chg="mod">
          <ac:chgData name="Sylvie ROCHE" userId="60404d4e-bbf6-4ef1-963c-527a8dada0a5" providerId="ADAL" clId="{F1E5F0B4-FD2E-47E3-80DC-5894D9BB87F8}" dt="2023-03-01T22:13:12.377" v="5893" actId="20577"/>
          <ac:spMkLst>
            <pc:docMk/>
            <pc:sldMk cId="2642809090" sldId="2147469974"/>
            <ac:spMk id="2" creationId="{AB53A934-65D5-BCF6-DCD4-8D3180660FE9}"/>
          </ac:spMkLst>
        </pc:spChg>
        <pc:spChg chg="mod">
          <ac:chgData name="Sylvie ROCHE" userId="60404d4e-bbf6-4ef1-963c-527a8dada0a5" providerId="ADAL" clId="{F1E5F0B4-FD2E-47E3-80DC-5894D9BB87F8}" dt="2023-03-01T22:13:16.327" v="5895" actId="20577"/>
          <ac:spMkLst>
            <pc:docMk/>
            <pc:sldMk cId="2642809090" sldId="2147469974"/>
            <ac:spMk id="3" creationId="{60E804CD-6A42-AA1C-3C1B-F3DA3FC13969}"/>
          </ac:spMkLst>
        </pc:spChg>
        <pc:spChg chg="mod">
          <ac:chgData name="Sylvie ROCHE" userId="60404d4e-bbf6-4ef1-963c-527a8dada0a5" providerId="ADAL" clId="{F1E5F0B4-FD2E-47E3-80DC-5894D9BB87F8}" dt="2023-03-01T22:13:20.127" v="5901" actId="20577"/>
          <ac:spMkLst>
            <pc:docMk/>
            <pc:sldMk cId="2642809090" sldId="2147469974"/>
            <ac:spMk id="4" creationId="{B69E885B-7E85-A48D-2EE8-0589E1C391ED}"/>
          </ac:spMkLst>
        </pc:spChg>
        <pc:extLst>
          <p:ext xmlns:p="http://schemas.openxmlformats.org/presentationml/2006/main" uri="{D6D511B9-2390-475A-947B-AFAB55BFBCF1}">
            <pc226:cmChg xmlns:pc226="http://schemas.microsoft.com/office/powerpoint/2022/06/main/command" chg="add">
              <pc226:chgData name="Sylvie ROCHE" userId="60404d4e-bbf6-4ef1-963c-527a8dada0a5" providerId="ADAL" clId="{F1E5F0B4-FD2E-47E3-80DC-5894D9BB87F8}" dt="2023-03-01T22:13:44.479" v="5902"/>
              <pc2:cmMkLst xmlns:pc2="http://schemas.microsoft.com/office/powerpoint/2019/9/main/command">
                <pc:docMk/>
                <pc:sldMk cId="2642809090" sldId="2147469974"/>
                <pc2:cmMk id="{B52A4FAD-17BC-4076-B0F0-1324EACA2686}"/>
              </pc2:cmMkLst>
            </pc226:cmChg>
          </p:ext>
        </pc:extLst>
      </pc:sldChg>
      <pc:sldChg chg="addSp delSp modSp add del mod modShow">
        <pc:chgData name="Sylvie ROCHE" userId="60404d4e-bbf6-4ef1-963c-527a8dada0a5" providerId="ADAL" clId="{F1E5F0B4-FD2E-47E3-80DC-5894D9BB87F8}" dt="2023-03-07T14:41:19.541" v="13911" actId="2696"/>
        <pc:sldMkLst>
          <pc:docMk/>
          <pc:sldMk cId="4240600395" sldId="2147469975"/>
        </pc:sldMkLst>
        <pc:spChg chg="mod">
          <ac:chgData name="Sylvie ROCHE" userId="60404d4e-bbf6-4ef1-963c-527a8dada0a5" providerId="ADAL" clId="{F1E5F0B4-FD2E-47E3-80DC-5894D9BB87F8}" dt="2023-03-01T22:31:50.631" v="6145" actId="20577"/>
          <ac:spMkLst>
            <pc:docMk/>
            <pc:sldMk cId="4240600395" sldId="2147469975"/>
            <ac:spMk id="3" creationId="{630651B5-820B-FDBC-2819-6E2A085C52FE}"/>
          </ac:spMkLst>
        </pc:spChg>
        <pc:spChg chg="add mod">
          <ac:chgData name="Sylvie ROCHE" userId="60404d4e-bbf6-4ef1-963c-527a8dada0a5" providerId="ADAL" clId="{F1E5F0B4-FD2E-47E3-80DC-5894D9BB87F8}" dt="2023-03-01T22:34:54.061" v="6405" actId="20577"/>
          <ac:spMkLst>
            <pc:docMk/>
            <pc:sldMk cId="4240600395" sldId="2147469975"/>
            <ac:spMk id="4" creationId="{14D283C2-FDE6-CCC7-3D05-FF502CDA369C}"/>
          </ac:spMkLst>
        </pc:spChg>
        <pc:grpChg chg="del">
          <ac:chgData name="Sylvie ROCHE" userId="60404d4e-bbf6-4ef1-963c-527a8dada0a5" providerId="ADAL" clId="{F1E5F0B4-FD2E-47E3-80DC-5894D9BB87F8}" dt="2023-03-01T22:31:47.436" v="6144" actId="478"/>
          <ac:grpSpMkLst>
            <pc:docMk/>
            <pc:sldMk cId="4240600395" sldId="2147469975"/>
            <ac:grpSpMk id="308227" creationId="{8CC5E206-1335-EA15-E782-B8561458F0AE}"/>
          </ac:grpSpMkLst>
        </pc:grpChg>
      </pc:sldChg>
      <pc:sldChg chg="delSp del mod">
        <pc:chgData name="Sylvie ROCHE" userId="60404d4e-bbf6-4ef1-963c-527a8dada0a5" providerId="ADAL" clId="{F1E5F0B4-FD2E-47E3-80DC-5894D9BB87F8}" dt="2023-03-02T17:32:30.930" v="7295" actId="47"/>
        <pc:sldMkLst>
          <pc:docMk/>
          <pc:sldMk cId="3660464177" sldId="2147469977"/>
        </pc:sldMkLst>
        <pc:spChg chg="del">
          <ac:chgData name="Sylvie ROCHE" userId="60404d4e-bbf6-4ef1-963c-527a8dada0a5" providerId="ADAL" clId="{F1E5F0B4-FD2E-47E3-80DC-5894D9BB87F8}" dt="2023-03-02T17:30:15.448" v="7206" actId="21"/>
          <ac:spMkLst>
            <pc:docMk/>
            <pc:sldMk cId="3660464177" sldId="2147469977"/>
            <ac:spMk id="7" creationId="{4B00EEAD-4EF2-2416-264A-C9350FEF3426}"/>
          </ac:spMkLst>
        </pc:spChg>
        <pc:spChg chg="del">
          <ac:chgData name="Sylvie ROCHE" userId="60404d4e-bbf6-4ef1-963c-527a8dada0a5" providerId="ADAL" clId="{F1E5F0B4-FD2E-47E3-80DC-5894D9BB87F8}" dt="2023-03-02T17:30:15.448" v="7206" actId="21"/>
          <ac:spMkLst>
            <pc:docMk/>
            <pc:sldMk cId="3660464177" sldId="2147469977"/>
            <ac:spMk id="8" creationId="{DDA15786-8C83-CECC-3495-07077E115E5D}"/>
          </ac:spMkLst>
        </pc:spChg>
        <pc:spChg chg="del">
          <ac:chgData name="Sylvie ROCHE" userId="60404d4e-bbf6-4ef1-963c-527a8dada0a5" providerId="ADAL" clId="{F1E5F0B4-FD2E-47E3-80DC-5894D9BB87F8}" dt="2023-03-02T17:30:15.448" v="7206" actId="21"/>
          <ac:spMkLst>
            <pc:docMk/>
            <pc:sldMk cId="3660464177" sldId="2147469977"/>
            <ac:spMk id="13" creationId="{28AEA2BD-4588-5B05-47E5-3DE2E39AD232}"/>
          </ac:spMkLst>
        </pc:spChg>
        <pc:spChg chg="del">
          <ac:chgData name="Sylvie ROCHE" userId="60404d4e-bbf6-4ef1-963c-527a8dada0a5" providerId="ADAL" clId="{F1E5F0B4-FD2E-47E3-80DC-5894D9BB87F8}" dt="2023-03-02T17:30:15.448" v="7206" actId="21"/>
          <ac:spMkLst>
            <pc:docMk/>
            <pc:sldMk cId="3660464177" sldId="2147469977"/>
            <ac:spMk id="18" creationId="{F15EDD84-F349-FC09-9D54-FD37515ACC9A}"/>
          </ac:spMkLst>
        </pc:spChg>
        <pc:picChg chg="del">
          <ac:chgData name="Sylvie ROCHE" userId="60404d4e-bbf6-4ef1-963c-527a8dada0a5" providerId="ADAL" clId="{F1E5F0B4-FD2E-47E3-80DC-5894D9BB87F8}" dt="2023-03-02T17:30:15.448" v="7206" actId="21"/>
          <ac:picMkLst>
            <pc:docMk/>
            <pc:sldMk cId="3660464177" sldId="2147469977"/>
            <ac:picMk id="10" creationId="{7AA03DDB-CEC4-5272-E128-FA57A1ED5846}"/>
          </ac:picMkLst>
        </pc:picChg>
        <pc:picChg chg="del">
          <ac:chgData name="Sylvie ROCHE" userId="60404d4e-bbf6-4ef1-963c-527a8dada0a5" providerId="ADAL" clId="{F1E5F0B4-FD2E-47E3-80DC-5894D9BB87F8}" dt="2023-03-02T17:30:15.448" v="7206" actId="21"/>
          <ac:picMkLst>
            <pc:docMk/>
            <pc:sldMk cId="3660464177" sldId="2147469977"/>
            <ac:picMk id="11" creationId="{D99118F8-31B1-411C-E846-928BB67E5613}"/>
          </ac:picMkLst>
        </pc:picChg>
        <pc:picChg chg="del">
          <ac:chgData name="Sylvie ROCHE" userId="60404d4e-bbf6-4ef1-963c-527a8dada0a5" providerId="ADAL" clId="{F1E5F0B4-FD2E-47E3-80DC-5894D9BB87F8}" dt="2023-03-02T17:30:15.448" v="7206" actId="21"/>
          <ac:picMkLst>
            <pc:docMk/>
            <pc:sldMk cId="3660464177" sldId="2147469977"/>
            <ac:picMk id="12" creationId="{9758B5AF-54A3-6A4B-D73A-B69DF785ECCA}"/>
          </ac:picMkLst>
        </pc:picChg>
        <pc:picChg chg="del">
          <ac:chgData name="Sylvie ROCHE" userId="60404d4e-bbf6-4ef1-963c-527a8dada0a5" providerId="ADAL" clId="{F1E5F0B4-FD2E-47E3-80DC-5894D9BB87F8}" dt="2023-03-02T17:30:15.448" v="7206" actId="21"/>
          <ac:picMkLst>
            <pc:docMk/>
            <pc:sldMk cId="3660464177" sldId="2147469977"/>
            <ac:picMk id="14" creationId="{9438F76F-6BB1-B1E8-A0C2-A7DA71064025}"/>
          </ac:picMkLst>
        </pc:picChg>
        <pc:picChg chg="del">
          <ac:chgData name="Sylvie ROCHE" userId="60404d4e-bbf6-4ef1-963c-527a8dada0a5" providerId="ADAL" clId="{F1E5F0B4-FD2E-47E3-80DC-5894D9BB87F8}" dt="2023-03-02T17:30:15.448" v="7206" actId="21"/>
          <ac:picMkLst>
            <pc:docMk/>
            <pc:sldMk cId="3660464177" sldId="2147469977"/>
            <ac:picMk id="15" creationId="{1313E154-6A4C-7EE4-5E8C-E189D635BEDD}"/>
          </ac:picMkLst>
        </pc:picChg>
        <pc:picChg chg="del">
          <ac:chgData name="Sylvie ROCHE" userId="60404d4e-bbf6-4ef1-963c-527a8dada0a5" providerId="ADAL" clId="{F1E5F0B4-FD2E-47E3-80DC-5894D9BB87F8}" dt="2023-03-02T17:30:15.448" v="7206" actId="21"/>
          <ac:picMkLst>
            <pc:docMk/>
            <pc:sldMk cId="3660464177" sldId="2147469977"/>
            <ac:picMk id="16" creationId="{5C7C5459-84F1-6CBD-C2EA-49ED325CB826}"/>
          </ac:picMkLst>
        </pc:picChg>
        <pc:picChg chg="del">
          <ac:chgData name="Sylvie ROCHE" userId="60404d4e-bbf6-4ef1-963c-527a8dada0a5" providerId="ADAL" clId="{F1E5F0B4-FD2E-47E3-80DC-5894D9BB87F8}" dt="2023-03-02T17:30:15.448" v="7206" actId="21"/>
          <ac:picMkLst>
            <pc:docMk/>
            <pc:sldMk cId="3660464177" sldId="2147469977"/>
            <ac:picMk id="17" creationId="{723F8840-B20A-F045-A0BC-67B37516A689}"/>
          </ac:picMkLst>
        </pc:picChg>
        <pc:picChg chg="del">
          <ac:chgData name="Sylvie ROCHE" userId="60404d4e-bbf6-4ef1-963c-527a8dada0a5" providerId="ADAL" clId="{F1E5F0B4-FD2E-47E3-80DC-5894D9BB87F8}" dt="2023-03-02T17:30:15.448" v="7206" actId="21"/>
          <ac:picMkLst>
            <pc:docMk/>
            <pc:sldMk cId="3660464177" sldId="2147469977"/>
            <ac:picMk id="24" creationId="{1B4A2149-7075-6F15-29E3-08C2D5157B30}"/>
          </ac:picMkLst>
        </pc:picChg>
      </pc:sldChg>
      <pc:sldChg chg="addSp delSp modSp mod modNotesTx">
        <pc:chgData name="Sylvie ROCHE" userId="60404d4e-bbf6-4ef1-963c-527a8dada0a5" providerId="ADAL" clId="{F1E5F0B4-FD2E-47E3-80DC-5894D9BB87F8}" dt="2023-03-07T17:42:53.270" v="19178" actId="20577"/>
        <pc:sldMkLst>
          <pc:docMk/>
          <pc:sldMk cId="1895821880" sldId="2147469978"/>
        </pc:sldMkLst>
        <pc:spChg chg="mod">
          <ac:chgData name="Sylvie ROCHE" userId="60404d4e-bbf6-4ef1-963c-527a8dada0a5" providerId="ADAL" clId="{F1E5F0B4-FD2E-47E3-80DC-5894D9BB87F8}" dt="2023-03-07T14:40:11.612" v="13904" actId="108"/>
          <ac:spMkLst>
            <pc:docMk/>
            <pc:sldMk cId="1895821880" sldId="2147469978"/>
            <ac:spMk id="2" creationId="{E11BF5BD-75C4-4E77-9598-7225EFF82CC5}"/>
          </ac:spMkLst>
        </pc:spChg>
        <pc:spChg chg="mod">
          <ac:chgData name="Sylvie ROCHE" userId="60404d4e-bbf6-4ef1-963c-527a8dada0a5" providerId="ADAL" clId="{F1E5F0B4-FD2E-47E3-80DC-5894D9BB87F8}" dt="2023-03-07T16:45:18.161" v="17144" actId="20577"/>
          <ac:spMkLst>
            <pc:docMk/>
            <pc:sldMk cId="1895821880" sldId="2147469978"/>
            <ac:spMk id="4" creationId="{DFE4ECB6-193A-41CD-8C1D-5A9AA8C9E006}"/>
          </ac:spMkLst>
        </pc:spChg>
        <pc:spChg chg="mod">
          <ac:chgData name="Sylvie ROCHE" userId="60404d4e-bbf6-4ef1-963c-527a8dada0a5" providerId="ADAL" clId="{F1E5F0B4-FD2E-47E3-80DC-5894D9BB87F8}" dt="2023-03-07T16:45:27.179" v="17157" actId="1036"/>
          <ac:spMkLst>
            <pc:docMk/>
            <pc:sldMk cId="1895821880" sldId="2147469978"/>
            <ac:spMk id="10" creationId="{2C1BE3D3-AF86-4F00-99E9-C106820D1EEC}"/>
          </ac:spMkLst>
        </pc:spChg>
        <pc:spChg chg="mod">
          <ac:chgData name="Sylvie ROCHE" userId="60404d4e-bbf6-4ef1-963c-527a8dada0a5" providerId="ADAL" clId="{F1E5F0B4-FD2E-47E3-80DC-5894D9BB87F8}" dt="2023-03-07T17:42:53.270" v="19178" actId="20577"/>
          <ac:spMkLst>
            <pc:docMk/>
            <pc:sldMk cId="1895821880" sldId="2147469978"/>
            <ac:spMk id="13" creationId="{E22D3A68-8C63-4250-BAEB-59D55544985D}"/>
          </ac:spMkLst>
        </pc:spChg>
        <pc:spChg chg="mod">
          <ac:chgData name="Sylvie ROCHE" userId="60404d4e-bbf6-4ef1-963c-527a8dada0a5" providerId="ADAL" clId="{F1E5F0B4-FD2E-47E3-80DC-5894D9BB87F8}" dt="2023-03-07T16:43:25.808" v="17066" actId="1036"/>
          <ac:spMkLst>
            <pc:docMk/>
            <pc:sldMk cId="1895821880" sldId="2147469978"/>
            <ac:spMk id="15" creationId="{864E3EB6-63A0-4187-87C2-15847F11EF55}"/>
          </ac:spMkLst>
        </pc:spChg>
        <pc:spChg chg="mod">
          <ac:chgData name="Sylvie ROCHE" userId="60404d4e-bbf6-4ef1-963c-527a8dada0a5" providerId="ADAL" clId="{F1E5F0B4-FD2E-47E3-80DC-5894D9BB87F8}" dt="2023-03-07T16:43:45.810" v="17087" actId="404"/>
          <ac:spMkLst>
            <pc:docMk/>
            <pc:sldMk cId="1895821880" sldId="2147469978"/>
            <ac:spMk id="17" creationId="{081C14F2-F0CF-453C-B5E6-3AB28B427042}"/>
          </ac:spMkLst>
        </pc:spChg>
        <pc:spChg chg="add mod">
          <ac:chgData name="Sylvie ROCHE" userId="60404d4e-bbf6-4ef1-963c-527a8dada0a5" providerId="ADAL" clId="{F1E5F0B4-FD2E-47E3-80DC-5894D9BB87F8}" dt="2023-03-02T21:53:19.029" v="12797" actId="1076"/>
          <ac:spMkLst>
            <pc:docMk/>
            <pc:sldMk cId="1895821880" sldId="2147469978"/>
            <ac:spMk id="19" creationId="{0D042420-3F2C-B24C-F518-452B5B9DF8E0}"/>
          </ac:spMkLst>
        </pc:spChg>
        <pc:spChg chg="add del mod">
          <ac:chgData name="Sylvie ROCHE" userId="60404d4e-bbf6-4ef1-963c-527a8dada0a5" providerId="ADAL" clId="{F1E5F0B4-FD2E-47E3-80DC-5894D9BB87F8}" dt="2023-03-07T14:53:36.442" v="13949"/>
          <ac:spMkLst>
            <pc:docMk/>
            <pc:sldMk cId="1895821880" sldId="2147469978"/>
            <ac:spMk id="19" creationId="{0F713937-C31D-10A7-D5CB-D81396411746}"/>
          </ac:spMkLst>
        </pc:spChg>
        <pc:spChg chg="del">
          <ac:chgData name="Sylvie ROCHE" userId="60404d4e-bbf6-4ef1-963c-527a8dada0a5" providerId="ADAL" clId="{F1E5F0B4-FD2E-47E3-80DC-5894D9BB87F8}" dt="2023-03-07T14:18:07.463" v="13403" actId="478"/>
          <ac:spMkLst>
            <pc:docMk/>
            <pc:sldMk cId="1895821880" sldId="2147469978"/>
            <ac:spMk id="25" creationId="{1A15F8B7-4123-636E-B42E-DB2069DCB68B}"/>
          </ac:spMkLst>
        </pc:spChg>
        <pc:picChg chg="mod">
          <ac:chgData name="Sylvie ROCHE" userId="60404d4e-bbf6-4ef1-963c-527a8dada0a5" providerId="ADAL" clId="{F1E5F0B4-FD2E-47E3-80DC-5894D9BB87F8}" dt="2023-03-07T16:45:27.179" v="17157" actId="1036"/>
          <ac:picMkLst>
            <pc:docMk/>
            <pc:sldMk cId="1895821880" sldId="2147469978"/>
            <ac:picMk id="6" creationId="{CCA51F63-3D45-49D1-A294-FEE7069F69F3}"/>
          </ac:picMkLst>
        </pc:picChg>
        <pc:picChg chg="mod">
          <ac:chgData name="Sylvie ROCHE" userId="60404d4e-bbf6-4ef1-963c-527a8dada0a5" providerId="ADAL" clId="{F1E5F0B4-FD2E-47E3-80DC-5894D9BB87F8}" dt="2023-03-07T16:43:25.808" v="17066" actId="1036"/>
          <ac:picMkLst>
            <pc:docMk/>
            <pc:sldMk cId="1895821880" sldId="2147469978"/>
            <ac:picMk id="24" creationId="{07A552B2-1363-45E7-BB1D-2B6DAE61A8ED}"/>
          </ac:picMkLst>
        </pc:picChg>
        <pc:cxnChg chg="mod">
          <ac:chgData name="Sylvie ROCHE" userId="60404d4e-bbf6-4ef1-963c-527a8dada0a5" providerId="ADAL" clId="{F1E5F0B4-FD2E-47E3-80DC-5894D9BB87F8}" dt="2023-03-07T16:45:27.179" v="17157" actId="1036"/>
          <ac:cxnSpMkLst>
            <pc:docMk/>
            <pc:sldMk cId="1895821880" sldId="2147469978"/>
            <ac:cxnSpMk id="14" creationId="{CA362DFC-94B7-4CD5-8459-C95A5EA44217}"/>
          </ac:cxnSpMkLst>
        </pc:cxnChg>
        <pc:cxnChg chg="mod">
          <ac:chgData name="Sylvie ROCHE" userId="60404d4e-bbf6-4ef1-963c-527a8dada0a5" providerId="ADAL" clId="{F1E5F0B4-FD2E-47E3-80DC-5894D9BB87F8}" dt="2023-03-07T16:43:25.808" v="17066" actId="1036"/>
          <ac:cxnSpMkLst>
            <pc:docMk/>
            <pc:sldMk cId="1895821880" sldId="2147469978"/>
            <ac:cxnSpMk id="16" creationId="{B8AE57C4-69CE-4608-8DDB-7E6E3218F160}"/>
          </ac:cxnSpMkLst>
        </pc:cxnChg>
      </pc:sldChg>
      <pc:sldChg chg="delSp modSp mod addCm delCm">
        <pc:chgData name="Sylvie ROCHE" userId="60404d4e-bbf6-4ef1-963c-527a8dada0a5" providerId="ADAL" clId="{F1E5F0B4-FD2E-47E3-80DC-5894D9BB87F8}" dt="2023-03-07T17:59:54.232" v="20993"/>
        <pc:sldMkLst>
          <pc:docMk/>
          <pc:sldMk cId="3714264415" sldId="2147469979"/>
        </pc:sldMkLst>
        <pc:spChg chg="mod">
          <ac:chgData name="Sylvie ROCHE" userId="60404d4e-bbf6-4ef1-963c-527a8dada0a5" providerId="ADAL" clId="{F1E5F0B4-FD2E-47E3-80DC-5894D9BB87F8}" dt="2023-03-07T14:39:50.345" v="13901" actId="108"/>
          <ac:spMkLst>
            <pc:docMk/>
            <pc:sldMk cId="3714264415" sldId="2147469979"/>
            <ac:spMk id="2" creationId="{E11BF5BD-75C4-4E77-9598-7225EFF82CC5}"/>
          </ac:spMkLst>
        </pc:spChg>
        <pc:spChg chg="mod">
          <ac:chgData name="Sylvie ROCHE" userId="60404d4e-bbf6-4ef1-963c-527a8dada0a5" providerId="ADAL" clId="{F1E5F0B4-FD2E-47E3-80DC-5894D9BB87F8}" dt="2023-03-07T17:03:57.458" v="18275" actId="404"/>
          <ac:spMkLst>
            <pc:docMk/>
            <pc:sldMk cId="3714264415" sldId="2147469979"/>
            <ac:spMk id="3" creationId="{F7A7856B-1983-4DFF-51A1-B2E593B2F3C1}"/>
          </ac:spMkLst>
        </pc:spChg>
        <pc:spChg chg="mod">
          <ac:chgData name="Sylvie ROCHE" userId="60404d4e-bbf6-4ef1-963c-527a8dada0a5" providerId="ADAL" clId="{F1E5F0B4-FD2E-47E3-80DC-5894D9BB87F8}" dt="2023-03-07T17:04:01.952" v="18276" actId="108"/>
          <ac:spMkLst>
            <pc:docMk/>
            <pc:sldMk cId="3714264415" sldId="2147469979"/>
            <ac:spMk id="19" creationId="{25641672-7DDF-07B7-585D-3EF002201B63}"/>
          </ac:spMkLst>
        </pc:spChg>
        <pc:spChg chg="mod">
          <ac:chgData name="Sylvie ROCHE" userId="60404d4e-bbf6-4ef1-963c-527a8dada0a5" providerId="ADAL" clId="{F1E5F0B4-FD2E-47E3-80DC-5894D9BB87F8}" dt="2023-03-07T17:04:05.919" v="18277" actId="108"/>
          <ac:spMkLst>
            <pc:docMk/>
            <pc:sldMk cId="3714264415" sldId="2147469979"/>
            <ac:spMk id="20" creationId="{AB555737-EC51-39A0-99D0-29EC9FEF6DAA}"/>
          </ac:spMkLst>
        </pc:spChg>
        <pc:spChg chg="del mod">
          <ac:chgData name="Sylvie ROCHE" userId="60404d4e-bbf6-4ef1-963c-527a8dada0a5" providerId="ADAL" clId="{F1E5F0B4-FD2E-47E3-80DC-5894D9BB87F8}" dt="2023-03-07T14:17:42.562" v="13391" actId="478"/>
          <ac:spMkLst>
            <pc:docMk/>
            <pc:sldMk cId="3714264415" sldId="2147469979"/>
            <ac:spMk id="98" creationId="{5C400FA5-30FD-5BB0-0B0D-BB9FF8DFC2BD}"/>
          </ac:spMkLst>
        </pc:spChg>
        <pc:extLst>
          <p:ext xmlns:p="http://schemas.openxmlformats.org/presentationml/2006/main" uri="{D6D511B9-2390-475A-947B-AFAB55BFBCF1}">
            <pc226:cmChg xmlns:pc226="http://schemas.microsoft.com/office/powerpoint/2022/06/main/command" chg="add del">
              <pc226:chgData name="Sylvie ROCHE" userId="60404d4e-bbf6-4ef1-963c-527a8dada0a5" providerId="ADAL" clId="{F1E5F0B4-FD2E-47E3-80DC-5894D9BB87F8}" dt="2023-03-07T17:41:51.488" v="19097"/>
              <pc2:cmMkLst xmlns:pc2="http://schemas.microsoft.com/office/powerpoint/2019/9/main/command">
                <pc:docMk/>
                <pc:sldMk cId="3714264415" sldId="2147469979"/>
                <pc2:cmMk id="{90772E39-6310-4940-B0F5-774EB1651F0F}"/>
              </pc2:cmMkLst>
            </pc226:cmChg>
            <pc226:cmChg xmlns:pc226="http://schemas.microsoft.com/office/powerpoint/2022/06/main/command" chg="add del">
              <pc226:chgData name="Sylvie ROCHE" userId="60404d4e-bbf6-4ef1-963c-527a8dada0a5" providerId="ADAL" clId="{F1E5F0B4-FD2E-47E3-80DC-5894D9BB87F8}" dt="2023-03-07T17:59:54.232" v="20993"/>
              <pc2:cmMkLst xmlns:pc2="http://schemas.microsoft.com/office/powerpoint/2019/9/main/command">
                <pc:docMk/>
                <pc:sldMk cId="3714264415" sldId="2147469979"/>
                <pc2:cmMk id="{BDC9FE4D-F6B6-4EC4-9BFB-E8D388C7E624}"/>
              </pc2:cmMkLst>
            </pc226:cmChg>
            <pc226:cmChg xmlns:pc226="http://schemas.microsoft.com/office/powerpoint/2022/06/main/command" chg="add del">
              <pc226:chgData name="Sylvie ROCHE" userId="60404d4e-bbf6-4ef1-963c-527a8dada0a5" providerId="ADAL" clId="{F1E5F0B4-FD2E-47E3-80DC-5894D9BB87F8}" dt="2023-03-07T17:41:56.558" v="19098"/>
              <pc2:cmMkLst xmlns:pc2="http://schemas.microsoft.com/office/powerpoint/2019/9/main/command">
                <pc:docMk/>
                <pc:sldMk cId="3714264415" sldId="2147469979"/>
                <pc2:cmMk id="{B7FCB4BC-FC11-4A6E-92EE-D218B9931CDF}"/>
              </pc2:cmMkLst>
            </pc226:cmChg>
          </p:ext>
        </pc:extLst>
      </pc:sldChg>
      <pc:sldChg chg="addSp delSp modSp mod modShow addCm delCm modCm">
        <pc:chgData name="Sylvie ROCHE" userId="60404d4e-bbf6-4ef1-963c-527a8dada0a5" providerId="ADAL" clId="{F1E5F0B4-FD2E-47E3-80DC-5894D9BB87F8}" dt="2023-03-03T08:07:19.731" v="12944" actId="20577"/>
        <pc:sldMkLst>
          <pc:docMk/>
          <pc:sldMk cId="107605304" sldId="2147469980"/>
        </pc:sldMkLst>
        <pc:spChg chg="mod">
          <ac:chgData name="Sylvie ROCHE" userId="60404d4e-bbf6-4ef1-963c-527a8dada0a5" providerId="ADAL" clId="{F1E5F0B4-FD2E-47E3-80DC-5894D9BB87F8}" dt="2023-03-03T08:05:35.805" v="12881" actId="20577"/>
          <ac:spMkLst>
            <pc:docMk/>
            <pc:sldMk cId="107605304" sldId="2147469980"/>
            <ac:spMk id="2" creationId="{E11BF5BD-75C4-4E77-9598-7225EFF82CC5}"/>
          </ac:spMkLst>
        </pc:spChg>
        <pc:spChg chg="mod">
          <ac:chgData name="Sylvie ROCHE" userId="60404d4e-bbf6-4ef1-963c-527a8dada0a5" providerId="ADAL" clId="{F1E5F0B4-FD2E-47E3-80DC-5894D9BB87F8}" dt="2023-03-02T21:52:40.288" v="12790" actId="1076"/>
          <ac:spMkLst>
            <pc:docMk/>
            <pc:sldMk cId="107605304" sldId="2147469980"/>
            <ac:spMk id="10" creationId="{2C1BE3D3-AF86-4F00-99E9-C106820D1EEC}"/>
          </ac:spMkLst>
        </pc:spChg>
        <pc:spChg chg="mod">
          <ac:chgData name="Sylvie ROCHE" userId="60404d4e-bbf6-4ef1-963c-527a8dada0a5" providerId="ADAL" clId="{F1E5F0B4-FD2E-47E3-80DC-5894D9BB87F8}" dt="2023-03-02T21:52:40.288" v="12790" actId="1076"/>
          <ac:spMkLst>
            <pc:docMk/>
            <pc:sldMk cId="107605304" sldId="2147469980"/>
            <ac:spMk id="13" creationId="{E22D3A68-8C63-4250-BAEB-59D55544985D}"/>
          </ac:spMkLst>
        </pc:spChg>
        <pc:spChg chg="mod">
          <ac:chgData name="Sylvie ROCHE" userId="60404d4e-bbf6-4ef1-963c-527a8dada0a5" providerId="ADAL" clId="{F1E5F0B4-FD2E-47E3-80DC-5894D9BB87F8}" dt="2023-03-02T20:51:25.735" v="9397" actId="20577"/>
          <ac:spMkLst>
            <pc:docMk/>
            <pc:sldMk cId="107605304" sldId="2147469980"/>
            <ac:spMk id="25" creationId="{6AC80FC1-02C8-26D9-F7AF-10EF650A4310}"/>
          </ac:spMkLst>
        </pc:spChg>
        <pc:spChg chg="mod">
          <ac:chgData name="Sylvie ROCHE" userId="60404d4e-bbf6-4ef1-963c-527a8dada0a5" providerId="ADAL" clId="{F1E5F0B4-FD2E-47E3-80DC-5894D9BB87F8}" dt="2023-03-02T20:51:37.015" v="9400" actId="20577"/>
          <ac:spMkLst>
            <pc:docMk/>
            <pc:sldMk cId="107605304" sldId="2147469980"/>
            <ac:spMk id="46" creationId="{D22BE52B-5504-3DF0-AF54-221367EF7D94}"/>
          </ac:spMkLst>
        </pc:spChg>
        <pc:spChg chg="mod">
          <ac:chgData name="Sylvie ROCHE" userId="60404d4e-bbf6-4ef1-963c-527a8dada0a5" providerId="ADAL" clId="{F1E5F0B4-FD2E-47E3-80DC-5894D9BB87F8}" dt="2023-03-02T20:51:40.553" v="9401" actId="1076"/>
          <ac:spMkLst>
            <pc:docMk/>
            <pc:sldMk cId="107605304" sldId="2147469980"/>
            <ac:spMk id="47" creationId="{FB1363F0-04BD-8510-60D1-8403649D497F}"/>
          </ac:spMkLst>
        </pc:spChg>
        <pc:spChg chg="add del">
          <ac:chgData name="Sylvie ROCHE" userId="60404d4e-bbf6-4ef1-963c-527a8dada0a5" providerId="ADAL" clId="{F1E5F0B4-FD2E-47E3-80DC-5894D9BB87F8}" dt="2023-03-02T21:52:19.034" v="12787" actId="478"/>
          <ac:spMkLst>
            <pc:docMk/>
            <pc:sldMk cId="107605304" sldId="2147469980"/>
            <ac:spMk id="48" creationId="{0AB22CF6-5381-1EE5-B293-B3BADEB44EBA}"/>
          </ac:spMkLst>
        </pc:spChg>
        <pc:spChg chg="mod">
          <ac:chgData name="Sylvie ROCHE" userId="60404d4e-bbf6-4ef1-963c-527a8dada0a5" providerId="ADAL" clId="{F1E5F0B4-FD2E-47E3-80DC-5894D9BB87F8}" dt="2023-03-03T08:07:19.731" v="12944" actId="20577"/>
          <ac:spMkLst>
            <pc:docMk/>
            <pc:sldMk cId="107605304" sldId="2147469980"/>
            <ac:spMk id="49" creationId="{5589CD86-C1DE-E31D-20E3-D112AC8CCB52}"/>
          </ac:spMkLst>
        </pc:spChg>
        <pc:spChg chg="mod">
          <ac:chgData name="Sylvie ROCHE" userId="60404d4e-bbf6-4ef1-963c-527a8dada0a5" providerId="ADAL" clId="{F1E5F0B4-FD2E-47E3-80DC-5894D9BB87F8}" dt="2023-03-02T21:30:01.528" v="11998"/>
          <ac:spMkLst>
            <pc:docMk/>
            <pc:sldMk cId="107605304" sldId="2147469980"/>
            <ac:spMk id="51" creationId="{0B38D968-3CCC-C658-7736-8A79FEDA454D}"/>
          </ac:spMkLst>
        </pc:spChg>
        <pc:spChg chg="mod">
          <ac:chgData name="Sylvie ROCHE" userId="60404d4e-bbf6-4ef1-963c-527a8dada0a5" providerId="ADAL" clId="{F1E5F0B4-FD2E-47E3-80DC-5894D9BB87F8}" dt="2023-03-03T08:06:57.119" v="12930" actId="1076"/>
          <ac:spMkLst>
            <pc:docMk/>
            <pc:sldMk cId="107605304" sldId="2147469980"/>
            <ac:spMk id="57" creationId="{E84EA2CA-7E0C-74DE-C0F0-0613924B0604}"/>
          </ac:spMkLst>
        </pc:spChg>
        <pc:spChg chg="add mod">
          <ac:chgData name="Sylvie ROCHE" userId="60404d4e-bbf6-4ef1-963c-527a8dada0a5" providerId="ADAL" clId="{F1E5F0B4-FD2E-47E3-80DC-5894D9BB87F8}" dt="2023-03-02T21:52:44.173" v="12791" actId="1076"/>
          <ac:spMkLst>
            <pc:docMk/>
            <pc:sldMk cId="107605304" sldId="2147469980"/>
            <ac:spMk id="58" creationId="{54C54A05-CE23-CE35-D5E1-0ADD38360A64}"/>
          </ac:spMkLst>
        </pc:spChg>
        <pc:grpChg chg="add del mod">
          <ac:chgData name="Sylvie ROCHE" userId="60404d4e-bbf6-4ef1-963c-527a8dada0a5" providerId="ADAL" clId="{F1E5F0B4-FD2E-47E3-80DC-5894D9BB87F8}" dt="2023-03-03T08:07:03.496" v="12931" actId="478"/>
          <ac:grpSpMkLst>
            <pc:docMk/>
            <pc:sldMk cId="107605304" sldId="2147469980"/>
            <ac:grpSpMk id="50" creationId="{A927B5FB-F598-F2BA-5527-A58B11CE6A11}"/>
          </ac:grpSpMkLst>
        </pc:grpChg>
        <pc:grpChg chg="add mod">
          <ac:chgData name="Sylvie ROCHE" userId="60404d4e-bbf6-4ef1-963c-527a8dada0a5" providerId="ADAL" clId="{F1E5F0B4-FD2E-47E3-80DC-5894D9BB87F8}" dt="2023-03-02T21:30:09.186" v="12000" actId="1076"/>
          <ac:grpSpMkLst>
            <pc:docMk/>
            <pc:sldMk cId="107605304" sldId="2147469980"/>
            <ac:grpSpMk id="54" creationId="{08FCAEEB-67E8-212D-F6EA-BB08471ABA65}"/>
          </ac:grpSpMkLst>
        </pc:grpChg>
        <pc:picChg chg="mod">
          <ac:chgData name="Sylvie ROCHE" userId="60404d4e-bbf6-4ef1-963c-527a8dada0a5" providerId="ADAL" clId="{F1E5F0B4-FD2E-47E3-80DC-5894D9BB87F8}" dt="2023-03-02T21:52:40.288" v="12790" actId="1076"/>
          <ac:picMkLst>
            <pc:docMk/>
            <pc:sldMk cId="107605304" sldId="2147469980"/>
            <ac:picMk id="6" creationId="{CCA51F63-3D45-49D1-A294-FEE7069F69F3}"/>
          </ac:picMkLst>
        </pc:picChg>
        <pc:picChg chg="mod">
          <ac:chgData name="Sylvie ROCHE" userId="60404d4e-bbf6-4ef1-963c-527a8dada0a5" providerId="ADAL" clId="{F1E5F0B4-FD2E-47E3-80DC-5894D9BB87F8}" dt="2023-03-02T21:30:01.528" v="11998"/>
          <ac:picMkLst>
            <pc:docMk/>
            <pc:sldMk cId="107605304" sldId="2147469980"/>
            <ac:picMk id="52" creationId="{1265F6A2-C72F-6821-47DE-7E855247A5D1}"/>
          </ac:picMkLst>
        </pc:picChg>
        <pc:picChg chg="mod">
          <ac:chgData name="Sylvie ROCHE" userId="60404d4e-bbf6-4ef1-963c-527a8dada0a5" providerId="ADAL" clId="{F1E5F0B4-FD2E-47E3-80DC-5894D9BB87F8}" dt="2023-03-02T21:30:01.528" v="11998"/>
          <ac:picMkLst>
            <pc:docMk/>
            <pc:sldMk cId="107605304" sldId="2147469980"/>
            <ac:picMk id="53" creationId="{CAB934C8-5A3B-6A60-2B98-8D8CE4BA08CD}"/>
          </ac:picMkLst>
        </pc:picChg>
        <pc:picChg chg="mod">
          <ac:chgData name="Sylvie ROCHE" userId="60404d4e-bbf6-4ef1-963c-527a8dada0a5" providerId="ADAL" clId="{F1E5F0B4-FD2E-47E3-80DC-5894D9BB87F8}" dt="2023-03-02T21:30:01.528" v="11998"/>
          <ac:picMkLst>
            <pc:docMk/>
            <pc:sldMk cId="107605304" sldId="2147469980"/>
            <ac:picMk id="55" creationId="{A4F021F7-AA12-4F8C-7C88-3030C0DBE885}"/>
          </ac:picMkLst>
        </pc:picChg>
        <pc:picChg chg="mod">
          <ac:chgData name="Sylvie ROCHE" userId="60404d4e-bbf6-4ef1-963c-527a8dada0a5" providerId="ADAL" clId="{F1E5F0B4-FD2E-47E3-80DC-5894D9BB87F8}" dt="2023-03-02T21:30:01.528" v="11998"/>
          <ac:picMkLst>
            <pc:docMk/>
            <pc:sldMk cId="107605304" sldId="2147469980"/>
            <ac:picMk id="56" creationId="{BDF629E2-6D03-862E-5556-6E1F009D7BD1}"/>
          </ac:picMkLst>
        </pc:picChg>
        <pc:cxnChg chg="mod">
          <ac:chgData name="Sylvie ROCHE" userId="60404d4e-bbf6-4ef1-963c-527a8dada0a5" providerId="ADAL" clId="{F1E5F0B4-FD2E-47E3-80DC-5894D9BB87F8}" dt="2023-03-02T21:52:40.288" v="12790" actId="1076"/>
          <ac:cxnSpMkLst>
            <pc:docMk/>
            <pc:sldMk cId="107605304" sldId="2147469980"/>
            <ac:cxnSpMk id="14" creationId="{CA362DFC-94B7-4CD5-8459-C95A5EA44217}"/>
          </ac:cxnSpMkLst>
        </pc:cxnChg>
        <pc:extLst>
          <p:ext xmlns:p="http://schemas.openxmlformats.org/presentationml/2006/main" uri="{D6D511B9-2390-475A-947B-AFAB55BFBCF1}">
            <pc226:cmChg xmlns:pc226="http://schemas.microsoft.com/office/powerpoint/2022/06/main/command" chg="add del mod">
              <pc226:chgData name="Sylvie ROCHE" userId="60404d4e-bbf6-4ef1-963c-527a8dada0a5" providerId="ADAL" clId="{F1E5F0B4-FD2E-47E3-80DC-5894D9BB87F8}" dt="2023-03-03T08:07:10.297" v="12932"/>
              <pc2:cmMkLst xmlns:pc2="http://schemas.microsoft.com/office/powerpoint/2019/9/main/command">
                <pc:docMk/>
                <pc:sldMk cId="107605304" sldId="2147469980"/>
                <pc2:cmMk id="{2A182F75-DDD5-4A72-A46A-9469551FD62F}"/>
              </pc2:cmMkLst>
            </pc226:cmChg>
          </p:ext>
        </pc:extLst>
      </pc:sldChg>
      <pc:sldChg chg="add del">
        <pc:chgData name="Sylvie ROCHE" userId="60404d4e-bbf6-4ef1-963c-527a8dada0a5" providerId="ADAL" clId="{F1E5F0B4-FD2E-47E3-80DC-5894D9BB87F8}" dt="2023-03-02T17:28:22.710" v="7194" actId="47"/>
        <pc:sldMkLst>
          <pc:docMk/>
          <pc:sldMk cId="1671032058" sldId="2147469981"/>
        </pc:sldMkLst>
      </pc:sldChg>
      <pc:sldChg chg="addSp delSp modSp add mod addCm modCm">
        <pc:chgData name="Sylvie ROCHE" userId="60404d4e-bbf6-4ef1-963c-527a8dada0a5" providerId="ADAL" clId="{F1E5F0B4-FD2E-47E3-80DC-5894D9BB87F8}" dt="2023-03-02T21:53:25.585" v="12798"/>
        <pc:sldMkLst>
          <pc:docMk/>
          <pc:sldMk cId="2212093088" sldId="2147469981"/>
        </pc:sldMkLst>
        <pc:spChg chg="mod">
          <ac:chgData name="Sylvie ROCHE" userId="60404d4e-bbf6-4ef1-963c-527a8dada0a5" providerId="ADAL" clId="{F1E5F0B4-FD2E-47E3-80DC-5894D9BB87F8}" dt="2023-03-02T20:16:25.965" v="8291" actId="20577"/>
          <ac:spMkLst>
            <pc:docMk/>
            <pc:sldMk cId="2212093088" sldId="2147469981"/>
            <ac:spMk id="2" creationId="{E11BF5BD-75C4-4E77-9598-7225EFF82CC5}"/>
          </ac:spMkLst>
        </pc:spChg>
        <pc:spChg chg="mod">
          <ac:chgData name="Sylvie ROCHE" userId="60404d4e-bbf6-4ef1-963c-527a8dada0a5" providerId="ADAL" clId="{F1E5F0B4-FD2E-47E3-80DC-5894D9BB87F8}" dt="2023-03-02T20:18:55.805" v="8492" actId="20577"/>
          <ac:spMkLst>
            <pc:docMk/>
            <pc:sldMk cId="2212093088" sldId="2147469981"/>
            <ac:spMk id="4" creationId="{DFE4ECB6-193A-41CD-8C1D-5A9AA8C9E006}"/>
          </ac:spMkLst>
        </pc:spChg>
        <pc:spChg chg="mod">
          <ac:chgData name="Sylvie ROCHE" userId="60404d4e-bbf6-4ef1-963c-527a8dada0a5" providerId="ADAL" clId="{F1E5F0B4-FD2E-47E3-80DC-5894D9BB87F8}" dt="2023-03-02T20:19:07.151" v="8495" actId="1076"/>
          <ac:spMkLst>
            <pc:docMk/>
            <pc:sldMk cId="2212093088" sldId="2147469981"/>
            <ac:spMk id="10" creationId="{2C1BE3D3-AF86-4F00-99E9-C106820D1EEC}"/>
          </ac:spMkLst>
        </pc:spChg>
        <pc:spChg chg="mod">
          <ac:chgData name="Sylvie ROCHE" userId="60404d4e-bbf6-4ef1-963c-527a8dada0a5" providerId="ADAL" clId="{F1E5F0B4-FD2E-47E3-80DC-5894D9BB87F8}" dt="2023-03-02T20:05:54.271" v="8020" actId="14100"/>
          <ac:spMkLst>
            <pc:docMk/>
            <pc:sldMk cId="2212093088" sldId="2147469981"/>
            <ac:spMk id="11" creationId="{C292AB15-E768-45D5-AD2A-5C819B23BD9F}"/>
          </ac:spMkLst>
        </pc:spChg>
        <pc:spChg chg="mod">
          <ac:chgData name="Sylvie ROCHE" userId="60404d4e-bbf6-4ef1-963c-527a8dada0a5" providerId="ADAL" clId="{F1E5F0B4-FD2E-47E3-80DC-5894D9BB87F8}" dt="2023-03-02T20:19:07.151" v="8495" actId="1076"/>
          <ac:spMkLst>
            <pc:docMk/>
            <pc:sldMk cId="2212093088" sldId="2147469981"/>
            <ac:spMk id="13" creationId="{E22D3A68-8C63-4250-BAEB-59D55544985D}"/>
          </ac:spMkLst>
        </pc:spChg>
        <pc:spChg chg="mod">
          <ac:chgData name="Sylvie ROCHE" userId="60404d4e-bbf6-4ef1-963c-527a8dada0a5" providerId="ADAL" clId="{F1E5F0B4-FD2E-47E3-80DC-5894D9BB87F8}" dt="2023-03-02T17:32:28.468" v="7294" actId="14100"/>
          <ac:spMkLst>
            <pc:docMk/>
            <pc:sldMk cId="2212093088" sldId="2147469981"/>
            <ac:spMk id="15" creationId="{864E3EB6-63A0-4187-87C2-15847F11EF55}"/>
          </ac:spMkLst>
        </pc:spChg>
        <pc:spChg chg="mod">
          <ac:chgData name="Sylvie ROCHE" userId="60404d4e-bbf6-4ef1-963c-527a8dada0a5" providerId="ADAL" clId="{F1E5F0B4-FD2E-47E3-80DC-5894D9BB87F8}" dt="2023-03-02T20:05:12.066" v="7985" actId="20577"/>
          <ac:spMkLst>
            <pc:docMk/>
            <pc:sldMk cId="2212093088" sldId="2147469981"/>
            <ac:spMk id="17" creationId="{081C14F2-F0CF-453C-B5E6-3AB28B427042}"/>
          </ac:spMkLst>
        </pc:spChg>
        <pc:spChg chg="add mod">
          <ac:chgData name="Sylvie ROCHE" userId="60404d4e-bbf6-4ef1-963c-527a8dada0a5" providerId="ADAL" clId="{F1E5F0B4-FD2E-47E3-80DC-5894D9BB87F8}" dt="2023-03-02T17:32:50.010" v="7298" actId="14100"/>
          <ac:spMkLst>
            <pc:docMk/>
            <pc:sldMk cId="2212093088" sldId="2147469981"/>
            <ac:spMk id="19" creationId="{46DEADBE-6AD5-9665-EEE4-DD773AB75A2B}"/>
          </ac:spMkLst>
        </pc:spChg>
        <pc:spChg chg="add mod">
          <ac:chgData name="Sylvie ROCHE" userId="60404d4e-bbf6-4ef1-963c-527a8dada0a5" providerId="ADAL" clId="{F1E5F0B4-FD2E-47E3-80DC-5894D9BB87F8}" dt="2023-03-02T17:32:55.654" v="7300" actId="1076"/>
          <ac:spMkLst>
            <pc:docMk/>
            <pc:sldMk cId="2212093088" sldId="2147469981"/>
            <ac:spMk id="20" creationId="{9552231F-6A41-6385-48C9-5F1D6026CCFF}"/>
          </ac:spMkLst>
        </pc:spChg>
        <pc:spChg chg="add mod">
          <ac:chgData name="Sylvie ROCHE" userId="60404d4e-bbf6-4ef1-963c-527a8dada0a5" providerId="ADAL" clId="{F1E5F0B4-FD2E-47E3-80DC-5894D9BB87F8}" dt="2023-03-02T17:30:18.199" v="7207"/>
          <ac:spMkLst>
            <pc:docMk/>
            <pc:sldMk cId="2212093088" sldId="2147469981"/>
            <ac:spMk id="25" creationId="{10B723EF-CFA0-DAE3-E5BC-61CCC10E9C75}"/>
          </ac:spMkLst>
        </pc:spChg>
        <pc:spChg chg="add mod">
          <ac:chgData name="Sylvie ROCHE" userId="60404d4e-bbf6-4ef1-963c-527a8dada0a5" providerId="ADAL" clId="{F1E5F0B4-FD2E-47E3-80DC-5894D9BB87F8}" dt="2023-03-02T17:33:02.505" v="7302" actId="1076"/>
          <ac:spMkLst>
            <pc:docMk/>
            <pc:sldMk cId="2212093088" sldId="2147469981"/>
            <ac:spMk id="30" creationId="{AB7855D2-E887-98F0-43FF-F08658D02D6F}"/>
          </ac:spMkLst>
        </pc:spChg>
        <pc:spChg chg="add mod">
          <ac:chgData name="Sylvie ROCHE" userId="60404d4e-bbf6-4ef1-963c-527a8dada0a5" providerId="ADAL" clId="{F1E5F0B4-FD2E-47E3-80DC-5894D9BB87F8}" dt="2023-03-02T20:02:07.939" v="7627" actId="20577"/>
          <ac:spMkLst>
            <pc:docMk/>
            <pc:sldMk cId="2212093088" sldId="2147469981"/>
            <ac:spMk id="33" creationId="{BCAB5140-0979-D79B-84B3-1DD6B9422F91}"/>
          </ac:spMkLst>
        </pc:spChg>
        <pc:spChg chg="add mod">
          <ac:chgData name="Sylvie ROCHE" userId="60404d4e-bbf6-4ef1-963c-527a8dada0a5" providerId="ADAL" clId="{F1E5F0B4-FD2E-47E3-80DC-5894D9BB87F8}" dt="2023-03-02T20:20:18.582" v="8658" actId="20577"/>
          <ac:spMkLst>
            <pc:docMk/>
            <pc:sldMk cId="2212093088" sldId="2147469981"/>
            <ac:spMk id="34" creationId="{D83047E8-FD24-CF2C-C7F2-A6C3DFECCD2D}"/>
          </ac:spMkLst>
        </pc:spChg>
        <pc:spChg chg="add mod">
          <ac:chgData name="Sylvie ROCHE" userId="60404d4e-bbf6-4ef1-963c-527a8dada0a5" providerId="ADAL" clId="{F1E5F0B4-FD2E-47E3-80DC-5894D9BB87F8}" dt="2023-03-02T21:53:25.585" v="12798"/>
          <ac:spMkLst>
            <pc:docMk/>
            <pc:sldMk cId="2212093088" sldId="2147469981"/>
            <ac:spMk id="35" creationId="{74F98B89-1FB7-1468-3E0D-70ED68B2D3C6}"/>
          </ac:spMkLst>
        </pc:spChg>
        <pc:picChg chg="del">
          <ac:chgData name="Sylvie ROCHE" userId="60404d4e-bbf6-4ef1-963c-527a8dada0a5" providerId="ADAL" clId="{F1E5F0B4-FD2E-47E3-80DC-5894D9BB87F8}" dt="2023-03-02T17:30:06.058" v="7205" actId="478"/>
          <ac:picMkLst>
            <pc:docMk/>
            <pc:sldMk cId="2212093088" sldId="2147469981"/>
            <ac:picMk id="3" creationId="{DE695574-9217-8D10-2CE0-437D6A6606A6}"/>
          </ac:picMkLst>
        </pc:picChg>
        <pc:picChg chg="mod">
          <ac:chgData name="Sylvie ROCHE" userId="60404d4e-bbf6-4ef1-963c-527a8dada0a5" providerId="ADAL" clId="{F1E5F0B4-FD2E-47E3-80DC-5894D9BB87F8}" dt="2023-03-02T20:19:07.151" v="8495" actId="1076"/>
          <ac:picMkLst>
            <pc:docMk/>
            <pc:sldMk cId="2212093088" sldId="2147469981"/>
            <ac:picMk id="6" creationId="{CCA51F63-3D45-49D1-A294-FEE7069F69F3}"/>
          </ac:picMkLst>
        </pc:picChg>
        <pc:picChg chg="add mod">
          <ac:chgData name="Sylvie ROCHE" userId="60404d4e-bbf6-4ef1-963c-527a8dada0a5" providerId="ADAL" clId="{F1E5F0B4-FD2E-47E3-80DC-5894D9BB87F8}" dt="2023-03-02T17:32:57.768" v="7301" actId="1076"/>
          <ac:picMkLst>
            <pc:docMk/>
            <pc:sldMk cId="2212093088" sldId="2147469981"/>
            <ac:picMk id="21" creationId="{9EAE9475-6426-29B8-B0B3-4C9B0C7350A7}"/>
          </ac:picMkLst>
        </pc:picChg>
        <pc:picChg chg="add mod">
          <ac:chgData name="Sylvie ROCHE" userId="60404d4e-bbf6-4ef1-963c-527a8dada0a5" providerId="ADAL" clId="{F1E5F0B4-FD2E-47E3-80DC-5894D9BB87F8}" dt="2023-03-02T17:32:55.654" v="7300" actId="1076"/>
          <ac:picMkLst>
            <pc:docMk/>
            <pc:sldMk cId="2212093088" sldId="2147469981"/>
            <ac:picMk id="22" creationId="{7916CCCC-0BCF-4D0B-2402-8CC28E98712D}"/>
          </ac:picMkLst>
        </pc:picChg>
        <pc:picChg chg="add mod">
          <ac:chgData name="Sylvie ROCHE" userId="60404d4e-bbf6-4ef1-963c-527a8dada0a5" providerId="ADAL" clId="{F1E5F0B4-FD2E-47E3-80DC-5894D9BB87F8}" dt="2023-03-02T17:32:55.654" v="7300" actId="1076"/>
          <ac:picMkLst>
            <pc:docMk/>
            <pc:sldMk cId="2212093088" sldId="2147469981"/>
            <ac:picMk id="23" creationId="{DD89E632-4A75-347E-B9BC-FD270272C28A}"/>
          </ac:picMkLst>
        </pc:picChg>
        <pc:picChg chg="add mod">
          <ac:chgData name="Sylvie ROCHE" userId="60404d4e-bbf6-4ef1-963c-527a8dada0a5" providerId="ADAL" clId="{F1E5F0B4-FD2E-47E3-80DC-5894D9BB87F8}" dt="2023-03-02T17:30:18.199" v="7207"/>
          <ac:picMkLst>
            <pc:docMk/>
            <pc:sldMk cId="2212093088" sldId="2147469981"/>
            <ac:picMk id="26" creationId="{D31DC178-6328-1D91-2F5B-AF6665FAAB9F}"/>
          </ac:picMkLst>
        </pc:picChg>
        <pc:picChg chg="add mod">
          <ac:chgData name="Sylvie ROCHE" userId="60404d4e-bbf6-4ef1-963c-527a8dada0a5" providerId="ADAL" clId="{F1E5F0B4-FD2E-47E3-80DC-5894D9BB87F8}" dt="2023-03-02T17:33:09.260" v="7305" actId="1076"/>
          <ac:picMkLst>
            <pc:docMk/>
            <pc:sldMk cId="2212093088" sldId="2147469981"/>
            <ac:picMk id="27" creationId="{7BC27172-6AC2-C4CE-B738-A34E7B303387}"/>
          </ac:picMkLst>
        </pc:picChg>
        <pc:picChg chg="add mod">
          <ac:chgData name="Sylvie ROCHE" userId="60404d4e-bbf6-4ef1-963c-527a8dada0a5" providerId="ADAL" clId="{F1E5F0B4-FD2E-47E3-80DC-5894D9BB87F8}" dt="2023-03-02T17:33:05.625" v="7304" actId="1076"/>
          <ac:picMkLst>
            <pc:docMk/>
            <pc:sldMk cId="2212093088" sldId="2147469981"/>
            <ac:picMk id="28" creationId="{E4D46D1A-E91C-78B9-0CC4-49D308CAA386}"/>
          </ac:picMkLst>
        </pc:picChg>
        <pc:picChg chg="add mod">
          <ac:chgData name="Sylvie ROCHE" userId="60404d4e-bbf6-4ef1-963c-527a8dada0a5" providerId="ADAL" clId="{F1E5F0B4-FD2E-47E3-80DC-5894D9BB87F8}" dt="2023-03-02T17:33:04.049" v="7303" actId="1076"/>
          <ac:picMkLst>
            <pc:docMk/>
            <pc:sldMk cId="2212093088" sldId="2147469981"/>
            <ac:picMk id="29" creationId="{2FF5C8CB-357C-5231-57E7-5987F5E26274}"/>
          </ac:picMkLst>
        </pc:picChg>
        <pc:picChg chg="add mod">
          <ac:chgData name="Sylvie ROCHE" userId="60404d4e-bbf6-4ef1-963c-527a8dada0a5" providerId="ADAL" clId="{F1E5F0B4-FD2E-47E3-80DC-5894D9BB87F8}" dt="2023-03-02T17:30:18.199" v="7207"/>
          <ac:picMkLst>
            <pc:docMk/>
            <pc:sldMk cId="2212093088" sldId="2147469981"/>
            <ac:picMk id="31" creationId="{239C392F-E334-DFE3-B733-3462CAFCD98B}"/>
          </ac:picMkLst>
        </pc:picChg>
        <pc:cxnChg chg="mod">
          <ac:chgData name="Sylvie ROCHE" userId="60404d4e-bbf6-4ef1-963c-527a8dada0a5" providerId="ADAL" clId="{F1E5F0B4-FD2E-47E3-80DC-5894D9BB87F8}" dt="2023-03-02T20:19:07.151" v="8495" actId="1076"/>
          <ac:cxnSpMkLst>
            <pc:docMk/>
            <pc:sldMk cId="2212093088" sldId="2147469981"/>
            <ac:cxnSpMk id="14" creationId="{CA362DFC-94B7-4CD5-8459-C95A5EA44217}"/>
          </ac:cxnSpMkLst>
        </pc:cxnChg>
        <pc:cxnChg chg="add del mod">
          <ac:chgData name="Sylvie ROCHE" userId="60404d4e-bbf6-4ef1-963c-527a8dada0a5" providerId="ADAL" clId="{F1E5F0B4-FD2E-47E3-80DC-5894D9BB87F8}" dt="2023-03-02T20:01:02.986" v="7599" actId="478"/>
          <ac:cxnSpMkLst>
            <pc:docMk/>
            <pc:sldMk cId="2212093088" sldId="2147469981"/>
            <ac:cxnSpMk id="32" creationId="{3328CE29-AA2F-CAB2-110C-2D90D92F29D5}"/>
          </ac:cxnSpMkLst>
        </pc:cxnChg>
        <pc:extLst>
          <p:ext xmlns:p="http://schemas.openxmlformats.org/presentationml/2006/main" uri="{D6D511B9-2390-475A-947B-AFAB55BFBCF1}">
            <pc226:cmChg xmlns:pc226="http://schemas.microsoft.com/office/powerpoint/2022/06/main/command" chg="add">
              <pc226:chgData name="Sylvie ROCHE" userId="60404d4e-bbf6-4ef1-963c-527a8dada0a5" providerId="ADAL" clId="{F1E5F0B4-FD2E-47E3-80DC-5894D9BB87F8}" dt="2023-03-02T20:22:59.809" v="8661"/>
              <pc2:cmMkLst xmlns:pc2="http://schemas.microsoft.com/office/powerpoint/2019/9/main/command">
                <pc:docMk/>
                <pc:sldMk cId="2212093088" sldId="2147469981"/>
                <pc2:cmMk id="{D51D9205-1D90-42F8-B609-49FC7FE1DD51}"/>
              </pc2:cmMkLst>
            </pc226:cmChg>
            <pc226:cmChg xmlns:pc226="http://schemas.microsoft.com/office/powerpoint/2022/06/main/command" chg="add">
              <pc226:chgData name="Sylvie ROCHE" userId="60404d4e-bbf6-4ef1-963c-527a8dada0a5" providerId="ADAL" clId="{F1E5F0B4-FD2E-47E3-80DC-5894D9BB87F8}" dt="2023-03-02T20:22:18.471" v="8660"/>
              <pc2:cmMkLst xmlns:pc2="http://schemas.microsoft.com/office/powerpoint/2019/9/main/command">
                <pc:docMk/>
                <pc:sldMk cId="2212093088" sldId="2147469981"/>
                <pc2:cmMk id="{C4B0BDA2-AAB0-4687-A11C-51198E0708CA}"/>
              </pc2:cmMkLst>
              <pc226:cmRplyChg chg="add">
                <pc226:chgData name="Sylvie ROCHE" userId="60404d4e-bbf6-4ef1-963c-527a8dada0a5" providerId="ADAL" clId="{F1E5F0B4-FD2E-47E3-80DC-5894D9BB87F8}" dt="2023-03-02T20:22:18.471" v="8660"/>
                <pc2:cmRplyMkLst xmlns:pc2="http://schemas.microsoft.com/office/powerpoint/2019/9/main/command">
                  <pc:docMk/>
                  <pc:sldMk cId="2212093088" sldId="2147469981"/>
                  <pc2:cmMk id="{C4B0BDA2-AAB0-4687-A11C-51198E0708CA}"/>
                  <pc2:cmRplyMk id="{514DF299-0773-4A88-8021-674EB3F378F9}"/>
                </pc2:cmRplyMkLst>
              </pc226:cmRplyChg>
              <pc226:cmRplyChg chg="add">
                <pc226:chgData name="Sylvie ROCHE" userId="60404d4e-bbf6-4ef1-963c-527a8dada0a5" providerId="ADAL" clId="{F1E5F0B4-FD2E-47E3-80DC-5894D9BB87F8}" dt="2023-03-02T20:22:06.485" v="8659"/>
                <pc2:cmRplyMkLst xmlns:pc2="http://schemas.microsoft.com/office/powerpoint/2019/9/main/command">
                  <pc:docMk/>
                  <pc:sldMk cId="2212093088" sldId="2147469981"/>
                  <pc2:cmMk id="{C4B0BDA2-AAB0-4687-A11C-51198E0708CA}"/>
                  <pc2:cmRplyMk id="{04762FB8-9258-454B-887D-F2A96CF91656}"/>
                </pc2:cmRplyMkLst>
              </pc226:cmRplyChg>
            </pc226:cmChg>
          </p:ext>
        </pc:extLst>
      </pc:sldChg>
      <pc:sldChg chg="addSp delSp modSp add mod ord addCm delCm modCm modNotesTx">
        <pc:chgData name="Sylvie ROCHE" userId="60404d4e-bbf6-4ef1-963c-527a8dada0a5" providerId="ADAL" clId="{F1E5F0B4-FD2E-47E3-80DC-5894D9BB87F8}" dt="2023-03-07T17:41:12.178" v="19096" actId="14100"/>
        <pc:sldMkLst>
          <pc:docMk/>
          <pc:sldMk cId="1679491866" sldId="2147469982"/>
        </pc:sldMkLst>
        <pc:spChg chg="mod">
          <ac:chgData name="Sylvie ROCHE" userId="60404d4e-bbf6-4ef1-963c-527a8dada0a5" providerId="ADAL" clId="{F1E5F0B4-FD2E-47E3-80DC-5894D9BB87F8}" dt="2023-03-07T17:41:12.178" v="19096" actId="14100"/>
          <ac:spMkLst>
            <pc:docMk/>
            <pc:sldMk cId="1679491866" sldId="2147469982"/>
            <ac:spMk id="2" creationId="{E11BF5BD-75C4-4E77-9598-7225EFF82CC5}"/>
          </ac:spMkLst>
        </pc:spChg>
        <pc:spChg chg="mod">
          <ac:chgData name="Sylvie ROCHE" userId="60404d4e-bbf6-4ef1-963c-527a8dada0a5" providerId="ADAL" clId="{F1E5F0B4-FD2E-47E3-80DC-5894D9BB87F8}" dt="2023-03-02T21:05:25.722" v="10237" actId="1076"/>
          <ac:spMkLst>
            <pc:docMk/>
            <pc:sldMk cId="1679491866" sldId="2147469982"/>
            <ac:spMk id="4" creationId="{DFE4ECB6-193A-41CD-8C1D-5A9AA8C9E006}"/>
          </ac:spMkLst>
        </pc:spChg>
        <pc:spChg chg="mod">
          <ac:chgData name="Sylvie ROCHE" userId="60404d4e-bbf6-4ef1-963c-527a8dada0a5" providerId="ADAL" clId="{F1E5F0B4-FD2E-47E3-80DC-5894D9BB87F8}" dt="2023-03-07T16:58:41.938" v="18038" actId="1076"/>
          <ac:spMkLst>
            <pc:docMk/>
            <pc:sldMk cId="1679491866" sldId="2147469982"/>
            <ac:spMk id="10" creationId="{2C1BE3D3-AF86-4F00-99E9-C106820D1EEC}"/>
          </ac:spMkLst>
        </pc:spChg>
        <pc:spChg chg="mod">
          <ac:chgData name="Sylvie ROCHE" userId="60404d4e-bbf6-4ef1-963c-527a8dada0a5" providerId="ADAL" clId="{F1E5F0B4-FD2E-47E3-80DC-5894D9BB87F8}" dt="2023-03-02T21:07:17.724" v="10245" actId="1076"/>
          <ac:spMkLst>
            <pc:docMk/>
            <pc:sldMk cId="1679491866" sldId="2147469982"/>
            <ac:spMk id="13" creationId="{E22D3A68-8C63-4250-BAEB-59D55544985D}"/>
          </ac:spMkLst>
        </pc:spChg>
        <pc:spChg chg="mod">
          <ac:chgData name="Sylvie ROCHE" userId="60404d4e-bbf6-4ef1-963c-527a8dada0a5" providerId="ADAL" clId="{F1E5F0B4-FD2E-47E3-80DC-5894D9BB87F8}" dt="2023-03-07T16:59:27.120" v="18059" actId="1076"/>
          <ac:spMkLst>
            <pc:docMk/>
            <pc:sldMk cId="1679491866" sldId="2147469982"/>
            <ac:spMk id="15" creationId="{864E3EB6-63A0-4187-87C2-15847F11EF55}"/>
          </ac:spMkLst>
        </pc:spChg>
        <pc:spChg chg="mod">
          <ac:chgData name="Sylvie ROCHE" userId="60404d4e-bbf6-4ef1-963c-527a8dada0a5" providerId="ADAL" clId="{F1E5F0B4-FD2E-47E3-80DC-5894D9BB87F8}" dt="2023-03-07T16:59:27.120" v="18059" actId="1076"/>
          <ac:spMkLst>
            <pc:docMk/>
            <pc:sldMk cId="1679491866" sldId="2147469982"/>
            <ac:spMk id="17" creationId="{081C14F2-F0CF-453C-B5E6-3AB28B427042}"/>
          </ac:spMkLst>
        </pc:spChg>
        <pc:spChg chg="add mod">
          <ac:chgData name="Sylvie ROCHE" userId="60404d4e-bbf6-4ef1-963c-527a8dada0a5" providerId="ADAL" clId="{F1E5F0B4-FD2E-47E3-80DC-5894D9BB87F8}" dt="2023-03-07T17:13:06.440" v="18411" actId="122"/>
          <ac:spMkLst>
            <pc:docMk/>
            <pc:sldMk cId="1679491866" sldId="2147469982"/>
            <ac:spMk id="18" creationId="{3A8B8457-5C75-82B5-1A52-08C120912456}"/>
          </ac:spMkLst>
        </pc:spChg>
        <pc:spChg chg="mod">
          <ac:chgData name="Sylvie ROCHE" userId="60404d4e-bbf6-4ef1-963c-527a8dada0a5" providerId="ADAL" clId="{F1E5F0B4-FD2E-47E3-80DC-5894D9BB87F8}" dt="2023-03-02T21:22:30.434" v="11362" actId="1035"/>
          <ac:spMkLst>
            <pc:docMk/>
            <pc:sldMk cId="1679491866" sldId="2147469982"/>
            <ac:spMk id="18" creationId="{BDCB2577-DAD6-BF9E-8070-A450A0CD0FED}"/>
          </ac:spMkLst>
        </pc:spChg>
        <pc:spChg chg="add mod">
          <ac:chgData name="Sylvie ROCHE" userId="60404d4e-bbf6-4ef1-963c-527a8dada0a5" providerId="ADAL" clId="{F1E5F0B4-FD2E-47E3-80DC-5894D9BB87F8}" dt="2023-03-07T17:13:06.440" v="18411" actId="122"/>
          <ac:spMkLst>
            <pc:docMk/>
            <pc:sldMk cId="1679491866" sldId="2147469982"/>
            <ac:spMk id="19" creationId="{7C46BB92-13A8-E3DD-3294-CBF535A5C938}"/>
          </ac:spMkLst>
        </pc:spChg>
        <pc:spChg chg="add del mod">
          <ac:chgData name="Sylvie ROCHE" userId="60404d4e-bbf6-4ef1-963c-527a8dada0a5" providerId="ADAL" clId="{F1E5F0B4-FD2E-47E3-80DC-5894D9BB87F8}" dt="2023-03-02T21:01:37.531" v="10125" actId="478"/>
          <ac:spMkLst>
            <pc:docMk/>
            <pc:sldMk cId="1679491866" sldId="2147469982"/>
            <ac:spMk id="19" creationId="{E838E77E-541A-A4D9-FEFE-71EE44C98A38}"/>
          </ac:spMkLst>
        </pc:spChg>
        <pc:spChg chg="add del mod">
          <ac:chgData name="Sylvie ROCHE" userId="60404d4e-bbf6-4ef1-963c-527a8dada0a5" providerId="ADAL" clId="{F1E5F0B4-FD2E-47E3-80DC-5894D9BB87F8}" dt="2023-03-07T17:11:09.774" v="18397" actId="478"/>
          <ac:spMkLst>
            <pc:docMk/>
            <pc:sldMk cId="1679491866" sldId="2147469982"/>
            <ac:spMk id="20" creationId="{1EFF4ACB-11AE-FF0B-EB0A-5AB0C1EC0935}"/>
          </ac:spMkLst>
        </pc:spChg>
        <pc:spChg chg="add mod">
          <ac:chgData name="Sylvie ROCHE" userId="60404d4e-bbf6-4ef1-963c-527a8dada0a5" providerId="ADAL" clId="{F1E5F0B4-FD2E-47E3-80DC-5894D9BB87F8}" dt="2023-03-07T17:13:06.440" v="18411" actId="122"/>
          <ac:spMkLst>
            <pc:docMk/>
            <pc:sldMk cId="1679491866" sldId="2147469982"/>
            <ac:spMk id="21" creationId="{9BBF1C10-C9DE-DD13-13A7-81CD25725349}"/>
          </ac:spMkLst>
        </pc:spChg>
        <pc:spChg chg="add del mod">
          <ac:chgData name="Sylvie ROCHE" userId="60404d4e-bbf6-4ef1-963c-527a8dada0a5" providerId="ADAL" clId="{F1E5F0B4-FD2E-47E3-80DC-5894D9BB87F8}" dt="2023-03-02T21:07:08.347" v="10243" actId="478"/>
          <ac:spMkLst>
            <pc:docMk/>
            <pc:sldMk cId="1679491866" sldId="2147469982"/>
            <ac:spMk id="21" creationId="{A1489088-21AB-7E19-9923-4E2B4C1B74B2}"/>
          </ac:spMkLst>
        </pc:spChg>
        <pc:spChg chg="add mod">
          <ac:chgData name="Sylvie ROCHE" userId="60404d4e-bbf6-4ef1-963c-527a8dada0a5" providerId="ADAL" clId="{F1E5F0B4-FD2E-47E3-80DC-5894D9BB87F8}" dt="2023-03-07T16:58:29.727" v="18037" actId="20577"/>
          <ac:spMkLst>
            <pc:docMk/>
            <pc:sldMk cId="1679491866" sldId="2147469982"/>
            <ac:spMk id="22" creationId="{DC76E146-902E-309E-4342-0D19BBAA32E5}"/>
          </ac:spMkLst>
        </pc:spChg>
        <pc:spChg chg="add mod">
          <ac:chgData name="Sylvie ROCHE" userId="60404d4e-bbf6-4ef1-963c-527a8dada0a5" providerId="ADAL" clId="{F1E5F0B4-FD2E-47E3-80DC-5894D9BB87F8}" dt="2023-03-07T17:03:25.271" v="18273" actId="20577"/>
          <ac:spMkLst>
            <pc:docMk/>
            <pc:sldMk cId="1679491866" sldId="2147469982"/>
            <ac:spMk id="23" creationId="{F979F6E0-171A-87CA-01DC-52FC713FCF71}"/>
          </ac:spMkLst>
        </pc:spChg>
        <pc:spChg chg="add mod">
          <ac:chgData name="Sylvie ROCHE" userId="60404d4e-bbf6-4ef1-963c-527a8dada0a5" providerId="ADAL" clId="{F1E5F0B4-FD2E-47E3-80DC-5894D9BB87F8}" dt="2023-03-07T17:13:23.035" v="18431" actId="20577"/>
          <ac:spMkLst>
            <pc:docMk/>
            <pc:sldMk cId="1679491866" sldId="2147469982"/>
            <ac:spMk id="25" creationId="{94D99A8C-5F03-8F13-2A34-D7859586F16E}"/>
          </ac:spMkLst>
        </pc:spChg>
        <pc:spChg chg="add mod">
          <ac:chgData name="Sylvie ROCHE" userId="60404d4e-bbf6-4ef1-963c-527a8dada0a5" providerId="ADAL" clId="{F1E5F0B4-FD2E-47E3-80DC-5894D9BB87F8}" dt="2023-03-07T17:15:02.630" v="18476" actId="20577"/>
          <ac:spMkLst>
            <pc:docMk/>
            <pc:sldMk cId="1679491866" sldId="2147469982"/>
            <ac:spMk id="26" creationId="{32A4B72D-D719-1603-1F3F-8B546BA3A932}"/>
          </ac:spMkLst>
        </pc:spChg>
        <pc:spChg chg="mod">
          <ac:chgData name="Sylvie ROCHE" userId="60404d4e-bbf6-4ef1-963c-527a8dada0a5" providerId="ADAL" clId="{F1E5F0B4-FD2E-47E3-80DC-5894D9BB87F8}" dt="2023-03-03T17:02:42.660" v="13292" actId="1036"/>
          <ac:spMkLst>
            <pc:docMk/>
            <pc:sldMk cId="1679491866" sldId="2147469982"/>
            <ac:spMk id="28" creationId="{D3BE1DDC-5781-6B4E-8E99-D516492426AF}"/>
          </ac:spMkLst>
        </pc:spChg>
        <pc:spChg chg="mod">
          <ac:chgData name="Sylvie ROCHE" userId="60404d4e-bbf6-4ef1-963c-527a8dada0a5" providerId="ADAL" clId="{F1E5F0B4-FD2E-47E3-80DC-5894D9BB87F8}" dt="2023-03-03T17:02:42.660" v="13292" actId="1036"/>
          <ac:spMkLst>
            <pc:docMk/>
            <pc:sldMk cId="1679491866" sldId="2147469982"/>
            <ac:spMk id="32" creationId="{570BF500-8B44-6E53-7595-7A10A006BBCA}"/>
          </ac:spMkLst>
        </pc:spChg>
        <pc:spChg chg="mod">
          <ac:chgData name="Sylvie ROCHE" userId="60404d4e-bbf6-4ef1-963c-527a8dada0a5" providerId="ADAL" clId="{F1E5F0B4-FD2E-47E3-80DC-5894D9BB87F8}" dt="2023-03-03T17:02:42.660" v="13292" actId="1036"/>
          <ac:spMkLst>
            <pc:docMk/>
            <pc:sldMk cId="1679491866" sldId="2147469982"/>
            <ac:spMk id="35" creationId="{E428E3AE-B6F8-E974-43DD-F5821EE5F9E3}"/>
          </ac:spMkLst>
        </pc:spChg>
        <pc:spChg chg="add del mod">
          <ac:chgData name="Sylvie ROCHE" userId="60404d4e-bbf6-4ef1-963c-527a8dada0a5" providerId="ADAL" clId="{F1E5F0B4-FD2E-47E3-80DC-5894D9BB87F8}" dt="2023-03-07T14:28:26.494" v="13605" actId="478"/>
          <ac:spMkLst>
            <pc:docMk/>
            <pc:sldMk cId="1679491866" sldId="2147469982"/>
            <ac:spMk id="37" creationId="{ABABAEEF-D8A4-550B-6177-A6DD71EC19E7}"/>
          </ac:spMkLst>
        </pc:spChg>
        <pc:spChg chg="add mod">
          <ac:chgData name="Sylvie ROCHE" userId="60404d4e-bbf6-4ef1-963c-527a8dada0a5" providerId="ADAL" clId="{F1E5F0B4-FD2E-47E3-80DC-5894D9BB87F8}" dt="2023-03-07T17:13:06.440" v="18411" actId="122"/>
          <ac:spMkLst>
            <pc:docMk/>
            <pc:sldMk cId="1679491866" sldId="2147469982"/>
            <ac:spMk id="38" creationId="{F5E6F020-1B3B-864E-C7C8-1B2AFFFC2D31}"/>
          </ac:spMkLst>
        </pc:spChg>
        <pc:spChg chg="add mod">
          <ac:chgData name="Sylvie ROCHE" userId="60404d4e-bbf6-4ef1-963c-527a8dada0a5" providerId="ADAL" clId="{F1E5F0B4-FD2E-47E3-80DC-5894D9BB87F8}" dt="2023-03-07T17:13:06.440" v="18411" actId="122"/>
          <ac:spMkLst>
            <pc:docMk/>
            <pc:sldMk cId="1679491866" sldId="2147469982"/>
            <ac:spMk id="39" creationId="{89AFE7E6-F72D-FC8B-2BB6-5A7AC970AC13}"/>
          </ac:spMkLst>
        </pc:spChg>
        <pc:spChg chg="add mod">
          <ac:chgData name="Sylvie ROCHE" userId="60404d4e-bbf6-4ef1-963c-527a8dada0a5" providerId="ADAL" clId="{F1E5F0B4-FD2E-47E3-80DC-5894D9BB87F8}" dt="2023-03-07T17:26:21.224" v="18856" actId="1076"/>
          <ac:spMkLst>
            <pc:docMk/>
            <pc:sldMk cId="1679491866" sldId="2147469982"/>
            <ac:spMk id="40" creationId="{9A8FC910-398B-6CA1-01F1-A497C2F749B6}"/>
          </ac:spMkLst>
        </pc:spChg>
        <pc:spChg chg="add mod">
          <ac:chgData name="Sylvie ROCHE" userId="60404d4e-bbf6-4ef1-963c-527a8dada0a5" providerId="ADAL" clId="{F1E5F0B4-FD2E-47E3-80DC-5894D9BB87F8}" dt="2023-03-07T17:13:06.440" v="18411" actId="122"/>
          <ac:spMkLst>
            <pc:docMk/>
            <pc:sldMk cId="1679491866" sldId="2147469982"/>
            <ac:spMk id="41" creationId="{2F6BD9A0-FD72-C4C8-06D6-F06BAF6C6EBF}"/>
          </ac:spMkLst>
        </pc:spChg>
        <pc:spChg chg="add mod">
          <ac:chgData name="Sylvie ROCHE" userId="60404d4e-bbf6-4ef1-963c-527a8dada0a5" providerId="ADAL" clId="{F1E5F0B4-FD2E-47E3-80DC-5894D9BB87F8}" dt="2023-03-07T17:13:06.440" v="18411" actId="122"/>
          <ac:spMkLst>
            <pc:docMk/>
            <pc:sldMk cId="1679491866" sldId="2147469982"/>
            <ac:spMk id="42" creationId="{165090DE-1F5A-0B2A-D6A5-8CFA5E1FAA43}"/>
          </ac:spMkLst>
        </pc:spChg>
        <pc:spChg chg="add mod">
          <ac:chgData name="Sylvie ROCHE" userId="60404d4e-bbf6-4ef1-963c-527a8dada0a5" providerId="ADAL" clId="{F1E5F0B4-FD2E-47E3-80DC-5894D9BB87F8}" dt="2023-03-07T17:14:43.805" v="18465" actId="207"/>
          <ac:spMkLst>
            <pc:docMk/>
            <pc:sldMk cId="1679491866" sldId="2147469982"/>
            <ac:spMk id="43" creationId="{10438207-BA7A-1004-3D81-96E140200BC2}"/>
          </ac:spMkLst>
        </pc:spChg>
        <pc:spChg chg="add mod">
          <ac:chgData name="Sylvie ROCHE" userId="60404d4e-bbf6-4ef1-963c-527a8dada0a5" providerId="ADAL" clId="{F1E5F0B4-FD2E-47E3-80DC-5894D9BB87F8}" dt="2023-03-07T17:13:06.440" v="18411" actId="122"/>
          <ac:spMkLst>
            <pc:docMk/>
            <pc:sldMk cId="1679491866" sldId="2147469982"/>
            <ac:spMk id="44" creationId="{DF7E957E-DBD3-B916-56F9-DBD9E1DA6084}"/>
          </ac:spMkLst>
        </pc:spChg>
        <pc:spChg chg="add mod">
          <ac:chgData name="Sylvie ROCHE" userId="60404d4e-bbf6-4ef1-963c-527a8dada0a5" providerId="ADAL" clId="{F1E5F0B4-FD2E-47E3-80DC-5894D9BB87F8}" dt="2023-03-07T17:13:06.440" v="18411" actId="122"/>
          <ac:spMkLst>
            <pc:docMk/>
            <pc:sldMk cId="1679491866" sldId="2147469982"/>
            <ac:spMk id="45" creationId="{31A9FBCB-57F4-4E5D-70E8-F50C6B93E68F}"/>
          </ac:spMkLst>
        </pc:spChg>
        <pc:spChg chg="add mod">
          <ac:chgData name="Sylvie ROCHE" userId="60404d4e-bbf6-4ef1-963c-527a8dada0a5" providerId="ADAL" clId="{F1E5F0B4-FD2E-47E3-80DC-5894D9BB87F8}" dt="2023-03-07T17:26:24.220" v="18857" actId="1076"/>
          <ac:spMkLst>
            <pc:docMk/>
            <pc:sldMk cId="1679491866" sldId="2147469982"/>
            <ac:spMk id="46" creationId="{FEDC1355-7B48-21BC-4C59-16DD018AAEAA}"/>
          </ac:spMkLst>
        </pc:spChg>
        <pc:spChg chg="add mod">
          <ac:chgData name="Sylvie ROCHE" userId="60404d4e-bbf6-4ef1-963c-527a8dada0a5" providerId="ADAL" clId="{F1E5F0B4-FD2E-47E3-80DC-5894D9BB87F8}" dt="2023-03-07T17:14:35.584" v="18464" actId="17032"/>
          <ac:spMkLst>
            <pc:docMk/>
            <pc:sldMk cId="1679491866" sldId="2147469982"/>
            <ac:spMk id="47" creationId="{3D663214-33B7-A1A8-1816-E526AD3497DA}"/>
          </ac:spMkLst>
        </pc:spChg>
        <pc:spChg chg="add mod">
          <ac:chgData name="Sylvie ROCHE" userId="60404d4e-bbf6-4ef1-963c-527a8dada0a5" providerId="ADAL" clId="{F1E5F0B4-FD2E-47E3-80DC-5894D9BB87F8}" dt="2023-03-07T17:26:43.460" v="18858" actId="1076"/>
          <ac:spMkLst>
            <pc:docMk/>
            <pc:sldMk cId="1679491866" sldId="2147469982"/>
            <ac:spMk id="48" creationId="{4281360E-0AC0-414E-C3C5-A2C2E0A9629B}"/>
          </ac:spMkLst>
        </pc:spChg>
        <pc:spChg chg="add mod">
          <ac:chgData name="Sylvie ROCHE" userId="60404d4e-bbf6-4ef1-963c-527a8dada0a5" providerId="ADAL" clId="{F1E5F0B4-FD2E-47E3-80DC-5894D9BB87F8}" dt="2023-03-07T17:14:30.234" v="18463" actId="207"/>
          <ac:spMkLst>
            <pc:docMk/>
            <pc:sldMk cId="1679491866" sldId="2147469982"/>
            <ac:spMk id="49" creationId="{A76E7395-566C-4976-4C03-D0DE8D0721A5}"/>
          </ac:spMkLst>
        </pc:spChg>
        <pc:spChg chg="add mod">
          <ac:chgData name="Sylvie ROCHE" userId="60404d4e-bbf6-4ef1-963c-527a8dada0a5" providerId="ADAL" clId="{F1E5F0B4-FD2E-47E3-80DC-5894D9BB87F8}" dt="2023-03-07T17:13:06.440" v="18411" actId="122"/>
          <ac:spMkLst>
            <pc:docMk/>
            <pc:sldMk cId="1679491866" sldId="2147469982"/>
            <ac:spMk id="50" creationId="{1C282BF0-3505-46E1-1BE5-79F4A0F3DBF6}"/>
          </ac:spMkLst>
        </pc:spChg>
        <pc:spChg chg="add del mod">
          <ac:chgData name="Sylvie ROCHE" userId="60404d4e-bbf6-4ef1-963c-527a8dada0a5" providerId="ADAL" clId="{F1E5F0B4-FD2E-47E3-80DC-5894D9BB87F8}" dt="2023-03-07T17:11:12.490" v="18398" actId="478"/>
          <ac:spMkLst>
            <pc:docMk/>
            <pc:sldMk cId="1679491866" sldId="2147469982"/>
            <ac:spMk id="51" creationId="{574C8D1A-4C13-CAF4-EE4B-951B6AE80DBD}"/>
          </ac:spMkLst>
        </pc:spChg>
        <pc:spChg chg="add del mod">
          <ac:chgData name="Sylvie ROCHE" userId="60404d4e-bbf6-4ef1-963c-527a8dada0a5" providerId="ADAL" clId="{F1E5F0B4-FD2E-47E3-80DC-5894D9BB87F8}" dt="2023-03-07T17:11:12.490" v="18398" actId="478"/>
          <ac:spMkLst>
            <pc:docMk/>
            <pc:sldMk cId="1679491866" sldId="2147469982"/>
            <ac:spMk id="52" creationId="{4FBBE2BA-76D4-C545-312B-B536EE4A8AC6}"/>
          </ac:spMkLst>
        </pc:spChg>
        <pc:spChg chg="del">
          <ac:chgData name="Sylvie ROCHE" userId="60404d4e-bbf6-4ef1-963c-527a8dada0a5" providerId="ADAL" clId="{F1E5F0B4-FD2E-47E3-80DC-5894D9BB87F8}" dt="2023-03-02T20:49:40.576" v="9364" actId="478"/>
          <ac:spMkLst>
            <pc:docMk/>
            <pc:sldMk cId="1679491866" sldId="2147469982"/>
            <ac:spMk id="95" creationId="{F41CA78C-CDA5-D835-6B0D-85F5CAC19710}"/>
          </ac:spMkLst>
        </pc:spChg>
        <pc:spChg chg="del">
          <ac:chgData name="Sylvie ROCHE" userId="60404d4e-bbf6-4ef1-963c-527a8dada0a5" providerId="ADAL" clId="{F1E5F0B4-FD2E-47E3-80DC-5894D9BB87F8}" dt="2023-03-02T21:17:25.519" v="11150" actId="478"/>
          <ac:spMkLst>
            <pc:docMk/>
            <pc:sldMk cId="1679491866" sldId="2147469982"/>
            <ac:spMk id="98" creationId="{5C400FA5-30FD-5BB0-0B0D-BB9FF8DFC2BD}"/>
          </ac:spMkLst>
        </pc:spChg>
        <pc:grpChg chg="add del mod">
          <ac:chgData name="Sylvie ROCHE" userId="60404d4e-bbf6-4ef1-963c-527a8dada0a5" providerId="ADAL" clId="{F1E5F0B4-FD2E-47E3-80DC-5894D9BB87F8}" dt="2023-03-07T17:05:12.235" v="18278" actId="478"/>
          <ac:grpSpMkLst>
            <pc:docMk/>
            <pc:sldMk cId="1679491866" sldId="2147469982"/>
            <ac:grpSpMk id="27" creationId="{878ACEB6-3ECB-28BA-1E6C-4890755398CF}"/>
          </ac:grpSpMkLst>
        </pc:grpChg>
        <pc:grpChg chg="add del mod">
          <ac:chgData name="Sylvie ROCHE" userId="60404d4e-bbf6-4ef1-963c-527a8dada0a5" providerId="ADAL" clId="{F1E5F0B4-FD2E-47E3-80DC-5894D9BB87F8}" dt="2023-03-07T17:05:12.235" v="18278" actId="478"/>
          <ac:grpSpMkLst>
            <pc:docMk/>
            <pc:sldMk cId="1679491866" sldId="2147469982"/>
            <ac:grpSpMk id="31" creationId="{662047CC-32FD-0FC8-A56C-3CF95AFD7653}"/>
          </ac:grpSpMkLst>
        </pc:grpChg>
        <pc:grpChg chg="add del mod">
          <ac:chgData name="Sylvie ROCHE" userId="60404d4e-bbf6-4ef1-963c-527a8dada0a5" providerId="ADAL" clId="{F1E5F0B4-FD2E-47E3-80DC-5894D9BB87F8}" dt="2023-03-07T17:05:12.235" v="18278" actId="478"/>
          <ac:grpSpMkLst>
            <pc:docMk/>
            <pc:sldMk cId="1679491866" sldId="2147469982"/>
            <ac:grpSpMk id="34" creationId="{3BF8DFA5-A56F-9F1B-114A-83EEDA38EC5A}"/>
          </ac:grpSpMkLst>
        </pc:grpChg>
        <pc:graphicFrameChg chg="add del">
          <ac:chgData name="Sylvie ROCHE" userId="60404d4e-bbf6-4ef1-963c-527a8dada0a5" providerId="ADAL" clId="{F1E5F0B4-FD2E-47E3-80DC-5894D9BB87F8}" dt="2023-03-07T17:05:32.288" v="18280" actId="478"/>
          <ac:graphicFrameMkLst>
            <pc:docMk/>
            <pc:sldMk cId="1679491866" sldId="2147469982"/>
            <ac:graphicFrameMk id="3" creationId="{FD503CBF-0E72-C69F-1FCC-23A708F6CF5A}"/>
          </ac:graphicFrameMkLst>
        </pc:graphicFrameChg>
        <pc:picChg chg="mod">
          <ac:chgData name="Sylvie ROCHE" userId="60404d4e-bbf6-4ef1-963c-527a8dada0a5" providerId="ADAL" clId="{F1E5F0B4-FD2E-47E3-80DC-5894D9BB87F8}" dt="2023-03-07T16:58:41.938" v="18038" actId="1076"/>
          <ac:picMkLst>
            <pc:docMk/>
            <pc:sldMk cId="1679491866" sldId="2147469982"/>
            <ac:picMk id="6" creationId="{CCA51F63-3D45-49D1-A294-FEE7069F69F3}"/>
          </ac:picMkLst>
        </pc:picChg>
        <pc:picChg chg="mod">
          <ac:chgData name="Sylvie ROCHE" userId="60404d4e-bbf6-4ef1-963c-527a8dada0a5" providerId="ADAL" clId="{F1E5F0B4-FD2E-47E3-80DC-5894D9BB87F8}" dt="2023-03-07T16:59:27.120" v="18059" actId="1076"/>
          <ac:picMkLst>
            <pc:docMk/>
            <pc:sldMk cId="1679491866" sldId="2147469982"/>
            <ac:picMk id="24" creationId="{07A552B2-1363-45E7-BB1D-2B6DAE61A8ED}"/>
          </ac:picMkLst>
        </pc:picChg>
        <pc:picChg chg="mod">
          <ac:chgData name="Sylvie ROCHE" userId="60404d4e-bbf6-4ef1-963c-527a8dada0a5" providerId="ADAL" clId="{F1E5F0B4-FD2E-47E3-80DC-5894D9BB87F8}" dt="2023-03-03T17:02:42.660" v="13292" actId="1036"/>
          <ac:picMkLst>
            <pc:docMk/>
            <pc:sldMk cId="1679491866" sldId="2147469982"/>
            <ac:picMk id="29" creationId="{B8D2FA1B-EFA5-B298-E429-2BA31787B17E}"/>
          </ac:picMkLst>
        </pc:picChg>
        <pc:picChg chg="mod">
          <ac:chgData name="Sylvie ROCHE" userId="60404d4e-bbf6-4ef1-963c-527a8dada0a5" providerId="ADAL" clId="{F1E5F0B4-FD2E-47E3-80DC-5894D9BB87F8}" dt="2023-03-03T17:02:42.660" v="13292" actId="1036"/>
          <ac:picMkLst>
            <pc:docMk/>
            <pc:sldMk cId="1679491866" sldId="2147469982"/>
            <ac:picMk id="30" creationId="{605D63B9-A09E-67EF-C746-29A5E9DE629E}"/>
          </ac:picMkLst>
        </pc:picChg>
        <pc:picChg chg="mod">
          <ac:chgData name="Sylvie ROCHE" userId="60404d4e-bbf6-4ef1-963c-527a8dada0a5" providerId="ADAL" clId="{F1E5F0B4-FD2E-47E3-80DC-5894D9BB87F8}" dt="2023-03-03T17:02:42.660" v="13292" actId="1036"/>
          <ac:picMkLst>
            <pc:docMk/>
            <pc:sldMk cId="1679491866" sldId="2147469982"/>
            <ac:picMk id="33" creationId="{C4D7DD75-40A7-9CE5-D398-47771EE152F9}"/>
          </ac:picMkLst>
        </pc:picChg>
        <pc:picChg chg="mod">
          <ac:chgData name="Sylvie ROCHE" userId="60404d4e-bbf6-4ef1-963c-527a8dada0a5" providerId="ADAL" clId="{F1E5F0B4-FD2E-47E3-80DC-5894D9BB87F8}" dt="2023-03-03T17:02:42.660" v="13292" actId="1036"/>
          <ac:picMkLst>
            <pc:docMk/>
            <pc:sldMk cId="1679491866" sldId="2147469982"/>
            <ac:picMk id="36" creationId="{133C1BB0-4A5B-EFFF-8531-130F9E0F4A13}"/>
          </ac:picMkLst>
        </pc:picChg>
        <pc:cxnChg chg="mod">
          <ac:chgData name="Sylvie ROCHE" userId="60404d4e-bbf6-4ef1-963c-527a8dada0a5" providerId="ADAL" clId="{F1E5F0B4-FD2E-47E3-80DC-5894D9BB87F8}" dt="2023-03-07T16:58:41.938" v="18038" actId="1076"/>
          <ac:cxnSpMkLst>
            <pc:docMk/>
            <pc:sldMk cId="1679491866" sldId="2147469982"/>
            <ac:cxnSpMk id="14" creationId="{CA362DFC-94B7-4CD5-8459-C95A5EA44217}"/>
          </ac:cxnSpMkLst>
        </pc:cxnChg>
        <pc:cxnChg chg="mod">
          <ac:chgData name="Sylvie ROCHE" userId="60404d4e-bbf6-4ef1-963c-527a8dada0a5" providerId="ADAL" clId="{F1E5F0B4-FD2E-47E3-80DC-5894D9BB87F8}" dt="2023-03-07T17:03:12.915" v="18243" actId="1076"/>
          <ac:cxnSpMkLst>
            <pc:docMk/>
            <pc:sldMk cId="1679491866" sldId="2147469982"/>
            <ac:cxnSpMk id="16" creationId="{B8AE57C4-69CE-4608-8DDB-7E6E3218F160}"/>
          </ac:cxnSpMkLst>
        </pc:cxnChg>
        <pc:extLst>
          <p:ext xmlns:p="http://schemas.openxmlformats.org/presentationml/2006/main" uri="{D6D511B9-2390-475A-947B-AFAB55BFBCF1}">
            <pc226:cmChg xmlns:pc226="http://schemas.microsoft.com/office/powerpoint/2022/06/main/command" chg="add del mod">
              <pc226:chgData name="Sylvie ROCHE" userId="60404d4e-bbf6-4ef1-963c-527a8dada0a5" providerId="ADAL" clId="{F1E5F0B4-FD2E-47E3-80DC-5894D9BB87F8}" dt="2023-03-07T17:14:57.692" v="18468"/>
              <pc2:cmMkLst xmlns:pc2="http://schemas.microsoft.com/office/powerpoint/2019/9/main/command">
                <pc:docMk/>
                <pc:sldMk cId="1679491866" sldId="2147469982"/>
                <pc2:cmMk id="{461BA84D-317D-4243-960D-A3E20D046E9E}"/>
              </pc2:cmMkLst>
              <pc226:cmRplyChg chg="add">
                <pc226:chgData name="Sylvie ROCHE" userId="60404d4e-bbf6-4ef1-963c-527a8dada0a5" providerId="ADAL" clId="{F1E5F0B4-FD2E-47E3-80DC-5894D9BB87F8}" dt="2023-03-02T21:33:46.064" v="12010"/>
                <pc2:cmRplyMkLst xmlns:pc2="http://schemas.microsoft.com/office/powerpoint/2019/9/main/command">
                  <pc:docMk/>
                  <pc:sldMk cId="1679491866" sldId="2147469982"/>
                  <pc2:cmMk id="{461BA84D-317D-4243-960D-A3E20D046E9E}"/>
                  <pc2:cmRplyMk id="{D581B393-8213-4D85-9F52-425DBA9F4A6A}"/>
                </pc2:cmRplyMkLst>
              </pc226:cmRplyChg>
            </pc226:cmChg>
            <pc226:cmChg xmlns:pc226="http://schemas.microsoft.com/office/powerpoint/2022/06/main/command" chg="add del mod">
              <pc226:chgData name="Sylvie ROCHE" userId="60404d4e-bbf6-4ef1-963c-527a8dada0a5" providerId="ADAL" clId="{F1E5F0B4-FD2E-47E3-80DC-5894D9BB87F8}" dt="2023-03-07T17:14:55.392" v="18467"/>
              <pc2:cmMkLst xmlns:pc2="http://schemas.microsoft.com/office/powerpoint/2019/9/main/command">
                <pc:docMk/>
                <pc:sldMk cId="1679491866" sldId="2147469982"/>
                <pc2:cmMk id="{C3590EE1-9C96-4882-9271-480C5471B4DB}"/>
              </pc2:cmMkLst>
            </pc226:cmChg>
          </p:ext>
        </pc:extLst>
      </pc:sldChg>
      <pc:sldChg chg="addSp modSp mod ord addCm delCm modCm">
        <pc:chgData name="Sylvie ROCHE" userId="60404d4e-bbf6-4ef1-963c-527a8dada0a5" providerId="ADAL" clId="{F1E5F0B4-FD2E-47E3-80DC-5894D9BB87F8}" dt="2023-03-07T18:05:40.113" v="21022" actId="14100"/>
        <pc:sldMkLst>
          <pc:docMk/>
          <pc:sldMk cId="2863541397" sldId="2147469983"/>
        </pc:sldMkLst>
        <pc:spChg chg="add mod">
          <ac:chgData name="Sylvie ROCHE" userId="60404d4e-bbf6-4ef1-963c-527a8dada0a5" providerId="ADAL" clId="{F1E5F0B4-FD2E-47E3-80DC-5894D9BB87F8}" dt="2023-03-07T18:05:40.113" v="21022" actId="14100"/>
          <ac:spMkLst>
            <pc:docMk/>
            <pc:sldMk cId="2863541397" sldId="2147469983"/>
            <ac:spMk id="3" creationId="{485D1B8A-0B1E-1E73-E092-DC6223BE4826}"/>
          </ac:spMkLst>
        </pc:spChg>
        <pc:spChg chg="mod">
          <ac:chgData name="Sylvie ROCHE" userId="60404d4e-bbf6-4ef1-963c-527a8dada0a5" providerId="ADAL" clId="{F1E5F0B4-FD2E-47E3-80DC-5894D9BB87F8}" dt="2023-03-07T16:18:22.781" v="15781" actId="20577"/>
          <ac:spMkLst>
            <pc:docMk/>
            <pc:sldMk cId="2863541397" sldId="2147469983"/>
            <ac:spMk id="217" creationId="{ACBEB19E-2E70-897B-2656-D08F301B74D3}"/>
          </ac:spMkLst>
        </pc:spChg>
        <pc:extLst>
          <p:ext xmlns:p="http://schemas.openxmlformats.org/presentationml/2006/main" uri="{D6D511B9-2390-475A-947B-AFAB55BFBCF1}">
            <pc226:cmChg xmlns:pc226="http://schemas.microsoft.com/office/powerpoint/2022/06/main/command" chg="add del mod">
              <pc226:chgData name="Sylvie ROCHE" userId="60404d4e-bbf6-4ef1-963c-527a8dada0a5" providerId="ADAL" clId="{F1E5F0B4-FD2E-47E3-80DC-5894D9BB87F8}" dt="2023-03-07T18:05:19.604" v="21019"/>
              <pc2:cmMkLst xmlns:pc2="http://schemas.microsoft.com/office/powerpoint/2019/9/main/command">
                <pc:docMk/>
                <pc:sldMk cId="2863541397" sldId="2147469983"/>
                <pc2:cmMk id="{B5B29FE1-CF24-4B97-BCE5-F60B3364F164}"/>
              </pc2:cmMkLst>
            </pc226:cmChg>
          </p:ext>
        </pc:extLst>
      </pc:sldChg>
      <pc:sldChg chg="addSp delSp modSp mod ord modNotesTx">
        <pc:chgData name="Sylvie ROCHE" userId="60404d4e-bbf6-4ef1-963c-527a8dada0a5" providerId="ADAL" clId="{F1E5F0B4-FD2E-47E3-80DC-5894D9BB87F8}" dt="2023-03-07T17:30:26.828" v="19048" actId="113"/>
        <pc:sldMkLst>
          <pc:docMk/>
          <pc:sldMk cId="290774258" sldId="2147469984"/>
        </pc:sldMkLst>
        <pc:spChg chg="mod">
          <ac:chgData name="Sylvie ROCHE" userId="60404d4e-bbf6-4ef1-963c-527a8dada0a5" providerId="ADAL" clId="{F1E5F0B4-FD2E-47E3-80DC-5894D9BB87F8}" dt="2023-03-07T14:39:33.899" v="13899" actId="108"/>
          <ac:spMkLst>
            <pc:docMk/>
            <pc:sldMk cId="290774258" sldId="2147469984"/>
            <ac:spMk id="2" creationId="{A0C68FB2-2545-2E0E-EFF1-B5151E3523F0}"/>
          </ac:spMkLst>
        </pc:spChg>
        <pc:spChg chg="add mod">
          <ac:chgData name="Sylvie ROCHE" userId="60404d4e-bbf6-4ef1-963c-527a8dada0a5" providerId="ADAL" clId="{F1E5F0B4-FD2E-47E3-80DC-5894D9BB87F8}" dt="2023-03-07T14:36:28.482" v="13864" actId="20577"/>
          <ac:spMkLst>
            <pc:docMk/>
            <pc:sldMk cId="290774258" sldId="2147469984"/>
            <ac:spMk id="3" creationId="{C0739F68-8509-84FA-24F0-1CC278B69D93}"/>
          </ac:spMkLst>
        </pc:spChg>
        <pc:spChg chg="add del mod">
          <ac:chgData name="Sylvie ROCHE" userId="60404d4e-bbf6-4ef1-963c-527a8dada0a5" providerId="ADAL" clId="{F1E5F0B4-FD2E-47E3-80DC-5894D9BB87F8}" dt="2023-03-03T17:01:22.182" v="13249" actId="478"/>
          <ac:spMkLst>
            <pc:docMk/>
            <pc:sldMk cId="290774258" sldId="2147469984"/>
            <ac:spMk id="7" creationId="{79D50E5B-480B-0A38-26DE-DA0BA868449C}"/>
          </ac:spMkLst>
        </pc:spChg>
        <pc:spChg chg="mod">
          <ac:chgData name="Sylvie ROCHE" userId="60404d4e-bbf6-4ef1-963c-527a8dada0a5" providerId="ADAL" clId="{F1E5F0B4-FD2E-47E3-80DC-5894D9BB87F8}" dt="2023-03-07T17:30:26.828" v="19048" actId="113"/>
          <ac:spMkLst>
            <pc:docMk/>
            <pc:sldMk cId="290774258" sldId="2147469984"/>
            <ac:spMk id="8" creationId="{E6002D31-DCEF-C486-5A17-E697ACC1B0B3}"/>
          </ac:spMkLst>
        </pc:spChg>
        <pc:spChg chg="mod">
          <ac:chgData name="Sylvie ROCHE" userId="60404d4e-bbf6-4ef1-963c-527a8dada0a5" providerId="ADAL" clId="{F1E5F0B4-FD2E-47E3-80DC-5894D9BB87F8}" dt="2023-03-07T14:25:24.786" v="13488" actId="20577"/>
          <ac:spMkLst>
            <pc:docMk/>
            <pc:sldMk cId="290774258" sldId="2147469984"/>
            <ac:spMk id="10" creationId="{204A081B-E254-A745-D88B-E094D0D2AAF0}"/>
          </ac:spMkLst>
        </pc:spChg>
        <pc:spChg chg="mod">
          <ac:chgData name="Sylvie ROCHE" userId="60404d4e-bbf6-4ef1-963c-527a8dada0a5" providerId="ADAL" clId="{F1E5F0B4-FD2E-47E3-80DC-5894D9BB87F8}" dt="2023-03-07T14:25:58.313" v="13532" actId="20577"/>
          <ac:spMkLst>
            <pc:docMk/>
            <pc:sldMk cId="290774258" sldId="2147469984"/>
            <ac:spMk id="14" creationId="{A62B1F1D-CA61-1E9E-9B88-DBCF1B2A552C}"/>
          </ac:spMkLst>
        </pc:spChg>
        <pc:spChg chg="del mod">
          <ac:chgData name="Sylvie ROCHE" userId="60404d4e-bbf6-4ef1-963c-527a8dada0a5" providerId="ADAL" clId="{F1E5F0B4-FD2E-47E3-80DC-5894D9BB87F8}" dt="2023-03-07T17:15:20.630" v="18478" actId="478"/>
          <ac:spMkLst>
            <pc:docMk/>
            <pc:sldMk cId="290774258" sldId="2147469984"/>
            <ac:spMk id="39" creationId="{28E85FA1-6B2A-6CD2-DF1E-0D1F1FA20E50}"/>
          </ac:spMkLst>
        </pc:spChg>
      </pc:sldChg>
      <pc:sldChg chg="delSp modSp mod">
        <pc:chgData name="Sylvie ROCHE" userId="60404d4e-bbf6-4ef1-963c-527a8dada0a5" providerId="ADAL" clId="{F1E5F0B4-FD2E-47E3-80DC-5894D9BB87F8}" dt="2023-03-07T18:26:02.914" v="21816" actId="478"/>
        <pc:sldMkLst>
          <pc:docMk/>
          <pc:sldMk cId="4257343342" sldId="2147469987"/>
        </pc:sldMkLst>
        <pc:spChg chg="del">
          <ac:chgData name="Sylvie ROCHE" userId="60404d4e-bbf6-4ef1-963c-527a8dada0a5" providerId="ADAL" clId="{F1E5F0B4-FD2E-47E3-80DC-5894D9BB87F8}" dt="2023-03-07T18:26:02.914" v="21816" actId="478"/>
          <ac:spMkLst>
            <pc:docMk/>
            <pc:sldMk cId="4257343342" sldId="2147469987"/>
            <ac:spMk id="3" creationId="{C23D7109-0F8C-32FA-D7A2-3A5F90F58FEB}"/>
          </ac:spMkLst>
        </pc:spChg>
        <pc:spChg chg="mod">
          <ac:chgData name="Sylvie ROCHE" userId="60404d4e-bbf6-4ef1-963c-527a8dada0a5" providerId="ADAL" clId="{F1E5F0B4-FD2E-47E3-80DC-5894D9BB87F8}" dt="2023-03-07T18:20:28.046" v="21255" actId="20577"/>
          <ac:spMkLst>
            <pc:docMk/>
            <pc:sldMk cId="4257343342" sldId="2147469987"/>
            <ac:spMk id="37" creationId="{602B46CA-C3D7-39F0-E8B7-F889003583F8}"/>
          </ac:spMkLst>
        </pc:spChg>
        <pc:spChg chg="mod">
          <ac:chgData name="Sylvie ROCHE" userId="60404d4e-bbf6-4ef1-963c-527a8dada0a5" providerId="ADAL" clId="{F1E5F0B4-FD2E-47E3-80DC-5894D9BB87F8}" dt="2023-03-07T18:20:14.997" v="21247" actId="20577"/>
          <ac:spMkLst>
            <pc:docMk/>
            <pc:sldMk cId="4257343342" sldId="2147469987"/>
            <ac:spMk id="40" creationId="{B10AE217-4602-8E8E-2268-1219A47BCF6E}"/>
          </ac:spMkLst>
        </pc:spChg>
        <pc:spChg chg="mod">
          <ac:chgData name="Sylvie ROCHE" userId="60404d4e-bbf6-4ef1-963c-527a8dada0a5" providerId="ADAL" clId="{F1E5F0B4-FD2E-47E3-80DC-5894D9BB87F8}" dt="2023-03-07T18:20:20.752" v="21251" actId="20577"/>
          <ac:spMkLst>
            <pc:docMk/>
            <pc:sldMk cId="4257343342" sldId="2147469987"/>
            <ac:spMk id="52" creationId="{533903FF-65D4-56AC-7C8C-60D836D2C118}"/>
          </ac:spMkLst>
        </pc:spChg>
      </pc:sldChg>
      <pc:sldChg chg="addSp delSp modSp mod delCm">
        <pc:chgData name="Sylvie ROCHE" userId="60404d4e-bbf6-4ef1-963c-527a8dada0a5" providerId="ADAL" clId="{F1E5F0B4-FD2E-47E3-80DC-5894D9BB87F8}" dt="2023-03-07T18:26:13.876" v="21823" actId="20577"/>
        <pc:sldMkLst>
          <pc:docMk/>
          <pc:sldMk cId="2077101343" sldId="2147469988"/>
        </pc:sldMkLst>
        <pc:spChg chg="del">
          <ac:chgData name="Sylvie ROCHE" userId="60404d4e-bbf6-4ef1-963c-527a8dada0a5" providerId="ADAL" clId="{F1E5F0B4-FD2E-47E3-80DC-5894D9BB87F8}" dt="2023-03-07T18:25:59.577" v="21815" actId="478"/>
          <ac:spMkLst>
            <pc:docMk/>
            <pc:sldMk cId="2077101343" sldId="2147469988"/>
            <ac:spMk id="3" creationId="{C23D7109-0F8C-32FA-D7A2-3A5F90F58FEB}"/>
          </ac:spMkLst>
        </pc:spChg>
        <pc:spChg chg="mod">
          <ac:chgData name="Sylvie ROCHE" userId="60404d4e-bbf6-4ef1-963c-527a8dada0a5" providerId="ADAL" clId="{F1E5F0B4-FD2E-47E3-80DC-5894D9BB87F8}" dt="2023-03-07T18:17:07.057" v="21225" actId="1076"/>
          <ac:spMkLst>
            <pc:docMk/>
            <pc:sldMk cId="2077101343" sldId="2147469988"/>
            <ac:spMk id="4" creationId="{C2A1E930-1726-44E1-A62B-538E05D6E1C7}"/>
          </ac:spMkLst>
        </pc:spChg>
        <pc:spChg chg="mod">
          <ac:chgData name="Sylvie ROCHE" userId="60404d4e-bbf6-4ef1-963c-527a8dada0a5" providerId="ADAL" clId="{F1E5F0B4-FD2E-47E3-80DC-5894D9BB87F8}" dt="2023-03-07T18:25:43.344" v="21811" actId="1076"/>
          <ac:spMkLst>
            <pc:docMk/>
            <pc:sldMk cId="2077101343" sldId="2147469988"/>
            <ac:spMk id="7" creationId="{B1D764E1-3BDB-3442-095C-D35FC116C602}"/>
          </ac:spMkLst>
        </pc:spChg>
        <pc:spChg chg="mod">
          <ac:chgData name="Sylvie ROCHE" userId="60404d4e-bbf6-4ef1-963c-527a8dada0a5" providerId="ADAL" clId="{F1E5F0B4-FD2E-47E3-80DC-5894D9BB87F8}" dt="2023-03-07T18:17:32.821" v="21230" actId="108"/>
          <ac:spMkLst>
            <pc:docMk/>
            <pc:sldMk cId="2077101343" sldId="2147469988"/>
            <ac:spMk id="9" creationId="{7D7ADF77-1066-48ED-9CF9-5DE8AD191EB4}"/>
          </ac:spMkLst>
        </pc:spChg>
        <pc:spChg chg="add del mod">
          <ac:chgData name="Sylvie ROCHE" userId="60404d4e-bbf6-4ef1-963c-527a8dada0a5" providerId="ADAL" clId="{F1E5F0B4-FD2E-47E3-80DC-5894D9BB87F8}" dt="2023-03-07T18:17:02.967" v="21224" actId="478"/>
          <ac:spMkLst>
            <pc:docMk/>
            <pc:sldMk cId="2077101343" sldId="2147469988"/>
            <ac:spMk id="12" creationId="{1125D17C-A4FD-1B23-4A59-AD3AE48D7C10}"/>
          </ac:spMkLst>
        </pc:spChg>
        <pc:spChg chg="add mod">
          <ac:chgData name="Sylvie ROCHE" userId="60404d4e-bbf6-4ef1-963c-527a8dada0a5" providerId="ADAL" clId="{F1E5F0B4-FD2E-47E3-80DC-5894D9BB87F8}" dt="2023-03-07T18:17:00.383" v="21223" actId="20577"/>
          <ac:spMkLst>
            <pc:docMk/>
            <pc:sldMk cId="2077101343" sldId="2147469988"/>
            <ac:spMk id="15" creationId="{FB571FE2-F015-3F08-AC48-4672F23D47F3}"/>
          </ac:spMkLst>
        </pc:spChg>
        <pc:spChg chg="mod">
          <ac:chgData name="Sylvie ROCHE" userId="60404d4e-bbf6-4ef1-963c-527a8dada0a5" providerId="ADAL" clId="{F1E5F0B4-FD2E-47E3-80DC-5894D9BB87F8}" dt="2023-03-07T18:17:23.415" v="21229" actId="20577"/>
          <ac:spMkLst>
            <pc:docMk/>
            <pc:sldMk cId="2077101343" sldId="2147469988"/>
            <ac:spMk id="17" creationId="{8A2BD540-9701-4EEE-1C35-D2A1527A0C96}"/>
          </ac:spMkLst>
        </pc:spChg>
        <pc:spChg chg="mod">
          <ac:chgData name="Sylvie ROCHE" userId="60404d4e-bbf6-4ef1-963c-527a8dada0a5" providerId="ADAL" clId="{F1E5F0B4-FD2E-47E3-80DC-5894D9BB87F8}" dt="2023-03-07T18:18:02.562" v="21231"/>
          <ac:spMkLst>
            <pc:docMk/>
            <pc:sldMk cId="2077101343" sldId="2147469988"/>
            <ac:spMk id="21" creationId="{3B69DE74-5478-F2B2-47D0-ED574A51F821}"/>
          </ac:spMkLst>
        </pc:spChg>
        <pc:spChg chg="add mod">
          <ac:chgData name="Sylvie ROCHE" userId="60404d4e-bbf6-4ef1-963c-527a8dada0a5" providerId="ADAL" clId="{F1E5F0B4-FD2E-47E3-80DC-5894D9BB87F8}" dt="2023-03-07T18:25:02.613" v="21769" actId="20577"/>
          <ac:spMkLst>
            <pc:docMk/>
            <pc:sldMk cId="2077101343" sldId="2147469988"/>
            <ac:spMk id="25" creationId="{6E20A9CB-B2A4-92C2-F7C5-FAC373DBB2E8}"/>
          </ac:spMkLst>
        </pc:spChg>
        <pc:spChg chg="add mod">
          <ac:chgData name="Sylvie ROCHE" userId="60404d4e-bbf6-4ef1-963c-527a8dada0a5" providerId="ADAL" clId="{F1E5F0B4-FD2E-47E3-80DC-5894D9BB87F8}" dt="2023-03-07T18:19:08.605" v="21239"/>
          <ac:spMkLst>
            <pc:docMk/>
            <pc:sldMk cId="2077101343" sldId="2147469988"/>
            <ac:spMk id="33" creationId="{B3B8A20E-4835-A378-462D-15F8D7FC87BC}"/>
          </ac:spMkLst>
        </pc:spChg>
        <pc:spChg chg="add del mod">
          <ac:chgData name="Sylvie ROCHE" userId="60404d4e-bbf6-4ef1-963c-527a8dada0a5" providerId="ADAL" clId="{F1E5F0B4-FD2E-47E3-80DC-5894D9BB87F8}" dt="2023-03-07T18:25:47.432" v="21812" actId="478"/>
          <ac:spMkLst>
            <pc:docMk/>
            <pc:sldMk cId="2077101343" sldId="2147469988"/>
            <ac:spMk id="34" creationId="{BA928901-C1CE-D5EA-9C71-AAEA61FA21F3}"/>
          </ac:spMkLst>
        </pc:spChg>
        <pc:spChg chg="add mod">
          <ac:chgData name="Sylvie ROCHE" userId="60404d4e-bbf6-4ef1-963c-527a8dada0a5" providerId="ADAL" clId="{F1E5F0B4-FD2E-47E3-80DC-5894D9BB87F8}" dt="2023-03-07T18:25:20.573" v="21801" actId="20577"/>
          <ac:spMkLst>
            <pc:docMk/>
            <pc:sldMk cId="2077101343" sldId="2147469988"/>
            <ac:spMk id="35" creationId="{80395EBC-CD7B-37BE-2EB3-026FF499427F}"/>
          </ac:spMkLst>
        </pc:spChg>
        <pc:spChg chg="add mod">
          <ac:chgData name="Sylvie ROCHE" userId="60404d4e-bbf6-4ef1-963c-527a8dada0a5" providerId="ADAL" clId="{F1E5F0B4-FD2E-47E3-80DC-5894D9BB87F8}" dt="2023-03-07T18:25:28.518" v="21808" actId="20577"/>
          <ac:spMkLst>
            <pc:docMk/>
            <pc:sldMk cId="2077101343" sldId="2147469988"/>
            <ac:spMk id="36" creationId="{8728CC67-6926-31C8-18FA-03F7E71C7BD5}"/>
          </ac:spMkLst>
        </pc:spChg>
        <pc:spChg chg="add del mod">
          <ac:chgData name="Sylvie ROCHE" userId="60404d4e-bbf6-4ef1-963c-527a8dada0a5" providerId="ADAL" clId="{F1E5F0B4-FD2E-47E3-80DC-5894D9BB87F8}" dt="2023-03-07T18:25:40.468" v="21809" actId="478"/>
          <ac:spMkLst>
            <pc:docMk/>
            <pc:sldMk cId="2077101343" sldId="2147469988"/>
            <ac:spMk id="37" creationId="{0349311E-BBF8-78DC-6F3E-E529B380BFC9}"/>
          </ac:spMkLst>
        </pc:spChg>
        <pc:spChg chg="add mod">
          <ac:chgData name="Sylvie ROCHE" userId="60404d4e-bbf6-4ef1-963c-527a8dada0a5" providerId="ADAL" clId="{F1E5F0B4-FD2E-47E3-80DC-5894D9BB87F8}" dt="2023-03-07T18:25:14.249" v="21796" actId="20577"/>
          <ac:spMkLst>
            <pc:docMk/>
            <pc:sldMk cId="2077101343" sldId="2147469988"/>
            <ac:spMk id="38" creationId="{9F0495C2-023F-C3BB-3207-29EF76B5B1CB}"/>
          </ac:spMkLst>
        </pc:spChg>
        <pc:spChg chg="add mod">
          <ac:chgData name="Sylvie ROCHE" userId="60404d4e-bbf6-4ef1-963c-527a8dada0a5" providerId="ADAL" clId="{F1E5F0B4-FD2E-47E3-80DC-5894D9BB87F8}" dt="2023-03-07T18:24:36.680" v="21689" actId="20577"/>
          <ac:spMkLst>
            <pc:docMk/>
            <pc:sldMk cId="2077101343" sldId="2147469988"/>
            <ac:spMk id="39" creationId="{515BE997-C33C-A623-3F97-031D5B368319}"/>
          </ac:spMkLst>
        </pc:spChg>
        <pc:spChg chg="add mod">
          <ac:chgData name="Sylvie ROCHE" userId="60404d4e-bbf6-4ef1-963c-527a8dada0a5" providerId="ADAL" clId="{F1E5F0B4-FD2E-47E3-80DC-5894D9BB87F8}" dt="2023-03-07T18:26:13.876" v="21823" actId="20577"/>
          <ac:spMkLst>
            <pc:docMk/>
            <pc:sldMk cId="2077101343" sldId="2147469988"/>
            <ac:spMk id="40" creationId="{0A4C59AB-CA89-7471-2F78-6B835DAFAD1C}"/>
          </ac:spMkLst>
        </pc:spChg>
        <pc:grpChg chg="add del mod">
          <ac:chgData name="Sylvie ROCHE" userId="60404d4e-bbf6-4ef1-963c-527a8dada0a5" providerId="ADAL" clId="{F1E5F0B4-FD2E-47E3-80DC-5894D9BB87F8}" dt="2023-03-07T18:17:16.368" v="21227" actId="21"/>
          <ac:grpSpMkLst>
            <pc:docMk/>
            <pc:sldMk cId="2077101343" sldId="2147469988"/>
            <ac:grpSpMk id="2" creationId="{CC44BF1C-23C8-5CA4-1FAF-FD626A064E62}"/>
          </ac:grpSpMkLst>
        </pc:grpChg>
        <pc:grpChg chg="add mod">
          <ac:chgData name="Sylvie ROCHE" userId="60404d4e-bbf6-4ef1-963c-527a8dada0a5" providerId="ADAL" clId="{F1E5F0B4-FD2E-47E3-80DC-5894D9BB87F8}" dt="2023-03-07T18:10:51.189" v="21035" actId="14100"/>
          <ac:grpSpMkLst>
            <pc:docMk/>
            <pc:sldMk cId="2077101343" sldId="2147469988"/>
            <ac:grpSpMk id="8" creationId="{820C00CD-CA3F-00AA-DF96-5B86BA432EFD}"/>
          </ac:grpSpMkLst>
        </pc:grpChg>
        <pc:grpChg chg="add mod">
          <ac:chgData name="Sylvie ROCHE" userId="60404d4e-bbf6-4ef1-963c-527a8dada0a5" providerId="ADAL" clId="{F1E5F0B4-FD2E-47E3-80DC-5894D9BB87F8}" dt="2023-03-07T18:15:02.603" v="21072" actId="14100"/>
          <ac:grpSpMkLst>
            <pc:docMk/>
            <pc:sldMk cId="2077101343" sldId="2147469988"/>
            <ac:grpSpMk id="11" creationId="{D6D0E32A-1407-432E-727C-5EC6C9903D8A}"/>
          </ac:grpSpMkLst>
        </pc:grpChg>
        <pc:grpChg chg="add mod">
          <ac:chgData name="Sylvie ROCHE" userId="60404d4e-bbf6-4ef1-963c-527a8dada0a5" providerId="ADAL" clId="{F1E5F0B4-FD2E-47E3-80DC-5894D9BB87F8}" dt="2023-03-07T18:17:16.399" v="21228"/>
          <ac:grpSpMkLst>
            <pc:docMk/>
            <pc:sldMk cId="2077101343" sldId="2147469988"/>
            <ac:grpSpMk id="16" creationId="{8869DADA-F57C-68B3-EB2F-153CEC01923D}"/>
          </ac:grpSpMkLst>
        </pc:grpChg>
        <pc:grpChg chg="add del mod">
          <ac:chgData name="Sylvie ROCHE" userId="60404d4e-bbf6-4ef1-963c-527a8dada0a5" providerId="ADAL" clId="{F1E5F0B4-FD2E-47E3-80DC-5894D9BB87F8}" dt="2023-03-07T18:18:04.263" v="21232" actId="478"/>
          <ac:grpSpMkLst>
            <pc:docMk/>
            <pc:sldMk cId="2077101343" sldId="2147469988"/>
            <ac:grpSpMk id="20" creationId="{BE0E1074-04FB-BA09-9EA7-88F4FB5CA041}"/>
          </ac:grpSpMkLst>
        </pc:grpChg>
        <pc:grpChg chg="add mod">
          <ac:chgData name="Sylvie ROCHE" userId="60404d4e-bbf6-4ef1-963c-527a8dada0a5" providerId="ADAL" clId="{F1E5F0B4-FD2E-47E3-80DC-5894D9BB87F8}" dt="2023-03-07T18:18:35.045" v="21238" actId="1076"/>
          <ac:grpSpMkLst>
            <pc:docMk/>
            <pc:sldMk cId="2077101343" sldId="2147469988"/>
            <ac:grpSpMk id="24" creationId="{F4E926FF-1353-4DBC-11B5-3F8481CD1FCE}"/>
          </ac:grpSpMkLst>
        </pc:grpChg>
        <pc:grpChg chg="add mod">
          <ac:chgData name="Sylvie ROCHE" userId="60404d4e-bbf6-4ef1-963c-527a8dada0a5" providerId="ADAL" clId="{F1E5F0B4-FD2E-47E3-80DC-5894D9BB87F8}" dt="2023-03-07T18:18:10.757" v="21233"/>
          <ac:grpSpMkLst>
            <pc:docMk/>
            <pc:sldMk cId="2077101343" sldId="2147469988"/>
            <ac:grpSpMk id="26" creationId="{5A72244F-B610-40B4-ABAA-6E85F39DE8A6}"/>
          </ac:grpSpMkLst>
        </pc:grpChg>
        <pc:graphicFrameChg chg="add mod">
          <ac:chgData name="Sylvie ROCHE" userId="60404d4e-bbf6-4ef1-963c-527a8dada0a5" providerId="ADAL" clId="{F1E5F0B4-FD2E-47E3-80DC-5894D9BB87F8}" dt="2023-03-07T18:19:08.605" v="21239"/>
          <ac:graphicFrameMkLst>
            <pc:docMk/>
            <pc:sldMk cId="2077101343" sldId="2147469988"/>
            <ac:graphicFrameMk id="29" creationId="{73C9A651-998E-5F2E-998B-E04969936B28}"/>
          </ac:graphicFrameMkLst>
        </pc:graphicFrameChg>
        <pc:graphicFrameChg chg="add mod">
          <ac:chgData name="Sylvie ROCHE" userId="60404d4e-bbf6-4ef1-963c-527a8dada0a5" providerId="ADAL" clId="{F1E5F0B4-FD2E-47E3-80DC-5894D9BB87F8}" dt="2023-03-07T18:19:08.605" v="21239"/>
          <ac:graphicFrameMkLst>
            <pc:docMk/>
            <pc:sldMk cId="2077101343" sldId="2147469988"/>
            <ac:graphicFrameMk id="30" creationId="{F5BD1937-749D-CEE4-4DA7-63433DDE18BD}"/>
          </ac:graphicFrameMkLst>
        </pc:graphicFrameChg>
        <pc:graphicFrameChg chg="add mod">
          <ac:chgData name="Sylvie ROCHE" userId="60404d4e-bbf6-4ef1-963c-527a8dada0a5" providerId="ADAL" clId="{F1E5F0B4-FD2E-47E3-80DC-5894D9BB87F8}" dt="2023-03-07T18:19:08.605" v="21239"/>
          <ac:graphicFrameMkLst>
            <pc:docMk/>
            <pc:sldMk cId="2077101343" sldId="2147469988"/>
            <ac:graphicFrameMk id="31" creationId="{F2087616-FE98-2CB3-7396-4B834502E325}"/>
          </ac:graphicFrameMkLst>
        </pc:graphicFrameChg>
        <pc:graphicFrameChg chg="add mod">
          <ac:chgData name="Sylvie ROCHE" userId="60404d4e-bbf6-4ef1-963c-527a8dada0a5" providerId="ADAL" clId="{F1E5F0B4-FD2E-47E3-80DC-5894D9BB87F8}" dt="2023-03-07T18:25:54.942" v="21814" actId="1076"/>
          <ac:graphicFrameMkLst>
            <pc:docMk/>
            <pc:sldMk cId="2077101343" sldId="2147469988"/>
            <ac:graphicFrameMk id="32" creationId="{0C2E1953-84B8-F6E3-B88D-FEA5A233547B}"/>
          </ac:graphicFrameMkLst>
        </pc:graphicFrameChg>
        <pc:picChg chg="mod">
          <ac:chgData name="Sylvie ROCHE" userId="60404d4e-bbf6-4ef1-963c-527a8dada0a5" providerId="ADAL" clId="{F1E5F0B4-FD2E-47E3-80DC-5894D9BB87F8}" dt="2023-03-07T18:17:07.057" v="21225" actId="1076"/>
          <ac:picMkLst>
            <pc:docMk/>
            <pc:sldMk cId="2077101343" sldId="2147469988"/>
            <ac:picMk id="5" creationId="{93F03FE4-4F78-D5C5-1AA6-E283E3FA7372}"/>
          </ac:picMkLst>
        </pc:picChg>
        <pc:picChg chg="mod">
          <ac:chgData name="Sylvie ROCHE" userId="60404d4e-bbf6-4ef1-963c-527a8dada0a5" providerId="ADAL" clId="{F1E5F0B4-FD2E-47E3-80DC-5894D9BB87F8}" dt="2023-03-07T18:17:07.057" v="21225" actId="1076"/>
          <ac:picMkLst>
            <pc:docMk/>
            <pc:sldMk cId="2077101343" sldId="2147469988"/>
            <ac:picMk id="6" creationId="{5F0796B9-A6B6-EDE8-64A7-80A4D10537D0}"/>
          </ac:picMkLst>
        </pc:picChg>
        <pc:picChg chg="mod">
          <ac:chgData name="Sylvie ROCHE" userId="60404d4e-bbf6-4ef1-963c-527a8dada0a5" providerId="ADAL" clId="{F1E5F0B4-FD2E-47E3-80DC-5894D9BB87F8}" dt="2023-03-07T18:10:42.077" v="21033"/>
          <ac:picMkLst>
            <pc:docMk/>
            <pc:sldMk cId="2077101343" sldId="2147469988"/>
            <ac:picMk id="10" creationId="{CF4E0449-7D74-49B3-900A-AC25AF314C97}"/>
          </ac:picMkLst>
        </pc:picChg>
        <pc:picChg chg="add mod">
          <ac:chgData name="Sylvie ROCHE" userId="60404d4e-bbf6-4ef1-963c-527a8dada0a5" providerId="ADAL" clId="{F1E5F0B4-FD2E-47E3-80DC-5894D9BB87F8}" dt="2023-03-07T18:15:15.380" v="21075" actId="14100"/>
          <ac:picMkLst>
            <pc:docMk/>
            <pc:sldMk cId="2077101343" sldId="2147469988"/>
            <ac:picMk id="13" creationId="{C8489428-E36D-F79A-BFE7-52E5A2CEC875}"/>
          </ac:picMkLst>
        </pc:picChg>
        <pc:picChg chg="add mod">
          <ac:chgData name="Sylvie ROCHE" userId="60404d4e-bbf6-4ef1-963c-527a8dada0a5" providerId="ADAL" clId="{F1E5F0B4-FD2E-47E3-80DC-5894D9BB87F8}" dt="2023-03-07T18:15:10.411" v="21073" actId="14100"/>
          <ac:picMkLst>
            <pc:docMk/>
            <pc:sldMk cId="2077101343" sldId="2147469988"/>
            <ac:picMk id="14" creationId="{D3887AFA-D8D8-2A93-0F20-B54F450B58CB}"/>
          </ac:picMkLst>
        </pc:picChg>
        <pc:picChg chg="mod">
          <ac:chgData name="Sylvie ROCHE" userId="60404d4e-bbf6-4ef1-963c-527a8dada0a5" providerId="ADAL" clId="{F1E5F0B4-FD2E-47E3-80DC-5894D9BB87F8}" dt="2023-03-07T18:17:16.399" v="21228"/>
          <ac:picMkLst>
            <pc:docMk/>
            <pc:sldMk cId="2077101343" sldId="2147469988"/>
            <ac:picMk id="18" creationId="{66C2F5D4-6CB7-586F-05F6-B96E53392FEF}"/>
          </ac:picMkLst>
        </pc:picChg>
        <pc:picChg chg="mod">
          <ac:chgData name="Sylvie ROCHE" userId="60404d4e-bbf6-4ef1-963c-527a8dada0a5" providerId="ADAL" clId="{F1E5F0B4-FD2E-47E3-80DC-5894D9BB87F8}" dt="2023-03-07T18:17:16.399" v="21228"/>
          <ac:picMkLst>
            <pc:docMk/>
            <pc:sldMk cId="2077101343" sldId="2147469988"/>
            <ac:picMk id="19" creationId="{CD574568-C7B3-8267-C2E5-F1C351AF5E55}"/>
          </ac:picMkLst>
        </pc:picChg>
        <pc:picChg chg="mod">
          <ac:chgData name="Sylvie ROCHE" userId="60404d4e-bbf6-4ef1-963c-527a8dada0a5" providerId="ADAL" clId="{F1E5F0B4-FD2E-47E3-80DC-5894D9BB87F8}" dt="2023-03-07T18:18:02.562" v="21231"/>
          <ac:picMkLst>
            <pc:docMk/>
            <pc:sldMk cId="2077101343" sldId="2147469988"/>
            <ac:picMk id="22" creationId="{27AED421-92C1-F522-6016-7CFC281073D1}"/>
          </ac:picMkLst>
        </pc:picChg>
        <pc:picChg chg="mod">
          <ac:chgData name="Sylvie ROCHE" userId="60404d4e-bbf6-4ef1-963c-527a8dada0a5" providerId="ADAL" clId="{F1E5F0B4-FD2E-47E3-80DC-5894D9BB87F8}" dt="2023-03-07T18:18:02.562" v="21231"/>
          <ac:picMkLst>
            <pc:docMk/>
            <pc:sldMk cId="2077101343" sldId="2147469988"/>
            <ac:picMk id="23" creationId="{0974E855-4119-0E0E-EA94-17D175EC24FC}"/>
          </ac:picMkLst>
        </pc:picChg>
        <pc:picChg chg="add mod">
          <ac:chgData name="Sylvie ROCHE" userId="60404d4e-bbf6-4ef1-963c-527a8dada0a5" providerId="ADAL" clId="{F1E5F0B4-FD2E-47E3-80DC-5894D9BB87F8}" dt="2023-03-07T18:18:10.757" v="21233"/>
          <ac:picMkLst>
            <pc:docMk/>
            <pc:sldMk cId="2077101343" sldId="2147469988"/>
            <ac:picMk id="27" creationId="{EA435F88-CFC9-C4D6-5A63-FD1B84FEBCA5}"/>
          </ac:picMkLst>
        </pc:picChg>
        <pc:picChg chg="add mod">
          <ac:chgData name="Sylvie ROCHE" userId="60404d4e-bbf6-4ef1-963c-527a8dada0a5" providerId="ADAL" clId="{F1E5F0B4-FD2E-47E3-80DC-5894D9BB87F8}" dt="2023-03-07T18:18:10.757" v="21233"/>
          <ac:picMkLst>
            <pc:docMk/>
            <pc:sldMk cId="2077101343" sldId="2147469988"/>
            <ac:picMk id="28" creationId="{57C740C3-1D23-907C-5544-00A5F9375421}"/>
          </ac:picMkLst>
        </pc:picChg>
        <pc:extLst>
          <p:ext xmlns:p="http://schemas.openxmlformats.org/presentationml/2006/main" uri="{D6D511B9-2390-475A-947B-AFAB55BFBCF1}">
            <pc226:cmChg xmlns:pc226="http://schemas.microsoft.com/office/powerpoint/2022/06/main/command" chg="del">
              <pc226:chgData name="Sylvie ROCHE" userId="60404d4e-bbf6-4ef1-963c-527a8dada0a5" providerId="ADAL" clId="{F1E5F0B4-FD2E-47E3-80DC-5894D9BB87F8}" dt="2023-03-07T18:19:14.632" v="21240"/>
              <pc2:cmMkLst xmlns:pc2="http://schemas.microsoft.com/office/powerpoint/2019/9/main/command">
                <pc:docMk/>
                <pc:sldMk cId="2077101343" sldId="2147469988"/>
                <pc2:cmMk id="{0EF87505-6A47-4187-A611-9B1264C1CCEA}"/>
              </pc2:cmMkLst>
            </pc226:cmChg>
          </p:ext>
        </pc:extLst>
      </pc:sldChg>
      <pc:sldChg chg="modSp mod">
        <pc:chgData name="Sylvie ROCHE" userId="60404d4e-bbf6-4ef1-963c-527a8dada0a5" providerId="ADAL" clId="{F1E5F0B4-FD2E-47E3-80DC-5894D9BB87F8}" dt="2023-03-07T14:38:39.011" v="13891" actId="108"/>
        <pc:sldMkLst>
          <pc:docMk/>
          <pc:sldMk cId="1741760903" sldId="2147469989"/>
        </pc:sldMkLst>
        <pc:spChg chg="mod">
          <ac:chgData name="Sylvie ROCHE" userId="60404d4e-bbf6-4ef1-963c-527a8dada0a5" providerId="ADAL" clId="{F1E5F0B4-FD2E-47E3-80DC-5894D9BB87F8}" dt="2023-03-07T14:38:39.011" v="13891" actId="108"/>
          <ac:spMkLst>
            <pc:docMk/>
            <pc:sldMk cId="1741760903" sldId="2147469989"/>
            <ac:spMk id="37" creationId="{7AF0E430-CDB8-4B45-8379-46CBA595C178}"/>
          </ac:spMkLst>
        </pc:spChg>
      </pc:sldChg>
      <pc:sldChg chg="modSp mod">
        <pc:chgData name="Sylvie ROCHE" userId="60404d4e-bbf6-4ef1-963c-527a8dada0a5" providerId="ADAL" clId="{F1E5F0B4-FD2E-47E3-80DC-5894D9BB87F8}" dt="2023-03-07T14:38:48.850" v="13892" actId="108"/>
        <pc:sldMkLst>
          <pc:docMk/>
          <pc:sldMk cId="1961901940" sldId="2147469990"/>
        </pc:sldMkLst>
        <pc:spChg chg="mod">
          <ac:chgData name="Sylvie ROCHE" userId="60404d4e-bbf6-4ef1-963c-527a8dada0a5" providerId="ADAL" clId="{F1E5F0B4-FD2E-47E3-80DC-5894D9BB87F8}" dt="2023-03-07T14:03:00.565" v="13340" actId="113"/>
          <ac:spMkLst>
            <pc:docMk/>
            <pc:sldMk cId="1961901940" sldId="2147469990"/>
            <ac:spMk id="5" creationId="{86003A0A-DB97-4C93-A824-76C33B7B9C82}"/>
          </ac:spMkLst>
        </pc:spChg>
        <pc:spChg chg="mod">
          <ac:chgData name="Sylvie ROCHE" userId="60404d4e-bbf6-4ef1-963c-527a8dada0a5" providerId="ADAL" clId="{F1E5F0B4-FD2E-47E3-80DC-5894D9BB87F8}" dt="2023-03-07T14:02:34.135" v="13337" actId="20577"/>
          <ac:spMkLst>
            <pc:docMk/>
            <pc:sldMk cId="1961901940" sldId="2147469990"/>
            <ac:spMk id="8" creationId="{40FDCFEB-94C1-4364-8A24-8CF1F4E5ACD6}"/>
          </ac:spMkLst>
        </pc:spChg>
        <pc:spChg chg="mod">
          <ac:chgData name="Sylvie ROCHE" userId="60404d4e-bbf6-4ef1-963c-527a8dada0a5" providerId="ADAL" clId="{F1E5F0B4-FD2E-47E3-80DC-5894D9BB87F8}" dt="2023-03-07T14:38:48.850" v="13892" actId="108"/>
          <ac:spMkLst>
            <pc:docMk/>
            <pc:sldMk cId="1961901940" sldId="2147469990"/>
            <ac:spMk id="37" creationId="{7AF0E430-CDB8-4B45-8379-46CBA595C178}"/>
          </ac:spMkLst>
        </pc:spChg>
      </pc:sldChg>
      <pc:sldChg chg="modSp mod">
        <pc:chgData name="Sylvie ROCHE" userId="60404d4e-bbf6-4ef1-963c-527a8dada0a5" providerId="ADAL" clId="{F1E5F0B4-FD2E-47E3-80DC-5894D9BB87F8}" dt="2023-03-07T13:12:17.814" v="13334" actId="20577"/>
        <pc:sldMkLst>
          <pc:docMk/>
          <pc:sldMk cId="3757990446" sldId="2147469991"/>
        </pc:sldMkLst>
        <pc:spChg chg="mod">
          <ac:chgData name="Sylvie ROCHE" userId="60404d4e-bbf6-4ef1-963c-527a8dada0a5" providerId="ADAL" clId="{F1E5F0B4-FD2E-47E3-80DC-5894D9BB87F8}" dt="2023-03-07T13:12:17.814" v="13334" actId="20577"/>
          <ac:spMkLst>
            <pc:docMk/>
            <pc:sldMk cId="3757990446" sldId="2147469991"/>
            <ac:spMk id="4" creationId="{B78901B4-EFF5-6059-89AF-501F70FD87A7}"/>
          </ac:spMkLst>
        </pc:spChg>
      </pc:sldChg>
      <pc:sldChg chg="modSp mod delCm modCm">
        <pc:chgData name="Sylvie ROCHE" userId="60404d4e-bbf6-4ef1-963c-527a8dada0a5" providerId="ADAL" clId="{F1E5F0B4-FD2E-47E3-80DC-5894D9BB87F8}" dt="2023-03-07T16:35:51.283" v="16449"/>
        <pc:sldMkLst>
          <pc:docMk/>
          <pc:sldMk cId="3239217406" sldId="2147469993"/>
        </pc:sldMkLst>
        <pc:spChg chg="mod">
          <ac:chgData name="Sylvie ROCHE" userId="60404d4e-bbf6-4ef1-963c-527a8dada0a5" providerId="ADAL" clId="{F1E5F0B4-FD2E-47E3-80DC-5894D9BB87F8}" dt="2023-03-07T14:40:18.167" v="13905" actId="108"/>
          <ac:spMkLst>
            <pc:docMk/>
            <pc:sldMk cId="3239217406" sldId="2147469993"/>
            <ac:spMk id="2" creationId="{E11BF5BD-75C4-4E77-9598-7225EFF82CC5}"/>
          </ac:spMkLst>
        </pc:spChg>
        <pc:extLst>
          <p:ext xmlns:p="http://schemas.openxmlformats.org/presentationml/2006/main" uri="{D6D511B9-2390-475A-947B-AFAB55BFBCF1}">
            <pc226:cmChg xmlns:pc226="http://schemas.microsoft.com/office/powerpoint/2022/06/main/command" chg="del mod">
              <pc226:chgData name="Sylvie ROCHE" userId="60404d4e-bbf6-4ef1-963c-527a8dada0a5" providerId="ADAL" clId="{F1E5F0B4-FD2E-47E3-80DC-5894D9BB87F8}" dt="2023-03-07T16:35:51.283" v="16449"/>
              <pc2:cmMkLst xmlns:pc2="http://schemas.microsoft.com/office/powerpoint/2019/9/main/command">
                <pc:docMk/>
                <pc:sldMk cId="3239217406" sldId="2147469993"/>
                <pc2:cmMk id="{967FEB26-53DD-46D1-888C-0E09C9624BDD}"/>
              </pc2:cmMkLst>
            </pc226:cmChg>
            <pc226:cmChg xmlns:pc226="http://schemas.microsoft.com/office/powerpoint/2022/06/main/command" chg="mod">
              <pc226:chgData name="Sylvie ROCHE" userId="60404d4e-bbf6-4ef1-963c-527a8dada0a5" providerId="ADAL" clId="{F1E5F0B4-FD2E-47E3-80DC-5894D9BB87F8}" dt="2023-03-07T14:19:18.416" v="13407" actId="20577"/>
              <pc2:cmMkLst xmlns:pc2="http://schemas.microsoft.com/office/powerpoint/2019/9/main/command">
                <pc:docMk/>
                <pc:sldMk cId="3239217406" sldId="2147469993"/>
                <pc2:cmMk id="{066D37CF-F56E-4381-A2E8-A67115426352}"/>
              </pc2:cmMkLst>
            </pc226:cmChg>
          </p:ext>
        </pc:extLst>
      </pc:sldChg>
      <pc:sldChg chg="delSp modSp add del mod ord">
        <pc:chgData name="Sylvie ROCHE" userId="60404d4e-bbf6-4ef1-963c-527a8dada0a5" providerId="ADAL" clId="{F1E5F0B4-FD2E-47E3-80DC-5894D9BB87F8}" dt="2023-03-07T15:58:35.724" v="15388" actId="47"/>
        <pc:sldMkLst>
          <pc:docMk/>
          <pc:sldMk cId="1445573009" sldId="2147469994"/>
        </pc:sldMkLst>
        <pc:spChg chg="mod">
          <ac:chgData name="Sylvie ROCHE" userId="60404d4e-bbf6-4ef1-963c-527a8dada0a5" providerId="ADAL" clId="{F1E5F0B4-FD2E-47E3-80DC-5894D9BB87F8}" dt="2023-03-07T14:39:21.927" v="13897" actId="108"/>
          <ac:spMkLst>
            <pc:docMk/>
            <pc:sldMk cId="1445573009" sldId="2147469994"/>
            <ac:spMk id="2" creationId="{26FE86CE-D796-92B4-487A-BCCC0D40C12E}"/>
          </ac:spMkLst>
        </pc:spChg>
        <pc:spChg chg="mod">
          <ac:chgData name="Sylvie ROCHE" userId="60404d4e-bbf6-4ef1-963c-527a8dada0a5" providerId="ADAL" clId="{F1E5F0B4-FD2E-47E3-80DC-5894D9BB87F8}" dt="2023-03-07T15:58:08.485" v="15385" actId="14100"/>
          <ac:spMkLst>
            <pc:docMk/>
            <pc:sldMk cId="1445573009" sldId="2147469994"/>
            <ac:spMk id="4" creationId="{15DD90F7-F451-510E-DC3C-3935270A7118}"/>
          </ac:spMkLst>
        </pc:spChg>
        <pc:spChg chg="del">
          <ac:chgData name="Sylvie ROCHE" userId="60404d4e-bbf6-4ef1-963c-527a8dada0a5" providerId="ADAL" clId="{F1E5F0B4-FD2E-47E3-80DC-5894D9BB87F8}" dt="2023-03-07T14:37:05.550" v="13877" actId="478"/>
          <ac:spMkLst>
            <pc:docMk/>
            <pc:sldMk cId="1445573009" sldId="2147469994"/>
            <ac:spMk id="6" creationId="{5C4F8E70-E6D1-E0EA-856E-1A1F458B1CDD}"/>
          </ac:spMkLst>
        </pc:spChg>
        <pc:spChg chg="del">
          <ac:chgData name="Sylvie ROCHE" userId="60404d4e-bbf6-4ef1-963c-527a8dada0a5" providerId="ADAL" clId="{F1E5F0B4-FD2E-47E3-80DC-5894D9BB87F8}" dt="2023-03-07T14:37:05.550" v="13877" actId="478"/>
          <ac:spMkLst>
            <pc:docMk/>
            <pc:sldMk cId="1445573009" sldId="2147469994"/>
            <ac:spMk id="8" creationId="{02DAB6A1-D026-D451-EB2C-75643147F2BC}"/>
          </ac:spMkLst>
        </pc:spChg>
        <pc:spChg chg="del">
          <ac:chgData name="Sylvie ROCHE" userId="60404d4e-bbf6-4ef1-963c-527a8dada0a5" providerId="ADAL" clId="{F1E5F0B4-FD2E-47E3-80DC-5894D9BB87F8}" dt="2023-03-07T14:37:05.550" v="13877" actId="478"/>
          <ac:spMkLst>
            <pc:docMk/>
            <pc:sldMk cId="1445573009" sldId="2147469994"/>
            <ac:spMk id="9" creationId="{ED65A0BA-C8F8-1E43-E4C3-0F1CAB6297C4}"/>
          </ac:spMkLst>
        </pc:spChg>
        <pc:spChg chg="del">
          <ac:chgData name="Sylvie ROCHE" userId="60404d4e-bbf6-4ef1-963c-527a8dada0a5" providerId="ADAL" clId="{F1E5F0B4-FD2E-47E3-80DC-5894D9BB87F8}" dt="2023-03-07T14:37:05.550" v="13877" actId="478"/>
          <ac:spMkLst>
            <pc:docMk/>
            <pc:sldMk cId="1445573009" sldId="2147469994"/>
            <ac:spMk id="10" creationId="{C85AAFC8-045B-02F1-5FA7-0B2F8C3EB371}"/>
          </ac:spMkLst>
        </pc:spChg>
        <pc:spChg chg="del">
          <ac:chgData name="Sylvie ROCHE" userId="60404d4e-bbf6-4ef1-963c-527a8dada0a5" providerId="ADAL" clId="{F1E5F0B4-FD2E-47E3-80DC-5894D9BB87F8}" dt="2023-03-07T14:37:05.550" v="13877" actId="478"/>
          <ac:spMkLst>
            <pc:docMk/>
            <pc:sldMk cId="1445573009" sldId="2147469994"/>
            <ac:spMk id="11" creationId="{AF7C7458-5737-11A4-8D8E-9B9FA411B313}"/>
          </ac:spMkLst>
        </pc:spChg>
        <pc:spChg chg="del">
          <ac:chgData name="Sylvie ROCHE" userId="60404d4e-bbf6-4ef1-963c-527a8dada0a5" providerId="ADAL" clId="{F1E5F0B4-FD2E-47E3-80DC-5894D9BB87F8}" dt="2023-03-07T14:37:05.550" v="13877" actId="478"/>
          <ac:spMkLst>
            <pc:docMk/>
            <pc:sldMk cId="1445573009" sldId="2147469994"/>
            <ac:spMk id="12" creationId="{6BA7DB66-CBE9-5AD8-2838-C095C4BB2EB3}"/>
          </ac:spMkLst>
        </pc:spChg>
        <pc:spChg chg="del mod">
          <ac:chgData name="Sylvie ROCHE" userId="60404d4e-bbf6-4ef1-963c-527a8dada0a5" providerId="ADAL" clId="{F1E5F0B4-FD2E-47E3-80DC-5894D9BB87F8}" dt="2023-03-07T15:58:34.257" v="15387" actId="21"/>
          <ac:spMkLst>
            <pc:docMk/>
            <pc:sldMk cId="1445573009" sldId="2147469994"/>
            <ac:spMk id="15" creationId="{2A5E4933-F068-2B6B-97E8-296F3E3BEF26}"/>
          </ac:spMkLst>
        </pc:spChg>
        <pc:graphicFrameChg chg="del">
          <ac:chgData name="Sylvie ROCHE" userId="60404d4e-bbf6-4ef1-963c-527a8dada0a5" providerId="ADAL" clId="{F1E5F0B4-FD2E-47E3-80DC-5894D9BB87F8}" dt="2023-03-07T14:37:05.550" v="13877" actId="478"/>
          <ac:graphicFrameMkLst>
            <pc:docMk/>
            <pc:sldMk cId="1445573009" sldId="2147469994"/>
            <ac:graphicFrameMk id="3" creationId="{81992096-3CCB-79FC-B948-7A4A1C42BBD8}"/>
          </ac:graphicFrameMkLst>
        </pc:graphicFrameChg>
        <pc:graphicFrameChg chg="del">
          <ac:chgData name="Sylvie ROCHE" userId="60404d4e-bbf6-4ef1-963c-527a8dada0a5" providerId="ADAL" clId="{F1E5F0B4-FD2E-47E3-80DC-5894D9BB87F8}" dt="2023-03-07T14:37:05.550" v="13877" actId="478"/>
          <ac:graphicFrameMkLst>
            <pc:docMk/>
            <pc:sldMk cId="1445573009" sldId="2147469994"/>
            <ac:graphicFrameMk id="5" creationId="{B9B1D6E0-DD50-8430-A71B-3AFD3F68ECC5}"/>
          </ac:graphicFrameMkLst>
        </pc:graphicFrameChg>
        <pc:picChg chg="del">
          <ac:chgData name="Sylvie ROCHE" userId="60404d4e-bbf6-4ef1-963c-527a8dada0a5" providerId="ADAL" clId="{F1E5F0B4-FD2E-47E3-80DC-5894D9BB87F8}" dt="2023-03-07T14:37:05.550" v="13877" actId="478"/>
          <ac:picMkLst>
            <pc:docMk/>
            <pc:sldMk cId="1445573009" sldId="2147469994"/>
            <ac:picMk id="14" creationId="{7413F316-C647-83DB-85A9-B0303E92222C}"/>
          </ac:picMkLst>
        </pc:picChg>
        <pc:picChg chg="del">
          <ac:chgData name="Sylvie ROCHE" userId="60404d4e-bbf6-4ef1-963c-527a8dada0a5" providerId="ADAL" clId="{F1E5F0B4-FD2E-47E3-80DC-5894D9BB87F8}" dt="2023-03-07T14:37:05.550" v="13877" actId="478"/>
          <ac:picMkLst>
            <pc:docMk/>
            <pc:sldMk cId="1445573009" sldId="2147469994"/>
            <ac:picMk id="16" creationId="{A69F0F35-2657-776F-167E-81DCEEDD8E97}"/>
          </ac:picMkLst>
        </pc:picChg>
        <pc:picChg chg="del">
          <ac:chgData name="Sylvie ROCHE" userId="60404d4e-bbf6-4ef1-963c-527a8dada0a5" providerId="ADAL" clId="{F1E5F0B4-FD2E-47E3-80DC-5894D9BB87F8}" dt="2023-03-07T14:37:05.550" v="13877" actId="478"/>
          <ac:picMkLst>
            <pc:docMk/>
            <pc:sldMk cId="1445573009" sldId="2147469994"/>
            <ac:picMk id="18" creationId="{0E4790D8-AEC0-0C6B-FFC2-72DB90D6AA06}"/>
          </ac:picMkLst>
        </pc:picChg>
        <pc:picChg chg="del">
          <ac:chgData name="Sylvie ROCHE" userId="60404d4e-bbf6-4ef1-963c-527a8dada0a5" providerId="ADAL" clId="{F1E5F0B4-FD2E-47E3-80DC-5894D9BB87F8}" dt="2023-03-07T14:37:05.550" v="13877" actId="478"/>
          <ac:picMkLst>
            <pc:docMk/>
            <pc:sldMk cId="1445573009" sldId="2147469994"/>
            <ac:picMk id="20" creationId="{9781B637-EC31-9CE4-3F79-12C2E8252FB0}"/>
          </ac:picMkLst>
        </pc:picChg>
        <pc:picChg chg="del">
          <ac:chgData name="Sylvie ROCHE" userId="60404d4e-bbf6-4ef1-963c-527a8dada0a5" providerId="ADAL" clId="{F1E5F0B4-FD2E-47E3-80DC-5894D9BB87F8}" dt="2023-03-07T14:37:05.550" v="13877" actId="478"/>
          <ac:picMkLst>
            <pc:docMk/>
            <pc:sldMk cId="1445573009" sldId="2147469994"/>
            <ac:picMk id="22" creationId="{D4450E68-ADE2-1B76-C19C-4FEF4A4FBC37}"/>
          </ac:picMkLst>
        </pc:picChg>
        <pc:picChg chg="del">
          <ac:chgData name="Sylvie ROCHE" userId="60404d4e-bbf6-4ef1-963c-527a8dada0a5" providerId="ADAL" clId="{F1E5F0B4-FD2E-47E3-80DC-5894D9BB87F8}" dt="2023-03-07T14:37:05.550" v="13877" actId="478"/>
          <ac:picMkLst>
            <pc:docMk/>
            <pc:sldMk cId="1445573009" sldId="2147469994"/>
            <ac:picMk id="24" creationId="{4C9DFD62-E5B1-24BE-17E7-C0D06D735FCC}"/>
          </ac:picMkLst>
        </pc:picChg>
      </pc:sldChg>
      <pc:sldChg chg="addSp delSp modSp new del mod">
        <pc:chgData name="Sylvie ROCHE" userId="60404d4e-bbf6-4ef1-963c-527a8dada0a5" providerId="ADAL" clId="{F1E5F0B4-FD2E-47E3-80DC-5894D9BB87F8}" dt="2023-03-07T17:14:49.714" v="18466" actId="47"/>
        <pc:sldMkLst>
          <pc:docMk/>
          <pc:sldMk cId="1827948345" sldId="2147469994"/>
        </pc:sldMkLst>
        <pc:spChg chg="del">
          <ac:chgData name="Sylvie ROCHE" userId="60404d4e-bbf6-4ef1-963c-527a8dada0a5" providerId="ADAL" clId="{F1E5F0B4-FD2E-47E3-80DC-5894D9BB87F8}" dt="2023-03-07T17:06:07.141" v="18282" actId="478"/>
          <ac:spMkLst>
            <pc:docMk/>
            <pc:sldMk cId="1827948345" sldId="2147469994"/>
            <ac:spMk id="3" creationId="{F15FBAC1-8085-081F-61DB-327F49FEB611}"/>
          </ac:spMkLst>
        </pc:spChg>
        <pc:spChg chg="mod">
          <ac:chgData name="Sylvie ROCHE" userId="60404d4e-bbf6-4ef1-963c-527a8dada0a5" providerId="ADAL" clId="{F1E5F0B4-FD2E-47E3-80DC-5894D9BB87F8}" dt="2023-03-07T17:06:29.288" v="18283"/>
          <ac:spMkLst>
            <pc:docMk/>
            <pc:sldMk cId="1827948345" sldId="2147469994"/>
            <ac:spMk id="5" creationId="{49181BCA-EE49-73DC-91D5-7107E617FA4C}"/>
          </ac:spMkLst>
        </pc:spChg>
        <pc:spChg chg="mod">
          <ac:chgData name="Sylvie ROCHE" userId="60404d4e-bbf6-4ef1-963c-527a8dada0a5" providerId="ADAL" clId="{F1E5F0B4-FD2E-47E3-80DC-5894D9BB87F8}" dt="2023-03-07T17:06:29.288" v="18283"/>
          <ac:spMkLst>
            <pc:docMk/>
            <pc:sldMk cId="1827948345" sldId="2147469994"/>
            <ac:spMk id="6" creationId="{89D4E139-7A3F-A8BB-7963-B171B7BB38CB}"/>
          </ac:spMkLst>
        </pc:spChg>
        <pc:spChg chg="mod">
          <ac:chgData name="Sylvie ROCHE" userId="60404d4e-bbf6-4ef1-963c-527a8dada0a5" providerId="ADAL" clId="{F1E5F0B4-FD2E-47E3-80DC-5894D9BB87F8}" dt="2023-03-07T17:07:23.429" v="18301" actId="14100"/>
          <ac:spMkLst>
            <pc:docMk/>
            <pc:sldMk cId="1827948345" sldId="2147469994"/>
            <ac:spMk id="8" creationId="{A5DE8FB7-1499-2488-3C31-BB4EE529CAA7}"/>
          </ac:spMkLst>
        </pc:spChg>
        <pc:spChg chg="mod">
          <ac:chgData name="Sylvie ROCHE" userId="60404d4e-bbf6-4ef1-963c-527a8dada0a5" providerId="ADAL" clId="{F1E5F0B4-FD2E-47E3-80DC-5894D9BB87F8}" dt="2023-03-07T17:07:21.397" v="18300" actId="1076"/>
          <ac:spMkLst>
            <pc:docMk/>
            <pc:sldMk cId="1827948345" sldId="2147469994"/>
            <ac:spMk id="9" creationId="{8B843296-E669-5708-8E88-96E1D1011286}"/>
          </ac:spMkLst>
        </pc:spChg>
        <pc:spChg chg="mod">
          <ac:chgData name="Sylvie ROCHE" userId="60404d4e-bbf6-4ef1-963c-527a8dada0a5" providerId="ADAL" clId="{F1E5F0B4-FD2E-47E3-80DC-5894D9BB87F8}" dt="2023-03-07T17:06:29.288" v="18283"/>
          <ac:spMkLst>
            <pc:docMk/>
            <pc:sldMk cId="1827948345" sldId="2147469994"/>
            <ac:spMk id="11" creationId="{C681270A-DBAA-7E8C-41F3-5F2FB95D8DB0}"/>
          </ac:spMkLst>
        </pc:spChg>
        <pc:spChg chg="mod">
          <ac:chgData name="Sylvie ROCHE" userId="60404d4e-bbf6-4ef1-963c-527a8dada0a5" providerId="ADAL" clId="{F1E5F0B4-FD2E-47E3-80DC-5894D9BB87F8}" dt="2023-03-07T17:06:29.288" v="18283"/>
          <ac:spMkLst>
            <pc:docMk/>
            <pc:sldMk cId="1827948345" sldId="2147469994"/>
            <ac:spMk id="12" creationId="{454C2B08-7761-52F7-DEFE-A33667E7F9FA}"/>
          </ac:spMkLst>
        </pc:spChg>
        <pc:spChg chg="mod">
          <ac:chgData name="Sylvie ROCHE" userId="60404d4e-bbf6-4ef1-963c-527a8dada0a5" providerId="ADAL" clId="{F1E5F0B4-FD2E-47E3-80DC-5894D9BB87F8}" dt="2023-03-07T17:06:29.288" v="18283"/>
          <ac:spMkLst>
            <pc:docMk/>
            <pc:sldMk cId="1827948345" sldId="2147469994"/>
            <ac:spMk id="14" creationId="{C065D655-EC32-F472-9BFB-4CA3D105F96D}"/>
          </ac:spMkLst>
        </pc:spChg>
        <pc:spChg chg="mod">
          <ac:chgData name="Sylvie ROCHE" userId="60404d4e-bbf6-4ef1-963c-527a8dada0a5" providerId="ADAL" clId="{F1E5F0B4-FD2E-47E3-80DC-5894D9BB87F8}" dt="2023-03-07T17:06:29.288" v="18283"/>
          <ac:spMkLst>
            <pc:docMk/>
            <pc:sldMk cId="1827948345" sldId="2147469994"/>
            <ac:spMk id="15" creationId="{00A56363-6C73-DA6E-D9CD-30DBF09390A8}"/>
          </ac:spMkLst>
        </pc:spChg>
        <pc:spChg chg="mod">
          <ac:chgData name="Sylvie ROCHE" userId="60404d4e-bbf6-4ef1-963c-527a8dada0a5" providerId="ADAL" clId="{F1E5F0B4-FD2E-47E3-80DC-5894D9BB87F8}" dt="2023-03-07T17:06:29.288" v="18283"/>
          <ac:spMkLst>
            <pc:docMk/>
            <pc:sldMk cId="1827948345" sldId="2147469994"/>
            <ac:spMk id="17" creationId="{428D9946-F22C-602D-C05A-A250BEC15CF7}"/>
          </ac:spMkLst>
        </pc:spChg>
        <pc:spChg chg="mod">
          <ac:chgData name="Sylvie ROCHE" userId="60404d4e-bbf6-4ef1-963c-527a8dada0a5" providerId="ADAL" clId="{F1E5F0B4-FD2E-47E3-80DC-5894D9BB87F8}" dt="2023-03-07T17:06:29.288" v="18283"/>
          <ac:spMkLst>
            <pc:docMk/>
            <pc:sldMk cId="1827948345" sldId="2147469994"/>
            <ac:spMk id="18" creationId="{AFE6E465-A7D0-7AB1-C11F-BA91066D2094}"/>
          </ac:spMkLst>
        </pc:spChg>
        <pc:spChg chg="mod">
          <ac:chgData name="Sylvie ROCHE" userId="60404d4e-bbf6-4ef1-963c-527a8dada0a5" providerId="ADAL" clId="{F1E5F0B4-FD2E-47E3-80DC-5894D9BB87F8}" dt="2023-03-07T17:06:29.288" v="18283"/>
          <ac:spMkLst>
            <pc:docMk/>
            <pc:sldMk cId="1827948345" sldId="2147469994"/>
            <ac:spMk id="20" creationId="{C87E283F-E28C-1132-CA7C-D8BB43D1D1FA}"/>
          </ac:spMkLst>
        </pc:spChg>
        <pc:spChg chg="mod">
          <ac:chgData name="Sylvie ROCHE" userId="60404d4e-bbf6-4ef1-963c-527a8dada0a5" providerId="ADAL" clId="{F1E5F0B4-FD2E-47E3-80DC-5894D9BB87F8}" dt="2023-03-07T17:06:29.288" v="18283"/>
          <ac:spMkLst>
            <pc:docMk/>
            <pc:sldMk cId="1827948345" sldId="2147469994"/>
            <ac:spMk id="21" creationId="{B6CBF858-3C56-733A-2362-213DD86161ED}"/>
          </ac:spMkLst>
        </pc:spChg>
        <pc:spChg chg="mod">
          <ac:chgData name="Sylvie ROCHE" userId="60404d4e-bbf6-4ef1-963c-527a8dada0a5" providerId="ADAL" clId="{F1E5F0B4-FD2E-47E3-80DC-5894D9BB87F8}" dt="2023-03-07T17:06:29.288" v="18283"/>
          <ac:spMkLst>
            <pc:docMk/>
            <pc:sldMk cId="1827948345" sldId="2147469994"/>
            <ac:spMk id="23" creationId="{B5CF1ACB-27C1-87BF-7F5A-F62286608AB6}"/>
          </ac:spMkLst>
        </pc:spChg>
        <pc:spChg chg="mod">
          <ac:chgData name="Sylvie ROCHE" userId="60404d4e-bbf6-4ef1-963c-527a8dada0a5" providerId="ADAL" clId="{F1E5F0B4-FD2E-47E3-80DC-5894D9BB87F8}" dt="2023-03-07T17:06:29.288" v="18283"/>
          <ac:spMkLst>
            <pc:docMk/>
            <pc:sldMk cId="1827948345" sldId="2147469994"/>
            <ac:spMk id="24" creationId="{5B908659-96F5-3CA6-07C2-1312F58E7565}"/>
          </ac:spMkLst>
        </pc:spChg>
        <pc:spChg chg="mod">
          <ac:chgData name="Sylvie ROCHE" userId="60404d4e-bbf6-4ef1-963c-527a8dada0a5" providerId="ADAL" clId="{F1E5F0B4-FD2E-47E3-80DC-5894D9BB87F8}" dt="2023-03-07T17:06:29.288" v="18283"/>
          <ac:spMkLst>
            <pc:docMk/>
            <pc:sldMk cId="1827948345" sldId="2147469994"/>
            <ac:spMk id="26" creationId="{2D28BA36-B3A2-A030-19FC-210CBA67D650}"/>
          </ac:spMkLst>
        </pc:spChg>
        <pc:spChg chg="mod">
          <ac:chgData name="Sylvie ROCHE" userId="60404d4e-bbf6-4ef1-963c-527a8dada0a5" providerId="ADAL" clId="{F1E5F0B4-FD2E-47E3-80DC-5894D9BB87F8}" dt="2023-03-07T17:06:29.288" v="18283"/>
          <ac:spMkLst>
            <pc:docMk/>
            <pc:sldMk cId="1827948345" sldId="2147469994"/>
            <ac:spMk id="27" creationId="{3AD9FCEA-781A-B486-92B3-318A06869A88}"/>
          </ac:spMkLst>
        </pc:spChg>
        <pc:grpChg chg="add mod">
          <ac:chgData name="Sylvie ROCHE" userId="60404d4e-bbf6-4ef1-963c-527a8dada0a5" providerId="ADAL" clId="{F1E5F0B4-FD2E-47E3-80DC-5894D9BB87F8}" dt="2023-03-07T17:06:29.288" v="18283"/>
          <ac:grpSpMkLst>
            <pc:docMk/>
            <pc:sldMk cId="1827948345" sldId="2147469994"/>
            <ac:grpSpMk id="4" creationId="{72AF98E4-0B4C-F13D-9E7D-C6E627F2FE7A}"/>
          </ac:grpSpMkLst>
        </pc:grpChg>
        <pc:grpChg chg="mod">
          <ac:chgData name="Sylvie ROCHE" userId="60404d4e-bbf6-4ef1-963c-527a8dada0a5" providerId="ADAL" clId="{F1E5F0B4-FD2E-47E3-80DC-5894D9BB87F8}" dt="2023-03-07T17:06:29.288" v="18283"/>
          <ac:grpSpMkLst>
            <pc:docMk/>
            <pc:sldMk cId="1827948345" sldId="2147469994"/>
            <ac:grpSpMk id="7" creationId="{55C91674-2733-8CAC-2B4C-F4C692919B65}"/>
          </ac:grpSpMkLst>
        </pc:grpChg>
        <pc:grpChg chg="add mod">
          <ac:chgData name="Sylvie ROCHE" userId="60404d4e-bbf6-4ef1-963c-527a8dada0a5" providerId="ADAL" clId="{F1E5F0B4-FD2E-47E3-80DC-5894D9BB87F8}" dt="2023-03-07T17:06:29.288" v="18283"/>
          <ac:grpSpMkLst>
            <pc:docMk/>
            <pc:sldMk cId="1827948345" sldId="2147469994"/>
            <ac:grpSpMk id="10" creationId="{995BD30C-D7E2-AE57-7377-F3D3DF4EDDEC}"/>
          </ac:grpSpMkLst>
        </pc:grpChg>
        <pc:grpChg chg="mod">
          <ac:chgData name="Sylvie ROCHE" userId="60404d4e-bbf6-4ef1-963c-527a8dada0a5" providerId="ADAL" clId="{F1E5F0B4-FD2E-47E3-80DC-5894D9BB87F8}" dt="2023-03-07T17:06:29.288" v="18283"/>
          <ac:grpSpMkLst>
            <pc:docMk/>
            <pc:sldMk cId="1827948345" sldId="2147469994"/>
            <ac:grpSpMk id="13" creationId="{FB4CDF7A-D37D-3DE4-01C6-59F68876929A}"/>
          </ac:grpSpMkLst>
        </pc:grpChg>
        <pc:grpChg chg="add mod">
          <ac:chgData name="Sylvie ROCHE" userId="60404d4e-bbf6-4ef1-963c-527a8dada0a5" providerId="ADAL" clId="{F1E5F0B4-FD2E-47E3-80DC-5894D9BB87F8}" dt="2023-03-07T17:06:29.288" v="18283"/>
          <ac:grpSpMkLst>
            <pc:docMk/>
            <pc:sldMk cId="1827948345" sldId="2147469994"/>
            <ac:grpSpMk id="16" creationId="{D0C83396-ABDC-2402-D6CB-435067F09E80}"/>
          </ac:grpSpMkLst>
        </pc:grpChg>
        <pc:grpChg chg="mod">
          <ac:chgData name="Sylvie ROCHE" userId="60404d4e-bbf6-4ef1-963c-527a8dada0a5" providerId="ADAL" clId="{F1E5F0B4-FD2E-47E3-80DC-5894D9BB87F8}" dt="2023-03-07T17:06:29.288" v="18283"/>
          <ac:grpSpMkLst>
            <pc:docMk/>
            <pc:sldMk cId="1827948345" sldId="2147469994"/>
            <ac:grpSpMk id="19" creationId="{2182AD17-472F-AFEF-889C-04EFCB2EE787}"/>
          </ac:grpSpMkLst>
        </pc:grpChg>
        <pc:grpChg chg="add mod">
          <ac:chgData name="Sylvie ROCHE" userId="60404d4e-bbf6-4ef1-963c-527a8dada0a5" providerId="ADAL" clId="{F1E5F0B4-FD2E-47E3-80DC-5894D9BB87F8}" dt="2023-03-07T17:06:29.288" v="18283"/>
          <ac:grpSpMkLst>
            <pc:docMk/>
            <pc:sldMk cId="1827948345" sldId="2147469994"/>
            <ac:grpSpMk id="22" creationId="{025B0220-06E0-6CEA-B707-8E9E69DF20F5}"/>
          </ac:grpSpMkLst>
        </pc:grpChg>
        <pc:grpChg chg="mod">
          <ac:chgData name="Sylvie ROCHE" userId="60404d4e-bbf6-4ef1-963c-527a8dada0a5" providerId="ADAL" clId="{F1E5F0B4-FD2E-47E3-80DC-5894D9BB87F8}" dt="2023-03-07T17:06:29.288" v="18283"/>
          <ac:grpSpMkLst>
            <pc:docMk/>
            <pc:sldMk cId="1827948345" sldId="2147469994"/>
            <ac:grpSpMk id="25" creationId="{1309AC00-A261-C251-77C4-B2DA75CBCF0A}"/>
          </ac:grpSpMkLst>
        </pc:grpChg>
      </pc:sldChg>
      <pc:sldMasterChg chg="delSldLayout modSldLayout">
        <pc:chgData name="Sylvie ROCHE" userId="60404d4e-bbf6-4ef1-963c-527a8dada0a5" providerId="ADAL" clId="{F1E5F0B4-FD2E-47E3-80DC-5894D9BB87F8}" dt="2023-03-07T14:42:48.501" v="13914" actId="2696"/>
        <pc:sldMasterMkLst>
          <pc:docMk/>
          <pc:sldMasterMk cId="0" sldId="2147483648"/>
        </pc:sldMasterMkLst>
        <pc:sldLayoutChg chg="delSp modSp mod">
          <pc:chgData name="Sylvie ROCHE" userId="60404d4e-bbf6-4ef1-963c-527a8dada0a5" providerId="ADAL" clId="{F1E5F0B4-FD2E-47E3-80DC-5894D9BB87F8}" dt="2023-02-28T16:53:05.366" v="1269" actId="478"/>
          <pc:sldLayoutMkLst>
            <pc:docMk/>
            <pc:sldMasterMk cId="0" sldId="2147483648"/>
            <pc:sldLayoutMk cId="446159417" sldId="2147483712"/>
          </pc:sldLayoutMkLst>
          <pc:spChg chg="del">
            <ac:chgData name="Sylvie ROCHE" userId="60404d4e-bbf6-4ef1-963c-527a8dada0a5" providerId="ADAL" clId="{F1E5F0B4-FD2E-47E3-80DC-5894D9BB87F8}" dt="2023-02-28T16:53:05.366" v="1269" actId="478"/>
            <ac:spMkLst>
              <pc:docMk/>
              <pc:sldMasterMk cId="0" sldId="2147483648"/>
              <pc:sldLayoutMk cId="446159417" sldId="2147483712"/>
              <ac:spMk id="12" creationId="{48BCD153-8CF7-40DB-881F-FF104FBD93FE}"/>
            </ac:spMkLst>
          </pc:spChg>
          <pc:spChg chg="del mod">
            <ac:chgData name="Sylvie ROCHE" userId="60404d4e-bbf6-4ef1-963c-527a8dada0a5" providerId="ADAL" clId="{F1E5F0B4-FD2E-47E3-80DC-5894D9BB87F8}" dt="2023-02-28T16:53:02.354" v="1268" actId="478"/>
            <ac:spMkLst>
              <pc:docMk/>
              <pc:sldMasterMk cId="0" sldId="2147483648"/>
              <pc:sldLayoutMk cId="446159417" sldId="2147483712"/>
              <ac:spMk id="13" creationId="{97CC8129-0E8A-41D7-A1F9-43EB1E07CAC0}"/>
            </ac:spMkLst>
          </pc:spChg>
        </pc:sldLayoutChg>
        <pc:sldLayoutChg chg="delSp mod">
          <pc:chgData name="Sylvie ROCHE" userId="60404d4e-bbf6-4ef1-963c-527a8dada0a5" providerId="ADAL" clId="{F1E5F0B4-FD2E-47E3-80DC-5894D9BB87F8}" dt="2023-02-28T16:53:12.411" v="1271" actId="478"/>
          <pc:sldLayoutMkLst>
            <pc:docMk/>
            <pc:sldMasterMk cId="0" sldId="2147483648"/>
            <pc:sldLayoutMk cId="1803300988" sldId="2147483776"/>
          </pc:sldLayoutMkLst>
          <pc:spChg chg="del">
            <ac:chgData name="Sylvie ROCHE" userId="60404d4e-bbf6-4ef1-963c-527a8dada0a5" providerId="ADAL" clId="{F1E5F0B4-FD2E-47E3-80DC-5894D9BB87F8}" dt="2023-02-28T16:53:09.465" v="1270" actId="478"/>
            <ac:spMkLst>
              <pc:docMk/>
              <pc:sldMasterMk cId="0" sldId="2147483648"/>
              <pc:sldLayoutMk cId="1803300988" sldId="2147483776"/>
              <ac:spMk id="7" creationId="{4FA900C0-1476-46B1-8BB4-00EB66C6470A}"/>
            </ac:spMkLst>
          </pc:spChg>
          <pc:spChg chg="del">
            <ac:chgData name="Sylvie ROCHE" userId="60404d4e-bbf6-4ef1-963c-527a8dada0a5" providerId="ADAL" clId="{F1E5F0B4-FD2E-47E3-80DC-5894D9BB87F8}" dt="2023-02-28T16:53:12.411" v="1271" actId="478"/>
            <ac:spMkLst>
              <pc:docMk/>
              <pc:sldMasterMk cId="0" sldId="2147483648"/>
              <pc:sldLayoutMk cId="1803300988" sldId="2147483776"/>
              <ac:spMk id="10" creationId="{C52D0CE1-3F5A-4C11-B369-C430804B0B5C}"/>
            </ac:spMkLst>
          </pc:spChg>
        </pc:sldLayoutChg>
        <pc:sldLayoutChg chg="del">
          <pc:chgData name="Sylvie ROCHE" userId="60404d4e-bbf6-4ef1-963c-527a8dada0a5" providerId="ADAL" clId="{F1E5F0B4-FD2E-47E3-80DC-5894D9BB87F8}" dt="2023-03-01T22:24:13.483" v="6073" actId="47"/>
          <pc:sldLayoutMkLst>
            <pc:docMk/>
            <pc:sldMasterMk cId="0" sldId="2147483648"/>
            <pc:sldLayoutMk cId="635116603" sldId="2147483860"/>
          </pc:sldLayoutMkLst>
        </pc:sldLayoutChg>
        <pc:sldLayoutChg chg="del">
          <pc:chgData name="Sylvie ROCHE" userId="60404d4e-bbf6-4ef1-963c-527a8dada0a5" providerId="ADAL" clId="{F1E5F0B4-FD2E-47E3-80DC-5894D9BB87F8}" dt="2023-03-07T14:42:48.501" v="13914" actId="2696"/>
          <pc:sldLayoutMkLst>
            <pc:docMk/>
            <pc:sldMasterMk cId="0" sldId="2147483648"/>
            <pc:sldLayoutMk cId="171857090" sldId="2147483862"/>
          </pc:sldLayoutMkLst>
        </pc:sldLayoutChg>
      </pc:sldMasterChg>
    </pc:docChg>
  </pc:docChgLst>
  <pc:docChgLst>
    <pc:chgData name="Simone NERI" userId="2a00f2ad-68d9-45e6-b604-268bfad9cc5e" providerId="ADAL" clId="{EC6F0330-82A9-41CF-B362-FF4D91CC2FB4}"/>
    <pc:docChg chg="undo redo custSel addSld delSld modSld sldOrd modSection">
      <pc:chgData name="Simone NERI" userId="2a00f2ad-68d9-45e6-b604-268bfad9cc5e" providerId="ADAL" clId="{EC6F0330-82A9-41CF-B362-FF4D91CC2FB4}" dt="2023-03-20T21:06:46.836" v="1099" actId="478"/>
      <pc:docMkLst>
        <pc:docMk/>
      </pc:docMkLst>
      <pc:sldChg chg="add del">
        <pc:chgData name="Simone NERI" userId="2a00f2ad-68d9-45e6-b604-268bfad9cc5e" providerId="ADAL" clId="{EC6F0330-82A9-41CF-B362-FF4D91CC2FB4}" dt="2023-03-20T14:14:28.142" v="67"/>
        <pc:sldMkLst>
          <pc:docMk/>
          <pc:sldMk cId="1119198262" sldId="276"/>
        </pc:sldMkLst>
      </pc:sldChg>
      <pc:sldChg chg="add del">
        <pc:chgData name="Simone NERI" userId="2a00f2ad-68d9-45e6-b604-268bfad9cc5e" providerId="ADAL" clId="{EC6F0330-82A9-41CF-B362-FF4D91CC2FB4}" dt="2023-03-20T14:15:08.997" v="77"/>
        <pc:sldMkLst>
          <pc:docMk/>
          <pc:sldMk cId="1552622751" sldId="286"/>
        </pc:sldMkLst>
      </pc:sldChg>
      <pc:sldChg chg="delSp modSp mod">
        <pc:chgData name="Simone NERI" userId="2a00f2ad-68d9-45e6-b604-268bfad9cc5e" providerId="ADAL" clId="{EC6F0330-82A9-41CF-B362-FF4D91CC2FB4}" dt="2023-03-20T21:06:46.836" v="1099" actId="478"/>
        <pc:sldMkLst>
          <pc:docMk/>
          <pc:sldMk cId="4107027684" sldId="2014"/>
        </pc:sldMkLst>
        <pc:spChg chg="del">
          <ac:chgData name="Simone NERI" userId="2a00f2ad-68d9-45e6-b604-268bfad9cc5e" providerId="ADAL" clId="{EC6F0330-82A9-41CF-B362-FF4D91CC2FB4}" dt="2023-03-20T21:06:41.874" v="1098" actId="478"/>
          <ac:spMkLst>
            <pc:docMk/>
            <pc:sldMk cId="4107027684" sldId="2014"/>
            <ac:spMk id="2" creationId="{A416304E-9028-C006-C7F7-2E43BFF342C2}"/>
          </ac:spMkLst>
        </pc:spChg>
        <pc:spChg chg="del mod">
          <ac:chgData name="Simone NERI" userId="2a00f2ad-68d9-45e6-b604-268bfad9cc5e" providerId="ADAL" clId="{EC6F0330-82A9-41CF-B362-FF4D91CC2FB4}" dt="2023-03-20T21:06:46.836" v="1099" actId="478"/>
          <ac:spMkLst>
            <pc:docMk/>
            <pc:sldMk cId="4107027684" sldId="2014"/>
            <ac:spMk id="4" creationId="{EC588D4C-1ED2-CFBD-1DCB-13D55B5C853C}"/>
          </ac:spMkLst>
        </pc:spChg>
        <pc:graphicFrameChg chg="modGraphic">
          <ac:chgData name="Simone NERI" userId="2a00f2ad-68d9-45e6-b604-268bfad9cc5e" providerId="ADAL" clId="{EC6F0330-82A9-41CF-B362-FF4D91CC2FB4}" dt="2023-03-20T21:04:42.211" v="1090" actId="20577"/>
          <ac:graphicFrameMkLst>
            <pc:docMk/>
            <pc:sldMk cId="4107027684" sldId="2014"/>
            <ac:graphicFrameMk id="36" creationId="{F1C1D90F-95B6-57C8-FFF7-3B8F309684FC}"/>
          </ac:graphicFrameMkLst>
        </pc:graphicFrameChg>
      </pc:sldChg>
      <pc:sldChg chg="del">
        <pc:chgData name="Simone NERI" userId="2a00f2ad-68d9-45e6-b604-268bfad9cc5e" providerId="ADAL" clId="{EC6F0330-82A9-41CF-B362-FF4D91CC2FB4}" dt="2023-03-20T16:58:31.625" v="870" actId="47"/>
        <pc:sldMkLst>
          <pc:docMk/>
          <pc:sldMk cId="619538722" sldId="2076136401"/>
        </pc:sldMkLst>
      </pc:sldChg>
      <pc:sldChg chg="modSp del mod">
        <pc:chgData name="Simone NERI" userId="2a00f2ad-68d9-45e6-b604-268bfad9cc5e" providerId="ADAL" clId="{EC6F0330-82A9-41CF-B362-FF4D91CC2FB4}" dt="2023-03-20T16:46:23.924" v="784" actId="47"/>
        <pc:sldMkLst>
          <pc:docMk/>
          <pc:sldMk cId="2811067635" sldId="2076137077"/>
        </pc:sldMkLst>
        <pc:spChg chg="mod">
          <ac:chgData name="Simone NERI" userId="2a00f2ad-68d9-45e6-b604-268bfad9cc5e" providerId="ADAL" clId="{EC6F0330-82A9-41CF-B362-FF4D91CC2FB4}" dt="2023-03-20T16:44:25.085" v="783" actId="2711"/>
          <ac:spMkLst>
            <pc:docMk/>
            <pc:sldMk cId="2811067635" sldId="2076137077"/>
            <ac:spMk id="12" creationId="{36535AD5-F10A-4F08-8396-C8855A040406}"/>
          </ac:spMkLst>
        </pc:spChg>
        <pc:spChg chg="mod">
          <ac:chgData name="Simone NERI" userId="2a00f2ad-68d9-45e6-b604-268bfad9cc5e" providerId="ADAL" clId="{EC6F0330-82A9-41CF-B362-FF4D91CC2FB4}" dt="2023-03-20T16:44:25.085" v="783" actId="2711"/>
          <ac:spMkLst>
            <pc:docMk/>
            <pc:sldMk cId="2811067635" sldId="2076137077"/>
            <ac:spMk id="13" creationId="{B321D91F-636C-47C6-A19C-8388DF090393}"/>
          </ac:spMkLst>
        </pc:spChg>
        <pc:spChg chg="mod">
          <ac:chgData name="Simone NERI" userId="2a00f2ad-68d9-45e6-b604-268bfad9cc5e" providerId="ADAL" clId="{EC6F0330-82A9-41CF-B362-FF4D91CC2FB4}" dt="2023-03-20T16:44:25.085" v="783" actId="2711"/>
          <ac:spMkLst>
            <pc:docMk/>
            <pc:sldMk cId="2811067635" sldId="2076137077"/>
            <ac:spMk id="15" creationId="{4F91012B-EB5F-456C-ABC0-C50FFCCD1094}"/>
          </ac:spMkLst>
        </pc:spChg>
        <pc:spChg chg="mod">
          <ac:chgData name="Simone NERI" userId="2a00f2ad-68d9-45e6-b604-268bfad9cc5e" providerId="ADAL" clId="{EC6F0330-82A9-41CF-B362-FF4D91CC2FB4}" dt="2023-03-20T16:44:25.085" v="783" actId="2711"/>
          <ac:spMkLst>
            <pc:docMk/>
            <pc:sldMk cId="2811067635" sldId="2076137077"/>
            <ac:spMk id="16" creationId="{21B0373B-E783-4ECD-8187-F521F84BEC92}"/>
          </ac:spMkLst>
        </pc:spChg>
        <pc:spChg chg="mod">
          <ac:chgData name="Simone NERI" userId="2a00f2ad-68d9-45e6-b604-268bfad9cc5e" providerId="ADAL" clId="{EC6F0330-82A9-41CF-B362-FF4D91CC2FB4}" dt="2023-03-20T16:44:25.085" v="783" actId="2711"/>
          <ac:spMkLst>
            <pc:docMk/>
            <pc:sldMk cId="2811067635" sldId="2076137077"/>
            <ac:spMk id="19" creationId="{0F544AC3-788B-4BC0-8208-AA31B4DB62AD}"/>
          </ac:spMkLst>
        </pc:spChg>
        <pc:spChg chg="mod">
          <ac:chgData name="Simone NERI" userId="2a00f2ad-68d9-45e6-b604-268bfad9cc5e" providerId="ADAL" clId="{EC6F0330-82A9-41CF-B362-FF4D91CC2FB4}" dt="2023-03-20T16:44:25.085" v="783" actId="2711"/>
          <ac:spMkLst>
            <pc:docMk/>
            <pc:sldMk cId="2811067635" sldId="2076137077"/>
            <ac:spMk id="20" creationId="{B9FB5B8C-EDA7-42E8-AEF3-877B015B8F7F}"/>
          </ac:spMkLst>
        </pc:spChg>
        <pc:spChg chg="mod">
          <ac:chgData name="Simone NERI" userId="2a00f2ad-68d9-45e6-b604-268bfad9cc5e" providerId="ADAL" clId="{EC6F0330-82A9-41CF-B362-FF4D91CC2FB4}" dt="2023-03-20T16:44:25.085" v="783" actId="2711"/>
          <ac:spMkLst>
            <pc:docMk/>
            <pc:sldMk cId="2811067635" sldId="2076137077"/>
            <ac:spMk id="21" creationId="{A776A3C6-48C2-43D8-9FEB-EA67B2751754}"/>
          </ac:spMkLst>
        </pc:spChg>
        <pc:spChg chg="mod">
          <ac:chgData name="Simone NERI" userId="2a00f2ad-68d9-45e6-b604-268bfad9cc5e" providerId="ADAL" clId="{EC6F0330-82A9-41CF-B362-FF4D91CC2FB4}" dt="2023-03-20T16:44:25.085" v="783" actId="2711"/>
          <ac:spMkLst>
            <pc:docMk/>
            <pc:sldMk cId="2811067635" sldId="2076137077"/>
            <ac:spMk id="23" creationId="{60987FCD-E75B-4BC2-B83F-88A204711489}"/>
          </ac:spMkLst>
        </pc:spChg>
      </pc:sldChg>
      <pc:sldChg chg="delSp modSp mod">
        <pc:chgData name="Simone NERI" userId="2a00f2ad-68d9-45e6-b604-268bfad9cc5e" providerId="ADAL" clId="{EC6F0330-82A9-41CF-B362-FF4D91CC2FB4}" dt="2023-03-20T21:06:26.375" v="1097" actId="478"/>
        <pc:sldMkLst>
          <pc:docMk/>
          <pc:sldMk cId="1301648618" sldId="2147469831"/>
        </pc:sldMkLst>
        <pc:spChg chg="del">
          <ac:chgData name="Simone NERI" userId="2a00f2ad-68d9-45e6-b604-268bfad9cc5e" providerId="ADAL" clId="{EC6F0330-82A9-41CF-B362-FF4D91CC2FB4}" dt="2023-03-20T21:06:26.375" v="1097" actId="478"/>
          <ac:spMkLst>
            <pc:docMk/>
            <pc:sldMk cId="1301648618" sldId="2147469831"/>
            <ac:spMk id="2" creationId="{19AEFA74-A891-7B6B-9186-331C04D66119}"/>
          </ac:spMkLst>
        </pc:spChg>
        <pc:spChg chg="mod">
          <ac:chgData name="Simone NERI" userId="2a00f2ad-68d9-45e6-b604-268bfad9cc5e" providerId="ADAL" clId="{EC6F0330-82A9-41CF-B362-FF4D91CC2FB4}" dt="2023-03-20T21:05:43.315" v="1096" actId="20577"/>
          <ac:spMkLst>
            <pc:docMk/>
            <pc:sldMk cId="1301648618" sldId="2147469831"/>
            <ac:spMk id="9" creationId="{BD6433EC-D9EB-4716-B094-2038D14B5EE7}"/>
          </ac:spMkLst>
        </pc:spChg>
      </pc:sldChg>
      <pc:sldChg chg="delSp modSp mod">
        <pc:chgData name="Simone NERI" userId="2a00f2ad-68d9-45e6-b604-268bfad9cc5e" providerId="ADAL" clId="{EC6F0330-82A9-41CF-B362-FF4D91CC2FB4}" dt="2023-03-20T14:12:20.720" v="61"/>
        <pc:sldMkLst>
          <pc:docMk/>
          <pc:sldMk cId="3779820847" sldId="2147469994"/>
        </pc:sldMkLst>
        <pc:spChg chg="mod">
          <ac:chgData name="Simone NERI" userId="2a00f2ad-68d9-45e6-b604-268bfad9cc5e" providerId="ADAL" clId="{EC6F0330-82A9-41CF-B362-FF4D91CC2FB4}" dt="2023-03-20T14:12:20.720" v="61"/>
          <ac:spMkLst>
            <pc:docMk/>
            <pc:sldMk cId="3779820847" sldId="2147469994"/>
            <ac:spMk id="3" creationId="{4CED5CC6-D44D-46CF-87ED-9F93BCBA6175}"/>
          </ac:spMkLst>
        </pc:spChg>
        <pc:spChg chg="del">
          <ac:chgData name="Simone NERI" userId="2a00f2ad-68d9-45e6-b604-268bfad9cc5e" providerId="ADAL" clId="{EC6F0330-82A9-41CF-B362-FF4D91CC2FB4}" dt="2023-03-20T14:10:05.222" v="33" actId="478"/>
          <ac:spMkLst>
            <pc:docMk/>
            <pc:sldMk cId="3779820847" sldId="2147469994"/>
            <ac:spMk id="5" creationId="{DF12E7A1-DDA3-AB8B-17AB-85EC2828E26D}"/>
          </ac:spMkLst>
        </pc:spChg>
        <pc:spChg chg="mod">
          <ac:chgData name="Simone NERI" userId="2a00f2ad-68d9-45e6-b604-268bfad9cc5e" providerId="ADAL" clId="{EC6F0330-82A9-41CF-B362-FF4D91CC2FB4}" dt="2023-03-20T14:10:52.848" v="54" actId="1076"/>
          <ac:spMkLst>
            <pc:docMk/>
            <pc:sldMk cId="3779820847" sldId="2147469994"/>
            <ac:spMk id="183" creationId="{D319A40A-D3DD-533C-9C1A-34DD5E26ED6D}"/>
          </ac:spMkLst>
        </pc:spChg>
        <pc:spChg chg="mod">
          <ac:chgData name="Simone NERI" userId="2a00f2ad-68d9-45e6-b604-268bfad9cc5e" providerId="ADAL" clId="{EC6F0330-82A9-41CF-B362-FF4D91CC2FB4}" dt="2023-03-20T14:10:52.848" v="54" actId="1076"/>
          <ac:spMkLst>
            <pc:docMk/>
            <pc:sldMk cId="3779820847" sldId="2147469994"/>
            <ac:spMk id="188" creationId="{54538CF1-F291-A8D9-20A1-8BD083FAC185}"/>
          </ac:spMkLst>
        </pc:spChg>
        <pc:spChg chg="mod">
          <ac:chgData name="Simone NERI" userId="2a00f2ad-68d9-45e6-b604-268bfad9cc5e" providerId="ADAL" clId="{EC6F0330-82A9-41CF-B362-FF4D91CC2FB4}" dt="2023-03-20T14:10:52.848" v="54" actId="1076"/>
          <ac:spMkLst>
            <pc:docMk/>
            <pc:sldMk cId="3779820847" sldId="2147469994"/>
            <ac:spMk id="189" creationId="{3EB916B9-A83F-9A16-EA67-076D39DB2E60}"/>
          </ac:spMkLst>
        </pc:spChg>
        <pc:spChg chg="mod">
          <ac:chgData name="Simone NERI" userId="2a00f2ad-68d9-45e6-b604-268bfad9cc5e" providerId="ADAL" clId="{EC6F0330-82A9-41CF-B362-FF4D91CC2FB4}" dt="2023-03-20T14:10:52.848" v="54" actId="1076"/>
          <ac:spMkLst>
            <pc:docMk/>
            <pc:sldMk cId="3779820847" sldId="2147469994"/>
            <ac:spMk id="190" creationId="{1D84F161-1E47-8DF4-D818-6DA36E041C70}"/>
          </ac:spMkLst>
        </pc:spChg>
        <pc:spChg chg="mod">
          <ac:chgData name="Simone NERI" userId="2a00f2ad-68d9-45e6-b604-268bfad9cc5e" providerId="ADAL" clId="{EC6F0330-82A9-41CF-B362-FF4D91CC2FB4}" dt="2023-03-20T14:10:52.848" v="54" actId="1076"/>
          <ac:spMkLst>
            <pc:docMk/>
            <pc:sldMk cId="3779820847" sldId="2147469994"/>
            <ac:spMk id="191" creationId="{2C44FE29-3C3D-C7FE-B92C-7C93684EFEC9}"/>
          </ac:spMkLst>
        </pc:spChg>
        <pc:spChg chg="mod">
          <ac:chgData name="Simone NERI" userId="2a00f2ad-68d9-45e6-b604-268bfad9cc5e" providerId="ADAL" clId="{EC6F0330-82A9-41CF-B362-FF4D91CC2FB4}" dt="2023-03-20T14:10:52.848" v="54" actId="1076"/>
          <ac:spMkLst>
            <pc:docMk/>
            <pc:sldMk cId="3779820847" sldId="2147469994"/>
            <ac:spMk id="192" creationId="{9471BBAE-37A4-F385-4642-775F9AE2AC13}"/>
          </ac:spMkLst>
        </pc:spChg>
        <pc:spChg chg="mod">
          <ac:chgData name="Simone NERI" userId="2a00f2ad-68d9-45e6-b604-268bfad9cc5e" providerId="ADAL" clId="{EC6F0330-82A9-41CF-B362-FF4D91CC2FB4}" dt="2023-03-20T14:10:52.848" v="54" actId="1076"/>
          <ac:spMkLst>
            <pc:docMk/>
            <pc:sldMk cId="3779820847" sldId="2147469994"/>
            <ac:spMk id="193" creationId="{C76F6737-62DF-1C1A-2E27-2CA8BDA6206A}"/>
          </ac:spMkLst>
        </pc:spChg>
        <pc:cxnChg chg="mod">
          <ac:chgData name="Simone NERI" userId="2a00f2ad-68d9-45e6-b604-268bfad9cc5e" providerId="ADAL" clId="{EC6F0330-82A9-41CF-B362-FF4D91CC2FB4}" dt="2023-03-20T14:10:52.848" v="54" actId="1076"/>
          <ac:cxnSpMkLst>
            <pc:docMk/>
            <pc:sldMk cId="3779820847" sldId="2147469994"/>
            <ac:cxnSpMk id="195" creationId="{F5BF65C0-3F2F-45CF-7A07-57C3EA2A89E3}"/>
          </ac:cxnSpMkLst>
        </pc:cxnChg>
        <pc:cxnChg chg="mod">
          <ac:chgData name="Simone NERI" userId="2a00f2ad-68d9-45e6-b604-268bfad9cc5e" providerId="ADAL" clId="{EC6F0330-82A9-41CF-B362-FF4D91CC2FB4}" dt="2023-03-20T14:10:57.985" v="55" actId="1076"/>
          <ac:cxnSpMkLst>
            <pc:docMk/>
            <pc:sldMk cId="3779820847" sldId="2147469994"/>
            <ac:cxnSpMk id="208" creationId="{F148327F-5E63-F171-0BFF-8EBEC1F7B792}"/>
          </ac:cxnSpMkLst>
        </pc:cxnChg>
      </pc:sldChg>
      <pc:sldChg chg="addSp delSp mod ord">
        <pc:chgData name="Simone NERI" userId="2a00f2ad-68d9-45e6-b604-268bfad9cc5e" providerId="ADAL" clId="{EC6F0330-82A9-41CF-B362-FF4D91CC2FB4}" dt="2023-03-20T14:19:09.341" v="133"/>
        <pc:sldMkLst>
          <pc:docMk/>
          <pc:sldMk cId="217003757" sldId="2147469995"/>
        </pc:sldMkLst>
        <pc:picChg chg="add del">
          <ac:chgData name="Simone NERI" userId="2a00f2ad-68d9-45e6-b604-268bfad9cc5e" providerId="ADAL" clId="{EC6F0330-82A9-41CF-B362-FF4D91CC2FB4}" dt="2023-03-20T14:15:15.224" v="79" actId="21"/>
          <ac:picMkLst>
            <pc:docMk/>
            <pc:sldMk cId="217003757" sldId="2147469995"/>
            <ac:picMk id="2" creationId="{10A656DB-DCA4-6E08-C6A9-2DC90AE837F1}"/>
          </ac:picMkLst>
        </pc:picChg>
      </pc:sldChg>
      <pc:sldChg chg="addSp modSp mod">
        <pc:chgData name="Simone NERI" userId="2a00f2ad-68d9-45e6-b604-268bfad9cc5e" providerId="ADAL" clId="{EC6F0330-82A9-41CF-B362-FF4D91CC2FB4}" dt="2023-03-20T14:50:15.911" v="492" actId="113"/>
        <pc:sldMkLst>
          <pc:docMk/>
          <pc:sldMk cId="3475287604" sldId="2147469996"/>
        </pc:sldMkLst>
        <pc:spChg chg="mod">
          <ac:chgData name="Simone NERI" userId="2a00f2ad-68d9-45e6-b604-268bfad9cc5e" providerId="ADAL" clId="{EC6F0330-82A9-41CF-B362-FF4D91CC2FB4}" dt="2023-03-20T14:48:29.267" v="474" actId="14100"/>
          <ac:spMkLst>
            <pc:docMk/>
            <pc:sldMk cId="3475287604" sldId="2147469996"/>
            <ac:spMk id="3" creationId="{D346C06B-E16C-6F24-EEC2-C8BCC622F0C3}"/>
          </ac:spMkLst>
        </pc:spChg>
        <pc:spChg chg="add mod">
          <ac:chgData name="Simone NERI" userId="2a00f2ad-68d9-45e6-b604-268bfad9cc5e" providerId="ADAL" clId="{EC6F0330-82A9-41CF-B362-FF4D91CC2FB4}" dt="2023-03-20T14:49:42.609" v="490" actId="1036"/>
          <ac:spMkLst>
            <pc:docMk/>
            <pc:sldMk cId="3475287604" sldId="2147469996"/>
            <ac:spMk id="6" creationId="{ECA21B38-0A22-CFAD-DC05-40E493657D50}"/>
          </ac:spMkLst>
        </pc:spChg>
        <pc:spChg chg="mod">
          <ac:chgData name="Simone NERI" userId="2a00f2ad-68d9-45e6-b604-268bfad9cc5e" providerId="ADAL" clId="{EC6F0330-82A9-41CF-B362-FF4D91CC2FB4}" dt="2023-03-20T14:48:24.285" v="473" actId="14100"/>
          <ac:spMkLst>
            <pc:docMk/>
            <pc:sldMk cId="3475287604" sldId="2147469996"/>
            <ac:spMk id="21" creationId="{2806116F-6F2D-1385-E97D-25A261E917CC}"/>
          </ac:spMkLst>
        </pc:spChg>
        <pc:spChg chg="mod">
          <ac:chgData name="Simone NERI" userId="2a00f2ad-68d9-45e6-b604-268bfad9cc5e" providerId="ADAL" clId="{EC6F0330-82A9-41CF-B362-FF4D91CC2FB4}" dt="2023-03-20T14:50:15.911" v="492" actId="113"/>
          <ac:spMkLst>
            <pc:docMk/>
            <pc:sldMk cId="3475287604" sldId="2147469996"/>
            <ac:spMk id="22" creationId="{B58F78E0-5485-CB04-5B71-42CF98DDFEDC}"/>
          </ac:spMkLst>
        </pc:spChg>
        <pc:picChg chg="add mod">
          <ac:chgData name="Simone NERI" userId="2a00f2ad-68d9-45e6-b604-268bfad9cc5e" providerId="ADAL" clId="{EC6F0330-82A9-41CF-B362-FF4D91CC2FB4}" dt="2023-03-20T14:49:04.095" v="482" actId="1076"/>
          <ac:picMkLst>
            <pc:docMk/>
            <pc:sldMk cId="3475287604" sldId="2147469996"/>
            <ac:picMk id="5" creationId="{D8F62F83-9D86-C152-6404-F498DBF43561}"/>
          </ac:picMkLst>
        </pc:picChg>
        <pc:picChg chg="mod">
          <ac:chgData name="Simone NERI" userId="2a00f2ad-68d9-45e6-b604-268bfad9cc5e" providerId="ADAL" clId="{EC6F0330-82A9-41CF-B362-FF4D91CC2FB4}" dt="2023-03-20T14:47:17.904" v="406" actId="1076"/>
          <ac:picMkLst>
            <pc:docMk/>
            <pc:sldMk cId="3475287604" sldId="2147469996"/>
            <ac:picMk id="68" creationId="{67A26C82-8AF7-1439-10E9-B367D279D3BC}"/>
          </ac:picMkLst>
        </pc:picChg>
      </pc:sldChg>
      <pc:sldChg chg="addSp modSp del">
        <pc:chgData name="Simone NERI" userId="2a00f2ad-68d9-45e6-b604-268bfad9cc5e" providerId="ADAL" clId="{EC6F0330-82A9-41CF-B362-FF4D91CC2FB4}" dt="2023-03-20T16:58:31.625" v="870" actId="47"/>
        <pc:sldMkLst>
          <pc:docMk/>
          <pc:sldMk cId="776430139" sldId="2147469999"/>
        </pc:sldMkLst>
        <pc:spChg chg="add mod">
          <ac:chgData name="Simone NERI" userId="2a00f2ad-68d9-45e6-b604-268bfad9cc5e" providerId="ADAL" clId="{EC6F0330-82A9-41CF-B362-FF4D91CC2FB4}" dt="2023-03-20T16:40:31.076" v="760"/>
          <ac:spMkLst>
            <pc:docMk/>
            <pc:sldMk cId="776430139" sldId="2147469999"/>
            <ac:spMk id="3" creationId="{2EECD0F5-64E6-1796-EBAF-E2F49D5F39B3}"/>
          </ac:spMkLst>
        </pc:spChg>
      </pc:sldChg>
      <pc:sldChg chg="addSp delSp modSp mod">
        <pc:chgData name="Simone NERI" userId="2a00f2ad-68d9-45e6-b604-268bfad9cc5e" providerId="ADAL" clId="{EC6F0330-82A9-41CF-B362-FF4D91CC2FB4}" dt="2023-03-20T16:57:55.407" v="869" actId="313"/>
        <pc:sldMkLst>
          <pc:docMk/>
          <pc:sldMk cId="2776949053" sldId="2147470000"/>
        </pc:sldMkLst>
        <pc:spChg chg="mod">
          <ac:chgData name="Simone NERI" userId="2a00f2ad-68d9-45e6-b604-268bfad9cc5e" providerId="ADAL" clId="{EC6F0330-82A9-41CF-B362-FF4D91CC2FB4}" dt="2023-03-20T16:16:04.320" v="563" actId="20577"/>
          <ac:spMkLst>
            <pc:docMk/>
            <pc:sldMk cId="2776949053" sldId="2147470000"/>
            <ac:spMk id="2" creationId="{E11BF5BD-75C4-4E77-9598-7225EFF82CC5}"/>
          </ac:spMkLst>
        </pc:spChg>
        <pc:spChg chg="add mod">
          <ac:chgData name="Simone NERI" userId="2a00f2ad-68d9-45e6-b604-268bfad9cc5e" providerId="ADAL" clId="{EC6F0330-82A9-41CF-B362-FF4D91CC2FB4}" dt="2023-03-20T16:57:55.407" v="869" actId="313"/>
          <ac:spMkLst>
            <pc:docMk/>
            <pc:sldMk cId="2776949053" sldId="2147470000"/>
            <ac:spMk id="3" creationId="{6C7D176A-5F7D-31D7-BEFE-845B0EC8861A}"/>
          </ac:spMkLst>
        </pc:spChg>
        <pc:spChg chg="mod">
          <ac:chgData name="Simone NERI" userId="2a00f2ad-68d9-45e6-b604-268bfad9cc5e" providerId="ADAL" clId="{EC6F0330-82A9-41CF-B362-FF4D91CC2FB4}" dt="2023-03-20T16:36:27.987" v="747" actId="20577"/>
          <ac:spMkLst>
            <pc:docMk/>
            <pc:sldMk cId="2776949053" sldId="2147470000"/>
            <ac:spMk id="7" creationId="{D2B2BEDF-7A7A-9AB0-116E-141F5DA12340}"/>
          </ac:spMkLst>
        </pc:spChg>
        <pc:spChg chg="del">
          <ac:chgData name="Simone NERI" userId="2a00f2ad-68d9-45e6-b604-268bfad9cc5e" providerId="ADAL" clId="{EC6F0330-82A9-41CF-B362-FF4D91CC2FB4}" dt="2023-03-20T16:35:56.313" v="712" actId="478"/>
          <ac:spMkLst>
            <pc:docMk/>
            <pc:sldMk cId="2776949053" sldId="2147470000"/>
            <ac:spMk id="10" creationId="{669D934B-0A12-4E13-22A9-62F80FE824AD}"/>
          </ac:spMkLst>
        </pc:spChg>
        <pc:spChg chg="del">
          <ac:chgData name="Simone NERI" userId="2a00f2ad-68d9-45e6-b604-268bfad9cc5e" providerId="ADAL" clId="{EC6F0330-82A9-41CF-B362-FF4D91CC2FB4}" dt="2023-03-20T16:35:56.313" v="712" actId="478"/>
          <ac:spMkLst>
            <pc:docMk/>
            <pc:sldMk cId="2776949053" sldId="2147470000"/>
            <ac:spMk id="13" creationId="{48813385-D84D-7F52-68A3-AAA5D6C0869A}"/>
          </ac:spMkLst>
        </pc:spChg>
        <pc:spChg chg="del">
          <ac:chgData name="Simone NERI" userId="2a00f2ad-68d9-45e6-b604-268bfad9cc5e" providerId="ADAL" clId="{EC6F0330-82A9-41CF-B362-FF4D91CC2FB4}" dt="2023-03-20T16:35:56.313" v="712" actId="478"/>
          <ac:spMkLst>
            <pc:docMk/>
            <pc:sldMk cId="2776949053" sldId="2147470000"/>
            <ac:spMk id="17" creationId="{D81AEFBE-2E62-19C1-351B-FBDAC5678AAA}"/>
          </ac:spMkLst>
        </pc:spChg>
        <pc:spChg chg="del">
          <ac:chgData name="Simone NERI" userId="2a00f2ad-68d9-45e6-b604-268bfad9cc5e" providerId="ADAL" clId="{EC6F0330-82A9-41CF-B362-FF4D91CC2FB4}" dt="2023-03-20T16:35:59.740" v="713" actId="478"/>
          <ac:spMkLst>
            <pc:docMk/>
            <pc:sldMk cId="2776949053" sldId="2147470000"/>
            <ac:spMk id="22" creationId="{FCA99AF5-45F4-2B2F-9674-99A37099C105}"/>
          </ac:spMkLst>
        </pc:spChg>
        <pc:picChg chg="del">
          <ac:chgData name="Simone NERI" userId="2a00f2ad-68d9-45e6-b604-268bfad9cc5e" providerId="ADAL" clId="{EC6F0330-82A9-41CF-B362-FF4D91CC2FB4}" dt="2023-03-20T16:35:56.313" v="712" actId="478"/>
          <ac:picMkLst>
            <pc:docMk/>
            <pc:sldMk cId="2776949053" sldId="2147470000"/>
            <ac:picMk id="8" creationId="{1A8E4EFE-C6FC-E5C4-1C43-EEF1338EAD31}"/>
          </ac:picMkLst>
        </pc:picChg>
        <pc:picChg chg="del">
          <ac:chgData name="Simone NERI" userId="2a00f2ad-68d9-45e6-b604-268bfad9cc5e" providerId="ADAL" clId="{EC6F0330-82A9-41CF-B362-FF4D91CC2FB4}" dt="2023-03-20T16:35:56.313" v="712" actId="478"/>
          <ac:picMkLst>
            <pc:docMk/>
            <pc:sldMk cId="2776949053" sldId="2147470000"/>
            <ac:picMk id="24" creationId="{0A2D1E63-57D8-18E4-A515-361C90294920}"/>
          </ac:picMkLst>
        </pc:picChg>
        <pc:cxnChg chg="del">
          <ac:chgData name="Simone NERI" userId="2a00f2ad-68d9-45e6-b604-268bfad9cc5e" providerId="ADAL" clId="{EC6F0330-82A9-41CF-B362-FF4D91CC2FB4}" dt="2023-03-20T16:35:56.313" v="712" actId="478"/>
          <ac:cxnSpMkLst>
            <pc:docMk/>
            <pc:sldMk cId="2776949053" sldId="2147470000"/>
            <ac:cxnSpMk id="15" creationId="{DBE0EF01-916C-11C4-4192-7950D8592A03}"/>
          </ac:cxnSpMkLst>
        </pc:cxnChg>
        <pc:cxnChg chg="del">
          <ac:chgData name="Simone NERI" userId="2a00f2ad-68d9-45e6-b604-268bfad9cc5e" providerId="ADAL" clId="{EC6F0330-82A9-41CF-B362-FF4D91CC2FB4}" dt="2023-03-20T16:35:56.313" v="712" actId="478"/>
          <ac:cxnSpMkLst>
            <pc:docMk/>
            <pc:sldMk cId="2776949053" sldId="2147470000"/>
            <ac:cxnSpMk id="20" creationId="{7683A748-EC16-2EBE-FFDC-013F928B0E7B}"/>
          </ac:cxnSpMkLst>
        </pc:cxnChg>
      </pc:sldChg>
      <pc:sldChg chg="modSp mod">
        <pc:chgData name="Simone NERI" userId="2a00f2ad-68d9-45e6-b604-268bfad9cc5e" providerId="ADAL" clId="{EC6F0330-82A9-41CF-B362-FF4D91CC2FB4}" dt="2023-03-20T16:43:52.168" v="782" actId="113"/>
        <pc:sldMkLst>
          <pc:docMk/>
          <pc:sldMk cId="3288950320" sldId="2147470001"/>
        </pc:sldMkLst>
        <pc:spChg chg="mod">
          <ac:chgData name="Simone NERI" userId="2a00f2ad-68d9-45e6-b604-268bfad9cc5e" providerId="ADAL" clId="{EC6F0330-82A9-41CF-B362-FF4D91CC2FB4}" dt="2023-03-20T16:41:20.216" v="761" actId="2711"/>
          <ac:spMkLst>
            <pc:docMk/>
            <pc:sldMk cId="3288950320" sldId="2147470001"/>
            <ac:spMk id="12" creationId="{F6FA3F40-789E-9E80-EB7D-40996691B8DF}"/>
          </ac:spMkLst>
        </pc:spChg>
        <pc:spChg chg="mod">
          <ac:chgData name="Simone NERI" userId="2a00f2ad-68d9-45e6-b604-268bfad9cc5e" providerId="ADAL" clId="{EC6F0330-82A9-41CF-B362-FF4D91CC2FB4}" dt="2023-03-20T16:41:20.216" v="761" actId="2711"/>
          <ac:spMkLst>
            <pc:docMk/>
            <pc:sldMk cId="3288950320" sldId="2147470001"/>
            <ac:spMk id="17" creationId="{EEF56FE3-E971-BDE5-FE44-30170D5D643C}"/>
          </ac:spMkLst>
        </pc:spChg>
        <pc:spChg chg="mod">
          <ac:chgData name="Simone NERI" userId="2a00f2ad-68d9-45e6-b604-268bfad9cc5e" providerId="ADAL" clId="{EC6F0330-82A9-41CF-B362-FF4D91CC2FB4}" dt="2023-03-20T16:41:20.216" v="761" actId="2711"/>
          <ac:spMkLst>
            <pc:docMk/>
            <pc:sldMk cId="3288950320" sldId="2147470001"/>
            <ac:spMk id="3989" creationId="{69120E86-3C4C-2FAD-F95A-DC3E0EA4D655}"/>
          </ac:spMkLst>
        </pc:spChg>
        <pc:spChg chg="mod">
          <ac:chgData name="Simone NERI" userId="2a00f2ad-68d9-45e6-b604-268bfad9cc5e" providerId="ADAL" clId="{EC6F0330-82A9-41CF-B362-FF4D91CC2FB4}" dt="2023-03-20T16:43:52.168" v="782" actId="113"/>
          <ac:spMkLst>
            <pc:docMk/>
            <pc:sldMk cId="3288950320" sldId="2147470001"/>
            <ac:spMk id="3993" creationId="{8853F7B2-45E5-AEB3-1450-AA27EE128996}"/>
          </ac:spMkLst>
        </pc:spChg>
        <pc:graphicFrameChg chg="mod">
          <ac:chgData name="Simone NERI" userId="2a00f2ad-68d9-45e6-b604-268bfad9cc5e" providerId="ADAL" clId="{EC6F0330-82A9-41CF-B362-FF4D91CC2FB4}" dt="2023-03-20T16:41:20.216" v="761" actId="2711"/>
          <ac:graphicFrameMkLst>
            <pc:docMk/>
            <pc:sldMk cId="3288950320" sldId="2147470001"/>
            <ac:graphicFrameMk id="3310" creationId="{09C0683D-98AC-1F47-3599-080A574C7937}"/>
          </ac:graphicFrameMkLst>
        </pc:graphicFrameChg>
        <pc:picChg chg="mod">
          <ac:chgData name="Simone NERI" userId="2a00f2ad-68d9-45e6-b604-268bfad9cc5e" providerId="ADAL" clId="{EC6F0330-82A9-41CF-B362-FF4D91CC2FB4}" dt="2023-03-20T16:41:20.216" v="761" actId="2711"/>
          <ac:picMkLst>
            <pc:docMk/>
            <pc:sldMk cId="3288950320" sldId="2147470001"/>
            <ac:picMk id="3995" creationId="{B02622AA-2F08-0BB9-B37A-D024577312BF}"/>
          </ac:picMkLst>
        </pc:picChg>
        <pc:cxnChg chg="mod">
          <ac:chgData name="Simone NERI" userId="2a00f2ad-68d9-45e6-b604-268bfad9cc5e" providerId="ADAL" clId="{EC6F0330-82A9-41CF-B362-FF4D91CC2FB4}" dt="2023-03-20T16:41:20.216" v="761" actId="2711"/>
          <ac:cxnSpMkLst>
            <pc:docMk/>
            <pc:sldMk cId="3288950320" sldId="2147470001"/>
            <ac:cxnSpMk id="3991" creationId="{23C23B9B-0ADE-B2FE-B726-BF9D809B914E}"/>
          </ac:cxnSpMkLst>
        </pc:cxnChg>
      </pc:sldChg>
      <pc:sldChg chg="addSp modSp del mod">
        <pc:chgData name="Simone NERI" userId="2a00f2ad-68d9-45e6-b604-268bfad9cc5e" providerId="ADAL" clId="{EC6F0330-82A9-41CF-B362-FF4D91CC2FB4}" dt="2023-03-20T16:58:31.625" v="870" actId="47"/>
        <pc:sldMkLst>
          <pc:docMk/>
          <pc:sldMk cId="1073377735" sldId="2147470002"/>
        </pc:sldMkLst>
        <pc:spChg chg="add mod">
          <ac:chgData name="Simone NERI" userId="2a00f2ad-68d9-45e6-b604-268bfad9cc5e" providerId="ADAL" clId="{EC6F0330-82A9-41CF-B362-FF4D91CC2FB4}" dt="2023-03-20T16:40:26.439" v="759" actId="20577"/>
          <ac:spMkLst>
            <pc:docMk/>
            <pc:sldMk cId="1073377735" sldId="2147470002"/>
            <ac:spMk id="3" creationId="{14E02661-A1AC-C4B2-CC20-EDA65A46586E}"/>
          </ac:spMkLst>
        </pc:spChg>
      </pc:sldChg>
      <pc:sldChg chg="delSp add del mod">
        <pc:chgData name="Simone NERI" userId="2a00f2ad-68d9-45e6-b604-268bfad9cc5e" providerId="ADAL" clId="{EC6F0330-82A9-41CF-B362-FF4D91CC2FB4}" dt="2023-03-20T14:27:25.908" v="381" actId="47"/>
        <pc:sldMkLst>
          <pc:docMk/>
          <pc:sldMk cId="2090281503" sldId="2147470005"/>
        </pc:sldMkLst>
        <pc:spChg chg="del">
          <ac:chgData name="Simone NERI" userId="2a00f2ad-68d9-45e6-b604-268bfad9cc5e" providerId="ADAL" clId="{EC6F0330-82A9-41CF-B362-FF4D91CC2FB4}" dt="2023-03-20T14:06:23.614" v="1" actId="478"/>
          <ac:spMkLst>
            <pc:docMk/>
            <pc:sldMk cId="2090281503" sldId="2147470005"/>
            <ac:spMk id="3" creationId="{D346C06B-E16C-6F24-EEC2-C8BCC622F0C3}"/>
          </ac:spMkLst>
        </pc:spChg>
        <pc:spChg chg="del">
          <ac:chgData name="Simone NERI" userId="2a00f2ad-68d9-45e6-b604-268bfad9cc5e" providerId="ADAL" clId="{EC6F0330-82A9-41CF-B362-FF4D91CC2FB4}" dt="2023-03-20T14:06:35.825" v="2" actId="478"/>
          <ac:spMkLst>
            <pc:docMk/>
            <pc:sldMk cId="2090281503" sldId="2147470005"/>
            <ac:spMk id="20" creationId="{13EE3F99-8380-7763-BA83-7CF4024CF3CC}"/>
          </ac:spMkLst>
        </pc:spChg>
        <pc:spChg chg="del">
          <ac:chgData name="Simone NERI" userId="2a00f2ad-68d9-45e6-b604-268bfad9cc5e" providerId="ADAL" clId="{EC6F0330-82A9-41CF-B362-FF4D91CC2FB4}" dt="2023-03-20T14:06:23.614" v="1" actId="478"/>
          <ac:spMkLst>
            <pc:docMk/>
            <pc:sldMk cId="2090281503" sldId="2147470005"/>
            <ac:spMk id="21" creationId="{2806116F-6F2D-1385-E97D-25A261E917CC}"/>
          </ac:spMkLst>
        </pc:spChg>
        <pc:spChg chg="del">
          <ac:chgData name="Simone NERI" userId="2a00f2ad-68d9-45e6-b604-268bfad9cc5e" providerId="ADAL" clId="{EC6F0330-82A9-41CF-B362-FF4D91CC2FB4}" dt="2023-03-20T14:06:35.825" v="2" actId="478"/>
          <ac:spMkLst>
            <pc:docMk/>
            <pc:sldMk cId="2090281503" sldId="2147470005"/>
            <ac:spMk id="22" creationId="{B58F78E0-5485-CB04-5B71-42CF98DDFEDC}"/>
          </ac:spMkLst>
        </pc:spChg>
        <pc:spChg chg="del">
          <ac:chgData name="Simone NERI" userId="2a00f2ad-68d9-45e6-b604-268bfad9cc5e" providerId="ADAL" clId="{EC6F0330-82A9-41CF-B362-FF4D91CC2FB4}" dt="2023-03-20T14:06:23.614" v="1" actId="478"/>
          <ac:spMkLst>
            <pc:docMk/>
            <pc:sldMk cId="2090281503" sldId="2147470005"/>
            <ac:spMk id="31" creationId="{405F34FB-112B-D9B2-6EC3-A4ED7F783C35}"/>
          </ac:spMkLst>
        </pc:spChg>
        <pc:spChg chg="del">
          <ac:chgData name="Simone NERI" userId="2a00f2ad-68d9-45e6-b604-268bfad9cc5e" providerId="ADAL" clId="{EC6F0330-82A9-41CF-B362-FF4D91CC2FB4}" dt="2023-03-20T14:06:23.614" v="1" actId="478"/>
          <ac:spMkLst>
            <pc:docMk/>
            <pc:sldMk cId="2090281503" sldId="2147470005"/>
            <ac:spMk id="32" creationId="{D87ED807-D69B-7F3C-2931-614001082529}"/>
          </ac:spMkLst>
        </pc:spChg>
        <pc:spChg chg="del">
          <ac:chgData name="Simone NERI" userId="2a00f2ad-68d9-45e6-b604-268bfad9cc5e" providerId="ADAL" clId="{EC6F0330-82A9-41CF-B362-FF4D91CC2FB4}" dt="2023-03-20T14:06:23.614" v="1" actId="478"/>
          <ac:spMkLst>
            <pc:docMk/>
            <pc:sldMk cId="2090281503" sldId="2147470005"/>
            <ac:spMk id="33" creationId="{E0CF212E-28AF-9982-0C26-8E76888A25EE}"/>
          </ac:spMkLst>
        </pc:spChg>
        <pc:spChg chg="del">
          <ac:chgData name="Simone NERI" userId="2a00f2ad-68d9-45e6-b604-268bfad9cc5e" providerId="ADAL" clId="{EC6F0330-82A9-41CF-B362-FF4D91CC2FB4}" dt="2023-03-20T14:06:23.614" v="1" actId="478"/>
          <ac:spMkLst>
            <pc:docMk/>
            <pc:sldMk cId="2090281503" sldId="2147470005"/>
            <ac:spMk id="34" creationId="{957B383E-53CF-7FA5-13B8-D53C4073A878}"/>
          </ac:spMkLst>
        </pc:spChg>
        <pc:spChg chg="del">
          <ac:chgData name="Simone NERI" userId="2a00f2ad-68d9-45e6-b604-268bfad9cc5e" providerId="ADAL" clId="{EC6F0330-82A9-41CF-B362-FF4D91CC2FB4}" dt="2023-03-20T14:06:23.614" v="1" actId="478"/>
          <ac:spMkLst>
            <pc:docMk/>
            <pc:sldMk cId="2090281503" sldId="2147470005"/>
            <ac:spMk id="35" creationId="{A1D2A6E9-9A53-78E5-9DE0-4B4AFF0A7351}"/>
          </ac:spMkLst>
        </pc:spChg>
        <pc:spChg chg="del">
          <ac:chgData name="Simone NERI" userId="2a00f2ad-68d9-45e6-b604-268bfad9cc5e" providerId="ADAL" clId="{EC6F0330-82A9-41CF-B362-FF4D91CC2FB4}" dt="2023-03-20T14:06:23.614" v="1" actId="478"/>
          <ac:spMkLst>
            <pc:docMk/>
            <pc:sldMk cId="2090281503" sldId="2147470005"/>
            <ac:spMk id="36" creationId="{A25C2952-F2CE-5BAC-075A-0EF54F2C0F20}"/>
          </ac:spMkLst>
        </pc:spChg>
        <pc:spChg chg="del">
          <ac:chgData name="Simone NERI" userId="2a00f2ad-68d9-45e6-b604-268bfad9cc5e" providerId="ADAL" clId="{EC6F0330-82A9-41CF-B362-FF4D91CC2FB4}" dt="2023-03-20T14:06:23.614" v="1" actId="478"/>
          <ac:spMkLst>
            <pc:docMk/>
            <pc:sldMk cId="2090281503" sldId="2147470005"/>
            <ac:spMk id="37" creationId="{396A7D0D-95A7-CED1-64F5-DF302CAC8062}"/>
          </ac:spMkLst>
        </pc:spChg>
        <pc:spChg chg="del">
          <ac:chgData name="Simone NERI" userId="2a00f2ad-68d9-45e6-b604-268bfad9cc5e" providerId="ADAL" clId="{EC6F0330-82A9-41CF-B362-FF4D91CC2FB4}" dt="2023-03-20T14:06:23.614" v="1" actId="478"/>
          <ac:spMkLst>
            <pc:docMk/>
            <pc:sldMk cId="2090281503" sldId="2147470005"/>
            <ac:spMk id="38" creationId="{C572C046-2020-CB04-745D-E0F351EBB6A9}"/>
          </ac:spMkLst>
        </pc:spChg>
        <pc:spChg chg="del">
          <ac:chgData name="Simone NERI" userId="2a00f2ad-68d9-45e6-b604-268bfad9cc5e" providerId="ADAL" clId="{EC6F0330-82A9-41CF-B362-FF4D91CC2FB4}" dt="2023-03-20T14:06:23.614" v="1" actId="478"/>
          <ac:spMkLst>
            <pc:docMk/>
            <pc:sldMk cId="2090281503" sldId="2147470005"/>
            <ac:spMk id="43" creationId="{A2E89265-A832-44BC-DB37-CB056035C8A7}"/>
          </ac:spMkLst>
        </pc:spChg>
        <pc:graphicFrameChg chg="del">
          <ac:chgData name="Simone NERI" userId="2a00f2ad-68d9-45e6-b604-268bfad9cc5e" providerId="ADAL" clId="{EC6F0330-82A9-41CF-B362-FF4D91CC2FB4}" dt="2023-03-20T14:06:35.825" v="2" actId="478"/>
          <ac:graphicFrameMkLst>
            <pc:docMk/>
            <pc:sldMk cId="2090281503" sldId="2147470005"/>
            <ac:graphicFrameMk id="4" creationId="{47035697-1F52-1231-AB96-78ECCB31EB51}"/>
          </ac:graphicFrameMkLst>
        </pc:graphicFrameChg>
        <pc:graphicFrameChg chg="del">
          <ac:chgData name="Simone NERI" userId="2a00f2ad-68d9-45e6-b604-268bfad9cc5e" providerId="ADAL" clId="{EC6F0330-82A9-41CF-B362-FF4D91CC2FB4}" dt="2023-03-20T14:06:35.825" v="2" actId="478"/>
          <ac:graphicFrameMkLst>
            <pc:docMk/>
            <pc:sldMk cId="2090281503" sldId="2147470005"/>
            <ac:graphicFrameMk id="19" creationId="{918C2788-4FB2-A160-8567-038F4488845F}"/>
          </ac:graphicFrameMkLst>
        </pc:graphicFrameChg>
        <pc:picChg chg="del">
          <ac:chgData name="Simone NERI" userId="2a00f2ad-68d9-45e6-b604-268bfad9cc5e" providerId="ADAL" clId="{EC6F0330-82A9-41CF-B362-FF4D91CC2FB4}" dt="2023-03-20T14:06:23.614" v="1" actId="478"/>
          <ac:picMkLst>
            <pc:docMk/>
            <pc:sldMk cId="2090281503" sldId="2147470005"/>
            <ac:picMk id="45" creationId="{33D684BD-1708-7137-BEC5-721AE2399D4B}"/>
          </ac:picMkLst>
        </pc:picChg>
        <pc:picChg chg="del">
          <ac:chgData name="Simone NERI" userId="2a00f2ad-68d9-45e6-b604-268bfad9cc5e" providerId="ADAL" clId="{EC6F0330-82A9-41CF-B362-FF4D91CC2FB4}" dt="2023-03-20T14:06:23.614" v="1" actId="478"/>
          <ac:picMkLst>
            <pc:docMk/>
            <pc:sldMk cId="2090281503" sldId="2147470005"/>
            <ac:picMk id="62" creationId="{8A997064-A2E9-A495-EF0A-EFBA629C805A}"/>
          </ac:picMkLst>
        </pc:picChg>
        <pc:picChg chg="del">
          <ac:chgData name="Simone NERI" userId="2a00f2ad-68d9-45e6-b604-268bfad9cc5e" providerId="ADAL" clId="{EC6F0330-82A9-41CF-B362-FF4D91CC2FB4}" dt="2023-03-20T14:06:23.614" v="1" actId="478"/>
          <ac:picMkLst>
            <pc:docMk/>
            <pc:sldMk cId="2090281503" sldId="2147470005"/>
            <ac:picMk id="64" creationId="{A3E1E93F-3162-B40F-4022-004BAEAD13EB}"/>
          </ac:picMkLst>
        </pc:picChg>
        <pc:picChg chg="del">
          <ac:chgData name="Simone NERI" userId="2a00f2ad-68d9-45e6-b604-268bfad9cc5e" providerId="ADAL" clId="{EC6F0330-82A9-41CF-B362-FF4D91CC2FB4}" dt="2023-03-20T14:06:23.614" v="1" actId="478"/>
          <ac:picMkLst>
            <pc:docMk/>
            <pc:sldMk cId="2090281503" sldId="2147470005"/>
            <ac:picMk id="66" creationId="{26DF453C-2C6B-5283-5FCA-CB98423EBFE2}"/>
          </ac:picMkLst>
        </pc:picChg>
        <pc:picChg chg="del">
          <ac:chgData name="Simone NERI" userId="2a00f2ad-68d9-45e6-b604-268bfad9cc5e" providerId="ADAL" clId="{EC6F0330-82A9-41CF-B362-FF4D91CC2FB4}" dt="2023-03-20T14:06:23.614" v="1" actId="478"/>
          <ac:picMkLst>
            <pc:docMk/>
            <pc:sldMk cId="2090281503" sldId="2147470005"/>
            <ac:picMk id="68" creationId="{67A26C82-8AF7-1439-10E9-B367D279D3BC}"/>
          </ac:picMkLst>
        </pc:picChg>
        <pc:cxnChg chg="del">
          <ac:chgData name="Simone NERI" userId="2a00f2ad-68d9-45e6-b604-268bfad9cc5e" providerId="ADAL" clId="{EC6F0330-82A9-41CF-B362-FF4D91CC2FB4}" dt="2023-03-20T14:06:23.614" v="1" actId="478"/>
          <ac:cxnSpMkLst>
            <pc:docMk/>
            <pc:sldMk cId="2090281503" sldId="2147470005"/>
            <ac:cxnSpMk id="47" creationId="{CA6E44B2-D37D-8819-0722-4D4086D8D4B2}"/>
          </ac:cxnSpMkLst>
        </pc:cxnChg>
        <pc:cxnChg chg="del">
          <ac:chgData name="Simone NERI" userId="2a00f2ad-68d9-45e6-b604-268bfad9cc5e" providerId="ADAL" clId="{EC6F0330-82A9-41CF-B362-FF4D91CC2FB4}" dt="2023-03-20T14:06:23.614" v="1" actId="478"/>
          <ac:cxnSpMkLst>
            <pc:docMk/>
            <pc:sldMk cId="2090281503" sldId="2147470005"/>
            <ac:cxnSpMk id="48" creationId="{6EA0C923-8FE3-5E3B-CFB0-635B999341EE}"/>
          </ac:cxnSpMkLst>
        </pc:cxnChg>
        <pc:cxnChg chg="del">
          <ac:chgData name="Simone NERI" userId="2a00f2ad-68d9-45e6-b604-268bfad9cc5e" providerId="ADAL" clId="{EC6F0330-82A9-41CF-B362-FF4D91CC2FB4}" dt="2023-03-20T14:06:23.614" v="1" actId="478"/>
          <ac:cxnSpMkLst>
            <pc:docMk/>
            <pc:sldMk cId="2090281503" sldId="2147470005"/>
            <ac:cxnSpMk id="49" creationId="{E1F3793B-9C12-7FE2-172F-2D71D423035A}"/>
          </ac:cxnSpMkLst>
        </pc:cxnChg>
        <pc:cxnChg chg="del">
          <ac:chgData name="Simone NERI" userId="2a00f2ad-68d9-45e6-b604-268bfad9cc5e" providerId="ADAL" clId="{EC6F0330-82A9-41CF-B362-FF4D91CC2FB4}" dt="2023-03-20T14:06:23.614" v="1" actId="478"/>
          <ac:cxnSpMkLst>
            <pc:docMk/>
            <pc:sldMk cId="2090281503" sldId="2147470005"/>
            <ac:cxnSpMk id="50" creationId="{09D14A5C-5A65-7065-01DA-B9EC42C4453C}"/>
          </ac:cxnSpMkLst>
        </pc:cxnChg>
      </pc:sldChg>
      <pc:sldChg chg="addSp delSp modSp add mod">
        <pc:chgData name="Simone NERI" userId="2a00f2ad-68d9-45e6-b604-268bfad9cc5e" providerId="ADAL" clId="{EC6F0330-82A9-41CF-B362-FF4D91CC2FB4}" dt="2023-03-20T15:59:30.177" v="545" actId="20577"/>
        <pc:sldMkLst>
          <pc:docMk/>
          <pc:sldMk cId="3417808031" sldId="2147470006"/>
        </pc:sldMkLst>
        <pc:spChg chg="mod">
          <ac:chgData name="Simone NERI" userId="2a00f2ad-68d9-45e6-b604-268bfad9cc5e" providerId="ADAL" clId="{EC6F0330-82A9-41CF-B362-FF4D91CC2FB4}" dt="2023-03-20T14:22:16.006" v="174" actId="20577"/>
          <ac:spMkLst>
            <pc:docMk/>
            <pc:sldMk cId="3417808031" sldId="2147470006"/>
            <ac:spMk id="3" creationId="{4CED5CC6-D44D-46CF-87ED-9F93BCBA6175}"/>
          </ac:spMkLst>
        </pc:spChg>
        <pc:spChg chg="del">
          <ac:chgData name="Simone NERI" userId="2a00f2ad-68d9-45e6-b604-268bfad9cc5e" providerId="ADAL" clId="{EC6F0330-82A9-41CF-B362-FF4D91CC2FB4}" dt="2023-03-20T14:07:45.224" v="4" actId="478"/>
          <ac:spMkLst>
            <pc:docMk/>
            <pc:sldMk cId="3417808031" sldId="2147470006"/>
            <ac:spMk id="4" creationId="{4A508FF4-FB7F-1647-9EC4-35A7CFA8AA2E}"/>
          </ac:spMkLst>
        </pc:spChg>
        <pc:spChg chg="del">
          <ac:chgData name="Simone NERI" userId="2a00f2ad-68d9-45e6-b604-268bfad9cc5e" providerId="ADAL" clId="{EC6F0330-82A9-41CF-B362-FF4D91CC2FB4}" dt="2023-03-20T14:07:46.963" v="5" actId="478"/>
          <ac:spMkLst>
            <pc:docMk/>
            <pc:sldMk cId="3417808031" sldId="2147470006"/>
            <ac:spMk id="5" creationId="{DF12E7A1-DDA3-AB8B-17AB-85EC2828E26D}"/>
          </ac:spMkLst>
        </pc:spChg>
        <pc:spChg chg="add mod">
          <ac:chgData name="Simone NERI" userId="2a00f2ad-68d9-45e6-b604-268bfad9cc5e" providerId="ADAL" clId="{EC6F0330-82A9-41CF-B362-FF4D91CC2FB4}" dt="2023-03-20T14:47:01.339" v="404" actId="113"/>
          <ac:spMkLst>
            <pc:docMk/>
            <pc:sldMk cId="3417808031" sldId="2147470006"/>
            <ac:spMk id="6" creationId="{41F19866-8FCB-EFB3-15DD-FD1243AABC64}"/>
          </ac:spMkLst>
        </pc:spChg>
        <pc:spChg chg="add mod ord">
          <ac:chgData name="Simone NERI" userId="2a00f2ad-68d9-45e6-b604-268bfad9cc5e" providerId="ADAL" clId="{EC6F0330-82A9-41CF-B362-FF4D91CC2FB4}" dt="2023-03-20T14:26:19.791" v="374" actId="14100"/>
          <ac:spMkLst>
            <pc:docMk/>
            <pc:sldMk cId="3417808031" sldId="2147470006"/>
            <ac:spMk id="19" creationId="{B88E91BA-0AAB-6EB6-FAF0-03FE9B84F683}"/>
          </ac:spMkLst>
        </pc:spChg>
        <pc:spChg chg="add mod ord">
          <ac:chgData name="Simone NERI" userId="2a00f2ad-68d9-45e6-b604-268bfad9cc5e" providerId="ADAL" clId="{EC6F0330-82A9-41CF-B362-FF4D91CC2FB4}" dt="2023-03-20T14:25:31.284" v="348" actId="167"/>
          <ac:spMkLst>
            <pc:docMk/>
            <pc:sldMk cId="3417808031" sldId="2147470006"/>
            <ac:spMk id="20" creationId="{57E520E0-776F-50C2-B4CB-590037576451}"/>
          </ac:spMkLst>
        </pc:spChg>
        <pc:spChg chg="add mod">
          <ac:chgData name="Simone NERI" userId="2a00f2ad-68d9-45e6-b604-268bfad9cc5e" providerId="ADAL" clId="{EC6F0330-82A9-41CF-B362-FF4D91CC2FB4}" dt="2023-03-20T15:58:57.417" v="523" actId="1076"/>
          <ac:spMkLst>
            <pc:docMk/>
            <pc:sldMk cId="3417808031" sldId="2147470006"/>
            <ac:spMk id="21" creationId="{B9ED46B5-0572-3C4C-E5EA-EE83E5A64215}"/>
          </ac:spMkLst>
        </pc:spChg>
        <pc:spChg chg="add mod">
          <ac:chgData name="Simone NERI" userId="2a00f2ad-68d9-45e6-b604-268bfad9cc5e" providerId="ADAL" clId="{EC6F0330-82A9-41CF-B362-FF4D91CC2FB4}" dt="2023-03-20T15:59:30.177" v="545" actId="20577"/>
          <ac:spMkLst>
            <pc:docMk/>
            <pc:sldMk cId="3417808031" sldId="2147470006"/>
            <ac:spMk id="22" creationId="{BB830EBE-E9D5-6C4C-3789-03C20D725B8C}"/>
          </ac:spMkLst>
        </pc:spChg>
        <pc:spChg chg="del">
          <ac:chgData name="Simone NERI" userId="2a00f2ad-68d9-45e6-b604-268bfad9cc5e" providerId="ADAL" clId="{EC6F0330-82A9-41CF-B362-FF4D91CC2FB4}" dt="2023-03-20T14:07:45.224" v="4" actId="478"/>
          <ac:spMkLst>
            <pc:docMk/>
            <pc:sldMk cId="3417808031" sldId="2147470006"/>
            <ac:spMk id="174" creationId="{9EDCDA73-CF95-BA08-4751-C40979072A4D}"/>
          </ac:spMkLst>
        </pc:spChg>
        <pc:spChg chg="del">
          <ac:chgData name="Simone NERI" userId="2a00f2ad-68d9-45e6-b604-268bfad9cc5e" providerId="ADAL" clId="{EC6F0330-82A9-41CF-B362-FF4D91CC2FB4}" dt="2023-03-20T14:07:45.224" v="4" actId="478"/>
          <ac:spMkLst>
            <pc:docMk/>
            <pc:sldMk cId="3417808031" sldId="2147470006"/>
            <ac:spMk id="175" creationId="{82C9C8E9-95AD-A43A-9725-68B89FB66ABC}"/>
          </ac:spMkLst>
        </pc:spChg>
        <pc:spChg chg="del">
          <ac:chgData name="Simone NERI" userId="2a00f2ad-68d9-45e6-b604-268bfad9cc5e" providerId="ADAL" clId="{EC6F0330-82A9-41CF-B362-FF4D91CC2FB4}" dt="2023-03-20T14:07:45.224" v="4" actId="478"/>
          <ac:spMkLst>
            <pc:docMk/>
            <pc:sldMk cId="3417808031" sldId="2147470006"/>
            <ac:spMk id="182" creationId="{399B1F8B-7642-6EBA-1CA1-3BD719B10579}"/>
          </ac:spMkLst>
        </pc:spChg>
        <pc:spChg chg="del">
          <ac:chgData name="Simone NERI" userId="2a00f2ad-68d9-45e6-b604-268bfad9cc5e" providerId="ADAL" clId="{EC6F0330-82A9-41CF-B362-FF4D91CC2FB4}" dt="2023-03-20T14:07:45.224" v="4" actId="478"/>
          <ac:spMkLst>
            <pc:docMk/>
            <pc:sldMk cId="3417808031" sldId="2147470006"/>
            <ac:spMk id="183" creationId="{D319A40A-D3DD-533C-9C1A-34DD5E26ED6D}"/>
          </ac:spMkLst>
        </pc:spChg>
        <pc:spChg chg="del">
          <ac:chgData name="Simone NERI" userId="2a00f2ad-68d9-45e6-b604-268bfad9cc5e" providerId="ADAL" clId="{EC6F0330-82A9-41CF-B362-FF4D91CC2FB4}" dt="2023-03-20T14:07:45.224" v="4" actId="478"/>
          <ac:spMkLst>
            <pc:docMk/>
            <pc:sldMk cId="3417808031" sldId="2147470006"/>
            <ac:spMk id="188" creationId="{54538CF1-F291-A8D9-20A1-8BD083FAC185}"/>
          </ac:spMkLst>
        </pc:spChg>
        <pc:spChg chg="del">
          <ac:chgData name="Simone NERI" userId="2a00f2ad-68d9-45e6-b604-268bfad9cc5e" providerId="ADAL" clId="{EC6F0330-82A9-41CF-B362-FF4D91CC2FB4}" dt="2023-03-20T14:07:45.224" v="4" actId="478"/>
          <ac:spMkLst>
            <pc:docMk/>
            <pc:sldMk cId="3417808031" sldId="2147470006"/>
            <ac:spMk id="189" creationId="{3EB916B9-A83F-9A16-EA67-076D39DB2E60}"/>
          </ac:spMkLst>
        </pc:spChg>
        <pc:spChg chg="del">
          <ac:chgData name="Simone NERI" userId="2a00f2ad-68d9-45e6-b604-268bfad9cc5e" providerId="ADAL" clId="{EC6F0330-82A9-41CF-B362-FF4D91CC2FB4}" dt="2023-03-20T14:07:45.224" v="4" actId="478"/>
          <ac:spMkLst>
            <pc:docMk/>
            <pc:sldMk cId="3417808031" sldId="2147470006"/>
            <ac:spMk id="190" creationId="{1D84F161-1E47-8DF4-D818-6DA36E041C70}"/>
          </ac:spMkLst>
        </pc:spChg>
        <pc:spChg chg="del">
          <ac:chgData name="Simone NERI" userId="2a00f2ad-68d9-45e6-b604-268bfad9cc5e" providerId="ADAL" clId="{EC6F0330-82A9-41CF-B362-FF4D91CC2FB4}" dt="2023-03-20T14:07:45.224" v="4" actId="478"/>
          <ac:spMkLst>
            <pc:docMk/>
            <pc:sldMk cId="3417808031" sldId="2147470006"/>
            <ac:spMk id="191" creationId="{2C44FE29-3C3D-C7FE-B92C-7C93684EFEC9}"/>
          </ac:spMkLst>
        </pc:spChg>
        <pc:spChg chg="del">
          <ac:chgData name="Simone NERI" userId="2a00f2ad-68d9-45e6-b604-268bfad9cc5e" providerId="ADAL" clId="{EC6F0330-82A9-41CF-B362-FF4D91CC2FB4}" dt="2023-03-20T14:07:45.224" v="4" actId="478"/>
          <ac:spMkLst>
            <pc:docMk/>
            <pc:sldMk cId="3417808031" sldId="2147470006"/>
            <ac:spMk id="192" creationId="{9471BBAE-37A4-F385-4642-775F9AE2AC13}"/>
          </ac:spMkLst>
        </pc:spChg>
        <pc:spChg chg="del">
          <ac:chgData name="Simone NERI" userId="2a00f2ad-68d9-45e6-b604-268bfad9cc5e" providerId="ADAL" clId="{EC6F0330-82A9-41CF-B362-FF4D91CC2FB4}" dt="2023-03-20T14:07:45.224" v="4" actId="478"/>
          <ac:spMkLst>
            <pc:docMk/>
            <pc:sldMk cId="3417808031" sldId="2147470006"/>
            <ac:spMk id="193" creationId="{C76F6737-62DF-1C1A-2E27-2CA8BDA6206A}"/>
          </ac:spMkLst>
        </pc:spChg>
        <pc:grpChg chg="del">
          <ac:chgData name="Simone NERI" userId="2a00f2ad-68d9-45e6-b604-268bfad9cc5e" providerId="ADAL" clId="{EC6F0330-82A9-41CF-B362-FF4D91CC2FB4}" dt="2023-03-20T14:07:45.224" v="4" actId="478"/>
          <ac:grpSpMkLst>
            <pc:docMk/>
            <pc:sldMk cId="3417808031" sldId="2147470006"/>
            <ac:grpSpMk id="164" creationId="{88C70AD6-680D-0CD9-01A0-D31B5A16096B}"/>
          </ac:grpSpMkLst>
        </pc:grpChg>
        <pc:picChg chg="del">
          <ac:chgData name="Simone NERI" userId="2a00f2ad-68d9-45e6-b604-268bfad9cc5e" providerId="ADAL" clId="{EC6F0330-82A9-41CF-B362-FF4D91CC2FB4}" dt="2023-03-20T14:07:45.224" v="4" actId="478"/>
          <ac:picMkLst>
            <pc:docMk/>
            <pc:sldMk cId="3417808031" sldId="2147470006"/>
            <ac:picMk id="2" creationId="{A87DFF64-C970-FE23-20F7-8C7A48308486}"/>
          </ac:picMkLst>
        </pc:picChg>
        <pc:picChg chg="del">
          <ac:chgData name="Simone NERI" userId="2a00f2ad-68d9-45e6-b604-268bfad9cc5e" providerId="ADAL" clId="{EC6F0330-82A9-41CF-B362-FF4D91CC2FB4}" dt="2023-03-20T14:07:45.224" v="4" actId="478"/>
          <ac:picMkLst>
            <pc:docMk/>
            <pc:sldMk cId="3417808031" sldId="2147470006"/>
            <ac:picMk id="7" creationId="{6A1CB753-DF93-0663-FE4F-BB450C8BFD23}"/>
          </ac:picMkLst>
        </pc:picChg>
        <pc:picChg chg="add mod">
          <ac:chgData name="Simone NERI" userId="2a00f2ad-68d9-45e6-b604-268bfad9cc5e" providerId="ADAL" clId="{EC6F0330-82A9-41CF-B362-FF4D91CC2FB4}" dt="2023-03-20T14:26:24.484" v="375" actId="1076"/>
          <ac:picMkLst>
            <pc:docMk/>
            <pc:sldMk cId="3417808031" sldId="2147470006"/>
            <ac:picMk id="8" creationId="{D09FB417-C3F3-535E-3C21-47EA0B7D0126}"/>
          </ac:picMkLst>
        </pc:picChg>
        <pc:picChg chg="add mod ord">
          <ac:chgData name="Simone NERI" userId="2a00f2ad-68d9-45e6-b604-268bfad9cc5e" providerId="ADAL" clId="{EC6F0330-82A9-41CF-B362-FF4D91CC2FB4}" dt="2023-03-20T14:26:24.484" v="375" actId="1076"/>
          <ac:picMkLst>
            <pc:docMk/>
            <pc:sldMk cId="3417808031" sldId="2147470006"/>
            <ac:picMk id="9" creationId="{CDB70F00-91C3-95D6-4425-042CA8AFC7F5}"/>
          </ac:picMkLst>
        </pc:picChg>
        <pc:picChg chg="add mod">
          <ac:chgData name="Simone NERI" userId="2a00f2ad-68d9-45e6-b604-268bfad9cc5e" providerId="ADAL" clId="{EC6F0330-82A9-41CF-B362-FF4D91CC2FB4}" dt="2023-03-20T14:20:25.314" v="148" actId="1076"/>
          <ac:picMkLst>
            <pc:docMk/>
            <pc:sldMk cId="3417808031" sldId="2147470006"/>
            <ac:picMk id="10" creationId="{E333BC7B-D1F8-381F-FDA6-85F007C6919F}"/>
          </ac:picMkLst>
        </pc:picChg>
        <pc:picChg chg="add del mod">
          <ac:chgData name="Simone NERI" userId="2a00f2ad-68d9-45e6-b604-268bfad9cc5e" providerId="ADAL" clId="{EC6F0330-82A9-41CF-B362-FF4D91CC2FB4}" dt="2023-03-20T14:16:16.874" v="96" actId="478"/>
          <ac:picMkLst>
            <pc:docMk/>
            <pc:sldMk cId="3417808031" sldId="2147470006"/>
            <ac:picMk id="11" creationId="{A7518B42-FE01-4157-AEAB-0DCABC0FC2B1}"/>
          </ac:picMkLst>
        </pc:picChg>
        <pc:picChg chg="add del mod">
          <ac:chgData name="Simone NERI" userId="2a00f2ad-68d9-45e6-b604-268bfad9cc5e" providerId="ADAL" clId="{EC6F0330-82A9-41CF-B362-FF4D91CC2FB4}" dt="2023-03-20T14:16:17.926" v="97" actId="478"/>
          <ac:picMkLst>
            <pc:docMk/>
            <pc:sldMk cId="3417808031" sldId="2147470006"/>
            <ac:picMk id="12" creationId="{9962322D-AECB-09B0-493E-E9081EB7C94C}"/>
          </ac:picMkLst>
        </pc:picChg>
        <pc:picChg chg="add del mod">
          <ac:chgData name="Simone NERI" userId="2a00f2ad-68d9-45e6-b604-268bfad9cc5e" providerId="ADAL" clId="{EC6F0330-82A9-41CF-B362-FF4D91CC2FB4}" dt="2023-03-20T14:16:18.753" v="98" actId="478"/>
          <ac:picMkLst>
            <pc:docMk/>
            <pc:sldMk cId="3417808031" sldId="2147470006"/>
            <ac:picMk id="13" creationId="{71C4446D-8F25-BE7B-8659-F58F392A6370}"/>
          </ac:picMkLst>
        </pc:picChg>
        <pc:picChg chg="add mod">
          <ac:chgData name="Simone NERI" userId="2a00f2ad-68d9-45e6-b604-268bfad9cc5e" providerId="ADAL" clId="{EC6F0330-82A9-41CF-B362-FF4D91CC2FB4}" dt="2023-03-20T14:20:27.795" v="149" actId="1076"/>
          <ac:picMkLst>
            <pc:docMk/>
            <pc:sldMk cId="3417808031" sldId="2147470006"/>
            <ac:picMk id="14" creationId="{091BD10D-A565-CF3C-6F26-9DF41C292617}"/>
          </ac:picMkLst>
        </pc:picChg>
        <pc:picChg chg="add mod">
          <ac:chgData name="Simone NERI" userId="2a00f2ad-68d9-45e6-b604-268bfad9cc5e" providerId="ADAL" clId="{EC6F0330-82A9-41CF-B362-FF4D91CC2FB4}" dt="2023-03-20T14:27:01.603" v="380" actId="1076"/>
          <ac:picMkLst>
            <pc:docMk/>
            <pc:sldMk cId="3417808031" sldId="2147470006"/>
            <ac:picMk id="15" creationId="{46CA5FDD-1871-3975-B823-90876F549AA9}"/>
          </ac:picMkLst>
        </pc:picChg>
        <pc:picChg chg="add mod">
          <ac:chgData name="Simone NERI" userId="2a00f2ad-68d9-45e6-b604-268bfad9cc5e" providerId="ADAL" clId="{EC6F0330-82A9-41CF-B362-FF4D91CC2FB4}" dt="2023-03-20T14:26:44.263" v="376" actId="1076"/>
          <ac:picMkLst>
            <pc:docMk/>
            <pc:sldMk cId="3417808031" sldId="2147470006"/>
            <ac:picMk id="16" creationId="{5FA94198-64BD-1F61-13F4-61AB2F9F23B5}"/>
          </ac:picMkLst>
        </pc:picChg>
        <pc:picChg chg="add mod">
          <ac:chgData name="Simone NERI" userId="2a00f2ad-68d9-45e6-b604-268bfad9cc5e" providerId="ADAL" clId="{EC6F0330-82A9-41CF-B362-FF4D91CC2FB4}" dt="2023-03-20T14:17:06.694" v="112" actId="571"/>
          <ac:picMkLst>
            <pc:docMk/>
            <pc:sldMk cId="3417808031" sldId="2147470006"/>
            <ac:picMk id="17" creationId="{EA5C9E50-A572-98D8-5AF6-7E73041D96A6}"/>
          </ac:picMkLst>
        </pc:picChg>
        <pc:picChg chg="add mod">
          <ac:chgData name="Simone NERI" userId="2a00f2ad-68d9-45e6-b604-268bfad9cc5e" providerId="ADAL" clId="{EC6F0330-82A9-41CF-B362-FF4D91CC2FB4}" dt="2023-03-20T14:17:06.694" v="112" actId="571"/>
          <ac:picMkLst>
            <pc:docMk/>
            <pc:sldMk cId="3417808031" sldId="2147470006"/>
            <ac:picMk id="18" creationId="{62927917-AB88-9FCE-5B09-A41DAEEE54F3}"/>
          </ac:picMkLst>
        </pc:picChg>
        <pc:cxnChg chg="del">
          <ac:chgData name="Simone NERI" userId="2a00f2ad-68d9-45e6-b604-268bfad9cc5e" providerId="ADAL" clId="{EC6F0330-82A9-41CF-B362-FF4D91CC2FB4}" dt="2023-03-20T14:07:45.224" v="4" actId="478"/>
          <ac:cxnSpMkLst>
            <pc:docMk/>
            <pc:sldMk cId="3417808031" sldId="2147470006"/>
            <ac:cxnSpMk id="195" creationId="{F5BF65C0-3F2F-45CF-7A07-57C3EA2A89E3}"/>
          </ac:cxnSpMkLst>
        </pc:cxnChg>
        <pc:cxnChg chg="del">
          <ac:chgData name="Simone NERI" userId="2a00f2ad-68d9-45e6-b604-268bfad9cc5e" providerId="ADAL" clId="{EC6F0330-82A9-41CF-B362-FF4D91CC2FB4}" dt="2023-03-20T14:07:45.224" v="4" actId="478"/>
          <ac:cxnSpMkLst>
            <pc:docMk/>
            <pc:sldMk cId="3417808031" sldId="2147470006"/>
            <ac:cxnSpMk id="208" creationId="{F148327F-5E63-F171-0BFF-8EBEC1F7B792}"/>
          </ac:cxnSpMkLst>
        </pc:cxnChg>
      </pc:sldChg>
      <pc:sldChg chg="addSp delSp modSp add del mod">
        <pc:chgData name="Simone NERI" userId="2a00f2ad-68d9-45e6-b604-268bfad9cc5e" providerId="ADAL" clId="{EC6F0330-82A9-41CF-B362-FF4D91CC2FB4}" dt="2023-03-20T21:00:01.693" v="1025" actId="47"/>
        <pc:sldMkLst>
          <pc:docMk/>
          <pc:sldMk cId="3681582597" sldId="2147470008"/>
        </pc:sldMkLst>
        <pc:spChg chg="mod">
          <ac:chgData name="Simone NERI" userId="2a00f2ad-68d9-45e6-b604-268bfad9cc5e" providerId="ADAL" clId="{EC6F0330-82A9-41CF-B362-FF4D91CC2FB4}" dt="2023-03-20T16:29:29.963" v="570" actId="1076"/>
          <ac:spMkLst>
            <pc:docMk/>
            <pc:sldMk cId="3681582597" sldId="2147470008"/>
            <ac:spMk id="3" creationId="{D346C06B-E16C-6F24-EEC2-C8BCC622F0C3}"/>
          </ac:spMkLst>
        </pc:spChg>
        <pc:spChg chg="del">
          <ac:chgData name="Simone NERI" userId="2a00f2ad-68d9-45e6-b604-268bfad9cc5e" providerId="ADAL" clId="{EC6F0330-82A9-41CF-B362-FF4D91CC2FB4}" dt="2023-03-20T16:29:09.704" v="566" actId="478"/>
          <ac:spMkLst>
            <pc:docMk/>
            <pc:sldMk cId="3681582597" sldId="2147470008"/>
            <ac:spMk id="6" creationId="{ECA21B38-0A22-CFAD-DC05-40E493657D50}"/>
          </ac:spMkLst>
        </pc:spChg>
        <pc:spChg chg="add mod">
          <ac:chgData name="Simone NERI" userId="2a00f2ad-68d9-45e6-b604-268bfad9cc5e" providerId="ADAL" clId="{EC6F0330-82A9-41CF-B362-FF4D91CC2FB4}" dt="2023-03-20T16:29:27.980" v="569" actId="1076"/>
          <ac:spMkLst>
            <pc:docMk/>
            <pc:sldMk cId="3681582597" sldId="2147470008"/>
            <ac:spMk id="7" creationId="{E0219AF7-485E-09B4-A5B0-BE7399CA6115}"/>
          </ac:spMkLst>
        </pc:spChg>
        <pc:spChg chg="mod">
          <ac:chgData name="Simone NERI" userId="2a00f2ad-68d9-45e6-b604-268bfad9cc5e" providerId="ADAL" clId="{EC6F0330-82A9-41CF-B362-FF4D91CC2FB4}" dt="2023-03-20T16:29:23.408" v="568"/>
          <ac:spMkLst>
            <pc:docMk/>
            <pc:sldMk cId="3681582597" sldId="2147470008"/>
            <ac:spMk id="9" creationId="{F0D4ECFE-8443-328A-2CC0-E72EB4E64FBE}"/>
          </ac:spMkLst>
        </pc:spChg>
        <pc:spChg chg="mod">
          <ac:chgData name="Simone NERI" userId="2a00f2ad-68d9-45e6-b604-268bfad9cc5e" providerId="ADAL" clId="{EC6F0330-82A9-41CF-B362-FF4D91CC2FB4}" dt="2023-03-20T16:29:23.408" v="568"/>
          <ac:spMkLst>
            <pc:docMk/>
            <pc:sldMk cId="3681582597" sldId="2147470008"/>
            <ac:spMk id="10" creationId="{726A66C4-244F-140F-F335-2833D71DBC67}"/>
          </ac:spMkLst>
        </pc:spChg>
        <pc:spChg chg="mod">
          <ac:chgData name="Simone NERI" userId="2a00f2ad-68d9-45e6-b604-268bfad9cc5e" providerId="ADAL" clId="{EC6F0330-82A9-41CF-B362-FF4D91CC2FB4}" dt="2023-03-20T16:29:23.408" v="568"/>
          <ac:spMkLst>
            <pc:docMk/>
            <pc:sldMk cId="3681582597" sldId="2147470008"/>
            <ac:spMk id="11" creationId="{FDEF394E-837E-4AA4-630E-ECCED6E9B7A1}"/>
          </ac:spMkLst>
        </pc:spChg>
        <pc:spChg chg="mod">
          <ac:chgData name="Simone NERI" userId="2a00f2ad-68d9-45e6-b604-268bfad9cc5e" providerId="ADAL" clId="{EC6F0330-82A9-41CF-B362-FF4D91CC2FB4}" dt="2023-03-20T16:29:23.408" v="568"/>
          <ac:spMkLst>
            <pc:docMk/>
            <pc:sldMk cId="3681582597" sldId="2147470008"/>
            <ac:spMk id="12" creationId="{C0A3D03E-9E1B-4373-3692-55AD7D233E3D}"/>
          </ac:spMkLst>
        </pc:spChg>
        <pc:spChg chg="add mod">
          <ac:chgData name="Simone NERI" userId="2a00f2ad-68d9-45e6-b604-268bfad9cc5e" providerId="ADAL" clId="{EC6F0330-82A9-41CF-B362-FF4D91CC2FB4}" dt="2023-03-20T16:29:27.980" v="569" actId="1076"/>
          <ac:spMkLst>
            <pc:docMk/>
            <pc:sldMk cId="3681582597" sldId="2147470008"/>
            <ac:spMk id="13" creationId="{16F8E287-F544-B77C-BAD7-DA33F9C93088}"/>
          </ac:spMkLst>
        </pc:spChg>
        <pc:spChg chg="add mod">
          <ac:chgData name="Simone NERI" userId="2a00f2ad-68d9-45e6-b604-268bfad9cc5e" providerId="ADAL" clId="{EC6F0330-82A9-41CF-B362-FF4D91CC2FB4}" dt="2023-03-20T16:29:27.980" v="569" actId="1076"/>
          <ac:spMkLst>
            <pc:docMk/>
            <pc:sldMk cId="3681582597" sldId="2147470008"/>
            <ac:spMk id="14" creationId="{883FEA16-2A87-A061-7730-83F6775898DF}"/>
          </ac:spMkLst>
        </pc:spChg>
        <pc:spChg chg="add mod">
          <ac:chgData name="Simone NERI" userId="2a00f2ad-68d9-45e6-b604-268bfad9cc5e" providerId="ADAL" clId="{EC6F0330-82A9-41CF-B362-FF4D91CC2FB4}" dt="2023-03-20T16:29:27.980" v="569" actId="1076"/>
          <ac:spMkLst>
            <pc:docMk/>
            <pc:sldMk cId="3681582597" sldId="2147470008"/>
            <ac:spMk id="15" creationId="{79BC4F5E-D898-5860-6C7B-78D7E87E47E1}"/>
          </ac:spMkLst>
        </pc:spChg>
        <pc:spChg chg="add mod">
          <ac:chgData name="Simone NERI" userId="2a00f2ad-68d9-45e6-b604-268bfad9cc5e" providerId="ADAL" clId="{EC6F0330-82A9-41CF-B362-FF4D91CC2FB4}" dt="2023-03-20T16:29:27.980" v="569" actId="1076"/>
          <ac:spMkLst>
            <pc:docMk/>
            <pc:sldMk cId="3681582597" sldId="2147470008"/>
            <ac:spMk id="16" creationId="{A2ACE051-848A-6C3C-DE5C-485B880B8072}"/>
          </ac:spMkLst>
        </pc:spChg>
        <pc:spChg chg="add mod">
          <ac:chgData name="Simone NERI" userId="2a00f2ad-68d9-45e6-b604-268bfad9cc5e" providerId="ADAL" clId="{EC6F0330-82A9-41CF-B362-FF4D91CC2FB4}" dt="2023-03-20T16:29:27.980" v="569" actId="1076"/>
          <ac:spMkLst>
            <pc:docMk/>
            <pc:sldMk cId="3681582597" sldId="2147470008"/>
            <ac:spMk id="17" creationId="{6D77FAD0-7628-0C82-8616-20D6DA6C59B3}"/>
          </ac:spMkLst>
        </pc:spChg>
        <pc:spChg chg="del">
          <ac:chgData name="Simone NERI" userId="2a00f2ad-68d9-45e6-b604-268bfad9cc5e" providerId="ADAL" clId="{EC6F0330-82A9-41CF-B362-FF4D91CC2FB4}" dt="2023-03-20T16:29:08.379" v="565" actId="478"/>
          <ac:spMkLst>
            <pc:docMk/>
            <pc:sldMk cId="3681582597" sldId="2147470008"/>
            <ac:spMk id="20" creationId="{13EE3F99-8380-7763-BA83-7CF4024CF3CC}"/>
          </ac:spMkLst>
        </pc:spChg>
        <pc:spChg chg="del">
          <ac:chgData name="Simone NERI" userId="2a00f2ad-68d9-45e6-b604-268bfad9cc5e" providerId="ADAL" clId="{EC6F0330-82A9-41CF-B362-FF4D91CC2FB4}" dt="2023-03-20T16:29:12.892" v="567" actId="478"/>
          <ac:spMkLst>
            <pc:docMk/>
            <pc:sldMk cId="3681582597" sldId="2147470008"/>
            <ac:spMk id="21" creationId="{2806116F-6F2D-1385-E97D-25A261E917CC}"/>
          </ac:spMkLst>
        </pc:spChg>
        <pc:spChg chg="del">
          <ac:chgData name="Simone NERI" userId="2a00f2ad-68d9-45e6-b604-268bfad9cc5e" providerId="ADAL" clId="{EC6F0330-82A9-41CF-B362-FF4D91CC2FB4}" dt="2023-03-20T16:29:08.379" v="565" actId="478"/>
          <ac:spMkLst>
            <pc:docMk/>
            <pc:sldMk cId="3681582597" sldId="2147470008"/>
            <ac:spMk id="22" creationId="{B58F78E0-5485-CB04-5B71-42CF98DDFEDC}"/>
          </ac:spMkLst>
        </pc:spChg>
        <pc:spChg chg="del">
          <ac:chgData name="Simone NERI" userId="2a00f2ad-68d9-45e6-b604-268bfad9cc5e" providerId="ADAL" clId="{EC6F0330-82A9-41CF-B362-FF4D91CC2FB4}" dt="2023-03-20T16:29:12.892" v="567" actId="478"/>
          <ac:spMkLst>
            <pc:docMk/>
            <pc:sldMk cId="3681582597" sldId="2147470008"/>
            <ac:spMk id="31" creationId="{405F34FB-112B-D9B2-6EC3-A4ED7F783C35}"/>
          </ac:spMkLst>
        </pc:spChg>
        <pc:spChg chg="del">
          <ac:chgData name="Simone NERI" userId="2a00f2ad-68d9-45e6-b604-268bfad9cc5e" providerId="ADAL" clId="{EC6F0330-82A9-41CF-B362-FF4D91CC2FB4}" dt="2023-03-20T16:29:12.892" v="567" actId="478"/>
          <ac:spMkLst>
            <pc:docMk/>
            <pc:sldMk cId="3681582597" sldId="2147470008"/>
            <ac:spMk id="32" creationId="{D87ED807-D69B-7F3C-2931-614001082529}"/>
          </ac:spMkLst>
        </pc:spChg>
        <pc:spChg chg="del">
          <ac:chgData name="Simone NERI" userId="2a00f2ad-68d9-45e6-b604-268bfad9cc5e" providerId="ADAL" clId="{EC6F0330-82A9-41CF-B362-FF4D91CC2FB4}" dt="2023-03-20T16:29:12.892" v="567" actId="478"/>
          <ac:spMkLst>
            <pc:docMk/>
            <pc:sldMk cId="3681582597" sldId="2147470008"/>
            <ac:spMk id="33" creationId="{E0CF212E-28AF-9982-0C26-8E76888A25EE}"/>
          </ac:spMkLst>
        </pc:spChg>
        <pc:spChg chg="del">
          <ac:chgData name="Simone NERI" userId="2a00f2ad-68d9-45e6-b604-268bfad9cc5e" providerId="ADAL" clId="{EC6F0330-82A9-41CF-B362-FF4D91CC2FB4}" dt="2023-03-20T16:29:12.892" v="567" actId="478"/>
          <ac:spMkLst>
            <pc:docMk/>
            <pc:sldMk cId="3681582597" sldId="2147470008"/>
            <ac:spMk id="34" creationId="{957B383E-53CF-7FA5-13B8-D53C4073A878}"/>
          </ac:spMkLst>
        </pc:spChg>
        <pc:spChg chg="del">
          <ac:chgData name="Simone NERI" userId="2a00f2ad-68d9-45e6-b604-268bfad9cc5e" providerId="ADAL" clId="{EC6F0330-82A9-41CF-B362-FF4D91CC2FB4}" dt="2023-03-20T16:29:12.892" v="567" actId="478"/>
          <ac:spMkLst>
            <pc:docMk/>
            <pc:sldMk cId="3681582597" sldId="2147470008"/>
            <ac:spMk id="35" creationId="{A1D2A6E9-9A53-78E5-9DE0-4B4AFF0A7351}"/>
          </ac:spMkLst>
        </pc:spChg>
        <pc:spChg chg="del">
          <ac:chgData name="Simone NERI" userId="2a00f2ad-68d9-45e6-b604-268bfad9cc5e" providerId="ADAL" clId="{EC6F0330-82A9-41CF-B362-FF4D91CC2FB4}" dt="2023-03-20T16:29:12.892" v="567" actId="478"/>
          <ac:spMkLst>
            <pc:docMk/>
            <pc:sldMk cId="3681582597" sldId="2147470008"/>
            <ac:spMk id="36" creationId="{A25C2952-F2CE-5BAC-075A-0EF54F2C0F20}"/>
          </ac:spMkLst>
        </pc:spChg>
        <pc:spChg chg="del">
          <ac:chgData name="Simone NERI" userId="2a00f2ad-68d9-45e6-b604-268bfad9cc5e" providerId="ADAL" clId="{EC6F0330-82A9-41CF-B362-FF4D91CC2FB4}" dt="2023-03-20T16:29:12.892" v="567" actId="478"/>
          <ac:spMkLst>
            <pc:docMk/>
            <pc:sldMk cId="3681582597" sldId="2147470008"/>
            <ac:spMk id="37" creationId="{396A7D0D-95A7-CED1-64F5-DF302CAC8062}"/>
          </ac:spMkLst>
        </pc:spChg>
        <pc:spChg chg="del">
          <ac:chgData name="Simone NERI" userId="2a00f2ad-68d9-45e6-b604-268bfad9cc5e" providerId="ADAL" clId="{EC6F0330-82A9-41CF-B362-FF4D91CC2FB4}" dt="2023-03-20T16:29:12.892" v="567" actId="478"/>
          <ac:spMkLst>
            <pc:docMk/>
            <pc:sldMk cId="3681582597" sldId="2147470008"/>
            <ac:spMk id="38" creationId="{C572C046-2020-CB04-745D-E0F351EBB6A9}"/>
          </ac:spMkLst>
        </pc:spChg>
        <pc:spChg chg="add del mod">
          <ac:chgData name="Simone NERI" userId="2a00f2ad-68d9-45e6-b604-268bfad9cc5e" providerId="ADAL" clId="{EC6F0330-82A9-41CF-B362-FF4D91CC2FB4}" dt="2023-03-20T16:31:07.648" v="575" actId="478"/>
          <ac:spMkLst>
            <pc:docMk/>
            <pc:sldMk cId="3681582597" sldId="2147470008"/>
            <ac:spMk id="39" creationId="{AE591753-D956-20D3-9F91-4534861B0EED}"/>
          </ac:spMkLst>
        </pc:spChg>
        <pc:spChg chg="add mod">
          <ac:chgData name="Simone NERI" userId="2a00f2ad-68d9-45e6-b604-268bfad9cc5e" providerId="ADAL" clId="{EC6F0330-82A9-41CF-B362-FF4D91CC2FB4}" dt="2023-03-20T16:30:40.127" v="572" actId="571"/>
          <ac:spMkLst>
            <pc:docMk/>
            <pc:sldMk cId="3681582597" sldId="2147470008"/>
            <ac:spMk id="40" creationId="{71A3CFC1-F6E9-5DCA-2E3B-F02C17577D06}"/>
          </ac:spMkLst>
        </pc:spChg>
        <pc:spChg chg="add mod">
          <ac:chgData name="Simone NERI" userId="2a00f2ad-68d9-45e6-b604-268bfad9cc5e" providerId="ADAL" clId="{EC6F0330-82A9-41CF-B362-FF4D91CC2FB4}" dt="2023-03-20T16:30:43.344" v="573" actId="571"/>
          <ac:spMkLst>
            <pc:docMk/>
            <pc:sldMk cId="3681582597" sldId="2147470008"/>
            <ac:spMk id="41" creationId="{A4DBF431-F95F-E3B8-2834-6CFB5F5D6D23}"/>
          </ac:spMkLst>
        </pc:spChg>
        <pc:spChg chg="add del mod">
          <ac:chgData name="Simone NERI" userId="2a00f2ad-68d9-45e6-b604-268bfad9cc5e" providerId="ADAL" clId="{EC6F0330-82A9-41CF-B362-FF4D91CC2FB4}" dt="2023-03-20T16:31:09.141" v="576" actId="478"/>
          <ac:spMkLst>
            <pc:docMk/>
            <pc:sldMk cId="3681582597" sldId="2147470008"/>
            <ac:spMk id="42" creationId="{1CC2BF5B-3AD1-7CD7-25A3-EDF9529215C1}"/>
          </ac:spMkLst>
        </pc:spChg>
        <pc:spChg chg="del">
          <ac:chgData name="Simone NERI" userId="2a00f2ad-68d9-45e6-b604-268bfad9cc5e" providerId="ADAL" clId="{EC6F0330-82A9-41CF-B362-FF4D91CC2FB4}" dt="2023-03-20T16:29:12.892" v="567" actId="478"/>
          <ac:spMkLst>
            <pc:docMk/>
            <pc:sldMk cId="3681582597" sldId="2147470008"/>
            <ac:spMk id="43" creationId="{A2E89265-A832-44BC-DB37-CB056035C8A7}"/>
          </ac:spMkLst>
        </pc:spChg>
        <pc:grpChg chg="add mod">
          <ac:chgData name="Simone NERI" userId="2a00f2ad-68d9-45e6-b604-268bfad9cc5e" providerId="ADAL" clId="{EC6F0330-82A9-41CF-B362-FF4D91CC2FB4}" dt="2023-03-20T16:29:27.980" v="569" actId="1076"/>
          <ac:grpSpMkLst>
            <pc:docMk/>
            <pc:sldMk cId="3681582597" sldId="2147470008"/>
            <ac:grpSpMk id="8" creationId="{F5A274C5-E874-65EB-6093-E1A5AF1315BC}"/>
          </ac:grpSpMkLst>
        </pc:grpChg>
        <pc:graphicFrameChg chg="del">
          <ac:chgData name="Simone NERI" userId="2a00f2ad-68d9-45e6-b604-268bfad9cc5e" providerId="ADAL" clId="{EC6F0330-82A9-41CF-B362-FF4D91CC2FB4}" dt="2023-03-20T16:29:08.379" v="565" actId="478"/>
          <ac:graphicFrameMkLst>
            <pc:docMk/>
            <pc:sldMk cId="3681582597" sldId="2147470008"/>
            <ac:graphicFrameMk id="4" creationId="{47035697-1F52-1231-AB96-78ECCB31EB51}"/>
          </ac:graphicFrameMkLst>
        </pc:graphicFrameChg>
        <pc:graphicFrameChg chg="del">
          <ac:chgData name="Simone NERI" userId="2a00f2ad-68d9-45e6-b604-268bfad9cc5e" providerId="ADAL" clId="{EC6F0330-82A9-41CF-B362-FF4D91CC2FB4}" dt="2023-03-20T16:29:08.379" v="565" actId="478"/>
          <ac:graphicFrameMkLst>
            <pc:docMk/>
            <pc:sldMk cId="3681582597" sldId="2147470008"/>
            <ac:graphicFrameMk id="19" creationId="{918C2788-4FB2-A160-8567-038F4488845F}"/>
          </ac:graphicFrameMkLst>
        </pc:graphicFrameChg>
        <pc:picChg chg="del">
          <ac:chgData name="Simone NERI" userId="2a00f2ad-68d9-45e6-b604-268bfad9cc5e" providerId="ADAL" clId="{EC6F0330-82A9-41CF-B362-FF4D91CC2FB4}" dt="2023-03-20T16:29:09.704" v="566" actId="478"/>
          <ac:picMkLst>
            <pc:docMk/>
            <pc:sldMk cId="3681582597" sldId="2147470008"/>
            <ac:picMk id="5" creationId="{D8F62F83-9D86-C152-6404-F498DBF43561}"/>
          </ac:picMkLst>
        </pc:picChg>
        <pc:picChg chg="add mod">
          <ac:chgData name="Simone NERI" userId="2a00f2ad-68d9-45e6-b604-268bfad9cc5e" providerId="ADAL" clId="{EC6F0330-82A9-41CF-B362-FF4D91CC2FB4}" dt="2023-03-20T16:29:27.980" v="569" actId="1076"/>
          <ac:picMkLst>
            <pc:docMk/>
            <pc:sldMk cId="3681582597" sldId="2147470008"/>
            <ac:picMk id="18" creationId="{99C9C4D0-CF08-FD6E-EC42-4B1FD3C04062}"/>
          </ac:picMkLst>
        </pc:picChg>
        <pc:picChg chg="add mod">
          <ac:chgData name="Simone NERI" userId="2a00f2ad-68d9-45e6-b604-268bfad9cc5e" providerId="ADAL" clId="{EC6F0330-82A9-41CF-B362-FF4D91CC2FB4}" dt="2023-03-20T16:29:27.980" v="569" actId="1076"/>
          <ac:picMkLst>
            <pc:docMk/>
            <pc:sldMk cId="3681582597" sldId="2147470008"/>
            <ac:picMk id="27" creationId="{5E656671-9E62-3916-45AF-78EAC2FE77E6}"/>
          </ac:picMkLst>
        </pc:picChg>
        <pc:picChg chg="add mod">
          <ac:chgData name="Simone NERI" userId="2a00f2ad-68d9-45e6-b604-268bfad9cc5e" providerId="ADAL" clId="{EC6F0330-82A9-41CF-B362-FF4D91CC2FB4}" dt="2023-03-20T16:29:27.980" v="569" actId="1076"/>
          <ac:picMkLst>
            <pc:docMk/>
            <pc:sldMk cId="3681582597" sldId="2147470008"/>
            <ac:picMk id="28" creationId="{F9D45798-D534-C6B6-9EA5-B9746FEDE260}"/>
          </ac:picMkLst>
        </pc:picChg>
        <pc:picChg chg="add mod">
          <ac:chgData name="Simone NERI" userId="2a00f2ad-68d9-45e6-b604-268bfad9cc5e" providerId="ADAL" clId="{EC6F0330-82A9-41CF-B362-FF4D91CC2FB4}" dt="2023-03-20T16:29:27.980" v="569" actId="1076"/>
          <ac:picMkLst>
            <pc:docMk/>
            <pc:sldMk cId="3681582597" sldId="2147470008"/>
            <ac:picMk id="29" creationId="{9BD9577E-A386-C715-B79D-9490ECFEC550}"/>
          </ac:picMkLst>
        </pc:picChg>
        <pc:picChg chg="add mod">
          <ac:chgData name="Simone NERI" userId="2a00f2ad-68d9-45e6-b604-268bfad9cc5e" providerId="ADAL" clId="{EC6F0330-82A9-41CF-B362-FF4D91CC2FB4}" dt="2023-03-20T16:29:27.980" v="569" actId="1076"/>
          <ac:picMkLst>
            <pc:docMk/>
            <pc:sldMk cId="3681582597" sldId="2147470008"/>
            <ac:picMk id="30" creationId="{2B1AA6EC-F80F-D151-8948-7FEA28679D09}"/>
          </ac:picMkLst>
        </pc:picChg>
        <pc:picChg chg="del">
          <ac:chgData name="Simone NERI" userId="2a00f2ad-68d9-45e6-b604-268bfad9cc5e" providerId="ADAL" clId="{EC6F0330-82A9-41CF-B362-FF4D91CC2FB4}" dt="2023-03-20T16:29:12.892" v="567" actId="478"/>
          <ac:picMkLst>
            <pc:docMk/>
            <pc:sldMk cId="3681582597" sldId="2147470008"/>
            <ac:picMk id="45" creationId="{33D684BD-1708-7137-BEC5-721AE2399D4B}"/>
          </ac:picMkLst>
        </pc:picChg>
        <pc:picChg chg="del">
          <ac:chgData name="Simone NERI" userId="2a00f2ad-68d9-45e6-b604-268bfad9cc5e" providerId="ADAL" clId="{EC6F0330-82A9-41CF-B362-FF4D91CC2FB4}" dt="2023-03-20T16:29:12.892" v="567" actId="478"/>
          <ac:picMkLst>
            <pc:docMk/>
            <pc:sldMk cId="3681582597" sldId="2147470008"/>
            <ac:picMk id="62" creationId="{8A997064-A2E9-A495-EF0A-EFBA629C805A}"/>
          </ac:picMkLst>
        </pc:picChg>
        <pc:picChg chg="del">
          <ac:chgData name="Simone NERI" userId="2a00f2ad-68d9-45e6-b604-268bfad9cc5e" providerId="ADAL" clId="{EC6F0330-82A9-41CF-B362-FF4D91CC2FB4}" dt="2023-03-20T16:29:12.892" v="567" actId="478"/>
          <ac:picMkLst>
            <pc:docMk/>
            <pc:sldMk cId="3681582597" sldId="2147470008"/>
            <ac:picMk id="64" creationId="{A3E1E93F-3162-B40F-4022-004BAEAD13EB}"/>
          </ac:picMkLst>
        </pc:picChg>
        <pc:picChg chg="del">
          <ac:chgData name="Simone NERI" userId="2a00f2ad-68d9-45e6-b604-268bfad9cc5e" providerId="ADAL" clId="{EC6F0330-82A9-41CF-B362-FF4D91CC2FB4}" dt="2023-03-20T16:29:12.892" v="567" actId="478"/>
          <ac:picMkLst>
            <pc:docMk/>
            <pc:sldMk cId="3681582597" sldId="2147470008"/>
            <ac:picMk id="66" creationId="{26DF453C-2C6B-5283-5FCA-CB98423EBFE2}"/>
          </ac:picMkLst>
        </pc:picChg>
        <pc:picChg chg="del">
          <ac:chgData name="Simone NERI" userId="2a00f2ad-68d9-45e6-b604-268bfad9cc5e" providerId="ADAL" clId="{EC6F0330-82A9-41CF-B362-FF4D91CC2FB4}" dt="2023-03-20T16:29:12.892" v="567" actId="478"/>
          <ac:picMkLst>
            <pc:docMk/>
            <pc:sldMk cId="3681582597" sldId="2147470008"/>
            <ac:picMk id="68" creationId="{67A26C82-8AF7-1439-10E9-B367D279D3BC}"/>
          </ac:picMkLst>
        </pc:picChg>
        <pc:cxnChg chg="add mod">
          <ac:chgData name="Simone NERI" userId="2a00f2ad-68d9-45e6-b604-268bfad9cc5e" providerId="ADAL" clId="{EC6F0330-82A9-41CF-B362-FF4D91CC2FB4}" dt="2023-03-20T16:29:27.980" v="569" actId="1076"/>
          <ac:cxnSpMkLst>
            <pc:docMk/>
            <pc:sldMk cId="3681582597" sldId="2147470008"/>
            <ac:cxnSpMk id="23" creationId="{284DB7CB-7FB7-F98B-82FC-CE52E154587D}"/>
          </ac:cxnSpMkLst>
        </pc:cxnChg>
        <pc:cxnChg chg="add mod">
          <ac:chgData name="Simone NERI" userId="2a00f2ad-68d9-45e6-b604-268bfad9cc5e" providerId="ADAL" clId="{EC6F0330-82A9-41CF-B362-FF4D91CC2FB4}" dt="2023-03-20T16:29:27.980" v="569" actId="1076"/>
          <ac:cxnSpMkLst>
            <pc:docMk/>
            <pc:sldMk cId="3681582597" sldId="2147470008"/>
            <ac:cxnSpMk id="24" creationId="{468B5450-1198-9DBD-97DD-9366856F84AD}"/>
          </ac:cxnSpMkLst>
        </pc:cxnChg>
        <pc:cxnChg chg="add mod">
          <ac:chgData name="Simone NERI" userId="2a00f2ad-68d9-45e6-b604-268bfad9cc5e" providerId="ADAL" clId="{EC6F0330-82A9-41CF-B362-FF4D91CC2FB4}" dt="2023-03-20T16:29:27.980" v="569" actId="1076"/>
          <ac:cxnSpMkLst>
            <pc:docMk/>
            <pc:sldMk cId="3681582597" sldId="2147470008"/>
            <ac:cxnSpMk id="25" creationId="{DD095C7B-AD2B-9BB6-956D-BA2BE93DECA4}"/>
          </ac:cxnSpMkLst>
        </pc:cxnChg>
        <pc:cxnChg chg="add mod">
          <ac:chgData name="Simone NERI" userId="2a00f2ad-68d9-45e6-b604-268bfad9cc5e" providerId="ADAL" clId="{EC6F0330-82A9-41CF-B362-FF4D91CC2FB4}" dt="2023-03-20T16:29:27.980" v="569" actId="1076"/>
          <ac:cxnSpMkLst>
            <pc:docMk/>
            <pc:sldMk cId="3681582597" sldId="2147470008"/>
            <ac:cxnSpMk id="26" creationId="{C9944B73-9078-B423-DEDB-6689021D0E6E}"/>
          </ac:cxnSpMkLst>
        </pc:cxnChg>
        <pc:cxnChg chg="del">
          <ac:chgData name="Simone NERI" userId="2a00f2ad-68d9-45e6-b604-268bfad9cc5e" providerId="ADAL" clId="{EC6F0330-82A9-41CF-B362-FF4D91CC2FB4}" dt="2023-03-20T16:29:12.892" v="567" actId="478"/>
          <ac:cxnSpMkLst>
            <pc:docMk/>
            <pc:sldMk cId="3681582597" sldId="2147470008"/>
            <ac:cxnSpMk id="47" creationId="{CA6E44B2-D37D-8819-0722-4D4086D8D4B2}"/>
          </ac:cxnSpMkLst>
        </pc:cxnChg>
        <pc:cxnChg chg="del">
          <ac:chgData name="Simone NERI" userId="2a00f2ad-68d9-45e6-b604-268bfad9cc5e" providerId="ADAL" clId="{EC6F0330-82A9-41CF-B362-FF4D91CC2FB4}" dt="2023-03-20T16:29:12.892" v="567" actId="478"/>
          <ac:cxnSpMkLst>
            <pc:docMk/>
            <pc:sldMk cId="3681582597" sldId="2147470008"/>
            <ac:cxnSpMk id="48" creationId="{6EA0C923-8FE3-5E3B-CFB0-635B999341EE}"/>
          </ac:cxnSpMkLst>
        </pc:cxnChg>
        <pc:cxnChg chg="del">
          <ac:chgData name="Simone NERI" userId="2a00f2ad-68d9-45e6-b604-268bfad9cc5e" providerId="ADAL" clId="{EC6F0330-82A9-41CF-B362-FF4D91CC2FB4}" dt="2023-03-20T16:29:12.892" v="567" actId="478"/>
          <ac:cxnSpMkLst>
            <pc:docMk/>
            <pc:sldMk cId="3681582597" sldId="2147470008"/>
            <ac:cxnSpMk id="49" creationId="{E1F3793B-9C12-7FE2-172F-2D71D423035A}"/>
          </ac:cxnSpMkLst>
        </pc:cxnChg>
        <pc:cxnChg chg="del">
          <ac:chgData name="Simone NERI" userId="2a00f2ad-68d9-45e6-b604-268bfad9cc5e" providerId="ADAL" clId="{EC6F0330-82A9-41CF-B362-FF4D91CC2FB4}" dt="2023-03-20T16:29:12.892" v="567" actId="478"/>
          <ac:cxnSpMkLst>
            <pc:docMk/>
            <pc:sldMk cId="3681582597" sldId="2147470008"/>
            <ac:cxnSpMk id="50" creationId="{09D14A5C-5A65-7065-01DA-B9EC42C4453C}"/>
          </ac:cxnSpMkLst>
        </pc:cxnChg>
      </pc:sldChg>
      <pc:sldChg chg="add del">
        <pc:chgData name="Simone NERI" userId="2a00f2ad-68d9-45e6-b604-268bfad9cc5e" providerId="ADAL" clId="{EC6F0330-82A9-41CF-B362-FF4D91CC2FB4}" dt="2023-03-20T16:56:16.293" v="788" actId="47"/>
        <pc:sldMkLst>
          <pc:docMk/>
          <pc:sldMk cId="3048608208" sldId="2147470009"/>
        </pc:sldMkLst>
      </pc:sldChg>
      <pc:sldChg chg="del">
        <pc:chgData name="Simone NERI" userId="2a00f2ad-68d9-45e6-b604-268bfad9cc5e" providerId="ADAL" clId="{EC6F0330-82A9-41CF-B362-FF4D91CC2FB4}" dt="2023-03-20T21:01:18.558" v="1026" actId="47"/>
        <pc:sldMkLst>
          <pc:docMk/>
          <pc:sldMk cId="3923171717" sldId="2147470009"/>
        </pc:sldMkLst>
      </pc:sldChg>
      <pc:sldChg chg="modSp mod">
        <pc:chgData name="Simone NERI" userId="2a00f2ad-68d9-45e6-b604-268bfad9cc5e" providerId="ADAL" clId="{EC6F0330-82A9-41CF-B362-FF4D91CC2FB4}" dt="2023-03-20T20:54:07.053" v="1024" actId="1037"/>
        <pc:sldMkLst>
          <pc:docMk/>
          <pc:sldMk cId="3135886888" sldId="2147470013"/>
        </pc:sldMkLst>
        <pc:spChg chg="mod">
          <ac:chgData name="Simone NERI" userId="2a00f2ad-68d9-45e6-b604-268bfad9cc5e" providerId="ADAL" clId="{EC6F0330-82A9-41CF-B362-FF4D91CC2FB4}" dt="2023-03-20T20:54:07.053" v="1024" actId="1037"/>
          <ac:spMkLst>
            <pc:docMk/>
            <pc:sldMk cId="3135886888" sldId="2147470013"/>
            <ac:spMk id="3" creationId="{D346C06B-E16C-6F24-EEC2-C8BCC622F0C3}"/>
          </ac:spMkLst>
        </pc:spChg>
        <pc:spChg chg="mod">
          <ac:chgData name="Simone NERI" userId="2a00f2ad-68d9-45e6-b604-268bfad9cc5e" providerId="ADAL" clId="{EC6F0330-82A9-41CF-B362-FF4D91CC2FB4}" dt="2023-03-20T20:49:41.911" v="1018" actId="2711"/>
          <ac:spMkLst>
            <pc:docMk/>
            <pc:sldMk cId="3135886888" sldId="2147470013"/>
            <ac:spMk id="4" creationId="{D6DD8018-3588-1364-4BE8-4D6D2C939839}"/>
          </ac:spMkLst>
        </pc:spChg>
        <pc:spChg chg="mod">
          <ac:chgData name="Simone NERI" userId="2a00f2ad-68d9-45e6-b604-268bfad9cc5e" providerId="ADAL" clId="{EC6F0330-82A9-41CF-B362-FF4D91CC2FB4}" dt="2023-03-20T20:49:41.911" v="1018" actId="2711"/>
          <ac:spMkLst>
            <pc:docMk/>
            <pc:sldMk cId="3135886888" sldId="2147470013"/>
            <ac:spMk id="6" creationId="{3655B0AE-143E-4B44-090E-E5F2E4F16D55}"/>
          </ac:spMkLst>
        </pc:spChg>
        <pc:spChg chg="mod">
          <ac:chgData name="Simone NERI" userId="2a00f2ad-68d9-45e6-b604-268bfad9cc5e" providerId="ADAL" clId="{EC6F0330-82A9-41CF-B362-FF4D91CC2FB4}" dt="2023-03-20T20:45:28.229" v="966" actId="1037"/>
          <ac:spMkLst>
            <pc:docMk/>
            <pc:sldMk cId="3135886888" sldId="2147470013"/>
            <ac:spMk id="7" creationId="{E0219AF7-485E-09B4-A5B0-BE7399CA6115}"/>
          </ac:spMkLst>
        </pc:spChg>
        <pc:spChg chg="mod">
          <ac:chgData name="Simone NERI" userId="2a00f2ad-68d9-45e6-b604-268bfad9cc5e" providerId="ADAL" clId="{EC6F0330-82A9-41CF-B362-FF4D91CC2FB4}" dt="2023-03-20T20:45:28.229" v="966" actId="1037"/>
          <ac:spMkLst>
            <pc:docMk/>
            <pc:sldMk cId="3135886888" sldId="2147470013"/>
            <ac:spMk id="13" creationId="{16F8E287-F544-B77C-BAD7-DA33F9C93088}"/>
          </ac:spMkLst>
        </pc:spChg>
        <pc:spChg chg="mod">
          <ac:chgData name="Simone NERI" userId="2a00f2ad-68d9-45e6-b604-268bfad9cc5e" providerId="ADAL" clId="{EC6F0330-82A9-41CF-B362-FF4D91CC2FB4}" dt="2023-03-20T20:45:28.229" v="966" actId="1037"/>
          <ac:spMkLst>
            <pc:docMk/>
            <pc:sldMk cId="3135886888" sldId="2147470013"/>
            <ac:spMk id="14" creationId="{883FEA16-2A87-A061-7730-83F6775898DF}"/>
          </ac:spMkLst>
        </pc:spChg>
        <pc:spChg chg="mod">
          <ac:chgData name="Simone NERI" userId="2a00f2ad-68d9-45e6-b604-268bfad9cc5e" providerId="ADAL" clId="{EC6F0330-82A9-41CF-B362-FF4D91CC2FB4}" dt="2023-03-20T20:45:28.229" v="966" actId="1037"/>
          <ac:spMkLst>
            <pc:docMk/>
            <pc:sldMk cId="3135886888" sldId="2147470013"/>
            <ac:spMk id="15" creationId="{79BC4F5E-D898-5860-6C7B-78D7E87E47E1}"/>
          </ac:spMkLst>
        </pc:spChg>
        <pc:spChg chg="mod">
          <ac:chgData name="Simone NERI" userId="2a00f2ad-68d9-45e6-b604-268bfad9cc5e" providerId="ADAL" clId="{EC6F0330-82A9-41CF-B362-FF4D91CC2FB4}" dt="2023-03-20T20:45:28.229" v="966" actId="1037"/>
          <ac:spMkLst>
            <pc:docMk/>
            <pc:sldMk cId="3135886888" sldId="2147470013"/>
            <ac:spMk id="16" creationId="{A2ACE051-848A-6C3C-DE5C-485B880B8072}"/>
          </ac:spMkLst>
        </pc:spChg>
        <pc:spChg chg="mod">
          <ac:chgData name="Simone NERI" userId="2a00f2ad-68d9-45e6-b604-268bfad9cc5e" providerId="ADAL" clId="{EC6F0330-82A9-41CF-B362-FF4D91CC2FB4}" dt="2023-03-20T20:45:28.229" v="966" actId="1037"/>
          <ac:spMkLst>
            <pc:docMk/>
            <pc:sldMk cId="3135886888" sldId="2147470013"/>
            <ac:spMk id="17" creationId="{6D77FAD0-7628-0C82-8616-20D6DA6C59B3}"/>
          </ac:spMkLst>
        </pc:spChg>
        <pc:spChg chg="mod">
          <ac:chgData name="Simone NERI" userId="2a00f2ad-68d9-45e6-b604-268bfad9cc5e" providerId="ADAL" clId="{EC6F0330-82A9-41CF-B362-FF4D91CC2FB4}" dt="2023-03-20T20:49:41.911" v="1018" actId="2711"/>
          <ac:spMkLst>
            <pc:docMk/>
            <pc:sldMk cId="3135886888" sldId="2147470013"/>
            <ac:spMk id="19" creationId="{06375281-7A39-0C01-D2B6-A0784ABD7EE4}"/>
          </ac:spMkLst>
        </pc:spChg>
        <pc:spChg chg="mod">
          <ac:chgData name="Simone NERI" userId="2a00f2ad-68d9-45e6-b604-268bfad9cc5e" providerId="ADAL" clId="{EC6F0330-82A9-41CF-B362-FF4D91CC2FB4}" dt="2023-03-20T20:49:41.911" v="1018" actId="2711"/>
          <ac:spMkLst>
            <pc:docMk/>
            <pc:sldMk cId="3135886888" sldId="2147470013"/>
            <ac:spMk id="20" creationId="{8BD59BBF-AB17-077C-FFE9-B638E6B8F0C3}"/>
          </ac:spMkLst>
        </pc:spChg>
        <pc:spChg chg="mod">
          <ac:chgData name="Simone NERI" userId="2a00f2ad-68d9-45e6-b604-268bfad9cc5e" providerId="ADAL" clId="{EC6F0330-82A9-41CF-B362-FF4D91CC2FB4}" dt="2023-03-20T20:49:41.911" v="1018" actId="2711"/>
          <ac:spMkLst>
            <pc:docMk/>
            <pc:sldMk cId="3135886888" sldId="2147470013"/>
            <ac:spMk id="21" creationId="{6BC299F5-985F-827E-0FD3-AEE1F2FFC60A}"/>
          </ac:spMkLst>
        </pc:spChg>
        <pc:spChg chg="mod">
          <ac:chgData name="Simone NERI" userId="2a00f2ad-68d9-45e6-b604-268bfad9cc5e" providerId="ADAL" clId="{EC6F0330-82A9-41CF-B362-FF4D91CC2FB4}" dt="2023-03-20T20:49:41.911" v="1018" actId="2711"/>
          <ac:spMkLst>
            <pc:docMk/>
            <pc:sldMk cId="3135886888" sldId="2147470013"/>
            <ac:spMk id="22" creationId="{6D192ED4-A945-36F6-14CC-113D632DC07F}"/>
          </ac:spMkLst>
        </pc:spChg>
        <pc:spChg chg="mod">
          <ac:chgData name="Simone NERI" userId="2a00f2ad-68d9-45e6-b604-268bfad9cc5e" providerId="ADAL" clId="{EC6F0330-82A9-41CF-B362-FF4D91CC2FB4}" dt="2023-03-20T20:49:41.911" v="1018" actId="2711"/>
          <ac:spMkLst>
            <pc:docMk/>
            <pc:sldMk cId="3135886888" sldId="2147470013"/>
            <ac:spMk id="31" creationId="{5BD48A0E-9965-A997-954F-6EA156E23022}"/>
          </ac:spMkLst>
        </pc:spChg>
        <pc:spChg chg="mod">
          <ac:chgData name="Simone NERI" userId="2a00f2ad-68d9-45e6-b604-268bfad9cc5e" providerId="ADAL" clId="{EC6F0330-82A9-41CF-B362-FF4D91CC2FB4}" dt="2023-03-20T20:49:41.911" v="1018" actId="2711"/>
          <ac:spMkLst>
            <pc:docMk/>
            <pc:sldMk cId="3135886888" sldId="2147470013"/>
            <ac:spMk id="50" creationId="{0ACB4FB7-B568-B9E3-375F-A2A73E3CDD18}"/>
          </ac:spMkLst>
        </pc:spChg>
        <pc:spChg chg="mod">
          <ac:chgData name="Simone NERI" userId="2a00f2ad-68d9-45e6-b604-268bfad9cc5e" providerId="ADAL" clId="{EC6F0330-82A9-41CF-B362-FF4D91CC2FB4}" dt="2023-03-20T20:54:01.749" v="1019" actId="14100"/>
          <ac:spMkLst>
            <pc:docMk/>
            <pc:sldMk cId="3135886888" sldId="2147470013"/>
            <ac:spMk id="51" creationId="{E75ED240-FCDC-08B5-DEDD-583498EA288C}"/>
          </ac:spMkLst>
        </pc:spChg>
        <pc:grpChg chg="mod">
          <ac:chgData name="Simone NERI" userId="2a00f2ad-68d9-45e6-b604-268bfad9cc5e" providerId="ADAL" clId="{EC6F0330-82A9-41CF-B362-FF4D91CC2FB4}" dt="2023-03-20T20:45:28.229" v="966" actId="1037"/>
          <ac:grpSpMkLst>
            <pc:docMk/>
            <pc:sldMk cId="3135886888" sldId="2147470013"/>
            <ac:grpSpMk id="8" creationId="{F5A274C5-E874-65EB-6093-E1A5AF1315BC}"/>
          </ac:grpSpMkLst>
        </pc:grpChg>
        <pc:graphicFrameChg chg="mod modGraphic">
          <ac:chgData name="Simone NERI" userId="2a00f2ad-68d9-45e6-b604-268bfad9cc5e" providerId="ADAL" clId="{EC6F0330-82A9-41CF-B362-FF4D91CC2FB4}" dt="2023-03-20T20:49:06.491" v="1015" actId="20577"/>
          <ac:graphicFrameMkLst>
            <pc:docMk/>
            <pc:sldMk cId="3135886888" sldId="2147470013"/>
            <ac:graphicFrameMk id="49" creationId="{35D71AD9-8FD7-BE74-5FA3-5F309C32FCD6}"/>
          </ac:graphicFrameMkLst>
        </pc:graphicFrameChg>
        <pc:picChg chg="mod">
          <ac:chgData name="Simone NERI" userId="2a00f2ad-68d9-45e6-b604-268bfad9cc5e" providerId="ADAL" clId="{EC6F0330-82A9-41CF-B362-FF4D91CC2FB4}" dt="2023-03-20T20:45:28.229" v="966" actId="1037"/>
          <ac:picMkLst>
            <pc:docMk/>
            <pc:sldMk cId="3135886888" sldId="2147470013"/>
            <ac:picMk id="18" creationId="{99C9C4D0-CF08-FD6E-EC42-4B1FD3C04062}"/>
          </ac:picMkLst>
        </pc:picChg>
        <pc:picChg chg="mod">
          <ac:chgData name="Simone NERI" userId="2a00f2ad-68d9-45e6-b604-268bfad9cc5e" providerId="ADAL" clId="{EC6F0330-82A9-41CF-B362-FF4D91CC2FB4}" dt="2023-03-20T20:45:28.229" v="966" actId="1037"/>
          <ac:picMkLst>
            <pc:docMk/>
            <pc:sldMk cId="3135886888" sldId="2147470013"/>
            <ac:picMk id="27" creationId="{5E656671-9E62-3916-45AF-78EAC2FE77E6}"/>
          </ac:picMkLst>
        </pc:picChg>
        <pc:picChg chg="mod">
          <ac:chgData name="Simone NERI" userId="2a00f2ad-68d9-45e6-b604-268bfad9cc5e" providerId="ADAL" clId="{EC6F0330-82A9-41CF-B362-FF4D91CC2FB4}" dt="2023-03-20T20:45:28.229" v="966" actId="1037"/>
          <ac:picMkLst>
            <pc:docMk/>
            <pc:sldMk cId="3135886888" sldId="2147470013"/>
            <ac:picMk id="28" creationId="{F9D45798-D534-C6B6-9EA5-B9746FEDE260}"/>
          </ac:picMkLst>
        </pc:picChg>
        <pc:picChg chg="mod">
          <ac:chgData name="Simone NERI" userId="2a00f2ad-68d9-45e6-b604-268bfad9cc5e" providerId="ADAL" clId="{EC6F0330-82A9-41CF-B362-FF4D91CC2FB4}" dt="2023-03-20T20:45:28.229" v="966" actId="1037"/>
          <ac:picMkLst>
            <pc:docMk/>
            <pc:sldMk cId="3135886888" sldId="2147470013"/>
            <ac:picMk id="29" creationId="{9BD9577E-A386-C715-B79D-9490ECFEC550}"/>
          </ac:picMkLst>
        </pc:picChg>
        <pc:picChg chg="mod">
          <ac:chgData name="Simone NERI" userId="2a00f2ad-68d9-45e6-b604-268bfad9cc5e" providerId="ADAL" clId="{EC6F0330-82A9-41CF-B362-FF4D91CC2FB4}" dt="2023-03-20T20:45:28.229" v="966" actId="1037"/>
          <ac:picMkLst>
            <pc:docMk/>
            <pc:sldMk cId="3135886888" sldId="2147470013"/>
            <ac:picMk id="30" creationId="{2B1AA6EC-F80F-D151-8948-7FEA28679D09}"/>
          </ac:picMkLst>
        </pc:picChg>
        <pc:cxnChg chg="mod">
          <ac:chgData name="Simone NERI" userId="2a00f2ad-68d9-45e6-b604-268bfad9cc5e" providerId="ADAL" clId="{EC6F0330-82A9-41CF-B362-FF4D91CC2FB4}" dt="2023-03-20T20:45:28.229" v="966" actId="1037"/>
          <ac:cxnSpMkLst>
            <pc:docMk/>
            <pc:sldMk cId="3135886888" sldId="2147470013"/>
            <ac:cxnSpMk id="23" creationId="{284DB7CB-7FB7-F98B-82FC-CE52E154587D}"/>
          </ac:cxnSpMkLst>
        </pc:cxnChg>
        <pc:cxnChg chg="mod">
          <ac:chgData name="Simone NERI" userId="2a00f2ad-68d9-45e6-b604-268bfad9cc5e" providerId="ADAL" clId="{EC6F0330-82A9-41CF-B362-FF4D91CC2FB4}" dt="2023-03-20T20:45:28.229" v="966" actId="1037"/>
          <ac:cxnSpMkLst>
            <pc:docMk/>
            <pc:sldMk cId="3135886888" sldId="2147470013"/>
            <ac:cxnSpMk id="24" creationId="{468B5450-1198-9DBD-97DD-9366856F84AD}"/>
          </ac:cxnSpMkLst>
        </pc:cxnChg>
        <pc:cxnChg chg="mod">
          <ac:chgData name="Simone NERI" userId="2a00f2ad-68d9-45e6-b604-268bfad9cc5e" providerId="ADAL" clId="{EC6F0330-82A9-41CF-B362-FF4D91CC2FB4}" dt="2023-03-20T20:45:28.229" v="966" actId="1037"/>
          <ac:cxnSpMkLst>
            <pc:docMk/>
            <pc:sldMk cId="3135886888" sldId="2147470013"/>
            <ac:cxnSpMk id="25" creationId="{DD095C7B-AD2B-9BB6-956D-BA2BE93DECA4}"/>
          </ac:cxnSpMkLst>
        </pc:cxnChg>
        <pc:cxnChg chg="mod">
          <ac:chgData name="Simone NERI" userId="2a00f2ad-68d9-45e6-b604-268bfad9cc5e" providerId="ADAL" clId="{EC6F0330-82A9-41CF-B362-FF4D91CC2FB4}" dt="2023-03-20T20:45:28.229" v="966" actId="1037"/>
          <ac:cxnSpMkLst>
            <pc:docMk/>
            <pc:sldMk cId="3135886888" sldId="2147470013"/>
            <ac:cxnSpMk id="26" creationId="{C9944B73-9078-B423-DEDB-6689021D0E6E}"/>
          </ac:cxnSpMkLst>
        </pc:cxnChg>
      </pc:sldChg>
    </pc:docChg>
  </pc:docChgLst>
  <pc:docChgLst>
    <pc:chgData name="Kawtar SADIQ" userId="65df04e4-2d23-4bab-afb0-40df8a2c1b9f" providerId="ADAL" clId="{FE254249-F53D-4103-B6AD-FA88210A9928}"/>
    <pc:docChg chg="undo custSel addSld delSld modSld sldOrd addSection modSection">
      <pc:chgData name="Kawtar SADIQ" userId="65df04e4-2d23-4bab-afb0-40df8a2c1b9f" providerId="ADAL" clId="{FE254249-F53D-4103-B6AD-FA88210A9928}" dt="2022-12-14T16:57:46.250" v="353" actId="1076"/>
      <pc:docMkLst>
        <pc:docMk/>
      </pc:docMkLst>
      <pc:sldChg chg="addSp modSp mod">
        <pc:chgData name="Kawtar SADIQ" userId="65df04e4-2d23-4bab-afb0-40df8a2c1b9f" providerId="ADAL" clId="{FE254249-F53D-4103-B6AD-FA88210A9928}" dt="2022-12-14T16:57:46.250" v="353" actId="1076"/>
        <pc:sldMkLst>
          <pc:docMk/>
          <pc:sldMk cId="416665568" sldId="2076138132"/>
        </pc:sldMkLst>
        <pc:spChg chg="add mod">
          <ac:chgData name="Kawtar SADIQ" userId="65df04e4-2d23-4bab-afb0-40df8a2c1b9f" providerId="ADAL" clId="{FE254249-F53D-4103-B6AD-FA88210A9928}" dt="2022-12-14T16:57:46.250" v="353" actId="1076"/>
          <ac:spMkLst>
            <pc:docMk/>
            <pc:sldMk cId="416665568" sldId="2076138132"/>
            <ac:spMk id="4" creationId="{E20769A7-AB3C-4458-8AD3-0F3611F0858B}"/>
          </ac:spMkLst>
        </pc:spChg>
        <pc:graphicFrameChg chg="mod modGraphic">
          <ac:chgData name="Kawtar SADIQ" userId="65df04e4-2d23-4bab-afb0-40df8a2c1b9f" providerId="ADAL" clId="{FE254249-F53D-4103-B6AD-FA88210A9928}" dt="2022-12-14T16:48:10.584" v="274"/>
          <ac:graphicFrameMkLst>
            <pc:docMk/>
            <pc:sldMk cId="416665568" sldId="2076138132"/>
            <ac:graphicFrameMk id="5" creationId="{A256E0CB-2D6E-E1B2-3176-E40F23C27DB7}"/>
          </ac:graphicFrameMkLst>
        </pc:graphicFrameChg>
      </pc:sldChg>
      <pc:sldChg chg="add del">
        <pc:chgData name="Kawtar SADIQ" userId="65df04e4-2d23-4bab-afb0-40df8a2c1b9f" providerId="ADAL" clId="{FE254249-F53D-4103-B6AD-FA88210A9928}" dt="2022-12-14T16:34:25.172" v="59" actId="47"/>
        <pc:sldMkLst>
          <pc:docMk/>
          <pc:sldMk cId="3604696646" sldId="2147469804"/>
        </pc:sldMkLst>
      </pc:sldChg>
      <pc:sldChg chg="add del">
        <pc:chgData name="Kawtar SADIQ" userId="65df04e4-2d23-4bab-afb0-40df8a2c1b9f" providerId="ADAL" clId="{FE254249-F53D-4103-B6AD-FA88210A9928}" dt="2022-12-14T16:33:05.154" v="51" actId="47"/>
        <pc:sldMkLst>
          <pc:docMk/>
          <pc:sldMk cId="1621788503" sldId="2147469805"/>
        </pc:sldMkLst>
      </pc:sldChg>
      <pc:sldChg chg="add del">
        <pc:chgData name="Kawtar SADIQ" userId="65df04e4-2d23-4bab-afb0-40df8a2c1b9f" providerId="ADAL" clId="{FE254249-F53D-4103-B6AD-FA88210A9928}" dt="2022-12-14T16:33:53.454" v="55" actId="47"/>
        <pc:sldMkLst>
          <pc:docMk/>
          <pc:sldMk cId="1583680706" sldId="2147469809"/>
        </pc:sldMkLst>
      </pc:sldChg>
      <pc:sldChg chg="modSp mod">
        <pc:chgData name="Kawtar SADIQ" userId="65df04e4-2d23-4bab-afb0-40df8a2c1b9f" providerId="ADAL" clId="{FE254249-F53D-4103-B6AD-FA88210A9928}" dt="2022-12-14T16:46:24.376" v="171" actId="13926"/>
        <pc:sldMkLst>
          <pc:docMk/>
          <pc:sldMk cId="1301648618" sldId="2147469831"/>
        </pc:sldMkLst>
        <pc:spChg chg="mod">
          <ac:chgData name="Kawtar SADIQ" userId="65df04e4-2d23-4bab-afb0-40df8a2c1b9f" providerId="ADAL" clId="{FE254249-F53D-4103-B6AD-FA88210A9928}" dt="2022-12-14T16:46:24.376" v="171" actId="13926"/>
          <ac:spMkLst>
            <pc:docMk/>
            <pc:sldMk cId="1301648618" sldId="2147469831"/>
            <ac:spMk id="7" creationId="{8FFDA8EC-8B79-4111-9A54-1FBA6FF78689}"/>
          </ac:spMkLst>
        </pc:spChg>
        <pc:spChg chg="mod">
          <ac:chgData name="Kawtar SADIQ" userId="65df04e4-2d23-4bab-afb0-40df8a2c1b9f" providerId="ADAL" clId="{FE254249-F53D-4103-B6AD-FA88210A9928}" dt="2022-12-14T16:30:53.992" v="16" actId="20577"/>
          <ac:spMkLst>
            <pc:docMk/>
            <pc:sldMk cId="1301648618" sldId="2147469831"/>
            <ac:spMk id="8" creationId="{7EE3A62C-16BD-4386-A32F-A24CCFC7199D}"/>
          </ac:spMkLst>
        </pc:spChg>
        <pc:spChg chg="mod">
          <ac:chgData name="Kawtar SADIQ" userId="65df04e4-2d23-4bab-afb0-40df8a2c1b9f" providerId="ADAL" clId="{FE254249-F53D-4103-B6AD-FA88210A9928}" dt="2022-12-14T16:46:20.025" v="170" actId="13926"/>
          <ac:spMkLst>
            <pc:docMk/>
            <pc:sldMk cId="1301648618" sldId="2147469831"/>
            <ac:spMk id="9" creationId="{BD6433EC-D9EB-4716-B094-2038D14B5EE7}"/>
          </ac:spMkLst>
        </pc:spChg>
      </pc:sldChg>
      <pc:sldChg chg="modSp add mod ord">
        <pc:chgData name="Kawtar SADIQ" userId="65df04e4-2d23-4bab-afb0-40df8a2c1b9f" providerId="ADAL" clId="{FE254249-F53D-4103-B6AD-FA88210A9928}" dt="2022-12-14T16:48:34.116" v="275" actId="13926"/>
        <pc:sldMkLst>
          <pc:docMk/>
          <pc:sldMk cId="1447889455" sldId="2147469859"/>
        </pc:sldMkLst>
        <pc:spChg chg="mod">
          <ac:chgData name="Kawtar SADIQ" userId="65df04e4-2d23-4bab-afb0-40df8a2c1b9f" providerId="ADAL" clId="{FE254249-F53D-4103-B6AD-FA88210A9928}" dt="2022-12-14T16:48:34.116" v="275" actId="13926"/>
          <ac:spMkLst>
            <pc:docMk/>
            <pc:sldMk cId="1447889455" sldId="2147469859"/>
            <ac:spMk id="2" creationId="{6F2E6D00-8047-4760-9239-06C0A3B71ECE}"/>
          </ac:spMkLst>
        </pc:spChg>
      </pc:sldChg>
      <pc:sldChg chg="addSp delSp modSp new mod ord">
        <pc:chgData name="Kawtar SADIQ" userId="65df04e4-2d23-4bab-afb0-40df8a2c1b9f" providerId="ADAL" clId="{FE254249-F53D-4103-B6AD-FA88210A9928}" dt="2022-12-14T16:50:30.719" v="349" actId="20577"/>
        <pc:sldMkLst>
          <pc:docMk/>
          <pc:sldMk cId="2536183223" sldId="2147469860"/>
        </pc:sldMkLst>
        <pc:spChg chg="del">
          <ac:chgData name="Kawtar SADIQ" userId="65df04e4-2d23-4bab-afb0-40df8a2c1b9f" providerId="ADAL" clId="{FE254249-F53D-4103-B6AD-FA88210A9928}" dt="2022-12-14T16:32:32.148" v="48" actId="478"/>
          <ac:spMkLst>
            <pc:docMk/>
            <pc:sldMk cId="2536183223" sldId="2147469860"/>
            <ac:spMk id="2" creationId="{46713D1B-63C3-4B97-A78D-CFAD320F4F4E}"/>
          </ac:spMkLst>
        </pc:spChg>
        <pc:spChg chg="del">
          <ac:chgData name="Kawtar SADIQ" userId="65df04e4-2d23-4bab-afb0-40df8a2c1b9f" providerId="ADAL" clId="{FE254249-F53D-4103-B6AD-FA88210A9928}" dt="2022-12-14T16:32:32.148" v="48" actId="478"/>
          <ac:spMkLst>
            <pc:docMk/>
            <pc:sldMk cId="2536183223" sldId="2147469860"/>
            <ac:spMk id="3" creationId="{4C0BD363-B506-4E36-A125-D2969A830960}"/>
          </ac:spMkLst>
        </pc:spChg>
        <pc:spChg chg="add mod">
          <ac:chgData name="Kawtar SADIQ" userId="65df04e4-2d23-4bab-afb0-40df8a2c1b9f" providerId="ADAL" clId="{FE254249-F53D-4103-B6AD-FA88210A9928}" dt="2022-12-14T16:50:30.719" v="349" actId="20577"/>
          <ac:spMkLst>
            <pc:docMk/>
            <pc:sldMk cId="2536183223" sldId="2147469860"/>
            <ac:spMk id="4" creationId="{61F32EC6-6B52-4A9D-A8BE-B5306938E2A4}"/>
          </ac:spMkLst>
        </pc:spChg>
        <pc:spChg chg="add mod">
          <ac:chgData name="Kawtar SADIQ" userId="65df04e4-2d23-4bab-afb0-40df8a2c1b9f" providerId="ADAL" clId="{FE254249-F53D-4103-B6AD-FA88210A9928}" dt="2022-12-14T16:32:39.333" v="49"/>
          <ac:spMkLst>
            <pc:docMk/>
            <pc:sldMk cId="2536183223" sldId="2147469860"/>
            <ac:spMk id="5" creationId="{F5781F5D-A46B-498D-9BCE-84C0FDBA25EE}"/>
          </ac:spMkLst>
        </pc:spChg>
        <pc:spChg chg="add mod">
          <ac:chgData name="Kawtar SADIQ" userId="65df04e4-2d23-4bab-afb0-40df8a2c1b9f" providerId="ADAL" clId="{FE254249-F53D-4103-B6AD-FA88210A9928}" dt="2022-12-14T16:32:39.333" v="49"/>
          <ac:spMkLst>
            <pc:docMk/>
            <pc:sldMk cId="2536183223" sldId="2147469860"/>
            <ac:spMk id="7" creationId="{BF722C8C-EC88-4E46-BEF1-12CF6405CF7B}"/>
          </ac:spMkLst>
        </pc:spChg>
        <pc:spChg chg="add mod">
          <ac:chgData name="Kawtar SADIQ" userId="65df04e4-2d23-4bab-afb0-40df8a2c1b9f" providerId="ADAL" clId="{FE254249-F53D-4103-B6AD-FA88210A9928}" dt="2022-12-14T16:35:23.086" v="71" actId="1038"/>
          <ac:spMkLst>
            <pc:docMk/>
            <pc:sldMk cId="2536183223" sldId="2147469860"/>
            <ac:spMk id="8" creationId="{6F2760A1-FA44-4D13-AF2A-408BC1CC6D92}"/>
          </ac:spMkLst>
        </pc:spChg>
        <pc:picChg chg="add mod">
          <ac:chgData name="Kawtar SADIQ" userId="65df04e4-2d23-4bab-afb0-40df8a2c1b9f" providerId="ADAL" clId="{FE254249-F53D-4103-B6AD-FA88210A9928}" dt="2022-12-14T16:32:39.333" v="49"/>
          <ac:picMkLst>
            <pc:docMk/>
            <pc:sldMk cId="2536183223" sldId="2147469860"/>
            <ac:picMk id="6" creationId="{05BFBC4D-0343-4193-8BC6-20BD19B06099}"/>
          </ac:picMkLst>
        </pc:picChg>
      </pc:sldChg>
      <pc:sldChg chg="addSp delSp modSp new mod">
        <pc:chgData name="Kawtar SADIQ" userId="65df04e4-2d23-4bab-afb0-40df8a2c1b9f" providerId="ADAL" clId="{FE254249-F53D-4103-B6AD-FA88210A9928}" dt="2022-12-14T16:49:48.701" v="338" actId="20577"/>
        <pc:sldMkLst>
          <pc:docMk/>
          <pc:sldMk cId="4150546240" sldId="2147469861"/>
        </pc:sldMkLst>
        <pc:spChg chg="mod">
          <ac:chgData name="Kawtar SADIQ" userId="65df04e4-2d23-4bab-afb0-40df8a2c1b9f" providerId="ADAL" clId="{FE254249-F53D-4103-B6AD-FA88210A9928}" dt="2022-12-14T16:49:48.701" v="338" actId="20577"/>
          <ac:spMkLst>
            <pc:docMk/>
            <pc:sldMk cId="4150546240" sldId="2147469861"/>
            <ac:spMk id="2" creationId="{20EC68A1-BE0C-4245-A29F-41E6D2ABD170}"/>
          </ac:spMkLst>
        </pc:spChg>
        <pc:spChg chg="del">
          <ac:chgData name="Kawtar SADIQ" userId="65df04e4-2d23-4bab-afb0-40df8a2c1b9f" providerId="ADAL" clId="{FE254249-F53D-4103-B6AD-FA88210A9928}" dt="2022-12-14T16:33:40.335" v="53" actId="478"/>
          <ac:spMkLst>
            <pc:docMk/>
            <pc:sldMk cId="4150546240" sldId="2147469861"/>
            <ac:spMk id="3" creationId="{1A5258D4-926A-4ACC-9ABD-861A7FF0D0EE}"/>
          </ac:spMkLst>
        </pc:spChg>
        <pc:spChg chg="add mod">
          <ac:chgData name="Kawtar SADIQ" userId="65df04e4-2d23-4bab-afb0-40df8a2c1b9f" providerId="ADAL" clId="{FE254249-F53D-4103-B6AD-FA88210A9928}" dt="2022-12-14T16:38:41.027" v="79" actId="20577"/>
          <ac:spMkLst>
            <pc:docMk/>
            <pc:sldMk cId="4150546240" sldId="2147469861"/>
            <ac:spMk id="4" creationId="{C5EE2D1F-6A72-4C17-B44A-C84E47A1D174}"/>
          </ac:spMkLst>
        </pc:spChg>
        <pc:spChg chg="mod">
          <ac:chgData name="Kawtar SADIQ" userId="65df04e4-2d23-4bab-afb0-40df8a2c1b9f" providerId="ADAL" clId="{FE254249-F53D-4103-B6AD-FA88210A9928}" dt="2022-12-14T16:33:41.276" v="54"/>
          <ac:spMkLst>
            <pc:docMk/>
            <pc:sldMk cId="4150546240" sldId="2147469861"/>
            <ac:spMk id="7" creationId="{44834CC5-473D-4992-8CA9-8940191D2C83}"/>
          </ac:spMkLst>
        </pc:spChg>
        <pc:spChg chg="mod">
          <ac:chgData name="Kawtar SADIQ" userId="65df04e4-2d23-4bab-afb0-40df8a2c1b9f" providerId="ADAL" clId="{FE254249-F53D-4103-B6AD-FA88210A9928}" dt="2022-12-14T16:33:41.276" v="54"/>
          <ac:spMkLst>
            <pc:docMk/>
            <pc:sldMk cId="4150546240" sldId="2147469861"/>
            <ac:spMk id="8" creationId="{AA58F80E-8161-46C4-807C-0A1345F26E73}"/>
          </ac:spMkLst>
        </pc:spChg>
        <pc:spChg chg="mod">
          <ac:chgData name="Kawtar SADIQ" userId="65df04e4-2d23-4bab-afb0-40df8a2c1b9f" providerId="ADAL" clId="{FE254249-F53D-4103-B6AD-FA88210A9928}" dt="2022-12-14T16:33:41.276" v="54"/>
          <ac:spMkLst>
            <pc:docMk/>
            <pc:sldMk cId="4150546240" sldId="2147469861"/>
            <ac:spMk id="9" creationId="{01D70A67-9D50-464D-BBF4-35EECBC74CE8}"/>
          </ac:spMkLst>
        </pc:spChg>
        <pc:spChg chg="mod">
          <ac:chgData name="Kawtar SADIQ" userId="65df04e4-2d23-4bab-afb0-40df8a2c1b9f" providerId="ADAL" clId="{FE254249-F53D-4103-B6AD-FA88210A9928}" dt="2022-12-14T16:33:41.276" v="54"/>
          <ac:spMkLst>
            <pc:docMk/>
            <pc:sldMk cId="4150546240" sldId="2147469861"/>
            <ac:spMk id="10" creationId="{DD770FFB-9F81-443A-8886-9B4C8C794E00}"/>
          </ac:spMkLst>
        </pc:spChg>
        <pc:grpChg chg="add mod">
          <ac:chgData name="Kawtar SADIQ" userId="65df04e4-2d23-4bab-afb0-40df8a2c1b9f" providerId="ADAL" clId="{FE254249-F53D-4103-B6AD-FA88210A9928}" dt="2022-12-14T16:33:41.276" v="54"/>
          <ac:grpSpMkLst>
            <pc:docMk/>
            <pc:sldMk cId="4150546240" sldId="2147469861"/>
            <ac:grpSpMk id="5" creationId="{E1BFDF5A-2347-4D30-B282-C564ED89CA2C}"/>
          </ac:grpSpMkLst>
        </pc:grpChg>
        <pc:picChg chg="mod">
          <ac:chgData name="Kawtar SADIQ" userId="65df04e4-2d23-4bab-afb0-40df8a2c1b9f" providerId="ADAL" clId="{FE254249-F53D-4103-B6AD-FA88210A9928}" dt="2022-12-14T16:33:41.276" v="54"/>
          <ac:picMkLst>
            <pc:docMk/>
            <pc:sldMk cId="4150546240" sldId="2147469861"/>
            <ac:picMk id="6" creationId="{F840A5B6-CA2B-4288-8929-147CDCE15F5E}"/>
          </ac:picMkLst>
        </pc:picChg>
      </pc:sldChg>
      <pc:sldChg chg="addSp delSp modSp new mod">
        <pc:chgData name="Kawtar SADIQ" userId="65df04e4-2d23-4bab-afb0-40df8a2c1b9f" providerId="ADAL" clId="{FE254249-F53D-4103-B6AD-FA88210A9928}" dt="2022-12-14T16:49:58.710" v="342" actId="20577"/>
        <pc:sldMkLst>
          <pc:docMk/>
          <pc:sldMk cId="2860466465" sldId="2147469862"/>
        </pc:sldMkLst>
        <pc:spChg chg="mod">
          <ac:chgData name="Kawtar SADIQ" userId="65df04e4-2d23-4bab-afb0-40df8a2c1b9f" providerId="ADAL" clId="{FE254249-F53D-4103-B6AD-FA88210A9928}" dt="2022-12-14T16:49:58.710" v="342" actId="20577"/>
          <ac:spMkLst>
            <pc:docMk/>
            <pc:sldMk cId="2860466465" sldId="2147469862"/>
            <ac:spMk id="2" creationId="{FB6AF751-7CFD-44E5-B5F2-2D9B1DFFF6BB}"/>
          </ac:spMkLst>
        </pc:spChg>
        <pc:spChg chg="del">
          <ac:chgData name="Kawtar SADIQ" userId="65df04e4-2d23-4bab-afb0-40df8a2c1b9f" providerId="ADAL" clId="{FE254249-F53D-4103-B6AD-FA88210A9928}" dt="2022-12-14T16:34:03.955" v="57" actId="478"/>
          <ac:spMkLst>
            <pc:docMk/>
            <pc:sldMk cId="2860466465" sldId="2147469862"/>
            <ac:spMk id="3" creationId="{CD80B7B9-741E-40DD-9BD0-134C56619B19}"/>
          </ac:spMkLst>
        </pc:spChg>
        <pc:spChg chg="add mod">
          <ac:chgData name="Kawtar SADIQ" userId="65df04e4-2d23-4bab-afb0-40df8a2c1b9f" providerId="ADAL" clId="{FE254249-F53D-4103-B6AD-FA88210A9928}" dt="2022-12-14T16:34:10.574" v="58"/>
          <ac:spMkLst>
            <pc:docMk/>
            <pc:sldMk cId="2860466465" sldId="2147469862"/>
            <ac:spMk id="5" creationId="{B2751C1A-1830-408A-93F6-5437AF43B850}"/>
          </ac:spMkLst>
        </pc:spChg>
        <pc:spChg chg="add mod">
          <ac:chgData name="Kawtar SADIQ" userId="65df04e4-2d23-4bab-afb0-40df8a2c1b9f" providerId="ADAL" clId="{FE254249-F53D-4103-B6AD-FA88210A9928}" dt="2022-12-14T16:34:10.574" v="58"/>
          <ac:spMkLst>
            <pc:docMk/>
            <pc:sldMk cId="2860466465" sldId="2147469862"/>
            <ac:spMk id="6" creationId="{F7B409E8-C049-4F53-8F58-1C4671585596}"/>
          </ac:spMkLst>
        </pc:spChg>
        <pc:spChg chg="add mod">
          <ac:chgData name="Kawtar SADIQ" userId="65df04e4-2d23-4bab-afb0-40df8a2c1b9f" providerId="ADAL" clId="{FE254249-F53D-4103-B6AD-FA88210A9928}" dt="2022-12-14T16:34:10.574" v="58"/>
          <ac:spMkLst>
            <pc:docMk/>
            <pc:sldMk cId="2860466465" sldId="2147469862"/>
            <ac:spMk id="7" creationId="{26DDC05A-243C-4B1D-BCA2-FA4FF2F99A10}"/>
          </ac:spMkLst>
        </pc:spChg>
        <pc:spChg chg="add mod">
          <ac:chgData name="Kawtar SADIQ" userId="65df04e4-2d23-4bab-afb0-40df8a2c1b9f" providerId="ADAL" clId="{FE254249-F53D-4103-B6AD-FA88210A9928}" dt="2022-12-14T16:34:10.574" v="58"/>
          <ac:spMkLst>
            <pc:docMk/>
            <pc:sldMk cId="2860466465" sldId="2147469862"/>
            <ac:spMk id="8" creationId="{1877C19E-4E0D-47A7-9B06-7AC985EF2190}"/>
          </ac:spMkLst>
        </pc:spChg>
        <pc:spChg chg="add mod">
          <ac:chgData name="Kawtar SADIQ" userId="65df04e4-2d23-4bab-afb0-40df8a2c1b9f" providerId="ADAL" clId="{FE254249-F53D-4103-B6AD-FA88210A9928}" dt="2022-12-14T16:34:10.574" v="58"/>
          <ac:spMkLst>
            <pc:docMk/>
            <pc:sldMk cId="2860466465" sldId="2147469862"/>
            <ac:spMk id="9" creationId="{CE97F964-B76F-4B8C-961B-627EF4E523C1}"/>
          </ac:spMkLst>
        </pc:spChg>
        <pc:spChg chg="add mod">
          <ac:chgData name="Kawtar SADIQ" userId="65df04e4-2d23-4bab-afb0-40df8a2c1b9f" providerId="ADAL" clId="{FE254249-F53D-4103-B6AD-FA88210A9928}" dt="2022-12-14T16:34:10.574" v="58"/>
          <ac:spMkLst>
            <pc:docMk/>
            <pc:sldMk cId="2860466465" sldId="2147469862"/>
            <ac:spMk id="11" creationId="{702DF34E-CE83-43B3-9F1E-650AD5417D69}"/>
          </ac:spMkLst>
        </pc:spChg>
        <pc:spChg chg="add mod">
          <ac:chgData name="Kawtar SADIQ" userId="65df04e4-2d23-4bab-afb0-40df8a2c1b9f" providerId="ADAL" clId="{FE254249-F53D-4103-B6AD-FA88210A9928}" dt="2022-12-14T16:34:10.574" v="58"/>
          <ac:spMkLst>
            <pc:docMk/>
            <pc:sldMk cId="2860466465" sldId="2147469862"/>
            <ac:spMk id="12" creationId="{8C07BDC0-37E0-4EA0-96AE-D2EFF76A46F1}"/>
          </ac:spMkLst>
        </pc:spChg>
        <pc:spChg chg="add mod">
          <ac:chgData name="Kawtar SADIQ" userId="65df04e4-2d23-4bab-afb0-40df8a2c1b9f" providerId="ADAL" clId="{FE254249-F53D-4103-B6AD-FA88210A9928}" dt="2022-12-14T16:34:10.574" v="58"/>
          <ac:spMkLst>
            <pc:docMk/>
            <pc:sldMk cId="2860466465" sldId="2147469862"/>
            <ac:spMk id="14" creationId="{5E26087A-A2ED-4691-87A1-37A93298E7B2}"/>
          </ac:spMkLst>
        </pc:spChg>
        <pc:spChg chg="add mod">
          <ac:chgData name="Kawtar SADIQ" userId="65df04e4-2d23-4bab-afb0-40df8a2c1b9f" providerId="ADAL" clId="{FE254249-F53D-4103-B6AD-FA88210A9928}" dt="2022-12-14T16:34:10.574" v="58"/>
          <ac:spMkLst>
            <pc:docMk/>
            <pc:sldMk cId="2860466465" sldId="2147469862"/>
            <ac:spMk id="15" creationId="{0EA714C8-7B68-4478-A472-B960E2C16B55}"/>
          </ac:spMkLst>
        </pc:spChg>
        <pc:spChg chg="add mod">
          <ac:chgData name="Kawtar SADIQ" userId="65df04e4-2d23-4bab-afb0-40df8a2c1b9f" providerId="ADAL" clId="{FE254249-F53D-4103-B6AD-FA88210A9928}" dt="2022-12-14T16:34:10.574" v="58"/>
          <ac:spMkLst>
            <pc:docMk/>
            <pc:sldMk cId="2860466465" sldId="2147469862"/>
            <ac:spMk id="16" creationId="{1BA45F64-CF6C-4F61-9914-83C9FF7A44DA}"/>
          </ac:spMkLst>
        </pc:spChg>
        <pc:spChg chg="add mod">
          <ac:chgData name="Kawtar SADIQ" userId="65df04e4-2d23-4bab-afb0-40df8a2c1b9f" providerId="ADAL" clId="{FE254249-F53D-4103-B6AD-FA88210A9928}" dt="2022-12-14T16:34:10.574" v="58"/>
          <ac:spMkLst>
            <pc:docMk/>
            <pc:sldMk cId="2860466465" sldId="2147469862"/>
            <ac:spMk id="17" creationId="{3D5E3AB7-5B5D-4312-A08E-E778CFFC52F8}"/>
          </ac:spMkLst>
        </pc:spChg>
        <pc:spChg chg="add mod">
          <ac:chgData name="Kawtar SADIQ" userId="65df04e4-2d23-4bab-afb0-40df8a2c1b9f" providerId="ADAL" clId="{FE254249-F53D-4103-B6AD-FA88210A9928}" dt="2022-12-14T16:34:10.574" v="58"/>
          <ac:spMkLst>
            <pc:docMk/>
            <pc:sldMk cId="2860466465" sldId="2147469862"/>
            <ac:spMk id="18" creationId="{663C4DB0-A25C-4E03-88F3-3BBED7C5094A}"/>
          </ac:spMkLst>
        </pc:spChg>
        <pc:spChg chg="add mod">
          <ac:chgData name="Kawtar SADIQ" userId="65df04e4-2d23-4bab-afb0-40df8a2c1b9f" providerId="ADAL" clId="{FE254249-F53D-4103-B6AD-FA88210A9928}" dt="2022-12-14T16:34:10.574" v="58"/>
          <ac:spMkLst>
            <pc:docMk/>
            <pc:sldMk cId="2860466465" sldId="2147469862"/>
            <ac:spMk id="19" creationId="{56941A3A-F49A-4A3E-B1CF-2293F16C1573}"/>
          </ac:spMkLst>
        </pc:spChg>
        <pc:spChg chg="add mod">
          <ac:chgData name="Kawtar SADIQ" userId="65df04e4-2d23-4bab-afb0-40df8a2c1b9f" providerId="ADAL" clId="{FE254249-F53D-4103-B6AD-FA88210A9928}" dt="2022-12-14T16:34:10.574" v="58"/>
          <ac:spMkLst>
            <pc:docMk/>
            <pc:sldMk cId="2860466465" sldId="2147469862"/>
            <ac:spMk id="20" creationId="{79D09CD8-2EC7-4EB2-8831-15F6C86EF418}"/>
          </ac:spMkLst>
        </pc:spChg>
        <pc:spChg chg="add mod">
          <ac:chgData name="Kawtar SADIQ" userId="65df04e4-2d23-4bab-afb0-40df8a2c1b9f" providerId="ADAL" clId="{FE254249-F53D-4103-B6AD-FA88210A9928}" dt="2022-12-14T16:34:10.574" v="58"/>
          <ac:spMkLst>
            <pc:docMk/>
            <pc:sldMk cId="2860466465" sldId="2147469862"/>
            <ac:spMk id="21" creationId="{F34C9B0F-205B-427C-8D04-D1DC151CCB6C}"/>
          </ac:spMkLst>
        </pc:spChg>
        <pc:spChg chg="add mod">
          <ac:chgData name="Kawtar SADIQ" userId="65df04e4-2d23-4bab-afb0-40df8a2c1b9f" providerId="ADAL" clId="{FE254249-F53D-4103-B6AD-FA88210A9928}" dt="2022-12-14T16:34:10.574" v="58"/>
          <ac:spMkLst>
            <pc:docMk/>
            <pc:sldMk cId="2860466465" sldId="2147469862"/>
            <ac:spMk id="23" creationId="{63133E58-D4C0-4D1D-ABC3-6C7AEC43A20A}"/>
          </ac:spMkLst>
        </pc:spChg>
        <pc:spChg chg="add mod">
          <ac:chgData name="Kawtar SADIQ" userId="65df04e4-2d23-4bab-afb0-40df8a2c1b9f" providerId="ADAL" clId="{FE254249-F53D-4103-B6AD-FA88210A9928}" dt="2022-12-14T16:34:10.574" v="58"/>
          <ac:spMkLst>
            <pc:docMk/>
            <pc:sldMk cId="2860466465" sldId="2147469862"/>
            <ac:spMk id="24" creationId="{0F743891-DE6D-4A16-9BAE-A925CF58E5FC}"/>
          </ac:spMkLst>
        </pc:spChg>
        <pc:spChg chg="add mod">
          <ac:chgData name="Kawtar SADIQ" userId="65df04e4-2d23-4bab-afb0-40df8a2c1b9f" providerId="ADAL" clId="{FE254249-F53D-4103-B6AD-FA88210A9928}" dt="2022-12-14T16:34:10.574" v="58"/>
          <ac:spMkLst>
            <pc:docMk/>
            <pc:sldMk cId="2860466465" sldId="2147469862"/>
            <ac:spMk id="25" creationId="{CB0BF4C7-6F52-493D-B08C-25E2A547533E}"/>
          </ac:spMkLst>
        </pc:spChg>
        <pc:spChg chg="add mod">
          <ac:chgData name="Kawtar SADIQ" userId="65df04e4-2d23-4bab-afb0-40df8a2c1b9f" providerId="ADAL" clId="{FE254249-F53D-4103-B6AD-FA88210A9928}" dt="2022-12-14T16:34:57.392" v="60" actId="313"/>
          <ac:spMkLst>
            <pc:docMk/>
            <pc:sldMk cId="2860466465" sldId="2147469862"/>
            <ac:spMk id="26" creationId="{C5A5162C-CB6B-44F9-A3D6-D49674B01B03}"/>
          </ac:spMkLst>
        </pc:spChg>
        <pc:graphicFrameChg chg="add mod">
          <ac:chgData name="Kawtar SADIQ" userId="65df04e4-2d23-4bab-afb0-40df8a2c1b9f" providerId="ADAL" clId="{FE254249-F53D-4103-B6AD-FA88210A9928}" dt="2022-12-14T16:34:10.574" v="58"/>
          <ac:graphicFrameMkLst>
            <pc:docMk/>
            <pc:sldMk cId="2860466465" sldId="2147469862"/>
            <ac:graphicFrameMk id="4" creationId="{E58F2A7C-BF2B-44E8-8C93-3CAC65CC161E}"/>
          </ac:graphicFrameMkLst>
        </pc:graphicFrameChg>
        <pc:picChg chg="add mod">
          <ac:chgData name="Kawtar SADIQ" userId="65df04e4-2d23-4bab-afb0-40df8a2c1b9f" providerId="ADAL" clId="{FE254249-F53D-4103-B6AD-FA88210A9928}" dt="2022-12-14T16:34:10.574" v="58"/>
          <ac:picMkLst>
            <pc:docMk/>
            <pc:sldMk cId="2860466465" sldId="2147469862"/>
            <ac:picMk id="10" creationId="{142DC834-602A-4928-88C1-33A604738357}"/>
          </ac:picMkLst>
        </pc:picChg>
        <pc:picChg chg="add mod">
          <ac:chgData name="Kawtar SADIQ" userId="65df04e4-2d23-4bab-afb0-40df8a2c1b9f" providerId="ADAL" clId="{FE254249-F53D-4103-B6AD-FA88210A9928}" dt="2022-12-14T16:34:10.574" v="58"/>
          <ac:picMkLst>
            <pc:docMk/>
            <pc:sldMk cId="2860466465" sldId="2147469862"/>
            <ac:picMk id="13" creationId="{B190F5E1-7B03-4D37-965C-3897FD4872E6}"/>
          </ac:picMkLst>
        </pc:picChg>
        <pc:picChg chg="add mod">
          <ac:chgData name="Kawtar SADIQ" userId="65df04e4-2d23-4bab-afb0-40df8a2c1b9f" providerId="ADAL" clId="{FE254249-F53D-4103-B6AD-FA88210A9928}" dt="2022-12-14T16:34:10.574" v="58"/>
          <ac:picMkLst>
            <pc:docMk/>
            <pc:sldMk cId="2860466465" sldId="2147469862"/>
            <ac:picMk id="22" creationId="{E0698EFC-E760-4FB2-8F66-65509136A8CC}"/>
          </ac:picMkLst>
        </pc:picChg>
      </pc:sldChg>
    </pc:docChg>
  </pc:docChgLst>
  <pc:docChgLst>
    <pc:chgData name="Sylvie ROCHE" userId="S::sylvie.roche@talan.com::60404d4e-bbf6-4ef1-963c-527a8dada0a5" providerId="AD" clId="Web-{8C7E5412-7D1D-D3CD-9FB0-50F65B7BD071}"/>
    <pc:docChg chg="">
      <pc:chgData name="Sylvie ROCHE" userId="S::sylvie.roche@talan.com::60404d4e-bbf6-4ef1-963c-527a8dada0a5" providerId="AD" clId="Web-{8C7E5412-7D1D-D3CD-9FB0-50F65B7BD071}" dt="2023-03-17T10:09:48.958" v="0"/>
      <pc:docMkLst>
        <pc:docMk/>
      </pc:docMkLst>
      <pc:sldChg chg="modCm">
        <pc:chgData name="Sylvie ROCHE" userId="S::sylvie.roche@talan.com::60404d4e-bbf6-4ef1-963c-527a8dada0a5" providerId="AD" clId="Web-{8C7E5412-7D1D-D3CD-9FB0-50F65B7BD071}" dt="2023-03-17T10:09:48.958" v="0"/>
        <pc:sldMkLst>
          <pc:docMk/>
          <pc:sldMk cId="3239217406" sldId="2147469993"/>
        </pc:sldMkLst>
        <pc:extLst>
          <p:ext xmlns:p="http://schemas.openxmlformats.org/presentationml/2006/main" uri="{D6D511B9-2390-475A-947B-AFAB55BFBCF1}">
            <pc226:cmChg xmlns:pc226="http://schemas.microsoft.com/office/powerpoint/2022/06/main/command" chg="mod">
              <pc226:chgData name="Sylvie ROCHE" userId="S::sylvie.roche@talan.com::60404d4e-bbf6-4ef1-963c-527a8dada0a5" providerId="AD" clId="Web-{8C7E5412-7D1D-D3CD-9FB0-50F65B7BD071}" dt="2023-03-17T10:09:48.958" v="0"/>
              <pc2:cmMkLst xmlns:pc2="http://schemas.microsoft.com/office/powerpoint/2019/9/main/command">
                <pc:docMk/>
                <pc:sldMk cId="3239217406" sldId="2147469993"/>
                <pc2:cmMk id="{0B812D21-00B7-42F1-A2C2-F377B86E36DD}"/>
              </pc2:cmMkLst>
            </pc226:cmChg>
          </p:ext>
        </pc:extLst>
      </pc:sldChg>
    </pc:docChg>
  </pc:docChgLst>
  <pc:docChgLst>
    <pc:chgData name="Frederic DUGARD" userId="S::frederic.dugard@talan.com::ebe04564-57bb-4068-9573-4cbb1d4478de" providerId="AD" clId="Web-{27DB3D23-E432-4C15-9D91-A09DDDC06AED}"/>
    <pc:docChg chg="modSld">
      <pc:chgData name="Frederic DUGARD" userId="S::frederic.dugard@talan.com::ebe04564-57bb-4068-9573-4cbb1d4478de" providerId="AD" clId="Web-{27DB3D23-E432-4C15-9D91-A09DDDC06AED}" dt="2023-03-20T19:40:19.162" v="1058" actId="1076"/>
      <pc:docMkLst>
        <pc:docMk/>
      </pc:docMkLst>
      <pc:sldChg chg="delSp modSp">
        <pc:chgData name="Frederic DUGARD" userId="S::frederic.dugard@talan.com::ebe04564-57bb-4068-9573-4cbb1d4478de" providerId="AD" clId="Web-{27DB3D23-E432-4C15-9D91-A09DDDC06AED}" dt="2023-03-20T19:40:19.162" v="1058" actId="1076"/>
        <pc:sldMkLst>
          <pc:docMk/>
          <pc:sldMk cId="3135886888" sldId="2147470013"/>
        </pc:sldMkLst>
        <pc:spChg chg="mod">
          <ac:chgData name="Frederic DUGARD" userId="S::frederic.dugard@talan.com::ebe04564-57bb-4068-9573-4cbb1d4478de" providerId="AD" clId="Web-{27DB3D23-E432-4C15-9D91-A09DDDC06AED}" dt="2023-03-20T19:36:34.257" v="1048" actId="1076"/>
          <ac:spMkLst>
            <pc:docMk/>
            <pc:sldMk cId="3135886888" sldId="2147470013"/>
            <ac:spMk id="4" creationId="{D6DD8018-3588-1364-4BE8-4D6D2C939839}"/>
          </ac:spMkLst>
        </pc:spChg>
        <pc:spChg chg="del mod">
          <ac:chgData name="Frederic DUGARD" userId="S::frederic.dugard@talan.com::ebe04564-57bb-4068-9573-4cbb1d4478de" providerId="AD" clId="Web-{27DB3D23-E432-4C15-9D91-A09DDDC06AED}" dt="2023-03-20T19:06:07.167" v="579"/>
          <ac:spMkLst>
            <pc:docMk/>
            <pc:sldMk cId="3135886888" sldId="2147470013"/>
            <ac:spMk id="5" creationId="{6EBDD2CB-364F-40B1-A9E9-194446E152B9}"/>
          </ac:spMkLst>
        </pc:spChg>
        <pc:spChg chg="mod">
          <ac:chgData name="Frederic DUGARD" userId="S::frederic.dugard@talan.com::ebe04564-57bb-4068-9573-4cbb1d4478de" providerId="AD" clId="Web-{27DB3D23-E432-4C15-9D91-A09DDDC06AED}" dt="2023-03-20T19:39:04.548" v="1057" actId="1076"/>
          <ac:spMkLst>
            <pc:docMk/>
            <pc:sldMk cId="3135886888" sldId="2147470013"/>
            <ac:spMk id="6" creationId="{3655B0AE-143E-4B44-090E-E5F2E4F16D55}"/>
          </ac:spMkLst>
        </pc:spChg>
        <pc:spChg chg="mod">
          <ac:chgData name="Frederic DUGARD" userId="S::frederic.dugard@talan.com::ebe04564-57bb-4068-9573-4cbb1d4478de" providerId="AD" clId="Web-{27DB3D23-E432-4C15-9D91-A09DDDC06AED}" dt="2023-03-20T19:37:17.619" v="1050" actId="14100"/>
          <ac:spMkLst>
            <pc:docMk/>
            <pc:sldMk cId="3135886888" sldId="2147470013"/>
            <ac:spMk id="19" creationId="{06375281-7A39-0C01-D2B6-A0784ABD7EE4}"/>
          </ac:spMkLst>
        </pc:spChg>
        <pc:spChg chg="mod">
          <ac:chgData name="Frederic DUGARD" userId="S::frederic.dugard@talan.com::ebe04564-57bb-4068-9573-4cbb1d4478de" providerId="AD" clId="Web-{27DB3D23-E432-4C15-9D91-A09DDDC06AED}" dt="2023-03-20T19:38:15.967" v="1054" actId="14100"/>
          <ac:spMkLst>
            <pc:docMk/>
            <pc:sldMk cId="3135886888" sldId="2147470013"/>
            <ac:spMk id="20" creationId="{8BD59BBF-AB17-077C-FFE9-B638E6B8F0C3}"/>
          </ac:spMkLst>
        </pc:spChg>
        <pc:spChg chg="mod">
          <ac:chgData name="Frederic DUGARD" userId="S::frederic.dugard@talan.com::ebe04564-57bb-4068-9573-4cbb1d4478de" providerId="AD" clId="Web-{27DB3D23-E432-4C15-9D91-A09DDDC06AED}" dt="2023-03-20T19:31:47.706" v="991" actId="14100"/>
          <ac:spMkLst>
            <pc:docMk/>
            <pc:sldMk cId="3135886888" sldId="2147470013"/>
            <ac:spMk id="21" creationId="{6BC299F5-985F-827E-0FD3-AEE1F2FFC60A}"/>
          </ac:spMkLst>
        </pc:spChg>
        <pc:spChg chg="mod">
          <ac:chgData name="Frederic DUGARD" userId="S::frederic.dugard@talan.com::ebe04564-57bb-4068-9573-4cbb1d4478de" providerId="AD" clId="Web-{27DB3D23-E432-4C15-9D91-A09DDDC06AED}" dt="2023-03-20T19:38:55.954" v="1056" actId="14100"/>
          <ac:spMkLst>
            <pc:docMk/>
            <pc:sldMk cId="3135886888" sldId="2147470013"/>
            <ac:spMk id="22" creationId="{6D192ED4-A945-36F6-14CC-113D632DC07F}"/>
          </ac:spMkLst>
        </pc:spChg>
        <pc:spChg chg="mod">
          <ac:chgData name="Frederic DUGARD" userId="S::frederic.dugard@talan.com::ebe04564-57bb-4068-9573-4cbb1d4478de" providerId="AD" clId="Web-{27DB3D23-E432-4C15-9D91-A09DDDC06AED}" dt="2023-03-20T19:38:35.374" v="1055" actId="20577"/>
          <ac:spMkLst>
            <pc:docMk/>
            <pc:sldMk cId="3135886888" sldId="2147470013"/>
            <ac:spMk id="31" creationId="{5BD48A0E-9965-A997-954F-6EA156E23022}"/>
          </ac:spMkLst>
        </pc:spChg>
        <pc:spChg chg="mod">
          <ac:chgData name="Frederic DUGARD" userId="S::frederic.dugard@talan.com::ebe04564-57bb-4068-9573-4cbb1d4478de" providerId="AD" clId="Web-{27DB3D23-E432-4C15-9D91-A09DDDC06AED}" dt="2023-03-20T19:36:27.772" v="1046" actId="1076"/>
          <ac:spMkLst>
            <pc:docMk/>
            <pc:sldMk cId="3135886888" sldId="2147470013"/>
            <ac:spMk id="50" creationId="{0ACB4FB7-B568-B9E3-375F-A2A73E3CDD18}"/>
          </ac:spMkLst>
        </pc:spChg>
        <pc:spChg chg="mod">
          <ac:chgData name="Frederic DUGARD" userId="S::frederic.dugard@talan.com::ebe04564-57bb-4068-9573-4cbb1d4478de" providerId="AD" clId="Web-{27DB3D23-E432-4C15-9D91-A09DDDC06AED}" dt="2023-03-20T19:40:19.162" v="1058" actId="1076"/>
          <ac:spMkLst>
            <pc:docMk/>
            <pc:sldMk cId="3135886888" sldId="2147470013"/>
            <ac:spMk id="51" creationId="{E75ED240-FCDC-08B5-DEDD-583498EA288C}"/>
          </ac:spMkLst>
        </pc:spChg>
        <pc:graphicFrameChg chg="mod modGraphic">
          <ac:chgData name="Frederic DUGARD" userId="S::frederic.dugard@talan.com::ebe04564-57bb-4068-9573-4cbb1d4478de" providerId="AD" clId="Web-{27DB3D23-E432-4C15-9D91-A09DDDC06AED}" dt="2023-03-20T19:31:34.768" v="989" actId="1076"/>
          <ac:graphicFrameMkLst>
            <pc:docMk/>
            <pc:sldMk cId="3135886888" sldId="2147470013"/>
            <ac:graphicFrameMk id="49" creationId="{35D71AD9-8FD7-BE74-5FA3-5F309C32FCD6}"/>
          </ac:graphicFrameMkLst>
        </pc:graphicFrameChg>
      </pc:sldChg>
    </pc:docChg>
  </pc:docChgLst>
  <pc:docChgLst>
    <pc:chgData name="Laurent GASNIER" userId="76d79b53-8e0d-47f6-a1b3-cab82a7a2305" providerId="ADAL" clId="{6128BDAE-EC95-4C5D-BBC7-1EAE10C0C729}"/>
    <pc:docChg chg="undo custSel modSld">
      <pc:chgData name="Laurent GASNIER" userId="76d79b53-8e0d-47f6-a1b3-cab82a7a2305" providerId="ADAL" clId="{6128BDAE-EC95-4C5D-BBC7-1EAE10C0C729}" dt="2023-03-17T11:07:02.624" v="935" actId="113"/>
      <pc:docMkLst>
        <pc:docMk/>
      </pc:docMkLst>
      <pc:sldChg chg="modSp mod">
        <pc:chgData name="Laurent GASNIER" userId="76d79b53-8e0d-47f6-a1b3-cab82a7a2305" providerId="ADAL" clId="{6128BDAE-EC95-4C5D-BBC7-1EAE10C0C729}" dt="2023-03-17T10:35:08.429" v="113" actId="1076"/>
        <pc:sldMkLst>
          <pc:docMk/>
          <pc:sldMk cId="2537092080" sldId="2147469915"/>
        </pc:sldMkLst>
        <pc:picChg chg="mod">
          <ac:chgData name="Laurent GASNIER" userId="76d79b53-8e0d-47f6-a1b3-cab82a7a2305" providerId="ADAL" clId="{6128BDAE-EC95-4C5D-BBC7-1EAE10C0C729}" dt="2023-03-17T10:35:08.429" v="113" actId="1076"/>
          <ac:picMkLst>
            <pc:docMk/>
            <pc:sldMk cId="2537092080" sldId="2147469915"/>
            <ac:picMk id="21" creationId="{D78B97C5-3381-3736-0449-CEDE6B46C9B6}"/>
          </ac:picMkLst>
        </pc:picChg>
      </pc:sldChg>
      <pc:sldChg chg="addSp modSp mod">
        <pc:chgData name="Laurent GASNIER" userId="76d79b53-8e0d-47f6-a1b3-cab82a7a2305" providerId="ADAL" clId="{6128BDAE-EC95-4C5D-BBC7-1EAE10C0C729}" dt="2023-03-17T11:07:02.624" v="935" actId="113"/>
        <pc:sldMkLst>
          <pc:docMk/>
          <pc:sldMk cId="3779820847" sldId="2147469994"/>
        </pc:sldMkLst>
        <pc:spChg chg="mod">
          <ac:chgData name="Laurent GASNIER" userId="76d79b53-8e0d-47f6-a1b3-cab82a7a2305" providerId="ADAL" clId="{6128BDAE-EC95-4C5D-BBC7-1EAE10C0C729}" dt="2023-03-17T11:04:29.868" v="837" actId="14100"/>
          <ac:spMkLst>
            <pc:docMk/>
            <pc:sldMk cId="3779820847" sldId="2147469994"/>
            <ac:spMk id="4" creationId="{4A508FF4-FB7F-1647-9EC4-35A7CFA8AA2E}"/>
          </ac:spMkLst>
        </pc:spChg>
        <pc:spChg chg="add mod">
          <ac:chgData name="Laurent GASNIER" userId="76d79b53-8e0d-47f6-a1b3-cab82a7a2305" providerId="ADAL" clId="{6128BDAE-EC95-4C5D-BBC7-1EAE10C0C729}" dt="2023-03-17T11:07:02.624" v="935" actId="113"/>
          <ac:spMkLst>
            <pc:docMk/>
            <pc:sldMk cId="3779820847" sldId="2147469994"/>
            <ac:spMk id="5" creationId="{DF12E7A1-DDA3-AB8B-17AB-85EC2828E26D}"/>
          </ac:spMkLst>
        </pc:spChg>
        <pc:spChg chg="mod">
          <ac:chgData name="Laurent GASNIER" userId="76d79b53-8e0d-47f6-a1b3-cab82a7a2305" providerId="ADAL" clId="{6128BDAE-EC95-4C5D-BBC7-1EAE10C0C729}" dt="2023-03-17T10:50:27.626" v="718" actId="1035"/>
          <ac:spMkLst>
            <pc:docMk/>
            <pc:sldMk cId="3779820847" sldId="2147469994"/>
            <ac:spMk id="146" creationId="{5C9C28A3-3DBA-EB07-5DEC-21F727F50E46}"/>
          </ac:spMkLst>
        </pc:spChg>
        <pc:spChg chg="mod">
          <ac:chgData name="Laurent GASNIER" userId="76d79b53-8e0d-47f6-a1b3-cab82a7a2305" providerId="ADAL" clId="{6128BDAE-EC95-4C5D-BBC7-1EAE10C0C729}" dt="2023-03-17T10:50:27.626" v="718" actId="1035"/>
          <ac:spMkLst>
            <pc:docMk/>
            <pc:sldMk cId="3779820847" sldId="2147469994"/>
            <ac:spMk id="147" creationId="{B3D1DAE3-58E2-CBC9-3D55-190B5DB1D0CA}"/>
          </ac:spMkLst>
        </pc:spChg>
        <pc:spChg chg="mod">
          <ac:chgData name="Laurent GASNIER" userId="76d79b53-8e0d-47f6-a1b3-cab82a7a2305" providerId="ADAL" clId="{6128BDAE-EC95-4C5D-BBC7-1EAE10C0C729}" dt="2023-03-17T10:50:27.626" v="718" actId="1035"/>
          <ac:spMkLst>
            <pc:docMk/>
            <pc:sldMk cId="3779820847" sldId="2147469994"/>
            <ac:spMk id="154" creationId="{8F9C9522-1398-0475-9CA8-B94FD0B5091E}"/>
          </ac:spMkLst>
        </pc:spChg>
        <pc:spChg chg="mod">
          <ac:chgData name="Laurent GASNIER" userId="76d79b53-8e0d-47f6-a1b3-cab82a7a2305" providerId="ADAL" clId="{6128BDAE-EC95-4C5D-BBC7-1EAE10C0C729}" dt="2023-03-17T10:50:27.626" v="718" actId="1035"/>
          <ac:spMkLst>
            <pc:docMk/>
            <pc:sldMk cId="3779820847" sldId="2147469994"/>
            <ac:spMk id="155" creationId="{CCF5CAE9-ABD9-9925-17B0-2202F5880A55}"/>
          </ac:spMkLst>
        </pc:spChg>
        <pc:spChg chg="mod">
          <ac:chgData name="Laurent GASNIER" userId="76d79b53-8e0d-47f6-a1b3-cab82a7a2305" providerId="ADAL" clId="{6128BDAE-EC95-4C5D-BBC7-1EAE10C0C729}" dt="2023-03-17T10:50:27.626" v="718" actId="1035"/>
          <ac:spMkLst>
            <pc:docMk/>
            <pc:sldMk cId="3779820847" sldId="2147469994"/>
            <ac:spMk id="156" creationId="{13405765-BAC4-9FDA-C0FC-E886B81F2937}"/>
          </ac:spMkLst>
        </pc:spChg>
        <pc:spChg chg="mod">
          <ac:chgData name="Laurent GASNIER" userId="76d79b53-8e0d-47f6-a1b3-cab82a7a2305" providerId="ADAL" clId="{6128BDAE-EC95-4C5D-BBC7-1EAE10C0C729}" dt="2023-03-17T10:50:27.626" v="718" actId="1035"/>
          <ac:spMkLst>
            <pc:docMk/>
            <pc:sldMk cId="3779820847" sldId="2147469994"/>
            <ac:spMk id="157" creationId="{FB695D2B-A96C-D215-6E4E-69A789765C73}"/>
          </ac:spMkLst>
        </pc:spChg>
        <pc:spChg chg="mod">
          <ac:chgData name="Laurent GASNIER" userId="76d79b53-8e0d-47f6-a1b3-cab82a7a2305" providerId="ADAL" clId="{6128BDAE-EC95-4C5D-BBC7-1EAE10C0C729}" dt="2023-03-17T10:50:27.626" v="718" actId="1035"/>
          <ac:spMkLst>
            <pc:docMk/>
            <pc:sldMk cId="3779820847" sldId="2147469994"/>
            <ac:spMk id="158" creationId="{FF3EDC27-8389-461C-056F-FF6BE8421C9C}"/>
          </ac:spMkLst>
        </pc:spChg>
        <pc:spChg chg="mod">
          <ac:chgData name="Laurent GASNIER" userId="76d79b53-8e0d-47f6-a1b3-cab82a7a2305" providerId="ADAL" clId="{6128BDAE-EC95-4C5D-BBC7-1EAE10C0C729}" dt="2023-03-17T10:50:27.626" v="718" actId="1035"/>
          <ac:spMkLst>
            <pc:docMk/>
            <pc:sldMk cId="3779820847" sldId="2147469994"/>
            <ac:spMk id="159" creationId="{840B3C15-1810-E749-0C17-7C6CDB5F39B8}"/>
          </ac:spMkLst>
        </pc:spChg>
        <pc:spChg chg="mod">
          <ac:chgData name="Laurent GASNIER" userId="76d79b53-8e0d-47f6-a1b3-cab82a7a2305" providerId="ADAL" clId="{6128BDAE-EC95-4C5D-BBC7-1EAE10C0C729}" dt="2023-03-17T10:50:27.626" v="718" actId="1035"/>
          <ac:spMkLst>
            <pc:docMk/>
            <pc:sldMk cId="3779820847" sldId="2147469994"/>
            <ac:spMk id="160" creationId="{4052F555-59DB-0DCE-7C1A-0788F1D9AB95}"/>
          </ac:spMkLst>
        </pc:spChg>
        <pc:spChg chg="mod">
          <ac:chgData name="Laurent GASNIER" userId="76d79b53-8e0d-47f6-a1b3-cab82a7a2305" providerId="ADAL" clId="{6128BDAE-EC95-4C5D-BBC7-1EAE10C0C729}" dt="2023-03-17T10:50:27.626" v="718" actId="1035"/>
          <ac:spMkLst>
            <pc:docMk/>
            <pc:sldMk cId="3779820847" sldId="2147469994"/>
            <ac:spMk id="161" creationId="{7DE08DC3-D2B9-34F4-9AEE-9345B8CBB0C9}"/>
          </ac:spMkLst>
        </pc:spChg>
        <pc:spChg chg="mod">
          <ac:chgData name="Laurent GASNIER" userId="76d79b53-8e0d-47f6-a1b3-cab82a7a2305" providerId="ADAL" clId="{6128BDAE-EC95-4C5D-BBC7-1EAE10C0C729}" dt="2023-03-17T10:50:27.626" v="718" actId="1035"/>
          <ac:spMkLst>
            <pc:docMk/>
            <pc:sldMk cId="3779820847" sldId="2147469994"/>
            <ac:spMk id="162" creationId="{B28ECEAE-035B-4661-C406-40F681B40376}"/>
          </ac:spMkLst>
        </pc:spChg>
        <pc:spChg chg="mod">
          <ac:chgData name="Laurent GASNIER" userId="76d79b53-8e0d-47f6-a1b3-cab82a7a2305" providerId="ADAL" clId="{6128BDAE-EC95-4C5D-BBC7-1EAE10C0C729}" dt="2023-03-17T10:50:27.626" v="718" actId="1035"/>
          <ac:spMkLst>
            <pc:docMk/>
            <pc:sldMk cId="3779820847" sldId="2147469994"/>
            <ac:spMk id="163" creationId="{148B66DA-1BB9-8FDD-814A-9E902DB1BC79}"/>
          </ac:spMkLst>
        </pc:spChg>
        <pc:spChg chg="mod">
          <ac:chgData name="Laurent GASNIER" userId="76d79b53-8e0d-47f6-a1b3-cab82a7a2305" providerId="ADAL" clId="{6128BDAE-EC95-4C5D-BBC7-1EAE10C0C729}" dt="2023-03-17T10:50:27.626" v="718" actId="1035"/>
          <ac:spMkLst>
            <pc:docMk/>
            <pc:sldMk cId="3779820847" sldId="2147469994"/>
            <ac:spMk id="174" creationId="{9EDCDA73-CF95-BA08-4751-C40979072A4D}"/>
          </ac:spMkLst>
        </pc:spChg>
        <pc:spChg chg="mod">
          <ac:chgData name="Laurent GASNIER" userId="76d79b53-8e0d-47f6-a1b3-cab82a7a2305" providerId="ADAL" clId="{6128BDAE-EC95-4C5D-BBC7-1EAE10C0C729}" dt="2023-03-17T10:50:27.626" v="718" actId="1035"/>
          <ac:spMkLst>
            <pc:docMk/>
            <pc:sldMk cId="3779820847" sldId="2147469994"/>
            <ac:spMk id="175" creationId="{82C9C8E9-95AD-A43A-9725-68B89FB66ABC}"/>
          </ac:spMkLst>
        </pc:spChg>
        <pc:spChg chg="mod">
          <ac:chgData name="Laurent GASNIER" userId="76d79b53-8e0d-47f6-a1b3-cab82a7a2305" providerId="ADAL" clId="{6128BDAE-EC95-4C5D-BBC7-1EAE10C0C729}" dt="2023-03-17T10:50:27.626" v="718" actId="1035"/>
          <ac:spMkLst>
            <pc:docMk/>
            <pc:sldMk cId="3779820847" sldId="2147469994"/>
            <ac:spMk id="182" creationId="{399B1F8B-7642-6EBA-1CA1-3BD719B10579}"/>
          </ac:spMkLst>
        </pc:spChg>
        <pc:spChg chg="mod">
          <ac:chgData name="Laurent GASNIER" userId="76d79b53-8e0d-47f6-a1b3-cab82a7a2305" providerId="ADAL" clId="{6128BDAE-EC95-4C5D-BBC7-1EAE10C0C729}" dt="2023-03-17T11:04:41.142" v="838" actId="14100"/>
          <ac:spMkLst>
            <pc:docMk/>
            <pc:sldMk cId="3779820847" sldId="2147469994"/>
            <ac:spMk id="183" creationId="{D319A40A-D3DD-533C-9C1A-34DD5E26ED6D}"/>
          </ac:spMkLst>
        </pc:spChg>
        <pc:spChg chg="mod">
          <ac:chgData name="Laurent GASNIER" userId="76d79b53-8e0d-47f6-a1b3-cab82a7a2305" providerId="ADAL" clId="{6128BDAE-EC95-4C5D-BBC7-1EAE10C0C729}" dt="2023-03-17T11:05:49.619" v="893" actId="14100"/>
          <ac:spMkLst>
            <pc:docMk/>
            <pc:sldMk cId="3779820847" sldId="2147469994"/>
            <ac:spMk id="188" creationId="{54538CF1-F291-A8D9-20A1-8BD083FAC185}"/>
          </ac:spMkLst>
        </pc:spChg>
        <pc:spChg chg="mod">
          <ac:chgData name="Laurent GASNIER" userId="76d79b53-8e0d-47f6-a1b3-cab82a7a2305" providerId="ADAL" clId="{6128BDAE-EC95-4C5D-BBC7-1EAE10C0C729}" dt="2023-03-17T11:06:11.386" v="903" actId="1035"/>
          <ac:spMkLst>
            <pc:docMk/>
            <pc:sldMk cId="3779820847" sldId="2147469994"/>
            <ac:spMk id="189" creationId="{3EB916B9-A83F-9A16-EA67-076D39DB2E60}"/>
          </ac:spMkLst>
        </pc:spChg>
        <pc:spChg chg="mod">
          <ac:chgData name="Laurent GASNIER" userId="76d79b53-8e0d-47f6-a1b3-cab82a7a2305" providerId="ADAL" clId="{6128BDAE-EC95-4C5D-BBC7-1EAE10C0C729}" dt="2023-03-17T11:06:11.386" v="903" actId="1035"/>
          <ac:spMkLst>
            <pc:docMk/>
            <pc:sldMk cId="3779820847" sldId="2147469994"/>
            <ac:spMk id="190" creationId="{1D84F161-1E47-8DF4-D818-6DA36E041C70}"/>
          </ac:spMkLst>
        </pc:spChg>
        <pc:spChg chg="mod">
          <ac:chgData name="Laurent GASNIER" userId="76d79b53-8e0d-47f6-a1b3-cab82a7a2305" providerId="ADAL" clId="{6128BDAE-EC95-4C5D-BBC7-1EAE10C0C729}" dt="2023-03-17T11:06:11.386" v="903" actId="1035"/>
          <ac:spMkLst>
            <pc:docMk/>
            <pc:sldMk cId="3779820847" sldId="2147469994"/>
            <ac:spMk id="191" creationId="{2C44FE29-3C3D-C7FE-B92C-7C93684EFEC9}"/>
          </ac:spMkLst>
        </pc:spChg>
        <pc:spChg chg="mod">
          <ac:chgData name="Laurent GASNIER" userId="76d79b53-8e0d-47f6-a1b3-cab82a7a2305" providerId="ADAL" clId="{6128BDAE-EC95-4C5D-BBC7-1EAE10C0C729}" dt="2023-03-17T11:06:11.386" v="903" actId="1035"/>
          <ac:spMkLst>
            <pc:docMk/>
            <pc:sldMk cId="3779820847" sldId="2147469994"/>
            <ac:spMk id="192" creationId="{9471BBAE-37A4-F385-4642-775F9AE2AC13}"/>
          </ac:spMkLst>
        </pc:spChg>
        <pc:spChg chg="mod">
          <ac:chgData name="Laurent GASNIER" userId="76d79b53-8e0d-47f6-a1b3-cab82a7a2305" providerId="ADAL" clId="{6128BDAE-EC95-4C5D-BBC7-1EAE10C0C729}" dt="2023-03-17T11:06:26.435" v="914" actId="14100"/>
          <ac:spMkLst>
            <pc:docMk/>
            <pc:sldMk cId="3779820847" sldId="2147469994"/>
            <ac:spMk id="193" creationId="{C76F6737-62DF-1C1A-2E27-2CA8BDA6206A}"/>
          </ac:spMkLst>
        </pc:spChg>
        <pc:grpChg chg="mod">
          <ac:chgData name="Laurent GASNIER" userId="76d79b53-8e0d-47f6-a1b3-cab82a7a2305" providerId="ADAL" clId="{6128BDAE-EC95-4C5D-BBC7-1EAE10C0C729}" dt="2023-03-17T10:50:27.626" v="718" actId="1035"/>
          <ac:grpSpMkLst>
            <pc:docMk/>
            <pc:sldMk cId="3779820847" sldId="2147469994"/>
            <ac:grpSpMk id="164" creationId="{88C70AD6-680D-0CD9-01A0-D31B5A16096B}"/>
          </ac:grpSpMkLst>
        </pc:grpChg>
        <pc:picChg chg="mod">
          <ac:chgData name="Laurent GASNIER" userId="76d79b53-8e0d-47f6-a1b3-cab82a7a2305" providerId="ADAL" clId="{6128BDAE-EC95-4C5D-BBC7-1EAE10C0C729}" dt="2023-03-17T10:50:27.626" v="718" actId="1035"/>
          <ac:picMkLst>
            <pc:docMk/>
            <pc:sldMk cId="3779820847" sldId="2147469994"/>
            <ac:picMk id="2" creationId="{A87DFF64-C970-FE23-20F7-8C7A48308486}"/>
          </ac:picMkLst>
        </pc:picChg>
        <pc:picChg chg="mod">
          <ac:chgData name="Laurent GASNIER" userId="76d79b53-8e0d-47f6-a1b3-cab82a7a2305" providerId="ADAL" clId="{6128BDAE-EC95-4C5D-BBC7-1EAE10C0C729}" dt="2023-03-17T10:50:27.626" v="718" actId="1035"/>
          <ac:picMkLst>
            <pc:docMk/>
            <pc:sldMk cId="3779820847" sldId="2147469994"/>
            <ac:picMk id="7" creationId="{6A1CB753-DF93-0663-FE4F-BB450C8BFD23}"/>
          </ac:picMkLst>
        </pc:picChg>
        <pc:cxnChg chg="mod">
          <ac:chgData name="Laurent GASNIER" userId="76d79b53-8e0d-47f6-a1b3-cab82a7a2305" providerId="ADAL" clId="{6128BDAE-EC95-4C5D-BBC7-1EAE10C0C729}" dt="2023-03-17T11:05:56.671" v="897" actId="1035"/>
          <ac:cxnSpMkLst>
            <pc:docMk/>
            <pc:sldMk cId="3779820847" sldId="2147469994"/>
            <ac:cxnSpMk id="195" creationId="{F5BF65C0-3F2F-45CF-7A07-57C3EA2A89E3}"/>
          </ac:cxnSpMkLst>
        </pc:cxnChg>
        <pc:cxnChg chg="mod">
          <ac:chgData name="Laurent GASNIER" userId="76d79b53-8e0d-47f6-a1b3-cab82a7a2305" providerId="ADAL" clId="{6128BDAE-EC95-4C5D-BBC7-1EAE10C0C729}" dt="2023-03-17T10:41:04.387" v="327" actId="1038"/>
          <ac:cxnSpMkLst>
            <pc:docMk/>
            <pc:sldMk cId="3779820847" sldId="2147469994"/>
            <ac:cxnSpMk id="208" creationId="{F148327F-5E63-F171-0BFF-8EBEC1F7B792}"/>
          </ac:cxnSpMkLst>
        </pc:cxnChg>
      </pc:sldChg>
      <pc:sldChg chg="addSp modSp mod">
        <pc:chgData name="Laurent GASNIER" userId="76d79b53-8e0d-47f6-a1b3-cab82a7a2305" providerId="ADAL" clId="{6128BDAE-EC95-4C5D-BBC7-1EAE10C0C729}" dt="2023-03-17T09:42:21.813" v="111" actId="1035"/>
        <pc:sldMkLst>
          <pc:docMk/>
          <pc:sldMk cId="3475287604" sldId="2147469996"/>
        </pc:sldMkLst>
        <pc:graphicFrameChg chg="add mod modGraphic">
          <ac:chgData name="Laurent GASNIER" userId="76d79b53-8e0d-47f6-a1b3-cab82a7a2305" providerId="ADAL" clId="{6128BDAE-EC95-4C5D-BBC7-1EAE10C0C729}" dt="2023-03-17T09:42:21.813" v="111" actId="1035"/>
          <ac:graphicFrameMkLst>
            <pc:docMk/>
            <pc:sldMk cId="3475287604" sldId="2147469996"/>
            <ac:graphicFrameMk id="4" creationId="{47035697-1F52-1231-AB96-78ECCB31EB51}"/>
          </ac:graphicFrameMkLst>
        </pc:graphicFrameChg>
      </pc:sldChg>
    </pc:docChg>
  </pc:docChgLst>
  <pc:docChgLst>
    <pc:chgData name="Jean GRANDEMANGE" userId="S::jean.grandemange@talan.com::faf07584-8716-430e-b66d-4ceae2fe8450" providerId="AD" clId="Web-{361B6E79-E81B-E56E-589E-89EFE538A8B4}"/>
    <pc:docChg chg="modSld">
      <pc:chgData name="Jean GRANDEMANGE" userId="S::jean.grandemange@talan.com::faf07584-8716-430e-b66d-4ceae2fe8450" providerId="AD" clId="Web-{361B6E79-E81B-E56E-589E-89EFE538A8B4}" dt="2022-11-29T22:43:01.795" v="2" actId="20577"/>
      <pc:docMkLst>
        <pc:docMk/>
      </pc:docMkLst>
      <pc:sldChg chg="modSp">
        <pc:chgData name="Jean GRANDEMANGE" userId="S::jean.grandemange@talan.com::faf07584-8716-430e-b66d-4ceae2fe8450" providerId="AD" clId="Web-{361B6E79-E81B-E56E-589E-89EFE538A8B4}" dt="2022-11-29T22:43:01.795" v="2" actId="20577"/>
        <pc:sldMkLst>
          <pc:docMk/>
          <pc:sldMk cId="3245394107" sldId="2076138030"/>
        </pc:sldMkLst>
        <pc:spChg chg="mod">
          <ac:chgData name="Jean GRANDEMANGE" userId="S::jean.grandemange@talan.com::faf07584-8716-430e-b66d-4ceae2fe8450" providerId="AD" clId="Web-{361B6E79-E81B-E56E-589E-89EFE538A8B4}" dt="2022-11-29T22:43:01.795" v="2" actId="20577"/>
          <ac:spMkLst>
            <pc:docMk/>
            <pc:sldMk cId="3245394107" sldId="2076138030"/>
            <ac:spMk id="9" creationId="{38AEB2E3-ECC0-41C8-9DB0-5F044A85EDF4}"/>
          </ac:spMkLst>
        </pc:spChg>
      </pc:sldChg>
    </pc:docChg>
  </pc:docChgLst>
  <pc:docChgLst>
    <pc:chgData name="Jean GRANDEMANGE" userId="faf07584-8716-430e-b66d-4ceae2fe8450" providerId="ADAL" clId="{818A4DAE-8A32-42EA-A9D8-520480CF3925}"/>
    <pc:docChg chg="undo custSel addSld delSld modSld modSection">
      <pc:chgData name="Jean GRANDEMANGE" userId="faf07584-8716-430e-b66d-4ceae2fe8450" providerId="ADAL" clId="{818A4DAE-8A32-42EA-A9D8-520480CF3925}" dt="2023-01-29T22:39:19.250" v="2335" actId="14100"/>
      <pc:docMkLst>
        <pc:docMk/>
      </pc:docMkLst>
      <pc:sldChg chg="modSp mod">
        <pc:chgData name="Jean GRANDEMANGE" userId="faf07584-8716-430e-b66d-4ceae2fe8450" providerId="ADAL" clId="{818A4DAE-8A32-42EA-A9D8-520480CF3925}" dt="2023-01-29T21:37:45.606" v="20" actId="20577"/>
        <pc:sldMkLst>
          <pc:docMk/>
          <pc:sldMk cId="2027156521" sldId="2012"/>
        </pc:sldMkLst>
        <pc:spChg chg="mod">
          <ac:chgData name="Jean GRANDEMANGE" userId="faf07584-8716-430e-b66d-4ceae2fe8450" providerId="ADAL" clId="{818A4DAE-8A32-42EA-A9D8-520480CF3925}" dt="2023-01-29T21:37:45.606" v="20" actId="20577"/>
          <ac:spMkLst>
            <pc:docMk/>
            <pc:sldMk cId="2027156521" sldId="2012"/>
            <ac:spMk id="2" creationId="{AD939AEA-D027-407A-A661-2AECA2B047D7}"/>
          </ac:spMkLst>
        </pc:spChg>
      </pc:sldChg>
      <pc:sldChg chg="addSp delSp modSp add mod modClrScheme chgLayout">
        <pc:chgData name="Jean GRANDEMANGE" userId="faf07584-8716-430e-b66d-4ceae2fe8450" providerId="ADAL" clId="{818A4DAE-8A32-42EA-A9D8-520480CF3925}" dt="2023-01-29T22:02:17.427" v="524" actId="6549"/>
        <pc:sldMkLst>
          <pc:docMk/>
          <pc:sldMk cId="4006172058" sldId="2142532750"/>
        </pc:sldMkLst>
        <pc:spChg chg="mod ord">
          <ac:chgData name="Jean GRANDEMANGE" userId="faf07584-8716-430e-b66d-4ceae2fe8450" providerId="ADAL" clId="{818A4DAE-8A32-42EA-A9D8-520480CF3925}" dt="2023-01-29T21:59:45.489" v="511" actId="20577"/>
          <ac:spMkLst>
            <pc:docMk/>
            <pc:sldMk cId="4006172058" sldId="2142532750"/>
            <ac:spMk id="2" creationId="{94B83E94-46A7-4009-B109-2C0899180C55}"/>
          </ac:spMkLst>
        </pc:spChg>
        <pc:spChg chg="add del mod ord">
          <ac:chgData name="Jean GRANDEMANGE" userId="faf07584-8716-430e-b66d-4ceae2fe8450" providerId="ADAL" clId="{818A4DAE-8A32-42EA-A9D8-520480CF3925}" dt="2023-01-29T21:59:36.957" v="508" actId="478"/>
          <ac:spMkLst>
            <pc:docMk/>
            <pc:sldMk cId="4006172058" sldId="2142532750"/>
            <ac:spMk id="3" creationId="{F159D886-6FE2-C84A-2667-216B051E3EC9}"/>
          </ac:spMkLst>
        </pc:spChg>
        <pc:spChg chg="mod">
          <ac:chgData name="Jean GRANDEMANGE" userId="faf07584-8716-430e-b66d-4ceae2fe8450" providerId="ADAL" clId="{818A4DAE-8A32-42EA-A9D8-520480CF3925}" dt="2023-01-29T22:00:23.204" v="520" actId="1036"/>
          <ac:spMkLst>
            <pc:docMk/>
            <pc:sldMk cId="4006172058" sldId="2142532750"/>
            <ac:spMk id="13" creationId="{CB88172F-EBDA-46A2-9ACB-BF6DED9A7F33}"/>
          </ac:spMkLst>
        </pc:spChg>
        <pc:spChg chg="mod">
          <ac:chgData name="Jean GRANDEMANGE" userId="faf07584-8716-430e-b66d-4ceae2fe8450" providerId="ADAL" clId="{818A4DAE-8A32-42EA-A9D8-520480CF3925}" dt="2023-01-29T22:00:16.164" v="517" actId="1076"/>
          <ac:spMkLst>
            <pc:docMk/>
            <pc:sldMk cId="4006172058" sldId="2142532750"/>
            <ac:spMk id="16" creationId="{09816974-7163-4CD1-B89A-BEF3C0D20487}"/>
          </ac:spMkLst>
        </pc:spChg>
        <pc:spChg chg="mod">
          <ac:chgData name="Jean GRANDEMANGE" userId="faf07584-8716-430e-b66d-4ceae2fe8450" providerId="ADAL" clId="{818A4DAE-8A32-42EA-A9D8-520480CF3925}" dt="2023-01-29T22:00:16.164" v="517" actId="1076"/>
          <ac:spMkLst>
            <pc:docMk/>
            <pc:sldMk cId="4006172058" sldId="2142532750"/>
            <ac:spMk id="17" creationId="{CF1FA30C-9214-4567-A7AC-8992E845C4BE}"/>
          </ac:spMkLst>
        </pc:spChg>
        <pc:spChg chg="mod">
          <ac:chgData name="Jean GRANDEMANGE" userId="faf07584-8716-430e-b66d-4ceae2fe8450" providerId="ADAL" clId="{818A4DAE-8A32-42EA-A9D8-520480CF3925}" dt="2023-01-29T22:02:17.427" v="524" actId="6549"/>
          <ac:spMkLst>
            <pc:docMk/>
            <pc:sldMk cId="4006172058" sldId="2142532750"/>
            <ac:spMk id="20" creationId="{9F838C8E-0E1C-4344-9EA2-716227004C85}"/>
          </ac:spMkLst>
        </pc:spChg>
        <pc:spChg chg="mod">
          <ac:chgData name="Jean GRANDEMANGE" userId="faf07584-8716-430e-b66d-4ceae2fe8450" providerId="ADAL" clId="{818A4DAE-8A32-42EA-A9D8-520480CF3925}" dt="2023-01-29T22:00:12.558" v="516" actId="1076"/>
          <ac:spMkLst>
            <pc:docMk/>
            <pc:sldMk cId="4006172058" sldId="2142532750"/>
            <ac:spMk id="21" creationId="{CA815E77-8310-4BE8-8FCA-01321D0B4DDD}"/>
          </ac:spMkLst>
        </pc:spChg>
        <pc:spChg chg="mod">
          <ac:chgData name="Jean GRANDEMANGE" userId="faf07584-8716-430e-b66d-4ceae2fe8450" providerId="ADAL" clId="{818A4DAE-8A32-42EA-A9D8-520480CF3925}" dt="2023-01-29T22:00:23.204" v="520" actId="1036"/>
          <ac:spMkLst>
            <pc:docMk/>
            <pc:sldMk cId="4006172058" sldId="2142532750"/>
            <ac:spMk id="25" creationId="{119CCFB2-38C0-4B93-9767-50C899A9DFB9}"/>
          </ac:spMkLst>
        </pc:spChg>
        <pc:picChg chg="mod">
          <ac:chgData name="Jean GRANDEMANGE" userId="faf07584-8716-430e-b66d-4ceae2fe8450" providerId="ADAL" clId="{818A4DAE-8A32-42EA-A9D8-520480CF3925}" dt="2023-01-29T22:00:23.204" v="520" actId="1036"/>
          <ac:picMkLst>
            <pc:docMk/>
            <pc:sldMk cId="4006172058" sldId="2142532750"/>
            <ac:picMk id="4" creationId="{5E3DB5DD-EAA7-4F83-AAAF-A2EC1DE7C9B6}"/>
          </ac:picMkLst>
        </pc:picChg>
        <pc:picChg chg="mod">
          <ac:chgData name="Jean GRANDEMANGE" userId="faf07584-8716-430e-b66d-4ceae2fe8450" providerId="ADAL" clId="{818A4DAE-8A32-42EA-A9D8-520480CF3925}" dt="2023-01-29T22:00:16.164" v="517" actId="1076"/>
          <ac:picMkLst>
            <pc:docMk/>
            <pc:sldMk cId="4006172058" sldId="2142532750"/>
            <ac:picMk id="23" creationId="{893A21C6-FA8A-4611-A729-A7B9C6D2C723}"/>
          </ac:picMkLst>
        </pc:picChg>
      </pc:sldChg>
      <pc:sldChg chg="modSp mod">
        <pc:chgData name="Jean GRANDEMANGE" userId="faf07584-8716-430e-b66d-4ceae2fe8450" providerId="ADAL" clId="{818A4DAE-8A32-42EA-A9D8-520480CF3925}" dt="2023-01-29T21:40:57.219" v="126" actId="20577"/>
        <pc:sldMkLst>
          <pc:docMk/>
          <pc:sldMk cId="3465486402" sldId="2147469770"/>
        </pc:sldMkLst>
        <pc:spChg chg="mod">
          <ac:chgData name="Jean GRANDEMANGE" userId="faf07584-8716-430e-b66d-4ceae2fe8450" providerId="ADAL" clId="{818A4DAE-8A32-42EA-A9D8-520480CF3925}" dt="2023-01-29T21:40:21.312" v="86" actId="20577"/>
          <ac:spMkLst>
            <pc:docMk/>
            <pc:sldMk cId="3465486402" sldId="2147469770"/>
            <ac:spMk id="8" creationId="{0163F83C-6956-4A5D-9DB9-84B4E85778F7}"/>
          </ac:spMkLst>
        </pc:spChg>
        <pc:spChg chg="mod">
          <ac:chgData name="Jean GRANDEMANGE" userId="faf07584-8716-430e-b66d-4ceae2fe8450" providerId="ADAL" clId="{818A4DAE-8A32-42EA-A9D8-520480CF3925}" dt="2023-01-29T21:40:57.219" v="126" actId="20577"/>
          <ac:spMkLst>
            <pc:docMk/>
            <pc:sldMk cId="3465486402" sldId="2147469770"/>
            <ac:spMk id="29" creationId="{9D712442-E734-4D03-816D-D49D1B9FEDDB}"/>
          </ac:spMkLst>
        </pc:spChg>
      </pc:sldChg>
      <pc:sldChg chg="modSp mod modNotesTx">
        <pc:chgData name="Jean GRANDEMANGE" userId="faf07584-8716-430e-b66d-4ceae2fe8450" providerId="ADAL" clId="{818A4DAE-8A32-42EA-A9D8-520480CF3925}" dt="2023-01-29T22:35:33.499" v="2325" actId="20577"/>
        <pc:sldMkLst>
          <pc:docMk/>
          <pc:sldMk cId="113270668" sldId="2147469773"/>
        </pc:sldMkLst>
        <pc:spChg chg="mod">
          <ac:chgData name="Jean GRANDEMANGE" userId="faf07584-8716-430e-b66d-4ceae2fe8450" providerId="ADAL" clId="{818A4DAE-8A32-42EA-A9D8-520480CF3925}" dt="2023-01-29T22:35:33.499" v="2325" actId="20577"/>
          <ac:spMkLst>
            <pc:docMk/>
            <pc:sldMk cId="113270668" sldId="2147469773"/>
            <ac:spMk id="4" creationId="{4A508FF4-FB7F-1647-9EC4-35A7CFA8AA2E}"/>
          </ac:spMkLst>
        </pc:spChg>
        <pc:spChg chg="mod">
          <ac:chgData name="Jean GRANDEMANGE" userId="faf07584-8716-430e-b66d-4ceae2fe8450" providerId="ADAL" clId="{818A4DAE-8A32-42EA-A9D8-520480CF3925}" dt="2023-01-29T21:44:46.247" v="152" actId="20577"/>
          <ac:spMkLst>
            <pc:docMk/>
            <pc:sldMk cId="113270668" sldId="2147469773"/>
            <ac:spMk id="34" creationId="{1F754FDC-34A3-136A-8876-D22BB98269F6}"/>
          </ac:spMkLst>
        </pc:spChg>
        <pc:spChg chg="mod">
          <ac:chgData name="Jean GRANDEMANGE" userId="faf07584-8716-430e-b66d-4ceae2fe8450" providerId="ADAL" clId="{818A4DAE-8A32-42EA-A9D8-520480CF3925}" dt="2023-01-29T21:45:19.807" v="176" actId="20577"/>
          <ac:spMkLst>
            <pc:docMk/>
            <pc:sldMk cId="113270668" sldId="2147469773"/>
            <ac:spMk id="37" creationId="{E28C1A70-9077-CF2C-3651-5076FF2C92F3}"/>
          </ac:spMkLst>
        </pc:spChg>
      </pc:sldChg>
      <pc:sldChg chg="modSp mod">
        <pc:chgData name="Jean GRANDEMANGE" userId="faf07584-8716-430e-b66d-4ceae2fe8450" providerId="ADAL" clId="{818A4DAE-8A32-42EA-A9D8-520480CF3925}" dt="2023-01-29T21:38:07.842" v="21" actId="20577"/>
        <pc:sldMkLst>
          <pc:docMk/>
          <pc:sldMk cId="1985396647" sldId="2147469798"/>
        </pc:sldMkLst>
        <pc:spChg chg="mod">
          <ac:chgData name="Jean GRANDEMANGE" userId="faf07584-8716-430e-b66d-4ceae2fe8450" providerId="ADAL" clId="{818A4DAE-8A32-42EA-A9D8-520480CF3925}" dt="2023-01-29T21:38:07.842" v="21" actId="20577"/>
          <ac:spMkLst>
            <pc:docMk/>
            <pc:sldMk cId="1985396647" sldId="2147469798"/>
            <ac:spMk id="6" creationId="{EF35A969-8E72-F9E2-E4DF-353E6BF5883F}"/>
          </ac:spMkLst>
        </pc:spChg>
      </pc:sldChg>
      <pc:sldChg chg="modSp mod">
        <pc:chgData name="Jean GRANDEMANGE" userId="faf07584-8716-430e-b66d-4ceae2fe8450" providerId="ADAL" clId="{818A4DAE-8A32-42EA-A9D8-520480CF3925}" dt="2023-01-29T21:39:03.694" v="39" actId="20577"/>
        <pc:sldMkLst>
          <pc:docMk/>
          <pc:sldMk cId="2540188229" sldId="2147469802"/>
        </pc:sldMkLst>
        <pc:spChg chg="mod">
          <ac:chgData name="Jean GRANDEMANGE" userId="faf07584-8716-430e-b66d-4ceae2fe8450" providerId="ADAL" clId="{818A4DAE-8A32-42EA-A9D8-520480CF3925}" dt="2023-01-29T21:39:03.694" v="39" actId="20577"/>
          <ac:spMkLst>
            <pc:docMk/>
            <pc:sldMk cId="2540188229" sldId="2147469802"/>
            <ac:spMk id="31" creationId="{ED15B70B-6A6D-4AF1-A556-8F7F4196A78E}"/>
          </ac:spMkLst>
        </pc:spChg>
      </pc:sldChg>
      <pc:sldChg chg="modSp mod">
        <pc:chgData name="Jean GRANDEMANGE" userId="faf07584-8716-430e-b66d-4ceae2fe8450" providerId="ADAL" clId="{818A4DAE-8A32-42EA-A9D8-520480CF3925}" dt="2023-01-29T21:39:22.717" v="64" actId="20577"/>
        <pc:sldMkLst>
          <pc:docMk/>
          <pc:sldMk cId="41662455" sldId="2147469804"/>
        </pc:sldMkLst>
        <pc:spChg chg="mod">
          <ac:chgData name="Jean GRANDEMANGE" userId="faf07584-8716-430e-b66d-4ceae2fe8450" providerId="ADAL" clId="{818A4DAE-8A32-42EA-A9D8-520480CF3925}" dt="2023-01-29T21:39:22.717" v="64" actId="20577"/>
          <ac:spMkLst>
            <pc:docMk/>
            <pc:sldMk cId="41662455" sldId="2147469804"/>
            <ac:spMk id="16" creationId="{7541CBD0-325B-4294-8AF4-D726AC34B380}"/>
          </ac:spMkLst>
        </pc:spChg>
      </pc:sldChg>
      <pc:sldChg chg="modSp mod">
        <pc:chgData name="Jean GRANDEMANGE" userId="faf07584-8716-430e-b66d-4ceae2fe8450" providerId="ADAL" clId="{818A4DAE-8A32-42EA-A9D8-520480CF3925}" dt="2023-01-29T22:02:38.704" v="526" actId="20577"/>
        <pc:sldMkLst>
          <pc:docMk/>
          <pc:sldMk cId="1301648618" sldId="2147469831"/>
        </pc:sldMkLst>
        <pc:spChg chg="mod">
          <ac:chgData name="Jean GRANDEMANGE" userId="faf07584-8716-430e-b66d-4ceae2fe8450" providerId="ADAL" clId="{818A4DAE-8A32-42EA-A9D8-520480CF3925}" dt="2023-01-29T22:02:38.704" v="526" actId="20577"/>
          <ac:spMkLst>
            <pc:docMk/>
            <pc:sldMk cId="1301648618" sldId="2147469831"/>
            <ac:spMk id="9" creationId="{BD6433EC-D9EB-4716-B094-2038D14B5EE7}"/>
          </ac:spMkLst>
        </pc:spChg>
      </pc:sldChg>
      <pc:sldChg chg="modSp mod">
        <pc:chgData name="Jean GRANDEMANGE" userId="faf07584-8716-430e-b66d-4ceae2fe8450" providerId="ADAL" clId="{818A4DAE-8A32-42EA-A9D8-520480CF3925}" dt="2023-01-29T21:41:17.222" v="129" actId="20577"/>
        <pc:sldMkLst>
          <pc:docMk/>
          <pc:sldMk cId="3405077761" sldId="2147469832"/>
        </pc:sldMkLst>
        <pc:spChg chg="mod">
          <ac:chgData name="Jean GRANDEMANGE" userId="faf07584-8716-430e-b66d-4ceae2fe8450" providerId="ADAL" clId="{818A4DAE-8A32-42EA-A9D8-520480CF3925}" dt="2023-01-29T21:41:17.222" v="129" actId="20577"/>
          <ac:spMkLst>
            <pc:docMk/>
            <pc:sldMk cId="3405077761" sldId="2147469832"/>
            <ac:spMk id="7" creationId="{E6CA2F7B-269F-4CD4-A2BE-DE0E7902B462}"/>
          </ac:spMkLst>
        </pc:spChg>
      </pc:sldChg>
      <pc:sldChg chg="modSp mod">
        <pc:chgData name="Jean GRANDEMANGE" userId="faf07584-8716-430e-b66d-4ceae2fe8450" providerId="ADAL" clId="{818A4DAE-8A32-42EA-A9D8-520480CF3925}" dt="2023-01-29T22:34:16.515" v="2323" actId="207"/>
        <pc:sldMkLst>
          <pc:docMk/>
          <pc:sldMk cId="256183737" sldId="2147469842"/>
        </pc:sldMkLst>
        <pc:spChg chg="mod">
          <ac:chgData name="Jean GRANDEMANGE" userId="faf07584-8716-430e-b66d-4ceae2fe8450" providerId="ADAL" clId="{818A4DAE-8A32-42EA-A9D8-520480CF3925}" dt="2023-01-29T21:44:29.159" v="151" actId="20577"/>
          <ac:spMkLst>
            <pc:docMk/>
            <pc:sldMk cId="256183737" sldId="2147469842"/>
            <ac:spMk id="7" creationId="{09CD23FC-4420-46C7-A4E6-F7E37796B87D}"/>
          </ac:spMkLst>
        </pc:spChg>
        <pc:graphicFrameChg chg="modGraphic">
          <ac:chgData name="Jean GRANDEMANGE" userId="faf07584-8716-430e-b66d-4ceae2fe8450" providerId="ADAL" clId="{818A4DAE-8A32-42EA-A9D8-520480CF3925}" dt="2023-01-29T22:34:16.515" v="2323" actId="207"/>
          <ac:graphicFrameMkLst>
            <pc:docMk/>
            <pc:sldMk cId="256183737" sldId="2147469842"/>
            <ac:graphicFrameMk id="4" creationId="{437AB2C6-1962-48D7-BBBD-E467214EDE31}"/>
          </ac:graphicFrameMkLst>
        </pc:graphicFrameChg>
      </pc:sldChg>
      <pc:sldChg chg="modSp mod">
        <pc:chgData name="Jean GRANDEMANGE" userId="faf07584-8716-430e-b66d-4ceae2fe8450" providerId="ADAL" clId="{818A4DAE-8A32-42EA-A9D8-520480CF3925}" dt="2023-01-29T22:04:48.419" v="530"/>
        <pc:sldMkLst>
          <pc:docMk/>
          <pc:sldMk cId="1055855095" sldId="2147469843"/>
        </pc:sldMkLst>
        <pc:graphicFrameChg chg="mod modGraphic">
          <ac:chgData name="Jean GRANDEMANGE" userId="faf07584-8716-430e-b66d-4ceae2fe8450" providerId="ADAL" clId="{818A4DAE-8A32-42EA-A9D8-520480CF3925}" dt="2023-01-29T22:04:48.419" v="530"/>
          <ac:graphicFrameMkLst>
            <pc:docMk/>
            <pc:sldMk cId="1055855095" sldId="2147469843"/>
            <ac:graphicFrameMk id="5" creationId="{E247BD5F-6119-4BE9-9391-766AF3CC0E43}"/>
          </ac:graphicFrameMkLst>
        </pc:graphicFrameChg>
      </pc:sldChg>
      <pc:sldChg chg="addSp delSp modSp mod">
        <pc:chgData name="Jean GRANDEMANGE" userId="faf07584-8716-430e-b66d-4ceae2fe8450" providerId="ADAL" clId="{818A4DAE-8A32-42EA-A9D8-520480CF3925}" dt="2023-01-29T22:39:19.250" v="2335" actId="14100"/>
        <pc:sldMkLst>
          <pc:docMk/>
          <pc:sldMk cId="3764256714" sldId="2147469867"/>
        </pc:sldMkLst>
        <pc:spChg chg="mod">
          <ac:chgData name="Jean GRANDEMANGE" userId="faf07584-8716-430e-b66d-4ceae2fe8450" providerId="ADAL" clId="{818A4DAE-8A32-42EA-A9D8-520480CF3925}" dt="2023-01-29T22:31:37.188" v="2307" actId="20577"/>
          <ac:spMkLst>
            <pc:docMk/>
            <pc:sldMk cId="3764256714" sldId="2147469867"/>
            <ac:spMk id="3" creationId="{4D2DE1AD-B527-53FE-10FF-0ACE360C6AEE}"/>
          </ac:spMkLst>
        </pc:spChg>
        <pc:spChg chg="mod">
          <ac:chgData name="Jean GRANDEMANGE" userId="faf07584-8716-430e-b66d-4ceae2fe8450" providerId="ADAL" clId="{818A4DAE-8A32-42EA-A9D8-520480CF3925}" dt="2023-01-29T22:33:03.921" v="2317" actId="20577"/>
          <ac:spMkLst>
            <pc:docMk/>
            <pc:sldMk cId="3764256714" sldId="2147469867"/>
            <ac:spMk id="4" creationId="{9B1F2532-D901-5314-8B90-028F7A75E45B}"/>
          </ac:spMkLst>
        </pc:spChg>
        <pc:spChg chg="mod">
          <ac:chgData name="Jean GRANDEMANGE" userId="faf07584-8716-430e-b66d-4ceae2fe8450" providerId="ADAL" clId="{818A4DAE-8A32-42EA-A9D8-520480CF3925}" dt="2023-01-29T22:31:18.845" v="2306" actId="1076"/>
          <ac:spMkLst>
            <pc:docMk/>
            <pc:sldMk cId="3764256714" sldId="2147469867"/>
            <ac:spMk id="5" creationId="{E33F71B4-C046-98B8-43D5-DE44C8EC5268}"/>
          </ac:spMkLst>
        </pc:spChg>
        <pc:spChg chg="mod">
          <ac:chgData name="Jean GRANDEMANGE" userId="faf07584-8716-430e-b66d-4ceae2fe8450" providerId="ADAL" clId="{818A4DAE-8A32-42EA-A9D8-520480CF3925}" dt="2023-01-29T22:31:18.845" v="2306" actId="1076"/>
          <ac:spMkLst>
            <pc:docMk/>
            <pc:sldMk cId="3764256714" sldId="2147469867"/>
            <ac:spMk id="7" creationId="{72CFDD98-C303-B246-7482-B03D637021D8}"/>
          </ac:spMkLst>
        </pc:spChg>
        <pc:spChg chg="mod">
          <ac:chgData name="Jean GRANDEMANGE" userId="faf07584-8716-430e-b66d-4ceae2fe8450" providerId="ADAL" clId="{818A4DAE-8A32-42EA-A9D8-520480CF3925}" dt="2023-01-29T22:31:18.845" v="2306" actId="1076"/>
          <ac:spMkLst>
            <pc:docMk/>
            <pc:sldMk cId="3764256714" sldId="2147469867"/>
            <ac:spMk id="9" creationId="{9746C02B-99E1-5123-7191-A73F711393D6}"/>
          </ac:spMkLst>
        </pc:spChg>
        <pc:spChg chg="mod">
          <ac:chgData name="Jean GRANDEMANGE" userId="faf07584-8716-430e-b66d-4ceae2fe8450" providerId="ADAL" clId="{818A4DAE-8A32-42EA-A9D8-520480CF3925}" dt="2023-01-29T22:33:12.609" v="2318" actId="20577"/>
          <ac:spMkLst>
            <pc:docMk/>
            <pc:sldMk cId="3764256714" sldId="2147469867"/>
            <ac:spMk id="11" creationId="{09014BD0-F3D8-FC02-1D97-C3F555D54B95}"/>
          </ac:spMkLst>
        </pc:spChg>
        <pc:spChg chg="mod">
          <ac:chgData name="Jean GRANDEMANGE" userId="faf07584-8716-430e-b66d-4ceae2fe8450" providerId="ADAL" clId="{818A4DAE-8A32-42EA-A9D8-520480CF3925}" dt="2023-01-29T22:31:18.845" v="2306" actId="1076"/>
          <ac:spMkLst>
            <pc:docMk/>
            <pc:sldMk cId="3764256714" sldId="2147469867"/>
            <ac:spMk id="12" creationId="{C23FA211-632F-3313-64B9-937C27CDB373}"/>
          </ac:spMkLst>
        </pc:spChg>
        <pc:spChg chg="mod">
          <ac:chgData name="Jean GRANDEMANGE" userId="faf07584-8716-430e-b66d-4ceae2fe8450" providerId="ADAL" clId="{818A4DAE-8A32-42EA-A9D8-520480CF3925}" dt="2023-01-29T22:31:18.845" v="2306" actId="1076"/>
          <ac:spMkLst>
            <pc:docMk/>
            <pc:sldMk cId="3764256714" sldId="2147469867"/>
            <ac:spMk id="13" creationId="{ACA975F1-11D8-DA05-24ED-50B1698908EE}"/>
          </ac:spMkLst>
        </pc:spChg>
        <pc:spChg chg="del mod">
          <ac:chgData name="Jean GRANDEMANGE" userId="faf07584-8716-430e-b66d-4ceae2fe8450" providerId="ADAL" clId="{818A4DAE-8A32-42EA-A9D8-520480CF3925}" dt="2023-01-29T22:27:29.834" v="2111" actId="478"/>
          <ac:spMkLst>
            <pc:docMk/>
            <pc:sldMk cId="3764256714" sldId="2147469867"/>
            <ac:spMk id="16" creationId="{2235EC81-77E4-863F-F410-38F1D4981102}"/>
          </ac:spMkLst>
        </pc:spChg>
        <pc:spChg chg="mod">
          <ac:chgData name="Jean GRANDEMANGE" userId="faf07584-8716-430e-b66d-4ceae2fe8450" providerId="ADAL" clId="{818A4DAE-8A32-42EA-A9D8-520480CF3925}" dt="2023-01-29T22:30:41.932" v="2296" actId="1076"/>
          <ac:spMkLst>
            <pc:docMk/>
            <pc:sldMk cId="3764256714" sldId="2147469867"/>
            <ac:spMk id="23" creationId="{5B6A5863-76AB-2052-A2C6-EFEE53C44445}"/>
          </ac:spMkLst>
        </pc:spChg>
        <pc:spChg chg="add del">
          <ac:chgData name="Jean GRANDEMANGE" userId="faf07584-8716-430e-b66d-4ceae2fe8450" providerId="ADAL" clId="{818A4DAE-8A32-42EA-A9D8-520480CF3925}" dt="2023-01-29T22:06:31.072" v="669" actId="478"/>
          <ac:spMkLst>
            <pc:docMk/>
            <pc:sldMk cId="3764256714" sldId="2147469867"/>
            <ac:spMk id="24" creationId="{EF8289F6-4AFD-75A1-71A5-0BE97F2C17FA}"/>
          </ac:spMkLst>
        </pc:spChg>
        <pc:spChg chg="add mod">
          <ac:chgData name="Jean GRANDEMANGE" userId="faf07584-8716-430e-b66d-4ceae2fe8450" providerId="ADAL" clId="{818A4DAE-8A32-42EA-A9D8-520480CF3925}" dt="2023-01-29T22:26:49.097" v="2096" actId="113"/>
          <ac:spMkLst>
            <pc:docMk/>
            <pc:sldMk cId="3764256714" sldId="2147469867"/>
            <ac:spMk id="25" creationId="{914F0A5A-F09F-04D2-6BFC-148DAB76BD24}"/>
          </ac:spMkLst>
        </pc:spChg>
        <pc:spChg chg="add mod">
          <ac:chgData name="Jean GRANDEMANGE" userId="faf07584-8716-430e-b66d-4ceae2fe8450" providerId="ADAL" clId="{818A4DAE-8A32-42EA-A9D8-520480CF3925}" dt="2023-01-29T22:26:49.097" v="2096" actId="113"/>
          <ac:spMkLst>
            <pc:docMk/>
            <pc:sldMk cId="3764256714" sldId="2147469867"/>
            <ac:spMk id="26" creationId="{D006A0E9-A129-BFDE-73D1-CB0F0352B454}"/>
          </ac:spMkLst>
        </pc:spChg>
        <pc:spChg chg="add mod">
          <ac:chgData name="Jean GRANDEMANGE" userId="faf07584-8716-430e-b66d-4ceae2fe8450" providerId="ADAL" clId="{818A4DAE-8A32-42EA-A9D8-520480CF3925}" dt="2023-01-29T22:32:15.431" v="2312" actId="12789"/>
          <ac:spMkLst>
            <pc:docMk/>
            <pc:sldMk cId="3764256714" sldId="2147469867"/>
            <ac:spMk id="31" creationId="{654D61A4-8399-FF1F-07BB-D3C7678E2C99}"/>
          </ac:spMkLst>
        </pc:spChg>
        <pc:spChg chg="add mod">
          <ac:chgData name="Jean GRANDEMANGE" userId="faf07584-8716-430e-b66d-4ceae2fe8450" providerId="ADAL" clId="{818A4DAE-8A32-42EA-A9D8-520480CF3925}" dt="2023-01-29T22:32:15.431" v="2312" actId="12789"/>
          <ac:spMkLst>
            <pc:docMk/>
            <pc:sldMk cId="3764256714" sldId="2147469867"/>
            <ac:spMk id="32" creationId="{020CB1B0-83B0-7935-7342-5FE81A9F728C}"/>
          </ac:spMkLst>
        </pc:spChg>
        <pc:spChg chg="add mod">
          <ac:chgData name="Jean GRANDEMANGE" userId="faf07584-8716-430e-b66d-4ceae2fe8450" providerId="ADAL" clId="{818A4DAE-8A32-42EA-A9D8-520480CF3925}" dt="2023-01-29T22:32:54.030" v="2313" actId="2711"/>
          <ac:spMkLst>
            <pc:docMk/>
            <pc:sldMk cId="3764256714" sldId="2147469867"/>
            <ac:spMk id="34" creationId="{273E1CEA-E561-2EE7-55F2-B445F739303E}"/>
          </ac:spMkLst>
        </pc:spChg>
        <pc:spChg chg="add mod">
          <ac:chgData name="Jean GRANDEMANGE" userId="faf07584-8716-430e-b66d-4ceae2fe8450" providerId="ADAL" clId="{818A4DAE-8A32-42EA-A9D8-520480CF3925}" dt="2023-01-29T22:32:15.431" v="2312" actId="12789"/>
          <ac:spMkLst>
            <pc:docMk/>
            <pc:sldMk cId="3764256714" sldId="2147469867"/>
            <ac:spMk id="35" creationId="{CFCF35D4-1075-37D4-B0CA-A94354BC669C}"/>
          </ac:spMkLst>
        </pc:spChg>
        <pc:spChg chg="add mod">
          <ac:chgData name="Jean GRANDEMANGE" userId="faf07584-8716-430e-b66d-4ceae2fe8450" providerId="ADAL" clId="{818A4DAE-8A32-42EA-A9D8-520480CF3925}" dt="2023-01-29T22:39:19.250" v="2335" actId="14100"/>
          <ac:spMkLst>
            <pc:docMk/>
            <pc:sldMk cId="3764256714" sldId="2147469867"/>
            <ac:spMk id="38" creationId="{08DFD334-0A2E-AE21-CEBA-8747D797B658}"/>
          </ac:spMkLst>
        </pc:spChg>
        <pc:spChg chg="add mod">
          <ac:chgData name="Jean GRANDEMANGE" userId="faf07584-8716-430e-b66d-4ceae2fe8450" providerId="ADAL" clId="{818A4DAE-8A32-42EA-A9D8-520480CF3925}" dt="2023-01-29T22:30:07.134" v="2282" actId="20577"/>
          <ac:spMkLst>
            <pc:docMk/>
            <pc:sldMk cId="3764256714" sldId="2147469867"/>
            <ac:spMk id="43" creationId="{E5F1817A-A56F-28B8-99E8-2A35895FB7C6}"/>
          </ac:spMkLst>
        </pc:spChg>
        <pc:grpChg chg="del mod">
          <ac:chgData name="Jean GRANDEMANGE" userId="faf07584-8716-430e-b66d-4ceae2fe8450" providerId="ADAL" clId="{818A4DAE-8A32-42EA-A9D8-520480CF3925}" dt="2023-01-29T22:27:32.134" v="2113" actId="165"/>
          <ac:grpSpMkLst>
            <pc:docMk/>
            <pc:sldMk cId="3764256714" sldId="2147469867"/>
            <ac:grpSpMk id="17" creationId="{B69415FB-4F28-8901-74FE-87512FF4E1B1}"/>
          </ac:grpSpMkLst>
        </pc:grpChg>
        <pc:picChg chg="mod">
          <ac:chgData name="Jean GRANDEMANGE" userId="faf07584-8716-430e-b66d-4ceae2fe8450" providerId="ADAL" clId="{818A4DAE-8A32-42EA-A9D8-520480CF3925}" dt="2023-01-29T22:31:18.845" v="2306" actId="1076"/>
          <ac:picMkLst>
            <pc:docMk/>
            <pc:sldMk cId="3764256714" sldId="2147469867"/>
            <ac:picMk id="14" creationId="{D6856616-6AEC-A685-8062-FF4AAF7553D5}"/>
          </ac:picMkLst>
        </pc:picChg>
        <pc:picChg chg="mod">
          <ac:chgData name="Jean GRANDEMANGE" userId="faf07584-8716-430e-b66d-4ceae2fe8450" providerId="ADAL" clId="{818A4DAE-8A32-42EA-A9D8-520480CF3925}" dt="2023-01-29T22:31:18.845" v="2306" actId="1076"/>
          <ac:picMkLst>
            <pc:docMk/>
            <pc:sldMk cId="3764256714" sldId="2147469867"/>
            <ac:picMk id="15" creationId="{C82D58AE-FA64-1000-E349-F482F28668AF}"/>
          </ac:picMkLst>
        </pc:picChg>
        <pc:picChg chg="del mod">
          <ac:chgData name="Jean GRANDEMANGE" userId="faf07584-8716-430e-b66d-4ceae2fe8450" providerId="ADAL" clId="{818A4DAE-8A32-42EA-A9D8-520480CF3925}" dt="2023-01-29T22:27:27.889" v="2110" actId="478"/>
          <ac:picMkLst>
            <pc:docMk/>
            <pc:sldMk cId="3764256714" sldId="2147469867"/>
            <ac:picMk id="18" creationId="{393A98C5-F9B8-127B-CC51-14145CCDB213}"/>
          </ac:picMkLst>
        </pc:picChg>
        <pc:picChg chg="del mod">
          <ac:chgData name="Jean GRANDEMANGE" userId="faf07584-8716-430e-b66d-4ceae2fe8450" providerId="ADAL" clId="{818A4DAE-8A32-42EA-A9D8-520480CF3925}" dt="2023-01-29T22:27:27.889" v="2110" actId="478"/>
          <ac:picMkLst>
            <pc:docMk/>
            <pc:sldMk cId="3764256714" sldId="2147469867"/>
            <ac:picMk id="19" creationId="{58CBD12F-7344-A960-F968-FF44FAE33CBC}"/>
          </ac:picMkLst>
        </pc:picChg>
        <pc:picChg chg="mod topLvl">
          <ac:chgData name="Jean GRANDEMANGE" userId="faf07584-8716-430e-b66d-4ceae2fe8450" providerId="ADAL" clId="{818A4DAE-8A32-42EA-A9D8-520480CF3925}" dt="2023-01-29T22:29:51.057" v="2270" actId="1076"/>
          <ac:picMkLst>
            <pc:docMk/>
            <pc:sldMk cId="3764256714" sldId="2147469867"/>
            <ac:picMk id="20" creationId="{AF442C93-5A5C-3D9C-AE01-4F1CFA08770A}"/>
          </ac:picMkLst>
        </pc:picChg>
        <pc:picChg chg="del mod">
          <ac:chgData name="Jean GRANDEMANGE" userId="faf07584-8716-430e-b66d-4ceae2fe8450" providerId="ADAL" clId="{818A4DAE-8A32-42EA-A9D8-520480CF3925}" dt="2023-01-29T22:27:27.889" v="2110" actId="478"/>
          <ac:picMkLst>
            <pc:docMk/>
            <pc:sldMk cId="3764256714" sldId="2147469867"/>
            <ac:picMk id="21" creationId="{8DBF4CAF-95B4-FBF8-DEE7-8C8E789DEAAE}"/>
          </ac:picMkLst>
        </pc:picChg>
        <pc:picChg chg="del mod">
          <ac:chgData name="Jean GRANDEMANGE" userId="faf07584-8716-430e-b66d-4ceae2fe8450" providerId="ADAL" clId="{818A4DAE-8A32-42EA-A9D8-520480CF3925}" dt="2023-01-29T22:27:27.889" v="2110" actId="478"/>
          <ac:picMkLst>
            <pc:docMk/>
            <pc:sldMk cId="3764256714" sldId="2147469867"/>
            <ac:picMk id="22" creationId="{CB0C93D1-27C3-8C53-A066-A5091B8FED76}"/>
          </ac:picMkLst>
        </pc:picChg>
        <pc:picChg chg="add mod topLvl">
          <ac:chgData name="Jean GRANDEMANGE" userId="faf07584-8716-430e-b66d-4ceae2fe8450" providerId="ADAL" clId="{818A4DAE-8A32-42EA-A9D8-520480CF3925}" dt="2023-01-29T22:28:57.945" v="2196" actId="1076"/>
          <ac:picMkLst>
            <pc:docMk/>
            <pc:sldMk cId="3764256714" sldId="2147469867"/>
            <ac:picMk id="36" creationId="{E9649EFD-AC1C-4B0D-DE0F-4A6468D9C8BE}"/>
          </ac:picMkLst>
        </pc:picChg>
        <pc:picChg chg="add mod topLvl">
          <ac:chgData name="Jean GRANDEMANGE" userId="faf07584-8716-430e-b66d-4ceae2fe8450" providerId="ADAL" clId="{818A4DAE-8A32-42EA-A9D8-520480CF3925}" dt="2023-01-29T22:28:57.945" v="2196" actId="1076"/>
          <ac:picMkLst>
            <pc:docMk/>
            <pc:sldMk cId="3764256714" sldId="2147469867"/>
            <ac:picMk id="37" creationId="{93D87EE4-4B2B-93B7-E3CE-45FAE050B58F}"/>
          </ac:picMkLst>
        </pc:picChg>
        <pc:picChg chg="add mod">
          <ac:chgData name="Jean GRANDEMANGE" userId="faf07584-8716-430e-b66d-4ceae2fe8450" providerId="ADAL" clId="{818A4DAE-8A32-42EA-A9D8-520480CF3925}" dt="2023-01-29T22:28:54.122" v="2195" actId="571"/>
          <ac:picMkLst>
            <pc:docMk/>
            <pc:sldMk cId="3764256714" sldId="2147469867"/>
            <ac:picMk id="41" creationId="{19F3BEB7-FBCF-D72F-6060-5229C41A5FE0}"/>
          </ac:picMkLst>
        </pc:picChg>
        <pc:picChg chg="add mod">
          <ac:chgData name="Jean GRANDEMANGE" userId="faf07584-8716-430e-b66d-4ceae2fe8450" providerId="ADAL" clId="{818A4DAE-8A32-42EA-A9D8-520480CF3925}" dt="2023-01-29T22:28:54.122" v="2195" actId="571"/>
          <ac:picMkLst>
            <pc:docMk/>
            <pc:sldMk cId="3764256714" sldId="2147469867"/>
            <ac:picMk id="42" creationId="{A8830C46-D9F5-045C-A6AC-695E55E2C422}"/>
          </ac:picMkLst>
        </pc:picChg>
        <pc:cxnChg chg="mod">
          <ac:chgData name="Jean GRANDEMANGE" userId="faf07584-8716-430e-b66d-4ceae2fe8450" providerId="ADAL" clId="{818A4DAE-8A32-42EA-A9D8-520480CF3925}" dt="2023-01-29T22:31:18.845" v="2306" actId="1076"/>
          <ac:cxnSpMkLst>
            <pc:docMk/>
            <pc:sldMk cId="3764256714" sldId="2147469867"/>
            <ac:cxnSpMk id="6" creationId="{3F2BC393-83CB-4B9E-7C41-FBCB430CCFA6}"/>
          </ac:cxnSpMkLst>
        </pc:cxnChg>
        <pc:cxnChg chg="mod">
          <ac:chgData name="Jean GRANDEMANGE" userId="faf07584-8716-430e-b66d-4ceae2fe8450" providerId="ADAL" clId="{818A4DAE-8A32-42EA-A9D8-520480CF3925}" dt="2023-01-29T22:31:18.845" v="2306" actId="1076"/>
          <ac:cxnSpMkLst>
            <pc:docMk/>
            <pc:sldMk cId="3764256714" sldId="2147469867"/>
            <ac:cxnSpMk id="8" creationId="{E5A90866-C485-0D02-53F8-17F37813924E}"/>
          </ac:cxnSpMkLst>
        </pc:cxnChg>
        <pc:cxnChg chg="mod">
          <ac:chgData name="Jean GRANDEMANGE" userId="faf07584-8716-430e-b66d-4ceae2fe8450" providerId="ADAL" clId="{818A4DAE-8A32-42EA-A9D8-520480CF3925}" dt="2023-01-29T22:31:18.845" v="2306" actId="1076"/>
          <ac:cxnSpMkLst>
            <pc:docMk/>
            <pc:sldMk cId="3764256714" sldId="2147469867"/>
            <ac:cxnSpMk id="10" creationId="{31D51D3E-415E-BD9F-316C-4419D85E3577}"/>
          </ac:cxnSpMkLst>
        </pc:cxnChg>
        <pc:cxnChg chg="add mod">
          <ac:chgData name="Jean GRANDEMANGE" userId="faf07584-8716-430e-b66d-4ceae2fe8450" providerId="ADAL" clId="{818A4DAE-8A32-42EA-A9D8-520480CF3925}" dt="2023-01-29T22:23:19.497" v="1877" actId="1076"/>
          <ac:cxnSpMkLst>
            <pc:docMk/>
            <pc:sldMk cId="3764256714" sldId="2147469867"/>
            <ac:cxnSpMk id="28" creationId="{1D71A94B-2998-471C-38DC-C6B1F21698F5}"/>
          </ac:cxnSpMkLst>
        </pc:cxnChg>
        <pc:cxnChg chg="add mod">
          <ac:chgData name="Jean GRANDEMANGE" userId="faf07584-8716-430e-b66d-4ceae2fe8450" providerId="ADAL" clId="{818A4DAE-8A32-42EA-A9D8-520480CF3925}" dt="2023-01-29T22:23:19.497" v="1877" actId="1076"/>
          <ac:cxnSpMkLst>
            <pc:docMk/>
            <pc:sldMk cId="3764256714" sldId="2147469867"/>
            <ac:cxnSpMk id="29" creationId="{A4F65EBB-4530-EA8C-47AD-F395AE547315}"/>
          </ac:cxnSpMkLst>
        </pc:cxnChg>
        <pc:cxnChg chg="add mod">
          <ac:chgData name="Jean GRANDEMANGE" userId="faf07584-8716-430e-b66d-4ceae2fe8450" providerId="ADAL" clId="{818A4DAE-8A32-42EA-A9D8-520480CF3925}" dt="2023-01-29T22:29:38.434" v="2267" actId="1076"/>
          <ac:cxnSpMkLst>
            <pc:docMk/>
            <pc:sldMk cId="3764256714" sldId="2147469867"/>
            <ac:cxnSpMk id="30" creationId="{757F82DD-9664-4FD2-E6F2-DEA7D5C4E57F}"/>
          </ac:cxnSpMkLst>
        </pc:cxnChg>
        <pc:cxnChg chg="add mod">
          <ac:chgData name="Jean GRANDEMANGE" userId="faf07584-8716-430e-b66d-4ceae2fe8450" providerId="ADAL" clId="{818A4DAE-8A32-42EA-A9D8-520480CF3925}" dt="2023-01-29T22:29:47.692" v="2269"/>
          <ac:cxnSpMkLst>
            <pc:docMk/>
            <pc:sldMk cId="3764256714" sldId="2147469867"/>
            <ac:cxnSpMk id="40" creationId="{B0A89304-5492-35A6-B3B5-69198E721646}"/>
          </ac:cxnSpMkLst>
        </pc:cxnChg>
      </pc:sldChg>
      <pc:sldChg chg="modSp mod">
        <pc:chgData name="Jean GRANDEMANGE" userId="faf07584-8716-430e-b66d-4ceae2fe8450" providerId="ADAL" clId="{818A4DAE-8A32-42EA-A9D8-520480CF3925}" dt="2023-01-29T22:34:51.487" v="2324" actId="20577"/>
        <pc:sldMkLst>
          <pc:docMk/>
          <pc:sldMk cId="3260995176" sldId="2147469875"/>
        </pc:sldMkLst>
        <pc:spChg chg="mod">
          <ac:chgData name="Jean GRANDEMANGE" userId="faf07584-8716-430e-b66d-4ceae2fe8450" providerId="ADAL" clId="{818A4DAE-8A32-42EA-A9D8-520480CF3925}" dt="2023-01-29T22:34:51.487" v="2324" actId="20577"/>
          <ac:spMkLst>
            <pc:docMk/>
            <pc:sldMk cId="3260995176" sldId="2147469875"/>
            <ac:spMk id="9" creationId="{AD5B82E5-C91F-4D2B-84D2-A24EDBD19DD7}"/>
          </ac:spMkLst>
        </pc:spChg>
      </pc:sldChg>
      <pc:sldChg chg="addSp delSp modSp mod">
        <pc:chgData name="Jean GRANDEMANGE" userId="faf07584-8716-430e-b66d-4ceae2fe8450" providerId="ADAL" clId="{818A4DAE-8A32-42EA-A9D8-520480CF3925}" dt="2023-01-29T21:43:41.211" v="142" actId="1076"/>
        <pc:sldMkLst>
          <pc:docMk/>
          <pc:sldMk cId="2809162801" sldId="2147469883"/>
        </pc:sldMkLst>
        <pc:spChg chg="add mod">
          <ac:chgData name="Jean GRANDEMANGE" userId="faf07584-8716-430e-b66d-4ceae2fe8450" providerId="ADAL" clId="{818A4DAE-8A32-42EA-A9D8-520480CF3925}" dt="2023-01-29T21:43:19.824" v="136" actId="1076"/>
          <ac:spMkLst>
            <pc:docMk/>
            <pc:sldMk cId="2809162801" sldId="2147469883"/>
            <ac:spMk id="3" creationId="{D0416597-5659-9D0C-9909-8C1CDB648284}"/>
          </ac:spMkLst>
        </pc:spChg>
        <pc:spChg chg="add del mod">
          <ac:chgData name="Jean GRANDEMANGE" userId="faf07584-8716-430e-b66d-4ceae2fe8450" providerId="ADAL" clId="{818A4DAE-8A32-42EA-A9D8-520480CF3925}" dt="2023-01-29T21:43:12.527" v="134" actId="478"/>
          <ac:spMkLst>
            <pc:docMk/>
            <pc:sldMk cId="2809162801" sldId="2147469883"/>
            <ac:spMk id="6" creationId="{EC4FD404-5986-8136-3EB6-8C16CACCED04}"/>
          </ac:spMkLst>
        </pc:spChg>
        <pc:spChg chg="add del mod">
          <ac:chgData name="Jean GRANDEMANGE" userId="faf07584-8716-430e-b66d-4ceae2fe8450" providerId="ADAL" clId="{818A4DAE-8A32-42EA-A9D8-520480CF3925}" dt="2023-01-29T21:42:59.181" v="131" actId="478"/>
          <ac:spMkLst>
            <pc:docMk/>
            <pc:sldMk cId="2809162801" sldId="2147469883"/>
            <ac:spMk id="10" creationId="{58005B59-2E69-DA0F-8B9A-8B4F176F0E65}"/>
          </ac:spMkLst>
        </pc:spChg>
        <pc:spChg chg="add mod">
          <ac:chgData name="Jean GRANDEMANGE" userId="faf07584-8716-430e-b66d-4ceae2fe8450" providerId="ADAL" clId="{818A4DAE-8A32-42EA-A9D8-520480CF3925}" dt="2023-01-29T21:43:32.617" v="138" actId="20577"/>
          <ac:spMkLst>
            <pc:docMk/>
            <pc:sldMk cId="2809162801" sldId="2147469883"/>
            <ac:spMk id="11" creationId="{F9E5A4B7-36AD-B762-293E-5F0D4F8AF6F8}"/>
          </ac:spMkLst>
        </pc:spChg>
        <pc:spChg chg="add mod">
          <ac:chgData name="Jean GRANDEMANGE" userId="faf07584-8716-430e-b66d-4ceae2fe8450" providerId="ADAL" clId="{818A4DAE-8A32-42EA-A9D8-520480CF3925}" dt="2023-01-29T21:43:19.824" v="136" actId="1076"/>
          <ac:spMkLst>
            <pc:docMk/>
            <pc:sldMk cId="2809162801" sldId="2147469883"/>
            <ac:spMk id="12" creationId="{1C22BD28-5C35-1757-BB9C-6A76634064BF}"/>
          </ac:spMkLst>
        </pc:spChg>
        <pc:grpChg chg="add mod">
          <ac:chgData name="Jean GRANDEMANGE" userId="faf07584-8716-430e-b66d-4ceae2fe8450" providerId="ADAL" clId="{818A4DAE-8A32-42EA-A9D8-520480CF3925}" dt="2023-01-29T21:43:25.550" v="137" actId="1076"/>
          <ac:grpSpMkLst>
            <pc:docMk/>
            <pc:sldMk cId="2809162801" sldId="2147469883"/>
            <ac:grpSpMk id="7" creationId="{13C56742-6979-3823-3713-FDA60BCC37D9}"/>
          </ac:grpSpMkLst>
        </pc:grpChg>
        <pc:picChg chg="add mod">
          <ac:chgData name="Jean GRANDEMANGE" userId="faf07584-8716-430e-b66d-4ceae2fe8450" providerId="ADAL" clId="{818A4DAE-8A32-42EA-A9D8-520480CF3925}" dt="2023-01-29T21:43:19.824" v="136" actId="1076"/>
          <ac:picMkLst>
            <pc:docMk/>
            <pc:sldMk cId="2809162801" sldId="2147469883"/>
            <ac:picMk id="4" creationId="{47A93B01-D099-945A-C458-AD5F5C9B16BF}"/>
          </ac:picMkLst>
        </pc:picChg>
        <pc:picChg chg="mod">
          <ac:chgData name="Jean GRANDEMANGE" userId="faf07584-8716-430e-b66d-4ceae2fe8450" providerId="ADAL" clId="{818A4DAE-8A32-42EA-A9D8-520480CF3925}" dt="2023-01-29T21:42:52.395" v="130"/>
          <ac:picMkLst>
            <pc:docMk/>
            <pc:sldMk cId="2809162801" sldId="2147469883"/>
            <ac:picMk id="8" creationId="{91E407F8-2A94-7DFA-852E-B9399EFF9FA4}"/>
          </ac:picMkLst>
        </pc:picChg>
        <pc:picChg chg="mod">
          <ac:chgData name="Jean GRANDEMANGE" userId="faf07584-8716-430e-b66d-4ceae2fe8450" providerId="ADAL" clId="{818A4DAE-8A32-42EA-A9D8-520480CF3925}" dt="2023-01-29T21:43:41.211" v="142" actId="1076"/>
          <ac:picMkLst>
            <pc:docMk/>
            <pc:sldMk cId="2809162801" sldId="2147469883"/>
            <ac:picMk id="9" creationId="{488ECD12-4652-7920-9757-CAB3E32FC4ED}"/>
          </ac:picMkLst>
        </pc:picChg>
        <pc:picChg chg="add mod">
          <ac:chgData name="Jean GRANDEMANGE" userId="faf07584-8716-430e-b66d-4ceae2fe8450" providerId="ADAL" clId="{818A4DAE-8A32-42EA-A9D8-520480CF3925}" dt="2023-01-29T21:43:19.824" v="136" actId="1076"/>
          <ac:picMkLst>
            <pc:docMk/>
            <pc:sldMk cId="2809162801" sldId="2147469883"/>
            <ac:picMk id="13" creationId="{3A2288F2-1337-0820-685C-A37A270385E3}"/>
          </ac:picMkLst>
        </pc:picChg>
        <pc:picChg chg="add mod">
          <ac:chgData name="Jean GRANDEMANGE" userId="faf07584-8716-430e-b66d-4ceae2fe8450" providerId="ADAL" clId="{818A4DAE-8A32-42EA-A9D8-520480CF3925}" dt="2023-01-29T21:43:19.824" v="136" actId="1076"/>
          <ac:picMkLst>
            <pc:docMk/>
            <pc:sldMk cId="2809162801" sldId="2147469883"/>
            <ac:picMk id="14" creationId="{4E0AA53A-0572-D9F0-207E-0B17E1EF5D5E}"/>
          </ac:picMkLst>
        </pc:picChg>
        <pc:picChg chg="add mod">
          <ac:chgData name="Jean GRANDEMANGE" userId="faf07584-8716-430e-b66d-4ceae2fe8450" providerId="ADAL" clId="{818A4DAE-8A32-42EA-A9D8-520480CF3925}" dt="2023-01-29T21:43:19.824" v="136" actId="1076"/>
          <ac:picMkLst>
            <pc:docMk/>
            <pc:sldMk cId="2809162801" sldId="2147469883"/>
            <ac:picMk id="15" creationId="{29772E59-2A60-DFB8-1EED-22221E75BB92}"/>
          </ac:picMkLst>
        </pc:picChg>
        <pc:picChg chg="add del mod">
          <ac:chgData name="Jean GRANDEMANGE" userId="faf07584-8716-430e-b66d-4ceae2fe8450" providerId="ADAL" clId="{818A4DAE-8A32-42EA-A9D8-520480CF3925}" dt="2023-01-29T21:43:35.651" v="139" actId="478"/>
          <ac:picMkLst>
            <pc:docMk/>
            <pc:sldMk cId="2809162801" sldId="2147469883"/>
            <ac:picMk id="16" creationId="{6603F901-1864-D1FE-811A-8A6F1D30DFD1}"/>
          </ac:picMkLst>
        </pc:picChg>
      </pc:sldChg>
      <pc:sldChg chg="addSp delSp modSp mod">
        <pc:chgData name="Jean GRANDEMANGE" userId="faf07584-8716-430e-b66d-4ceae2fe8450" providerId="ADAL" clId="{818A4DAE-8A32-42EA-A9D8-520480CF3925}" dt="2023-01-29T21:59:21.722" v="505" actId="1076"/>
        <pc:sldMkLst>
          <pc:docMk/>
          <pc:sldMk cId="3022317248" sldId="2147469886"/>
        </pc:sldMkLst>
        <pc:spChg chg="mod">
          <ac:chgData name="Jean GRANDEMANGE" userId="faf07584-8716-430e-b66d-4ceae2fe8450" providerId="ADAL" clId="{818A4DAE-8A32-42EA-A9D8-520480CF3925}" dt="2023-01-29T21:58:36.602" v="493" actId="20577"/>
          <ac:spMkLst>
            <pc:docMk/>
            <pc:sldMk cId="3022317248" sldId="2147469886"/>
            <ac:spMk id="2" creationId="{46F04B99-9B07-47CE-8EF3-B54C1C5C7B2E}"/>
          </ac:spMkLst>
        </pc:spChg>
        <pc:spChg chg="add del">
          <ac:chgData name="Jean GRANDEMANGE" userId="faf07584-8716-430e-b66d-4ceae2fe8450" providerId="ADAL" clId="{818A4DAE-8A32-42EA-A9D8-520480CF3925}" dt="2023-01-29T21:50:06.423" v="254" actId="478"/>
          <ac:spMkLst>
            <pc:docMk/>
            <pc:sldMk cId="3022317248" sldId="2147469886"/>
            <ac:spMk id="4" creationId="{A5437A7E-5C19-B764-723E-B2D8B169EEA6}"/>
          </ac:spMkLst>
        </pc:spChg>
        <pc:spChg chg="add mod">
          <ac:chgData name="Jean GRANDEMANGE" userId="faf07584-8716-430e-b66d-4ceae2fe8450" providerId="ADAL" clId="{818A4DAE-8A32-42EA-A9D8-520480CF3925}" dt="2023-01-29T21:53:02.507" v="343" actId="20577"/>
          <ac:spMkLst>
            <pc:docMk/>
            <pc:sldMk cId="3022317248" sldId="2147469886"/>
            <ac:spMk id="5" creationId="{EA5A0B01-EB07-4722-44C8-2FB2176D80F0}"/>
          </ac:spMkLst>
        </pc:spChg>
        <pc:spChg chg="add mod">
          <ac:chgData name="Jean GRANDEMANGE" userId="faf07584-8716-430e-b66d-4ceae2fe8450" providerId="ADAL" clId="{818A4DAE-8A32-42EA-A9D8-520480CF3925}" dt="2023-01-29T21:52:09.912" v="307" actId="164"/>
          <ac:spMkLst>
            <pc:docMk/>
            <pc:sldMk cId="3022317248" sldId="2147469886"/>
            <ac:spMk id="6" creationId="{251AA899-0D92-599A-1B18-6B998F1EC254}"/>
          </ac:spMkLst>
        </pc:spChg>
        <pc:spChg chg="add mod">
          <ac:chgData name="Jean GRANDEMANGE" userId="faf07584-8716-430e-b66d-4ceae2fe8450" providerId="ADAL" clId="{818A4DAE-8A32-42EA-A9D8-520480CF3925}" dt="2023-01-29T21:52:14.709" v="309" actId="164"/>
          <ac:spMkLst>
            <pc:docMk/>
            <pc:sldMk cId="3022317248" sldId="2147469886"/>
            <ac:spMk id="7" creationId="{0D569121-2975-1B0F-05AE-738FD715D388}"/>
          </ac:spMkLst>
        </pc:spChg>
        <pc:spChg chg="del">
          <ac:chgData name="Jean GRANDEMANGE" userId="faf07584-8716-430e-b66d-4ceae2fe8450" providerId="ADAL" clId="{818A4DAE-8A32-42EA-A9D8-520480CF3925}" dt="2023-01-29T21:48:22.477" v="177" actId="478"/>
          <ac:spMkLst>
            <pc:docMk/>
            <pc:sldMk cId="3022317248" sldId="2147469886"/>
            <ac:spMk id="8" creationId="{FB0CDFF6-BD66-292F-252E-3C3C933B30C1}"/>
          </ac:spMkLst>
        </pc:spChg>
        <pc:spChg chg="add mod">
          <ac:chgData name="Jean GRANDEMANGE" userId="faf07584-8716-430e-b66d-4ceae2fe8450" providerId="ADAL" clId="{818A4DAE-8A32-42EA-A9D8-520480CF3925}" dt="2023-01-29T21:52:12.418" v="308" actId="164"/>
          <ac:spMkLst>
            <pc:docMk/>
            <pc:sldMk cId="3022317248" sldId="2147469886"/>
            <ac:spMk id="9" creationId="{EC9419F4-6438-E531-CE9A-DCA5E5613DAD}"/>
          </ac:spMkLst>
        </pc:spChg>
        <pc:spChg chg="mod">
          <ac:chgData name="Jean GRANDEMANGE" userId="faf07584-8716-430e-b66d-4ceae2fe8450" providerId="ADAL" clId="{818A4DAE-8A32-42EA-A9D8-520480CF3925}" dt="2023-01-29T21:52:42.667" v="319" actId="404"/>
          <ac:spMkLst>
            <pc:docMk/>
            <pc:sldMk cId="3022317248" sldId="2147469886"/>
            <ac:spMk id="11" creationId="{4CE7BA03-95EE-CF29-5909-219F15921972}"/>
          </ac:spMkLst>
        </pc:spChg>
        <pc:spChg chg="mod">
          <ac:chgData name="Jean GRANDEMANGE" userId="faf07584-8716-430e-b66d-4ceae2fe8450" providerId="ADAL" clId="{818A4DAE-8A32-42EA-A9D8-520480CF3925}" dt="2023-01-29T21:52:42.667" v="319" actId="404"/>
          <ac:spMkLst>
            <pc:docMk/>
            <pc:sldMk cId="3022317248" sldId="2147469886"/>
            <ac:spMk id="12" creationId="{CDCE780E-17E9-DA1A-EBE7-06181F2EF5E3}"/>
          </ac:spMkLst>
        </pc:spChg>
        <pc:spChg chg="mod">
          <ac:chgData name="Jean GRANDEMANGE" userId="faf07584-8716-430e-b66d-4ceae2fe8450" providerId="ADAL" clId="{818A4DAE-8A32-42EA-A9D8-520480CF3925}" dt="2023-01-29T21:52:42.667" v="319" actId="404"/>
          <ac:spMkLst>
            <pc:docMk/>
            <pc:sldMk cId="3022317248" sldId="2147469886"/>
            <ac:spMk id="14" creationId="{EC453B10-29E7-BEEF-7F92-75E1CE8C95DD}"/>
          </ac:spMkLst>
        </pc:spChg>
        <pc:spChg chg="mod">
          <ac:chgData name="Jean GRANDEMANGE" userId="faf07584-8716-430e-b66d-4ceae2fe8450" providerId="ADAL" clId="{818A4DAE-8A32-42EA-A9D8-520480CF3925}" dt="2023-01-29T21:52:42.667" v="319" actId="404"/>
          <ac:spMkLst>
            <pc:docMk/>
            <pc:sldMk cId="3022317248" sldId="2147469886"/>
            <ac:spMk id="15" creationId="{0CF74C4C-C8F4-898E-3027-1A0A253214AB}"/>
          </ac:spMkLst>
        </pc:spChg>
        <pc:spChg chg="mod">
          <ac:chgData name="Jean GRANDEMANGE" userId="faf07584-8716-430e-b66d-4ceae2fe8450" providerId="ADAL" clId="{818A4DAE-8A32-42EA-A9D8-520480CF3925}" dt="2023-01-29T21:52:42.667" v="319" actId="404"/>
          <ac:spMkLst>
            <pc:docMk/>
            <pc:sldMk cId="3022317248" sldId="2147469886"/>
            <ac:spMk id="17" creationId="{A19ECD7B-4840-C0BA-FC97-18A004F852DA}"/>
          </ac:spMkLst>
        </pc:spChg>
        <pc:spChg chg="mod">
          <ac:chgData name="Jean GRANDEMANGE" userId="faf07584-8716-430e-b66d-4ceae2fe8450" providerId="ADAL" clId="{818A4DAE-8A32-42EA-A9D8-520480CF3925}" dt="2023-01-29T21:52:42.667" v="319" actId="404"/>
          <ac:spMkLst>
            <pc:docMk/>
            <pc:sldMk cId="3022317248" sldId="2147469886"/>
            <ac:spMk id="18" creationId="{EB75D90E-124B-38BE-8FF1-4DFC0F526EF6}"/>
          </ac:spMkLst>
        </pc:spChg>
        <pc:spChg chg="add del mod">
          <ac:chgData name="Jean GRANDEMANGE" userId="faf07584-8716-430e-b66d-4ceae2fe8450" providerId="ADAL" clId="{818A4DAE-8A32-42EA-A9D8-520480CF3925}" dt="2023-01-29T21:54:33.787" v="358" actId="478"/>
          <ac:spMkLst>
            <pc:docMk/>
            <pc:sldMk cId="3022317248" sldId="2147469886"/>
            <ac:spMk id="25" creationId="{058CBE3D-7FB2-F18D-A6F6-716A1439F3AB}"/>
          </ac:spMkLst>
        </pc:spChg>
        <pc:spChg chg="add mod">
          <ac:chgData name="Jean GRANDEMANGE" userId="faf07584-8716-430e-b66d-4ceae2fe8450" providerId="ADAL" clId="{818A4DAE-8A32-42EA-A9D8-520480CF3925}" dt="2023-01-29T21:59:21.722" v="505" actId="1076"/>
          <ac:spMkLst>
            <pc:docMk/>
            <pc:sldMk cId="3022317248" sldId="2147469886"/>
            <ac:spMk id="26" creationId="{0FC1961A-5690-0BDA-A9AD-BA3386DA787A}"/>
          </ac:spMkLst>
        </pc:spChg>
        <pc:spChg chg="add del mod">
          <ac:chgData name="Jean GRANDEMANGE" userId="faf07584-8716-430e-b66d-4ceae2fe8450" providerId="ADAL" clId="{818A4DAE-8A32-42EA-A9D8-520480CF3925}" dt="2023-01-29T21:54:20.919" v="350" actId="478"/>
          <ac:spMkLst>
            <pc:docMk/>
            <pc:sldMk cId="3022317248" sldId="2147469886"/>
            <ac:spMk id="27" creationId="{2A427823-F486-96F8-CBF4-4D98694289CB}"/>
          </ac:spMkLst>
        </pc:spChg>
        <pc:spChg chg="add mod">
          <ac:chgData name="Jean GRANDEMANGE" userId="faf07584-8716-430e-b66d-4ceae2fe8450" providerId="ADAL" clId="{818A4DAE-8A32-42EA-A9D8-520480CF3925}" dt="2023-01-29T21:59:21.722" v="505" actId="1076"/>
          <ac:spMkLst>
            <pc:docMk/>
            <pc:sldMk cId="3022317248" sldId="2147469886"/>
            <ac:spMk id="28" creationId="{D353BE84-C432-CC28-4ACA-568DB9CBA8E0}"/>
          </ac:spMkLst>
        </pc:spChg>
        <pc:spChg chg="add mod">
          <ac:chgData name="Jean GRANDEMANGE" userId="faf07584-8716-430e-b66d-4ceae2fe8450" providerId="ADAL" clId="{818A4DAE-8A32-42EA-A9D8-520480CF3925}" dt="2023-01-29T21:59:21.722" v="505" actId="1076"/>
          <ac:spMkLst>
            <pc:docMk/>
            <pc:sldMk cId="3022317248" sldId="2147469886"/>
            <ac:spMk id="29" creationId="{35188282-9044-54A7-CC92-2EA39C63AD06}"/>
          </ac:spMkLst>
        </pc:spChg>
        <pc:spChg chg="add del mod">
          <ac:chgData name="Jean GRANDEMANGE" userId="faf07584-8716-430e-b66d-4ceae2fe8450" providerId="ADAL" clId="{818A4DAE-8A32-42EA-A9D8-520480CF3925}" dt="2023-01-29T21:58:40.836" v="494" actId="478"/>
          <ac:spMkLst>
            <pc:docMk/>
            <pc:sldMk cId="3022317248" sldId="2147469886"/>
            <ac:spMk id="31" creationId="{3F7F3916-121D-6BF7-7471-404B15E7FDC0}"/>
          </ac:spMkLst>
        </pc:spChg>
        <pc:spChg chg="add del mod">
          <ac:chgData name="Jean GRANDEMANGE" userId="faf07584-8716-430e-b66d-4ceae2fe8450" providerId="ADAL" clId="{818A4DAE-8A32-42EA-A9D8-520480CF3925}" dt="2023-01-29T21:58:41.554" v="495" actId="478"/>
          <ac:spMkLst>
            <pc:docMk/>
            <pc:sldMk cId="3022317248" sldId="2147469886"/>
            <ac:spMk id="32" creationId="{039ED00E-8D98-9E29-C5DE-5304FCA61271}"/>
          </ac:spMkLst>
        </pc:spChg>
        <pc:spChg chg="add del mod">
          <ac:chgData name="Jean GRANDEMANGE" userId="faf07584-8716-430e-b66d-4ceae2fe8450" providerId="ADAL" clId="{818A4DAE-8A32-42EA-A9D8-520480CF3925}" dt="2023-01-29T21:58:40.836" v="494" actId="478"/>
          <ac:spMkLst>
            <pc:docMk/>
            <pc:sldMk cId="3022317248" sldId="2147469886"/>
            <ac:spMk id="33" creationId="{55F9674F-49E4-2D5D-1984-6C9742332325}"/>
          </ac:spMkLst>
        </pc:spChg>
        <pc:spChg chg="add del mod">
          <ac:chgData name="Jean GRANDEMANGE" userId="faf07584-8716-430e-b66d-4ceae2fe8450" providerId="ADAL" clId="{818A4DAE-8A32-42EA-A9D8-520480CF3925}" dt="2023-01-29T21:58:40.836" v="494" actId="478"/>
          <ac:spMkLst>
            <pc:docMk/>
            <pc:sldMk cId="3022317248" sldId="2147469886"/>
            <ac:spMk id="34" creationId="{06B86B0D-4CB7-3D6A-52F3-5E87BE5B2800}"/>
          </ac:spMkLst>
        </pc:spChg>
        <pc:grpChg chg="add mod">
          <ac:chgData name="Jean GRANDEMANGE" userId="faf07584-8716-430e-b66d-4ceae2fe8450" providerId="ADAL" clId="{818A4DAE-8A32-42EA-A9D8-520480CF3925}" dt="2023-01-29T21:59:21.722" v="505" actId="1076"/>
          <ac:grpSpMkLst>
            <pc:docMk/>
            <pc:sldMk cId="3022317248" sldId="2147469886"/>
            <ac:grpSpMk id="10" creationId="{ECA53777-BB41-EFF3-10A9-25BDE6360B33}"/>
          </ac:grpSpMkLst>
        </pc:grpChg>
        <pc:grpChg chg="add mod">
          <ac:chgData name="Jean GRANDEMANGE" userId="faf07584-8716-430e-b66d-4ceae2fe8450" providerId="ADAL" clId="{818A4DAE-8A32-42EA-A9D8-520480CF3925}" dt="2023-01-29T21:59:21.722" v="505" actId="1076"/>
          <ac:grpSpMkLst>
            <pc:docMk/>
            <pc:sldMk cId="3022317248" sldId="2147469886"/>
            <ac:grpSpMk id="13" creationId="{EE674A0B-A91B-C0FE-9ED9-177693F0DF3E}"/>
          </ac:grpSpMkLst>
        </pc:grpChg>
        <pc:grpChg chg="add mod">
          <ac:chgData name="Jean GRANDEMANGE" userId="faf07584-8716-430e-b66d-4ceae2fe8450" providerId="ADAL" clId="{818A4DAE-8A32-42EA-A9D8-520480CF3925}" dt="2023-01-29T21:59:21.722" v="505" actId="1076"/>
          <ac:grpSpMkLst>
            <pc:docMk/>
            <pc:sldMk cId="3022317248" sldId="2147469886"/>
            <ac:grpSpMk id="16" creationId="{2BA72ED1-C7AD-0480-26AF-2AA37F5DE635}"/>
          </ac:grpSpMkLst>
        </pc:grpChg>
        <pc:grpChg chg="add mod">
          <ac:chgData name="Jean GRANDEMANGE" userId="faf07584-8716-430e-b66d-4ceae2fe8450" providerId="ADAL" clId="{818A4DAE-8A32-42EA-A9D8-520480CF3925}" dt="2023-01-29T21:59:21.722" v="505" actId="1076"/>
          <ac:grpSpMkLst>
            <pc:docMk/>
            <pc:sldMk cId="3022317248" sldId="2147469886"/>
            <ac:grpSpMk id="22" creationId="{734E9AFB-0362-1B64-B068-63EE2CDAF4C9}"/>
          </ac:grpSpMkLst>
        </pc:grpChg>
        <pc:grpChg chg="add mod">
          <ac:chgData name="Jean GRANDEMANGE" userId="faf07584-8716-430e-b66d-4ceae2fe8450" providerId="ADAL" clId="{818A4DAE-8A32-42EA-A9D8-520480CF3925}" dt="2023-01-29T21:59:21.722" v="505" actId="1076"/>
          <ac:grpSpMkLst>
            <pc:docMk/>
            <pc:sldMk cId="3022317248" sldId="2147469886"/>
            <ac:grpSpMk id="23" creationId="{D820457D-D208-5AE0-9E25-EF4C2E4CE25C}"/>
          </ac:grpSpMkLst>
        </pc:grpChg>
        <pc:grpChg chg="add mod">
          <ac:chgData name="Jean GRANDEMANGE" userId="faf07584-8716-430e-b66d-4ceae2fe8450" providerId="ADAL" clId="{818A4DAE-8A32-42EA-A9D8-520480CF3925}" dt="2023-01-29T21:59:21.722" v="505" actId="1076"/>
          <ac:grpSpMkLst>
            <pc:docMk/>
            <pc:sldMk cId="3022317248" sldId="2147469886"/>
            <ac:grpSpMk id="24" creationId="{D6D7F8EE-B335-7AA5-FCA6-E583B892E5C0}"/>
          </ac:grpSpMkLst>
        </pc:grpChg>
        <pc:picChg chg="add mod">
          <ac:chgData name="Jean GRANDEMANGE" userId="faf07584-8716-430e-b66d-4ceae2fe8450" providerId="ADAL" clId="{818A4DAE-8A32-42EA-A9D8-520480CF3925}" dt="2023-01-29T21:52:09.912" v="307" actId="164"/>
          <ac:picMkLst>
            <pc:docMk/>
            <pc:sldMk cId="3022317248" sldId="2147469886"/>
            <ac:picMk id="19" creationId="{4FED8686-54B1-20E0-C1EF-D68FD4A2D247}"/>
          </ac:picMkLst>
        </pc:picChg>
        <pc:picChg chg="add mod">
          <ac:chgData name="Jean GRANDEMANGE" userId="faf07584-8716-430e-b66d-4ceae2fe8450" providerId="ADAL" clId="{818A4DAE-8A32-42EA-A9D8-520480CF3925}" dt="2023-01-29T21:52:12.418" v="308" actId="164"/>
          <ac:picMkLst>
            <pc:docMk/>
            <pc:sldMk cId="3022317248" sldId="2147469886"/>
            <ac:picMk id="20" creationId="{EAA5C905-2A77-699F-1CC3-99A211C055FE}"/>
          </ac:picMkLst>
        </pc:picChg>
        <pc:picChg chg="add mod">
          <ac:chgData name="Jean GRANDEMANGE" userId="faf07584-8716-430e-b66d-4ceae2fe8450" providerId="ADAL" clId="{818A4DAE-8A32-42EA-A9D8-520480CF3925}" dt="2023-01-29T21:52:14.709" v="309" actId="164"/>
          <ac:picMkLst>
            <pc:docMk/>
            <pc:sldMk cId="3022317248" sldId="2147469886"/>
            <ac:picMk id="21" creationId="{4D486BDE-5B84-FB9B-1076-9905023473C7}"/>
          </ac:picMkLst>
        </pc:picChg>
      </pc:sldChg>
      <pc:sldChg chg="add">
        <pc:chgData name="Jean GRANDEMANGE" userId="faf07584-8716-430e-b66d-4ceae2fe8450" providerId="ADAL" clId="{818A4DAE-8A32-42EA-A9D8-520480CF3925}" dt="2023-01-29T22:05:05.877" v="532"/>
        <pc:sldMkLst>
          <pc:docMk/>
          <pc:sldMk cId="3668960559" sldId="2147469890"/>
        </pc:sldMkLst>
      </pc:sldChg>
      <pc:sldChg chg="del">
        <pc:chgData name="Jean GRANDEMANGE" userId="faf07584-8716-430e-b66d-4ceae2fe8450" providerId="ADAL" clId="{818A4DAE-8A32-42EA-A9D8-520480CF3925}" dt="2023-01-29T22:04:58.172" v="531" actId="2696"/>
        <pc:sldMkLst>
          <pc:docMk/>
          <pc:sldMk cId="3710779901" sldId="2147469890"/>
        </pc:sldMkLst>
      </pc:sldChg>
      <pc:sldChg chg="modSp mod">
        <pc:chgData name="Jean GRANDEMANGE" userId="faf07584-8716-430e-b66d-4ceae2fe8450" providerId="ADAL" clId="{818A4DAE-8A32-42EA-A9D8-520480CF3925}" dt="2023-01-29T22:36:28.994" v="2327" actId="207"/>
        <pc:sldMkLst>
          <pc:docMk/>
          <pc:sldMk cId="2926241385" sldId="2147469891"/>
        </pc:sldMkLst>
        <pc:spChg chg="mod">
          <ac:chgData name="Jean GRANDEMANGE" userId="faf07584-8716-430e-b66d-4ceae2fe8450" providerId="ADAL" clId="{818A4DAE-8A32-42EA-A9D8-520480CF3925}" dt="2023-01-29T22:36:28.994" v="2327" actId="207"/>
          <ac:spMkLst>
            <pc:docMk/>
            <pc:sldMk cId="2926241385" sldId="2147469891"/>
            <ac:spMk id="5" creationId="{14DE6C86-3D98-4536-9BC7-89BF86555167}"/>
          </ac:spMkLst>
        </pc:spChg>
      </pc:sldChg>
    </pc:docChg>
  </pc:docChgLst>
  <pc:docChgLst>
    <pc:chgData name="Jean GRANDEMANGE" userId="faf07584-8716-430e-b66d-4ceae2fe8450" providerId="ADAL" clId="{E577A387-CF0E-4A58-843E-593596DDF0C2}"/>
    <pc:docChg chg="custSel addSld modSld modSection">
      <pc:chgData name="Jean GRANDEMANGE" userId="faf07584-8716-430e-b66d-4ceae2fe8450" providerId="ADAL" clId="{E577A387-CF0E-4A58-843E-593596DDF0C2}" dt="2023-03-17T10:13:37.049" v="32" actId="13926"/>
      <pc:docMkLst>
        <pc:docMk/>
      </pc:docMkLst>
      <pc:sldChg chg="addSp delSp modSp add mod">
        <pc:chgData name="Jean GRANDEMANGE" userId="faf07584-8716-430e-b66d-4ceae2fe8450" providerId="ADAL" clId="{E577A387-CF0E-4A58-843E-593596DDF0C2}" dt="2023-03-17T10:13:37.049" v="32" actId="13926"/>
        <pc:sldMkLst>
          <pc:docMk/>
          <pc:sldMk cId="660731328" sldId="2147469997"/>
        </pc:sldMkLst>
        <pc:spChg chg="mod">
          <ac:chgData name="Jean GRANDEMANGE" userId="faf07584-8716-430e-b66d-4ceae2fe8450" providerId="ADAL" clId="{E577A387-CF0E-4A58-843E-593596DDF0C2}" dt="2023-03-17T10:13:37.049" v="32" actId="13926"/>
          <ac:spMkLst>
            <pc:docMk/>
            <pc:sldMk cId="660731328" sldId="2147469997"/>
            <ac:spMk id="3" creationId="{4CED5CC6-D44D-46CF-87ED-9F93BCBA6175}"/>
          </ac:spMkLst>
        </pc:spChg>
        <pc:spChg chg="add">
          <ac:chgData name="Jean GRANDEMANGE" userId="faf07584-8716-430e-b66d-4ceae2fe8450" providerId="ADAL" clId="{E577A387-CF0E-4A58-843E-593596DDF0C2}" dt="2023-03-17T10:13:21.112" v="2" actId="22"/>
          <ac:spMkLst>
            <pc:docMk/>
            <pc:sldMk cId="660731328" sldId="2147469997"/>
            <ac:spMk id="4" creationId="{EF378B07-1900-D821-E6F5-F474AF69FE60}"/>
          </ac:spMkLst>
        </pc:spChg>
        <pc:spChg chg="add mod">
          <ac:chgData name="Jean GRANDEMANGE" userId="faf07584-8716-430e-b66d-4ceae2fe8450" providerId="ADAL" clId="{E577A387-CF0E-4A58-843E-593596DDF0C2}" dt="2023-03-17T10:13:26.010" v="8" actId="20577"/>
          <ac:spMkLst>
            <pc:docMk/>
            <pc:sldMk cId="660731328" sldId="2147469997"/>
            <ac:spMk id="5" creationId="{10E29C04-3A2E-8352-0F45-9D886CECEE75}"/>
          </ac:spMkLst>
        </pc:spChg>
        <pc:spChg chg="del">
          <ac:chgData name="Jean GRANDEMANGE" userId="faf07584-8716-430e-b66d-4ceae2fe8450" providerId="ADAL" clId="{E577A387-CF0E-4A58-843E-593596DDF0C2}" dt="2023-03-17T10:13:06.267" v="1" actId="478"/>
          <ac:spMkLst>
            <pc:docMk/>
            <pc:sldMk cId="660731328" sldId="2147469997"/>
            <ac:spMk id="10" creationId="{375F12B8-CD82-2AD4-2D2B-3720397E73BD}"/>
          </ac:spMkLst>
        </pc:spChg>
        <pc:spChg chg="del">
          <ac:chgData name="Jean GRANDEMANGE" userId="faf07584-8716-430e-b66d-4ceae2fe8450" providerId="ADAL" clId="{E577A387-CF0E-4A58-843E-593596DDF0C2}" dt="2023-03-17T10:13:06.267" v="1" actId="478"/>
          <ac:spMkLst>
            <pc:docMk/>
            <pc:sldMk cId="660731328" sldId="2147469997"/>
            <ac:spMk id="11" creationId="{604A5F2E-24AF-639D-66DD-B8C9E75598AA}"/>
          </ac:spMkLst>
        </pc:spChg>
        <pc:spChg chg="del">
          <ac:chgData name="Jean GRANDEMANGE" userId="faf07584-8716-430e-b66d-4ceae2fe8450" providerId="ADAL" clId="{E577A387-CF0E-4A58-843E-593596DDF0C2}" dt="2023-03-17T10:13:06.267" v="1" actId="478"/>
          <ac:spMkLst>
            <pc:docMk/>
            <pc:sldMk cId="660731328" sldId="2147469997"/>
            <ac:spMk id="12" creationId="{5C063A95-5460-6FEB-8403-55523AD57979}"/>
          </ac:spMkLst>
        </pc:spChg>
        <pc:spChg chg="del">
          <ac:chgData name="Jean GRANDEMANGE" userId="faf07584-8716-430e-b66d-4ceae2fe8450" providerId="ADAL" clId="{E577A387-CF0E-4A58-843E-593596DDF0C2}" dt="2023-03-17T10:13:06.267" v="1" actId="478"/>
          <ac:spMkLst>
            <pc:docMk/>
            <pc:sldMk cId="660731328" sldId="2147469997"/>
            <ac:spMk id="13" creationId="{074F9F41-BFF6-2D58-000D-120824B7A00C}"/>
          </ac:spMkLst>
        </pc:spChg>
        <pc:spChg chg="del">
          <ac:chgData name="Jean GRANDEMANGE" userId="faf07584-8716-430e-b66d-4ceae2fe8450" providerId="ADAL" clId="{E577A387-CF0E-4A58-843E-593596DDF0C2}" dt="2023-03-17T10:13:06.267" v="1" actId="478"/>
          <ac:spMkLst>
            <pc:docMk/>
            <pc:sldMk cId="660731328" sldId="2147469997"/>
            <ac:spMk id="14" creationId="{60A671D1-4975-0B93-7C5E-7A5940F1D32F}"/>
          </ac:spMkLst>
        </pc:spChg>
        <pc:spChg chg="del">
          <ac:chgData name="Jean GRANDEMANGE" userId="faf07584-8716-430e-b66d-4ceae2fe8450" providerId="ADAL" clId="{E577A387-CF0E-4A58-843E-593596DDF0C2}" dt="2023-03-17T10:13:06.267" v="1" actId="478"/>
          <ac:spMkLst>
            <pc:docMk/>
            <pc:sldMk cId="660731328" sldId="2147469997"/>
            <ac:spMk id="15" creationId="{41ACB8FA-C9A9-F599-8CC1-1BBC7F36FFB9}"/>
          </ac:spMkLst>
        </pc:spChg>
        <pc:spChg chg="del">
          <ac:chgData name="Jean GRANDEMANGE" userId="faf07584-8716-430e-b66d-4ceae2fe8450" providerId="ADAL" clId="{E577A387-CF0E-4A58-843E-593596DDF0C2}" dt="2023-03-17T10:13:06.267" v="1" actId="478"/>
          <ac:spMkLst>
            <pc:docMk/>
            <pc:sldMk cId="660731328" sldId="2147469997"/>
            <ac:spMk id="16" creationId="{63392D91-17C9-2A74-E5B2-2739F7F9CD58}"/>
          </ac:spMkLst>
        </pc:spChg>
        <pc:spChg chg="del">
          <ac:chgData name="Jean GRANDEMANGE" userId="faf07584-8716-430e-b66d-4ceae2fe8450" providerId="ADAL" clId="{E577A387-CF0E-4A58-843E-593596DDF0C2}" dt="2023-03-17T10:13:06.267" v="1" actId="478"/>
          <ac:spMkLst>
            <pc:docMk/>
            <pc:sldMk cId="660731328" sldId="2147469997"/>
            <ac:spMk id="17" creationId="{F2CD8F7E-9F9C-3121-97E4-1E0EB0236888}"/>
          </ac:spMkLst>
        </pc:spChg>
        <pc:spChg chg="del">
          <ac:chgData name="Jean GRANDEMANGE" userId="faf07584-8716-430e-b66d-4ceae2fe8450" providerId="ADAL" clId="{E577A387-CF0E-4A58-843E-593596DDF0C2}" dt="2023-03-17T10:13:06.267" v="1" actId="478"/>
          <ac:spMkLst>
            <pc:docMk/>
            <pc:sldMk cId="660731328" sldId="2147469997"/>
            <ac:spMk id="18" creationId="{8C3EDB63-204B-AC31-5BD7-1DBEF1FE4C26}"/>
          </ac:spMkLst>
        </pc:spChg>
        <pc:spChg chg="del">
          <ac:chgData name="Jean GRANDEMANGE" userId="faf07584-8716-430e-b66d-4ceae2fe8450" providerId="ADAL" clId="{E577A387-CF0E-4A58-843E-593596DDF0C2}" dt="2023-03-17T10:13:06.267" v="1" actId="478"/>
          <ac:spMkLst>
            <pc:docMk/>
            <pc:sldMk cId="660731328" sldId="2147469997"/>
            <ac:spMk id="19" creationId="{769754AF-748C-FB38-DD4B-9FCD3B3B0513}"/>
          </ac:spMkLst>
        </pc:spChg>
        <pc:spChg chg="del">
          <ac:chgData name="Jean GRANDEMANGE" userId="faf07584-8716-430e-b66d-4ceae2fe8450" providerId="ADAL" clId="{E577A387-CF0E-4A58-843E-593596DDF0C2}" dt="2023-03-17T10:13:06.267" v="1" actId="478"/>
          <ac:spMkLst>
            <pc:docMk/>
            <pc:sldMk cId="660731328" sldId="2147469997"/>
            <ac:spMk id="20" creationId="{5F1D5235-08E1-EA3F-C4C1-55458EAD3B56}"/>
          </ac:spMkLst>
        </pc:spChg>
        <pc:spChg chg="del">
          <ac:chgData name="Jean GRANDEMANGE" userId="faf07584-8716-430e-b66d-4ceae2fe8450" providerId="ADAL" clId="{E577A387-CF0E-4A58-843E-593596DDF0C2}" dt="2023-03-17T10:13:06.267" v="1" actId="478"/>
          <ac:spMkLst>
            <pc:docMk/>
            <pc:sldMk cId="660731328" sldId="2147469997"/>
            <ac:spMk id="21" creationId="{326F2EB0-1944-8884-D726-6C5D926A3187}"/>
          </ac:spMkLst>
        </pc:spChg>
        <pc:spChg chg="del">
          <ac:chgData name="Jean GRANDEMANGE" userId="faf07584-8716-430e-b66d-4ceae2fe8450" providerId="ADAL" clId="{E577A387-CF0E-4A58-843E-593596DDF0C2}" dt="2023-03-17T10:13:06.267" v="1" actId="478"/>
          <ac:spMkLst>
            <pc:docMk/>
            <pc:sldMk cId="660731328" sldId="2147469997"/>
            <ac:spMk id="22" creationId="{E4B6E63B-CDC1-5261-8A03-5CD139B0132E}"/>
          </ac:spMkLst>
        </pc:spChg>
        <pc:spChg chg="del">
          <ac:chgData name="Jean GRANDEMANGE" userId="faf07584-8716-430e-b66d-4ceae2fe8450" providerId="ADAL" clId="{E577A387-CF0E-4A58-843E-593596DDF0C2}" dt="2023-03-17T10:13:06.267" v="1" actId="478"/>
          <ac:spMkLst>
            <pc:docMk/>
            <pc:sldMk cId="660731328" sldId="2147469997"/>
            <ac:spMk id="23" creationId="{EB75A6E2-B5B4-62FF-9191-7ACD1CA5B19B}"/>
          </ac:spMkLst>
        </pc:spChg>
        <pc:spChg chg="del">
          <ac:chgData name="Jean GRANDEMANGE" userId="faf07584-8716-430e-b66d-4ceae2fe8450" providerId="ADAL" clId="{E577A387-CF0E-4A58-843E-593596DDF0C2}" dt="2023-03-17T10:13:06.267" v="1" actId="478"/>
          <ac:spMkLst>
            <pc:docMk/>
            <pc:sldMk cId="660731328" sldId="2147469997"/>
            <ac:spMk id="24" creationId="{8585D6E8-13A8-D773-F8CC-7A6DB3492147}"/>
          </ac:spMkLst>
        </pc:spChg>
        <pc:spChg chg="del">
          <ac:chgData name="Jean GRANDEMANGE" userId="faf07584-8716-430e-b66d-4ceae2fe8450" providerId="ADAL" clId="{E577A387-CF0E-4A58-843E-593596DDF0C2}" dt="2023-03-17T10:13:06.267" v="1" actId="478"/>
          <ac:spMkLst>
            <pc:docMk/>
            <pc:sldMk cId="660731328" sldId="2147469997"/>
            <ac:spMk id="25" creationId="{075FCC2D-058A-68FA-D8BF-89B4D113C561}"/>
          </ac:spMkLst>
        </pc:spChg>
        <pc:spChg chg="del">
          <ac:chgData name="Jean GRANDEMANGE" userId="faf07584-8716-430e-b66d-4ceae2fe8450" providerId="ADAL" clId="{E577A387-CF0E-4A58-843E-593596DDF0C2}" dt="2023-03-17T10:13:06.267" v="1" actId="478"/>
          <ac:spMkLst>
            <pc:docMk/>
            <pc:sldMk cId="660731328" sldId="2147469997"/>
            <ac:spMk id="26" creationId="{C89D9409-047A-5F83-6F0C-9F9943B95411}"/>
          </ac:spMkLst>
        </pc:spChg>
        <pc:spChg chg="del">
          <ac:chgData name="Jean GRANDEMANGE" userId="faf07584-8716-430e-b66d-4ceae2fe8450" providerId="ADAL" clId="{E577A387-CF0E-4A58-843E-593596DDF0C2}" dt="2023-03-17T10:13:06.267" v="1" actId="478"/>
          <ac:spMkLst>
            <pc:docMk/>
            <pc:sldMk cId="660731328" sldId="2147469997"/>
            <ac:spMk id="27" creationId="{FD22B111-BF92-D9F8-444A-B9275B539FB4}"/>
          </ac:spMkLst>
        </pc:spChg>
        <pc:spChg chg="del">
          <ac:chgData name="Jean GRANDEMANGE" userId="faf07584-8716-430e-b66d-4ceae2fe8450" providerId="ADAL" clId="{E577A387-CF0E-4A58-843E-593596DDF0C2}" dt="2023-03-17T10:13:06.267" v="1" actId="478"/>
          <ac:spMkLst>
            <pc:docMk/>
            <pc:sldMk cId="660731328" sldId="2147469997"/>
            <ac:spMk id="28" creationId="{3FC5C124-5F2C-F30A-469D-F5846D47B1E1}"/>
          </ac:spMkLst>
        </pc:spChg>
        <pc:spChg chg="del">
          <ac:chgData name="Jean GRANDEMANGE" userId="faf07584-8716-430e-b66d-4ceae2fe8450" providerId="ADAL" clId="{E577A387-CF0E-4A58-843E-593596DDF0C2}" dt="2023-03-17T10:13:06.267" v="1" actId="478"/>
          <ac:spMkLst>
            <pc:docMk/>
            <pc:sldMk cId="660731328" sldId="2147469997"/>
            <ac:spMk id="29" creationId="{FC621807-D8B9-F547-AFFF-FDE0DEBF0159}"/>
          </ac:spMkLst>
        </pc:spChg>
        <pc:spChg chg="del">
          <ac:chgData name="Jean GRANDEMANGE" userId="faf07584-8716-430e-b66d-4ceae2fe8450" providerId="ADAL" clId="{E577A387-CF0E-4A58-843E-593596DDF0C2}" dt="2023-03-17T10:13:06.267" v="1" actId="478"/>
          <ac:spMkLst>
            <pc:docMk/>
            <pc:sldMk cId="660731328" sldId="2147469997"/>
            <ac:spMk id="30" creationId="{E3A7E036-B90F-D2B5-DAD0-06DCC7C6CD0E}"/>
          </ac:spMkLst>
        </pc:spChg>
        <pc:spChg chg="del">
          <ac:chgData name="Jean GRANDEMANGE" userId="faf07584-8716-430e-b66d-4ceae2fe8450" providerId="ADAL" clId="{E577A387-CF0E-4A58-843E-593596DDF0C2}" dt="2023-03-17T10:13:06.267" v="1" actId="478"/>
          <ac:spMkLst>
            <pc:docMk/>
            <pc:sldMk cId="660731328" sldId="2147469997"/>
            <ac:spMk id="31" creationId="{89C8DC94-3D65-107F-F08D-C862DA951647}"/>
          </ac:spMkLst>
        </pc:spChg>
        <pc:spChg chg="del">
          <ac:chgData name="Jean GRANDEMANGE" userId="faf07584-8716-430e-b66d-4ceae2fe8450" providerId="ADAL" clId="{E577A387-CF0E-4A58-843E-593596DDF0C2}" dt="2023-03-17T10:13:06.267" v="1" actId="478"/>
          <ac:spMkLst>
            <pc:docMk/>
            <pc:sldMk cId="660731328" sldId="2147469997"/>
            <ac:spMk id="32" creationId="{6220B362-D7EC-1D35-64B8-1026221F8A06}"/>
          </ac:spMkLst>
        </pc:spChg>
        <pc:spChg chg="del">
          <ac:chgData name="Jean GRANDEMANGE" userId="faf07584-8716-430e-b66d-4ceae2fe8450" providerId="ADAL" clId="{E577A387-CF0E-4A58-843E-593596DDF0C2}" dt="2023-03-17T10:13:06.267" v="1" actId="478"/>
          <ac:spMkLst>
            <pc:docMk/>
            <pc:sldMk cId="660731328" sldId="2147469997"/>
            <ac:spMk id="154" creationId="{8F9C9522-1398-0475-9CA8-B94FD0B5091E}"/>
          </ac:spMkLst>
        </pc:spChg>
        <pc:spChg chg="del">
          <ac:chgData name="Jean GRANDEMANGE" userId="faf07584-8716-430e-b66d-4ceae2fe8450" providerId="ADAL" clId="{E577A387-CF0E-4A58-843E-593596DDF0C2}" dt="2023-03-17T10:13:06.267" v="1" actId="478"/>
          <ac:spMkLst>
            <pc:docMk/>
            <pc:sldMk cId="660731328" sldId="2147469997"/>
            <ac:spMk id="155" creationId="{CCF5CAE9-ABD9-9925-17B0-2202F5880A55}"/>
          </ac:spMkLst>
        </pc:spChg>
        <pc:spChg chg="del">
          <ac:chgData name="Jean GRANDEMANGE" userId="faf07584-8716-430e-b66d-4ceae2fe8450" providerId="ADAL" clId="{E577A387-CF0E-4A58-843E-593596DDF0C2}" dt="2023-03-17T10:13:06.267" v="1" actId="478"/>
          <ac:spMkLst>
            <pc:docMk/>
            <pc:sldMk cId="660731328" sldId="2147469997"/>
            <ac:spMk id="156" creationId="{13405765-BAC4-9FDA-C0FC-E886B81F2937}"/>
          </ac:spMkLst>
        </pc:spChg>
        <pc:spChg chg="del">
          <ac:chgData name="Jean GRANDEMANGE" userId="faf07584-8716-430e-b66d-4ceae2fe8450" providerId="ADAL" clId="{E577A387-CF0E-4A58-843E-593596DDF0C2}" dt="2023-03-17T10:13:06.267" v="1" actId="478"/>
          <ac:spMkLst>
            <pc:docMk/>
            <pc:sldMk cId="660731328" sldId="2147469997"/>
            <ac:spMk id="157" creationId="{FB695D2B-A96C-D215-6E4E-69A789765C73}"/>
          </ac:spMkLst>
        </pc:spChg>
        <pc:spChg chg="del">
          <ac:chgData name="Jean GRANDEMANGE" userId="faf07584-8716-430e-b66d-4ceae2fe8450" providerId="ADAL" clId="{E577A387-CF0E-4A58-843E-593596DDF0C2}" dt="2023-03-17T10:13:06.267" v="1" actId="478"/>
          <ac:spMkLst>
            <pc:docMk/>
            <pc:sldMk cId="660731328" sldId="2147469997"/>
            <ac:spMk id="158" creationId="{FF3EDC27-8389-461C-056F-FF6BE8421C9C}"/>
          </ac:spMkLst>
        </pc:spChg>
        <pc:spChg chg="del">
          <ac:chgData name="Jean GRANDEMANGE" userId="faf07584-8716-430e-b66d-4ceae2fe8450" providerId="ADAL" clId="{E577A387-CF0E-4A58-843E-593596DDF0C2}" dt="2023-03-17T10:13:06.267" v="1" actId="478"/>
          <ac:spMkLst>
            <pc:docMk/>
            <pc:sldMk cId="660731328" sldId="2147469997"/>
            <ac:spMk id="183" creationId="{D319A40A-D3DD-533C-9C1A-34DD5E26ED6D}"/>
          </ac:spMkLst>
        </pc:spChg>
      </pc:sldChg>
    </pc:docChg>
  </pc:docChgLst>
  <pc:docChgLst>
    <pc:chgData name="Ayodele IKUESAN" userId="59febf41-4328-4f2d-a3b0-b5ea969eeed9" providerId="ADAL" clId="{5E4F1E19-5633-43F7-8EF4-B50BB8BFE50B}"/>
    <pc:docChg chg="undo custSel modSld">
      <pc:chgData name="Ayodele IKUESAN" userId="59febf41-4328-4f2d-a3b0-b5ea969eeed9" providerId="ADAL" clId="{5E4F1E19-5633-43F7-8EF4-B50BB8BFE50B}" dt="2022-11-23T09:22:14.977" v="1"/>
      <pc:docMkLst>
        <pc:docMk/>
      </pc:docMkLst>
      <pc:sldChg chg="modSp mod">
        <pc:chgData name="Ayodele IKUESAN" userId="59febf41-4328-4f2d-a3b0-b5ea969eeed9" providerId="ADAL" clId="{5E4F1E19-5633-43F7-8EF4-B50BB8BFE50B}" dt="2022-11-23T09:22:14.977" v="1"/>
        <pc:sldMkLst>
          <pc:docMk/>
          <pc:sldMk cId="3018744438" sldId="2076138191"/>
        </pc:sldMkLst>
        <pc:spChg chg="mod">
          <ac:chgData name="Ayodele IKUESAN" userId="59febf41-4328-4f2d-a3b0-b5ea969eeed9" providerId="ADAL" clId="{5E4F1E19-5633-43F7-8EF4-B50BB8BFE50B}" dt="2022-11-23T09:22:14.977" v="1"/>
          <ac:spMkLst>
            <pc:docMk/>
            <pc:sldMk cId="3018744438" sldId="2076138191"/>
            <ac:spMk id="23" creationId="{CF817CD1-67EC-4FDD-827D-3DC9561FCB49}"/>
          </ac:spMkLst>
        </pc:spChg>
      </pc:sldChg>
    </pc:docChg>
  </pc:docChgLst>
  <pc:docChgLst>
    <pc:chgData name="Jean-Luc" userId="dd9a3b97-ebaf-4ebf-9760-6c6f6d800026" providerId="ADAL" clId="{E31BE4D0-E4C5-4A8D-BD8C-1F8E037D7A73}"/>
    <pc:docChg chg="undo custSel addSld delSld modSld modSection">
      <pc:chgData name="Jean-Luc" userId="dd9a3b97-ebaf-4ebf-9760-6c6f6d800026" providerId="ADAL" clId="{E31BE4D0-E4C5-4A8D-BD8C-1F8E037D7A73}" dt="2023-03-03T16:55:42.869" v="840" actId="20577"/>
      <pc:docMkLst>
        <pc:docMk/>
      </pc:docMkLst>
      <pc:sldChg chg="del">
        <pc:chgData name="Jean-Luc" userId="dd9a3b97-ebaf-4ebf-9760-6c6f6d800026" providerId="ADAL" clId="{E31BE4D0-E4C5-4A8D-BD8C-1F8E037D7A73}" dt="2023-03-03T16:52:38.674" v="815" actId="2696"/>
        <pc:sldMkLst>
          <pc:docMk/>
          <pc:sldMk cId="3465486402" sldId="2147469770"/>
        </pc:sldMkLst>
      </pc:sldChg>
      <pc:sldChg chg="addSp delSp modSp mod">
        <pc:chgData name="Jean-Luc" userId="dd9a3b97-ebaf-4ebf-9760-6c6f6d800026" providerId="ADAL" clId="{E31BE4D0-E4C5-4A8D-BD8C-1F8E037D7A73}" dt="2023-03-03T16:55:13.202" v="828" actId="20577"/>
        <pc:sldMkLst>
          <pc:docMk/>
          <pc:sldMk cId="1985396647" sldId="2147469798"/>
        </pc:sldMkLst>
        <pc:spChg chg="add del mod">
          <ac:chgData name="Jean-Luc" userId="dd9a3b97-ebaf-4ebf-9760-6c6f6d800026" providerId="ADAL" clId="{E31BE4D0-E4C5-4A8D-BD8C-1F8E037D7A73}" dt="2023-03-03T16:44:16.792" v="689" actId="478"/>
          <ac:spMkLst>
            <pc:docMk/>
            <pc:sldMk cId="1985396647" sldId="2147469798"/>
            <ac:spMk id="2" creationId="{5C9D5D56-382E-12E6-5BB7-DEECFC4645E4}"/>
          </ac:spMkLst>
        </pc:spChg>
        <pc:spChg chg="mod">
          <ac:chgData name="Jean-Luc" userId="dd9a3b97-ebaf-4ebf-9760-6c6f6d800026" providerId="ADAL" clId="{E31BE4D0-E4C5-4A8D-BD8C-1F8E037D7A73}" dt="2023-03-03T16:45:08.261" v="693" actId="113"/>
          <ac:spMkLst>
            <pc:docMk/>
            <pc:sldMk cId="1985396647" sldId="2147469798"/>
            <ac:spMk id="6" creationId="{EF35A969-8E72-F9E2-E4DF-353E6BF5883F}"/>
          </ac:spMkLst>
        </pc:spChg>
        <pc:spChg chg="add mod">
          <ac:chgData name="Jean-Luc" userId="dd9a3b97-ebaf-4ebf-9760-6c6f6d800026" providerId="ADAL" clId="{E31BE4D0-E4C5-4A8D-BD8C-1F8E037D7A73}" dt="2023-03-03T16:55:13.202" v="828" actId="20577"/>
          <ac:spMkLst>
            <pc:docMk/>
            <pc:sldMk cId="1985396647" sldId="2147469798"/>
            <ac:spMk id="7" creationId="{244277DC-18FA-43D3-954C-56CECC2F7CE9}"/>
          </ac:spMkLst>
        </pc:spChg>
      </pc:sldChg>
      <pc:sldChg chg="del">
        <pc:chgData name="Jean-Luc" userId="dd9a3b97-ebaf-4ebf-9760-6c6f6d800026" providerId="ADAL" clId="{E31BE4D0-E4C5-4A8D-BD8C-1F8E037D7A73}" dt="2023-03-03T16:52:33.723" v="814" actId="2696"/>
        <pc:sldMkLst>
          <pc:docMk/>
          <pc:sldMk cId="2540188229" sldId="2147469802"/>
        </pc:sldMkLst>
      </pc:sldChg>
      <pc:sldChg chg="addSp modSp mod">
        <pc:chgData name="Jean-Luc" userId="dd9a3b97-ebaf-4ebf-9760-6c6f6d800026" providerId="ADAL" clId="{E31BE4D0-E4C5-4A8D-BD8C-1F8E037D7A73}" dt="2023-03-03T16:55:42.869" v="840" actId="20577"/>
        <pc:sldMkLst>
          <pc:docMk/>
          <pc:sldMk cId="41662455" sldId="2147469804"/>
        </pc:sldMkLst>
        <pc:spChg chg="mod">
          <ac:chgData name="Jean-Luc" userId="dd9a3b97-ebaf-4ebf-9760-6c6f6d800026" providerId="ADAL" clId="{E31BE4D0-E4C5-4A8D-BD8C-1F8E037D7A73}" dt="2023-03-03T16:39:48.729" v="622" actId="1076"/>
          <ac:spMkLst>
            <pc:docMk/>
            <pc:sldMk cId="41662455" sldId="2147469804"/>
            <ac:spMk id="3" creationId="{49E04204-AE45-4668-AAC4-25EFEE7BD311}"/>
          </ac:spMkLst>
        </pc:spChg>
        <pc:spChg chg="mod">
          <ac:chgData name="Jean-Luc" userId="dd9a3b97-ebaf-4ebf-9760-6c6f6d800026" providerId="ADAL" clId="{E31BE4D0-E4C5-4A8D-BD8C-1F8E037D7A73}" dt="2023-03-03T16:55:42.869" v="840" actId="20577"/>
          <ac:spMkLst>
            <pc:docMk/>
            <pc:sldMk cId="41662455" sldId="2147469804"/>
            <ac:spMk id="20" creationId="{13D1B09E-2F79-402D-A8DD-25C8D1B0DC6A}"/>
          </ac:spMkLst>
        </pc:spChg>
        <pc:spChg chg="add mod">
          <ac:chgData name="Jean-Luc" userId="dd9a3b97-ebaf-4ebf-9760-6c6f6d800026" providerId="ADAL" clId="{E31BE4D0-E4C5-4A8D-BD8C-1F8E037D7A73}" dt="2023-03-03T16:55:19.188" v="831" actId="20577"/>
          <ac:spMkLst>
            <pc:docMk/>
            <pc:sldMk cId="41662455" sldId="2147469804"/>
            <ac:spMk id="21" creationId="{187C6CEF-58D0-4C02-8541-B88C48C766BA}"/>
          </ac:spMkLst>
        </pc:spChg>
      </pc:sldChg>
      <pc:sldChg chg="addSp modSp mod">
        <pc:chgData name="Jean-Luc" userId="dd9a3b97-ebaf-4ebf-9760-6c6f6d800026" providerId="ADAL" clId="{E31BE4D0-E4C5-4A8D-BD8C-1F8E037D7A73}" dt="2023-03-03T16:55:07.753" v="825" actId="20577"/>
        <pc:sldMkLst>
          <pc:docMk/>
          <pc:sldMk cId="2990160546" sldId="2147469966"/>
        </pc:sldMkLst>
        <pc:spChg chg="mod">
          <ac:chgData name="Jean-Luc" userId="dd9a3b97-ebaf-4ebf-9760-6c6f6d800026" providerId="ADAL" clId="{E31BE4D0-E4C5-4A8D-BD8C-1F8E037D7A73}" dt="2023-03-03T16:54:51.621" v="822" actId="207"/>
          <ac:spMkLst>
            <pc:docMk/>
            <pc:sldMk cId="2990160546" sldId="2147469966"/>
            <ac:spMk id="19" creationId="{71C2FDFE-0CF7-43A3-AC02-C559E03F471C}"/>
          </ac:spMkLst>
        </pc:spChg>
        <pc:spChg chg="mod">
          <ac:chgData name="Jean-Luc" userId="dd9a3b97-ebaf-4ebf-9760-6c6f6d800026" providerId="ADAL" clId="{E31BE4D0-E4C5-4A8D-BD8C-1F8E037D7A73}" dt="2023-03-03T16:52:29.009" v="813" actId="20577"/>
          <ac:spMkLst>
            <pc:docMk/>
            <pc:sldMk cId="2990160546" sldId="2147469966"/>
            <ac:spMk id="21" creationId="{613F941B-E09F-4E91-9C75-F074E7D538F6}"/>
          </ac:spMkLst>
        </pc:spChg>
        <pc:spChg chg="add mod">
          <ac:chgData name="Jean-Luc" userId="dd9a3b97-ebaf-4ebf-9760-6c6f6d800026" providerId="ADAL" clId="{E31BE4D0-E4C5-4A8D-BD8C-1F8E037D7A73}" dt="2023-03-03T16:55:07.753" v="825" actId="20577"/>
          <ac:spMkLst>
            <pc:docMk/>
            <pc:sldMk cId="2990160546" sldId="2147469966"/>
            <ac:spMk id="24" creationId="{10150C31-4FDE-4090-B322-313A79F6C38C}"/>
          </ac:spMkLst>
        </pc:spChg>
      </pc:sldChg>
      <pc:sldChg chg="add del">
        <pc:chgData name="Jean-Luc" userId="dd9a3b97-ebaf-4ebf-9760-6c6f6d800026" providerId="ADAL" clId="{E31BE4D0-E4C5-4A8D-BD8C-1F8E037D7A73}" dt="2023-03-03T16:52:56.717" v="818"/>
        <pc:sldMkLst>
          <pc:docMk/>
          <pc:sldMk cId="2105446712" sldId="2147469989"/>
        </pc:sldMkLst>
      </pc:sldChg>
    </pc:docChg>
  </pc:docChgLst>
  <pc:docChgLst>
    <pc:chgData name="Hissam EL BARKAOUI" userId="bd40893a-d7b0-46e9-8e20-b7bd51641b40" providerId="ADAL" clId="{1E70787C-441D-4C9E-9D39-0ABDE5292997}"/>
    <pc:docChg chg="undo custSel addSld delSld modSld modSection">
      <pc:chgData name="Hissam EL BARKAOUI" userId="bd40893a-d7b0-46e9-8e20-b7bd51641b40" providerId="ADAL" clId="{1E70787C-441D-4C9E-9D39-0ABDE5292997}" dt="2022-11-16T15:11:36.115" v="1005" actId="2696"/>
      <pc:docMkLst>
        <pc:docMk/>
      </pc:docMkLst>
      <pc:sldChg chg="add mod modShow">
        <pc:chgData name="Hissam EL BARKAOUI" userId="bd40893a-d7b0-46e9-8e20-b7bd51641b40" providerId="ADAL" clId="{1E70787C-441D-4C9E-9D39-0ABDE5292997}" dt="2022-11-14T14:49:10.172" v="458" actId="729"/>
        <pc:sldMkLst>
          <pc:docMk/>
          <pc:sldMk cId="2514173782" sldId="2076137987"/>
        </pc:sldMkLst>
      </pc:sldChg>
      <pc:sldChg chg="addSp delSp modSp add del mod modShow">
        <pc:chgData name="Hissam EL BARKAOUI" userId="bd40893a-d7b0-46e9-8e20-b7bd51641b40" providerId="ADAL" clId="{1E70787C-441D-4C9E-9D39-0ABDE5292997}" dt="2022-11-16T15:11:36.115" v="1005" actId="2696"/>
        <pc:sldMkLst>
          <pc:docMk/>
          <pc:sldMk cId="1978803013" sldId="2076138101"/>
        </pc:sldMkLst>
        <pc:spChg chg="add mod">
          <ac:chgData name="Hissam EL BARKAOUI" userId="bd40893a-d7b0-46e9-8e20-b7bd51641b40" providerId="ADAL" clId="{1E70787C-441D-4C9E-9D39-0ABDE5292997}" dt="2022-11-14T14:54:16.680" v="507" actId="14100"/>
          <ac:spMkLst>
            <pc:docMk/>
            <pc:sldMk cId="1978803013" sldId="2076138101"/>
            <ac:spMk id="25" creationId="{398E3399-844C-4D8C-8BD8-3AE08AF3015F}"/>
          </ac:spMkLst>
        </pc:spChg>
        <pc:spChg chg="add mod">
          <ac:chgData name="Hissam EL BARKAOUI" userId="bd40893a-d7b0-46e9-8e20-b7bd51641b40" providerId="ADAL" clId="{1E70787C-441D-4C9E-9D39-0ABDE5292997}" dt="2022-11-14T14:54:36.368" v="509"/>
          <ac:spMkLst>
            <pc:docMk/>
            <pc:sldMk cId="1978803013" sldId="2076138101"/>
            <ac:spMk id="26" creationId="{5834EE84-4160-4D1F-A8F9-27AF9384863F}"/>
          </ac:spMkLst>
        </pc:spChg>
        <pc:spChg chg="mod">
          <ac:chgData name="Hissam EL BARKAOUI" userId="bd40893a-d7b0-46e9-8e20-b7bd51641b40" providerId="ADAL" clId="{1E70787C-441D-4C9E-9D39-0ABDE5292997}" dt="2022-11-14T15:02:37.302" v="596" actId="20577"/>
          <ac:spMkLst>
            <pc:docMk/>
            <pc:sldMk cId="1978803013" sldId="2076138101"/>
            <ac:spMk id="31" creationId="{19231133-1ED6-44AA-922E-624F48C1752E}"/>
          </ac:spMkLst>
        </pc:spChg>
        <pc:spChg chg="mod">
          <ac:chgData name="Hissam EL BARKAOUI" userId="bd40893a-d7b0-46e9-8e20-b7bd51641b40" providerId="ADAL" clId="{1E70787C-441D-4C9E-9D39-0ABDE5292997}" dt="2022-11-14T14:50:41.429" v="464" actId="27636"/>
          <ac:spMkLst>
            <pc:docMk/>
            <pc:sldMk cId="1978803013" sldId="2076138101"/>
            <ac:spMk id="32" creationId="{8AAFC82A-50EB-4CCE-AC23-12B2F564579F}"/>
          </ac:spMkLst>
        </pc:spChg>
        <pc:spChg chg="mod">
          <ac:chgData name="Hissam EL BARKAOUI" userId="bd40893a-d7b0-46e9-8e20-b7bd51641b40" providerId="ADAL" clId="{1E70787C-441D-4C9E-9D39-0ABDE5292997}" dt="2022-11-14T14:51:25.372" v="475" actId="5793"/>
          <ac:spMkLst>
            <pc:docMk/>
            <pc:sldMk cId="1978803013" sldId="2076138101"/>
            <ac:spMk id="36" creationId="{0FC3B1E9-E16E-4D5A-9E58-429FB5DE6E60}"/>
          </ac:spMkLst>
        </pc:spChg>
        <pc:spChg chg="add del mod">
          <ac:chgData name="Hissam EL BARKAOUI" userId="bd40893a-d7b0-46e9-8e20-b7bd51641b40" providerId="ADAL" clId="{1E70787C-441D-4C9E-9D39-0ABDE5292997}" dt="2022-11-14T14:51:20.945" v="472" actId="478"/>
          <ac:spMkLst>
            <pc:docMk/>
            <pc:sldMk cId="1978803013" sldId="2076138101"/>
            <ac:spMk id="38" creationId="{F25AAD8E-1703-4CE2-842D-528B4E989BA1}"/>
          </ac:spMkLst>
        </pc:spChg>
        <pc:spChg chg="add del">
          <ac:chgData name="Hissam EL BARKAOUI" userId="bd40893a-d7b0-46e9-8e20-b7bd51641b40" providerId="ADAL" clId="{1E70787C-441D-4C9E-9D39-0ABDE5292997}" dt="2022-11-14T14:51:20.945" v="472" actId="478"/>
          <ac:spMkLst>
            <pc:docMk/>
            <pc:sldMk cId="1978803013" sldId="2076138101"/>
            <ac:spMk id="39" creationId="{7391B4E7-4910-44A8-AB18-98F32D65E2DB}"/>
          </ac:spMkLst>
        </pc:spChg>
        <pc:spChg chg="add del">
          <ac:chgData name="Hissam EL BARKAOUI" userId="bd40893a-d7b0-46e9-8e20-b7bd51641b40" providerId="ADAL" clId="{1E70787C-441D-4C9E-9D39-0ABDE5292997}" dt="2022-11-14T14:51:20.945" v="472" actId="478"/>
          <ac:spMkLst>
            <pc:docMk/>
            <pc:sldMk cId="1978803013" sldId="2076138101"/>
            <ac:spMk id="40" creationId="{D34484FE-E830-4848-8A8E-9EEB02DD3BFC}"/>
          </ac:spMkLst>
        </pc:spChg>
        <pc:spChg chg="add del">
          <ac:chgData name="Hissam EL BARKAOUI" userId="bd40893a-d7b0-46e9-8e20-b7bd51641b40" providerId="ADAL" clId="{1E70787C-441D-4C9E-9D39-0ABDE5292997}" dt="2022-11-14T14:51:20.945" v="472" actId="478"/>
          <ac:spMkLst>
            <pc:docMk/>
            <pc:sldMk cId="1978803013" sldId="2076138101"/>
            <ac:spMk id="41" creationId="{11D88BA7-FEFB-46FA-A9CF-75CFFF2D3D2A}"/>
          </ac:spMkLst>
        </pc:spChg>
        <pc:grpChg chg="add del">
          <ac:chgData name="Hissam EL BARKAOUI" userId="bd40893a-d7b0-46e9-8e20-b7bd51641b40" providerId="ADAL" clId="{1E70787C-441D-4C9E-9D39-0ABDE5292997}" dt="2022-11-14T14:51:20.945" v="472" actId="478"/>
          <ac:grpSpMkLst>
            <pc:docMk/>
            <pc:sldMk cId="1978803013" sldId="2076138101"/>
            <ac:grpSpMk id="42" creationId="{7BCAD89D-90A5-47BD-ADED-52E2858DFB30}"/>
          </ac:grpSpMkLst>
        </pc:grpChg>
        <pc:cxnChg chg="add del">
          <ac:chgData name="Hissam EL BARKAOUI" userId="bd40893a-d7b0-46e9-8e20-b7bd51641b40" providerId="ADAL" clId="{1E70787C-441D-4C9E-9D39-0ABDE5292997}" dt="2022-11-14T14:51:16.644" v="471" actId="478"/>
          <ac:cxnSpMkLst>
            <pc:docMk/>
            <pc:sldMk cId="1978803013" sldId="2076138101"/>
            <ac:cxnSpMk id="34" creationId="{EE45CCC2-C74B-4A64-B543-714445540C3C}"/>
          </ac:cxnSpMkLst>
        </pc:cxnChg>
      </pc:sldChg>
      <pc:sldChg chg="add mod modShow">
        <pc:chgData name="Hissam EL BARKAOUI" userId="bd40893a-d7b0-46e9-8e20-b7bd51641b40" providerId="ADAL" clId="{1E70787C-441D-4C9E-9D39-0ABDE5292997}" dt="2022-11-14T14:49:06.146" v="457" actId="729"/>
        <pc:sldMkLst>
          <pc:docMk/>
          <pc:sldMk cId="1975943534" sldId="2076138102"/>
        </pc:sldMkLst>
      </pc:sldChg>
      <pc:sldChg chg="addSp delSp modSp mod">
        <pc:chgData name="Hissam EL BARKAOUI" userId="bd40893a-d7b0-46e9-8e20-b7bd51641b40" providerId="ADAL" clId="{1E70787C-441D-4C9E-9D39-0ABDE5292997}" dt="2022-11-14T14:48:30.820" v="455" actId="20577"/>
        <pc:sldMkLst>
          <pc:docMk/>
          <pc:sldMk cId="1680199837" sldId="2076138123"/>
        </pc:sldMkLst>
        <pc:spChg chg="mod">
          <ac:chgData name="Hissam EL BARKAOUI" userId="bd40893a-d7b0-46e9-8e20-b7bd51641b40" providerId="ADAL" clId="{1E70787C-441D-4C9E-9D39-0ABDE5292997}" dt="2022-11-14T14:26:35.186" v="94" actId="20577"/>
          <ac:spMkLst>
            <pc:docMk/>
            <pc:sldMk cId="1680199837" sldId="2076138123"/>
            <ac:spMk id="5" creationId="{2F0D15E0-1B03-470B-A568-EF6083EE78DA}"/>
          </ac:spMkLst>
        </pc:spChg>
        <pc:spChg chg="add mod">
          <ac:chgData name="Hissam EL BARKAOUI" userId="bd40893a-d7b0-46e9-8e20-b7bd51641b40" providerId="ADAL" clId="{1E70787C-441D-4C9E-9D39-0ABDE5292997}" dt="2022-11-14T14:26:30.012" v="84" actId="1076"/>
          <ac:spMkLst>
            <pc:docMk/>
            <pc:sldMk cId="1680199837" sldId="2076138123"/>
            <ac:spMk id="6" creationId="{59218360-3A11-4624-9214-DDC18ED44D79}"/>
          </ac:spMkLst>
        </pc:spChg>
        <pc:spChg chg="del">
          <ac:chgData name="Hissam EL BARKAOUI" userId="bd40893a-d7b0-46e9-8e20-b7bd51641b40" providerId="ADAL" clId="{1E70787C-441D-4C9E-9D39-0ABDE5292997}" dt="2022-11-14T14:26:25.657" v="81" actId="478"/>
          <ac:spMkLst>
            <pc:docMk/>
            <pc:sldMk cId="1680199837" sldId="2076138123"/>
            <ac:spMk id="7" creationId="{8DB483B7-79AD-4A95-AF0E-8B8D6232540B}"/>
          </ac:spMkLst>
        </pc:spChg>
        <pc:spChg chg="add mod">
          <ac:chgData name="Hissam EL BARKAOUI" userId="bd40893a-d7b0-46e9-8e20-b7bd51641b40" providerId="ADAL" clId="{1E70787C-441D-4C9E-9D39-0ABDE5292997}" dt="2022-11-14T14:26:30.012" v="84" actId="1076"/>
          <ac:spMkLst>
            <pc:docMk/>
            <pc:sldMk cId="1680199837" sldId="2076138123"/>
            <ac:spMk id="8" creationId="{6BEF1DB4-3010-4B52-B506-B20A3BEEAC9C}"/>
          </ac:spMkLst>
        </pc:spChg>
        <pc:spChg chg="add mod">
          <ac:chgData name="Hissam EL BARKAOUI" userId="bd40893a-d7b0-46e9-8e20-b7bd51641b40" providerId="ADAL" clId="{1E70787C-441D-4C9E-9D39-0ABDE5292997}" dt="2022-11-14T14:26:30.012" v="84" actId="1076"/>
          <ac:spMkLst>
            <pc:docMk/>
            <pc:sldMk cId="1680199837" sldId="2076138123"/>
            <ac:spMk id="9" creationId="{77211E8D-58BD-41A6-9F16-B9A01687D58D}"/>
          </ac:spMkLst>
        </pc:spChg>
        <pc:spChg chg="add mod">
          <ac:chgData name="Hissam EL BARKAOUI" userId="bd40893a-d7b0-46e9-8e20-b7bd51641b40" providerId="ADAL" clId="{1E70787C-441D-4C9E-9D39-0ABDE5292997}" dt="2022-11-14T14:26:30.012" v="84" actId="1076"/>
          <ac:spMkLst>
            <pc:docMk/>
            <pc:sldMk cId="1680199837" sldId="2076138123"/>
            <ac:spMk id="10" creationId="{4A78AF75-ED30-44EE-B8D5-D2B7AD6294A7}"/>
          </ac:spMkLst>
        </pc:spChg>
        <pc:spChg chg="add mod">
          <ac:chgData name="Hissam EL BARKAOUI" userId="bd40893a-d7b0-46e9-8e20-b7bd51641b40" providerId="ADAL" clId="{1E70787C-441D-4C9E-9D39-0ABDE5292997}" dt="2022-11-14T14:26:30.012" v="84" actId="1076"/>
          <ac:spMkLst>
            <pc:docMk/>
            <pc:sldMk cId="1680199837" sldId="2076138123"/>
            <ac:spMk id="11" creationId="{A6405F25-8463-4743-BFCD-041BC9C6B175}"/>
          </ac:spMkLst>
        </pc:spChg>
        <pc:spChg chg="add mod">
          <ac:chgData name="Hissam EL BARKAOUI" userId="bd40893a-d7b0-46e9-8e20-b7bd51641b40" providerId="ADAL" clId="{1E70787C-441D-4C9E-9D39-0ABDE5292997}" dt="2022-11-14T14:26:30.012" v="84" actId="1076"/>
          <ac:spMkLst>
            <pc:docMk/>
            <pc:sldMk cId="1680199837" sldId="2076138123"/>
            <ac:spMk id="12" creationId="{186599DA-E58F-4091-8823-72D7CE9841DA}"/>
          </ac:spMkLst>
        </pc:spChg>
        <pc:spChg chg="add mod">
          <ac:chgData name="Hissam EL BARKAOUI" userId="bd40893a-d7b0-46e9-8e20-b7bd51641b40" providerId="ADAL" clId="{1E70787C-441D-4C9E-9D39-0ABDE5292997}" dt="2022-11-14T14:26:30.012" v="84" actId="1076"/>
          <ac:spMkLst>
            <pc:docMk/>
            <pc:sldMk cId="1680199837" sldId="2076138123"/>
            <ac:spMk id="13" creationId="{73FAED7B-FF7C-4752-ADAB-DE445C9CCACD}"/>
          </ac:spMkLst>
        </pc:spChg>
        <pc:spChg chg="add mod">
          <ac:chgData name="Hissam EL BARKAOUI" userId="bd40893a-d7b0-46e9-8e20-b7bd51641b40" providerId="ADAL" clId="{1E70787C-441D-4C9E-9D39-0ABDE5292997}" dt="2022-11-14T14:26:30.012" v="84" actId="1076"/>
          <ac:spMkLst>
            <pc:docMk/>
            <pc:sldMk cId="1680199837" sldId="2076138123"/>
            <ac:spMk id="14" creationId="{F6EEEB5A-24F4-42ED-9247-3F40764A4C55}"/>
          </ac:spMkLst>
        </pc:spChg>
        <pc:spChg chg="add mod">
          <ac:chgData name="Hissam EL BARKAOUI" userId="bd40893a-d7b0-46e9-8e20-b7bd51641b40" providerId="ADAL" clId="{1E70787C-441D-4C9E-9D39-0ABDE5292997}" dt="2022-11-14T14:26:30.012" v="84" actId="1076"/>
          <ac:spMkLst>
            <pc:docMk/>
            <pc:sldMk cId="1680199837" sldId="2076138123"/>
            <ac:spMk id="15" creationId="{90831BED-B3A5-4AEF-98EB-CE9FD2902A50}"/>
          </ac:spMkLst>
        </pc:spChg>
        <pc:spChg chg="add mod">
          <ac:chgData name="Hissam EL BARKAOUI" userId="bd40893a-d7b0-46e9-8e20-b7bd51641b40" providerId="ADAL" clId="{1E70787C-441D-4C9E-9D39-0ABDE5292997}" dt="2022-11-14T14:26:30.012" v="84" actId="1076"/>
          <ac:spMkLst>
            <pc:docMk/>
            <pc:sldMk cId="1680199837" sldId="2076138123"/>
            <ac:spMk id="16" creationId="{F0B1C055-E494-4478-BA80-C7794870ABD6}"/>
          </ac:spMkLst>
        </pc:spChg>
        <pc:spChg chg="add mod">
          <ac:chgData name="Hissam EL BARKAOUI" userId="bd40893a-d7b0-46e9-8e20-b7bd51641b40" providerId="ADAL" clId="{1E70787C-441D-4C9E-9D39-0ABDE5292997}" dt="2022-11-14T14:26:30.012" v="84" actId="1076"/>
          <ac:spMkLst>
            <pc:docMk/>
            <pc:sldMk cId="1680199837" sldId="2076138123"/>
            <ac:spMk id="17" creationId="{B164E038-E4A6-4A59-9534-E7F3B3FBAB10}"/>
          </ac:spMkLst>
        </pc:spChg>
        <pc:spChg chg="add mod">
          <ac:chgData name="Hissam EL BARKAOUI" userId="bd40893a-d7b0-46e9-8e20-b7bd51641b40" providerId="ADAL" clId="{1E70787C-441D-4C9E-9D39-0ABDE5292997}" dt="2022-11-14T14:48:30.820" v="455" actId="20577"/>
          <ac:spMkLst>
            <pc:docMk/>
            <pc:sldMk cId="1680199837" sldId="2076138123"/>
            <ac:spMk id="18" creationId="{58D58A0F-30CC-417B-8974-FC368E68D00C}"/>
          </ac:spMkLst>
        </pc:spChg>
      </pc:sldChg>
      <pc:sldChg chg="add del">
        <pc:chgData name="Hissam EL BARKAOUI" userId="bd40893a-d7b0-46e9-8e20-b7bd51641b40" providerId="ADAL" clId="{1E70787C-441D-4C9E-9D39-0ABDE5292997}" dt="2022-11-14T14:41:46.294" v="388" actId="2696"/>
        <pc:sldMkLst>
          <pc:docMk/>
          <pc:sldMk cId="590124298" sldId="2076138142"/>
        </pc:sldMkLst>
      </pc:sldChg>
      <pc:sldChg chg="addSp delSp modSp mod">
        <pc:chgData name="Hissam EL BARKAOUI" userId="bd40893a-d7b0-46e9-8e20-b7bd51641b40" providerId="ADAL" clId="{1E70787C-441D-4C9E-9D39-0ABDE5292997}" dt="2022-11-15T15:05:26.539" v="1004" actId="14100"/>
        <pc:sldMkLst>
          <pc:docMk/>
          <pc:sldMk cId="3219227806" sldId="2076138155"/>
        </pc:sldMkLst>
        <pc:spChg chg="add del mod">
          <ac:chgData name="Hissam EL BARKAOUI" userId="bd40893a-d7b0-46e9-8e20-b7bd51641b40" providerId="ADAL" clId="{1E70787C-441D-4C9E-9D39-0ABDE5292997}" dt="2022-11-15T14:23:45.621" v="680" actId="478"/>
          <ac:spMkLst>
            <pc:docMk/>
            <pc:sldMk cId="3219227806" sldId="2076138155"/>
            <ac:spMk id="3" creationId="{04896C55-2658-49CC-8655-536177E610A2}"/>
          </ac:spMkLst>
        </pc:spChg>
        <pc:spChg chg="add del mod">
          <ac:chgData name="Hissam EL BARKAOUI" userId="bd40893a-d7b0-46e9-8e20-b7bd51641b40" providerId="ADAL" clId="{1E70787C-441D-4C9E-9D39-0ABDE5292997}" dt="2022-11-15T14:58:43.366" v="953" actId="478"/>
          <ac:spMkLst>
            <pc:docMk/>
            <pc:sldMk cId="3219227806" sldId="2076138155"/>
            <ac:spMk id="4" creationId="{521BD444-88FF-47F5-9931-C01EC35DA5B9}"/>
          </ac:spMkLst>
        </pc:spChg>
        <pc:spChg chg="add del mod ord">
          <ac:chgData name="Hissam EL BARKAOUI" userId="bd40893a-d7b0-46e9-8e20-b7bd51641b40" providerId="ADAL" clId="{1E70787C-441D-4C9E-9D39-0ABDE5292997}" dt="2022-11-14T14:36:35.015" v="279" actId="478"/>
          <ac:spMkLst>
            <pc:docMk/>
            <pc:sldMk cId="3219227806" sldId="2076138155"/>
            <ac:spMk id="4" creationId="{E811D61A-CD40-4FFE-9693-3B1C1C8042F2}"/>
          </ac:spMkLst>
        </pc:spChg>
        <pc:spChg chg="add del">
          <ac:chgData name="Hissam EL BARKAOUI" userId="bd40893a-d7b0-46e9-8e20-b7bd51641b40" providerId="ADAL" clId="{1E70787C-441D-4C9E-9D39-0ABDE5292997}" dt="2022-11-14T14:19:32.292" v="45" actId="22"/>
          <ac:spMkLst>
            <pc:docMk/>
            <pc:sldMk cId="3219227806" sldId="2076138155"/>
            <ac:spMk id="8" creationId="{4AA5EFA6-317B-42AF-9827-B9B17D011D88}"/>
          </ac:spMkLst>
        </pc:spChg>
        <pc:spChg chg="add mod">
          <ac:chgData name="Hissam EL BARKAOUI" userId="bd40893a-d7b0-46e9-8e20-b7bd51641b40" providerId="ADAL" clId="{1E70787C-441D-4C9E-9D39-0ABDE5292997}" dt="2022-11-15T14:35:07.544" v="810"/>
          <ac:spMkLst>
            <pc:docMk/>
            <pc:sldMk cId="3219227806" sldId="2076138155"/>
            <ac:spMk id="9" creationId="{7F473520-1331-4B66-928F-23F6F0D219BD}"/>
          </ac:spMkLst>
        </pc:spChg>
        <pc:spChg chg="add del">
          <ac:chgData name="Hissam EL BARKAOUI" userId="bd40893a-d7b0-46e9-8e20-b7bd51641b40" providerId="ADAL" clId="{1E70787C-441D-4C9E-9D39-0ABDE5292997}" dt="2022-11-14T14:19:40.789" v="47" actId="22"/>
          <ac:spMkLst>
            <pc:docMk/>
            <pc:sldMk cId="3219227806" sldId="2076138155"/>
            <ac:spMk id="10" creationId="{D43965F9-393F-4CB3-9836-8819D3D4E73A}"/>
          </ac:spMkLst>
        </pc:spChg>
        <pc:spChg chg="add mod">
          <ac:chgData name="Hissam EL BARKAOUI" userId="bd40893a-d7b0-46e9-8e20-b7bd51641b40" providerId="ADAL" clId="{1E70787C-441D-4C9E-9D39-0ABDE5292997}" dt="2022-11-14T14:37:54.523" v="311" actId="20577"/>
          <ac:spMkLst>
            <pc:docMk/>
            <pc:sldMk cId="3219227806" sldId="2076138155"/>
            <ac:spMk id="11" creationId="{8F801702-26A5-471C-A1B0-88F6EC0C909C}"/>
          </ac:spMkLst>
        </pc:spChg>
        <pc:spChg chg="add del">
          <ac:chgData name="Hissam EL BARKAOUI" userId="bd40893a-d7b0-46e9-8e20-b7bd51641b40" providerId="ADAL" clId="{1E70787C-441D-4C9E-9D39-0ABDE5292997}" dt="2022-11-14T14:20:02.221" v="49" actId="478"/>
          <ac:spMkLst>
            <pc:docMk/>
            <pc:sldMk cId="3219227806" sldId="2076138155"/>
            <ac:spMk id="12" creationId="{7D14C63E-9665-4360-A108-9234E78ECF6A}"/>
          </ac:spMkLst>
        </pc:spChg>
        <pc:spChg chg="add mod">
          <ac:chgData name="Hissam EL BARKAOUI" userId="bd40893a-d7b0-46e9-8e20-b7bd51641b40" providerId="ADAL" clId="{1E70787C-441D-4C9E-9D39-0ABDE5292997}" dt="2022-11-15T15:00:40.454" v="960" actId="14100"/>
          <ac:spMkLst>
            <pc:docMk/>
            <pc:sldMk cId="3219227806" sldId="2076138155"/>
            <ac:spMk id="14" creationId="{065B8624-E6E6-432A-BC23-57C3131B50A6}"/>
          </ac:spMkLst>
        </pc:spChg>
        <pc:spChg chg="add mod">
          <ac:chgData name="Hissam EL BARKAOUI" userId="bd40893a-d7b0-46e9-8e20-b7bd51641b40" providerId="ADAL" clId="{1E70787C-441D-4C9E-9D39-0ABDE5292997}" dt="2022-11-15T14:35:57.006" v="813" actId="1076"/>
          <ac:spMkLst>
            <pc:docMk/>
            <pc:sldMk cId="3219227806" sldId="2076138155"/>
            <ac:spMk id="15" creationId="{E7A3E90E-63D5-4017-9E1A-0BB77AA0761C}"/>
          </ac:spMkLst>
        </pc:spChg>
        <pc:spChg chg="add mod">
          <ac:chgData name="Hissam EL BARKAOUI" userId="bd40893a-d7b0-46e9-8e20-b7bd51641b40" providerId="ADAL" clId="{1E70787C-441D-4C9E-9D39-0ABDE5292997}" dt="2022-11-15T14:59:17.230" v="956" actId="1076"/>
          <ac:spMkLst>
            <pc:docMk/>
            <pc:sldMk cId="3219227806" sldId="2076138155"/>
            <ac:spMk id="16" creationId="{8B90584D-8FFA-4764-8CED-0A3A1F12041D}"/>
          </ac:spMkLst>
        </pc:spChg>
        <pc:spChg chg="add mod">
          <ac:chgData name="Hissam EL BARKAOUI" userId="bd40893a-d7b0-46e9-8e20-b7bd51641b40" providerId="ADAL" clId="{1E70787C-441D-4C9E-9D39-0ABDE5292997}" dt="2022-11-15T15:05:26.539" v="1004" actId="14100"/>
          <ac:spMkLst>
            <pc:docMk/>
            <pc:sldMk cId="3219227806" sldId="2076138155"/>
            <ac:spMk id="17" creationId="{3F2DEE56-55D6-41D1-A871-9563A4C1976A}"/>
          </ac:spMkLst>
        </pc:spChg>
        <pc:spChg chg="add mod">
          <ac:chgData name="Hissam EL BARKAOUI" userId="bd40893a-d7b0-46e9-8e20-b7bd51641b40" providerId="ADAL" clId="{1E70787C-441D-4C9E-9D39-0ABDE5292997}" dt="2022-11-15T14:59:24.411" v="958" actId="14100"/>
          <ac:spMkLst>
            <pc:docMk/>
            <pc:sldMk cId="3219227806" sldId="2076138155"/>
            <ac:spMk id="18" creationId="{C48A7062-4394-4AB8-ADDF-646ABC484C64}"/>
          </ac:spMkLst>
        </pc:spChg>
        <pc:spChg chg="add del mod">
          <ac:chgData name="Hissam EL BARKAOUI" userId="bd40893a-d7b0-46e9-8e20-b7bd51641b40" providerId="ADAL" clId="{1E70787C-441D-4C9E-9D39-0ABDE5292997}" dt="2022-11-14T14:40:25.427" v="381" actId="478"/>
          <ac:spMkLst>
            <pc:docMk/>
            <pc:sldMk cId="3219227806" sldId="2076138155"/>
            <ac:spMk id="18" creationId="{C57B0E55-1B04-4F81-AC1B-8378D89BB4CF}"/>
          </ac:spMkLst>
        </pc:spChg>
        <pc:spChg chg="add mod">
          <ac:chgData name="Hissam EL BARKAOUI" userId="bd40893a-d7b0-46e9-8e20-b7bd51641b40" providerId="ADAL" clId="{1E70787C-441D-4C9E-9D39-0ABDE5292997}" dt="2022-11-15T14:32:32.652" v="803" actId="1076"/>
          <ac:spMkLst>
            <pc:docMk/>
            <pc:sldMk cId="3219227806" sldId="2076138155"/>
            <ac:spMk id="19" creationId="{7838FF7B-7D1E-4FFB-A826-3D6FBCECE5D4}"/>
          </ac:spMkLst>
        </pc:spChg>
        <pc:spChg chg="add mod">
          <ac:chgData name="Hissam EL BARKAOUI" userId="bd40893a-d7b0-46e9-8e20-b7bd51641b40" providerId="ADAL" clId="{1E70787C-441D-4C9E-9D39-0ABDE5292997}" dt="2022-11-15T14:36:14.393" v="816" actId="1076"/>
          <ac:spMkLst>
            <pc:docMk/>
            <pc:sldMk cId="3219227806" sldId="2076138155"/>
            <ac:spMk id="21" creationId="{4FC483A5-A1FC-4D1A-AE0F-C9FC4950ADAD}"/>
          </ac:spMkLst>
        </pc:spChg>
        <pc:spChg chg="add mod">
          <ac:chgData name="Hissam EL BARKAOUI" userId="bd40893a-d7b0-46e9-8e20-b7bd51641b40" providerId="ADAL" clId="{1E70787C-441D-4C9E-9D39-0ABDE5292997}" dt="2022-11-14T14:55:24.097" v="527" actId="20577"/>
          <ac:spMkLst>
            <pc:docMk/>
            <pc:sldMk cId="3219227806" sldId="2076138155"/>
            <ac:spMk id="22" creationId="{CCD345E9-B6DA-4A2C-92BC-996AF0C555E4}"/>
          </ac:spMkLst>
        </pc:spChg>
        <pc:spChg chg="add mod">
          <ac:chgData name="Hissam EL BARKAOUI" userId="bd40893a-d7b0-46e9-8e20-b7bd51641b40" providerId="ADAL" clId="{1E70787C-441D-4C9E-9D39-0ABDE5292997}" dt="2022-11-15T15:00:22.401" v="959" actId="1076"/>
          <ac:spMkLst>
            <pc:docMk/>
            <pc:sldMk cId="3219227806" sldId="2076138155"/>
            <ac:spMk id="23" creationId="{11716AAE-72BD-4EE5-8DAB-3CE7C3A967A2}"/>
          </ac:spMkLst>
        </pc:spChg>
        <pc:spChg chg="add mod">
          <ac:chgData name="Hissam EL BARKAOUI" userId="bd40893a-d7b0-46e9-8e20-b7bd51641b40" providerId="ADAL" clId="{1E70787C-441D-4C9E-9D39-0ABDE5292997}" dt="2022-11-15T14:26:14.933" v="681" actId="1076"/>
          <ac:spMkLst>
            <pc:docMk/>
            <pc:sldMk cId="3219227806" sldId="2076138155"/>
            <ac:spMk id="24" creationId="{BBA3D524-476C-4D69-8F60-352FA0DE2BEB}"/>
          </ac:spMkLst>
        </pc:spChg>
        <pc:spChg chg="add mod">
          <ac:chgData name="Hissam EL BARKAOUI" userId="bd40893a-d7b0-46e9-8e20-b7bd51641b40" providerId="ADAL" clId="{1E70787C-441D-4C9E-9D39-0ABDE5292997}" dt="2022-11-15T14:58:56.426" v="955" actId="1076"/>
          <ac:spMkLst>
            <pc:docMk/>
            <pc:sldMk cId="3219227806" sldId="2076138155"/>
            <ac:spMk id="25" creationId="{2AEA0851-487D-43B4-BC1E-CE5D440EFCA2}"/>
          </ac:spMkLst>
        </pc:spChg>
        <pc:spChg chg="add mod">
          <ac:chgData name="Hissam EL BARKAOUI" userId="bd40893a-d7b0-46e9-8e20-b7bd51641b40" providerId="ADAL" clId="{1E70787C-441D-4C9E-9D39-0ABDE5292997}" dt="2022-11-15T14:58:28.578" v="947" actId="1076"/>
          <ac:spMkLst>
            <pc:docMk/>
            <pc:sldMk cId="3219227806" sldId="2076138155"/>
            <ac:spMk id="26" creationId="{25A5691E-062B-4E23-B37B-54E72EE0743B}"/>
          </ac:spMkLst>
        </pc:spChg>
        <pc:spChg chg="add mod">
          <ac:chgData name="Hissam EL BARKAOUI" userId="bd40893a-d7b0-46e9-8e20-b7bd51641b40" providerId="ADAL" clId="{1E70787C-441D-4C9E-9D39-0ABDE5292997}" dt="2022-11-15T14:41:58.624" v="899" actId="14100"/>
          <ac:spMkLst>
            <pc:docMk/>
            <pc:sldMk cId="3219227806" sldId="2076138155"/>
            <ac:spMk id="27" creationId="{D5C81E70-5A3E-4AF0-AF66-B96E2682316C}"/>
          </ac:spMkLst>
        </pc:spChg>
        <pc:spChg chg="add del mod">
          <ac:chgData name="Hissam EL BARKAOUI" userId="bd40893a-d7b0-46e9-8e20-b7bd51641b40" providerId="ADAL" clId="{1E70787C-441D-4C9E-9D39-0ABDE5292997}" dt="2022-11-15T14:31:34.637" v="793" actId="478"/>
          <ac:spMkLst>
            <pc:docMk/>
            <pc:sldMk cId="3219227806" sldId="2076138155"/>
            <ac:spMk id="28" creationId="{E80DE353-DE14-45E8-8A2E-4D013CF45BBB}"/>
          </ac:spMkLst>
        </pc:spChg>
        <pc:spChg chg="add mod">
          <ac:chgData name="Hissam EL BARKAOUI" userId="bd40893a-d7b0-46e9-8e20-b7bd51641b40" providerId="ADAL" clId="{1E70787C-441D-4C9E-9D39-0ABDE5292997}" dt="2022-11-15T14:58:53.132" v="954" actId="1076"/>
          <ac:spMkLst>
            <pc:docMk/>
            <pc:sldMk cId="3219227806" sldId="2076138155"/>
            <ac:spMk id="29" creationId="{4D324452-B5B6-453B-B279-D74968E25649}"/>
          </ac:spMkLst>
        </pc:spChg>
        <pc:spChg chg="add mod">
          <ac:chgData name="Hissam EL BARKAOUI" userId="bd40893a-d7b0-46e9-8e20-b7bd51641b40" providerId="ADAL" clId="{1E70787C-441D-4C9E-9D39-0ABDE5292997}" dt="2022-11-15T15:04:40.183" v="1003" actId="14100"/>
          <ac:spMkLst>
            <pc:docMk/>
            <pc:sldMk cId="3219227806" sldId="2076138155"/>
            <ac:spMk id="30" creationId="{9F279B32-9534-4195-821B-F3ACB2A4B6B0}"/>
          </ac:spMkLst>
        </pc:spChg>
        <pc:spChg chg="add mod">
          <ac:chgData name="Hissam EL BARKAOUI" userId="bd40893a-d7b0-46e9-8e20-b7bd51641b40" providerId="ADAL" clId="{1E70787C-441D-4C9E-9D39-0ABDE5292997}" dt="2022-11-15T15:03:44.808" v="999" actId="14100"/>
          <ac:spMkLst>
            <pc:docMk/>
            <pc:sldMk cId="3219227806" sldId="2076138155"/>
            <ac:spMk id="31" creationId="{F0D99E6A-740A-43F9-A8D6-C891BB1568DD}"/>
          </ac:spMkLst>
        </pc:spChg>
        <pc:spChg chg="mod">
          <ac:chgData name="Hissam EL BARKAOUI" userId="bd40893a-d7b0-46e9-8e20-b7bd51641b40" providerId="ADAL" clId="{1E70787C-441D-4C9E-9D39-0ABDE5292997}" dt="2022-11-15T14:50:58.426" v="901" actId="14100"/>
          <ac:spMkLst>
            <pc:docMk/>
            <pc:sldMk cId="3219227806" sldId="2076138155"/>
            <ac:spMk id="36" creationId="{CC44DB8A-AB0D-4580-8207-3342C461D306}"/>
          </ac:spMkLst>
        </pc:spChg>
      </pc:sldChg>
      <pc:sldChg chg="add del">
        <pc:chgData name="Hissam EL BARKAOUI" userId="bd40893a-d7b0-46e9-8e20-b7bd51641b40" providerId="ADAL" clId="{1E70787C-441D-4C9E-9D39-0ABDE5292997}" dt="2022-11-14T14:50:30.385" v="461" actId="2696"/>
        <pc:sldMkLst>
          <pc:docMk/>
          <pc:sldMk cId="1080072043" sldId="2076138172"/>
        </pc:sldMkLst>
      </pc:sldChg>
      <pc:sldChg chg="new del">
        <pc:chgData name="Hissam EL BARKAOUI" userId="bd40893a-d7b0-46e9-8e20-b7bd51641b40" providerId="ADAL" clId="{1E70787C-441D-4C9E-9D39-0ABDE5292997}" dt="2022-11-14T14:41:06.266" v="387" actId="2696"/>
        <pc:sldMkLst>
          <pc:docMk/>
          <pc:sldMk cId="1162999110" sldId="2076138172"/>
        </pc:sldMkLst>
      </pc:sldChg>
      <pc:sldChg chg="addSp delSp modSp add del mod">
        <pc:chgData name="Hissam EL BARKAOUI" userId="bd40893a-d7b0-46e9-8e20-b7bd51641b40" providerId="ADAL" clId="{1E70787C-441D-4C9E-9D39-0ABDE5292997}" dt="2022-11-14T14:26:48.105" v="96" actId="2696"/>
        <pc:sldMkLst>
          <pc:docMk/>
          <pc:sldMk cId="3931921101" sldId="2076138172"/>
        </pc:sldMkLst>
        <pc:spChg chg="mod">
          <ac:chgData name="Hissam EL BARKAOUI" userId="bd40893a-d7b0-46e9-8e20-b7bd51641b40" providerId="ADAL" clId="{1E70787C-441D-4C9E-9D39-0ABDE5292997}" dt="2022-11-14T14:24:41.319" v="72" actId="1076"/>
          <ac:spMkLst>
            <pc:docMk/>
            <pc:sldMk cId="3931921101" sldId="2076138172"/>
            <ac:spMk id="3" creationId="{80D52342-C2B0-428C-8805-971DE696581C}"/>
          </ac:spMkLst>
        </pc:spChg>
        <pc:spChg chg="add del">
          <ac:chgData name="Hissam EL BARKAOUI" userId="bd40893a-d7b0-46e9-8e20-b7bd51641b40" providerId="ADAL" clId="{1E70787C-441D-4C9E-9D39-0ABDE5292997}" dt="2022-11-14T14:25:57.493" v="80" actId="478"/>
          <ac:spMkLst>
            <pc:docMk/>
            <pc:sldMk cId="3931921101" sldId="2076138172"/>
            <ac:spMk id="8" creationId="{481CDD81-3A26-4179-8FA9-C55811162A89}"/>
          </ac:spMkLst>
        </pc:spChg>
        <pc:spChg chg="add mod">
          <ac:chgData name="Hissam EL BARKAOUI" userId="bd40893a-d7b0-46e9-8e20-b7bd51641b40" providerId="ADAL" clId="{1E70787C-441D-4C9E-9D39-0ABDE5292997}" dt="2022-11-14T14:25:57.138" v="79" actId="1076"/>
          <ac:spMkLst>
            <pc:docMk/>
            <pc:sldMk cId="3931921101" sldId="2076138172"/>
            <ac:spMk id="14" creationId="{9E8A7AAE-BC98-41B3-9D72-C629420BB684}"/>
          </ac:spMkLst>
        </pc:spChg>
        <pc:spChg chg="add del">
          <ac:chgData name="Hissam EL BARKAOUI" userId="bd40893a-d7b0-46e9-8e20-b7bd51641b40" providerId="ADAL" clId="{1E70787C-441D-4C9E-9D39-0ABDE5292997}" dt="2022-11-14T14:25:57.493" v="80" actId="478"/>
          <ac:spMkLst>
            <pc:docMk/>
            <pc:sldMk cId="3931921101" sldId="2076138172"/>
            <ac:spMk id="31" creationId="{D1C0288C-B01D-4CA4-AFA6-500A98EB0885}"/>
          </ac:spMkLst>
        </pc:spChg>
      </pc:sldChg>
      <pc:sldChg chg="add del">
        <pc:chgData name="Hissam EL BARKAOUI" userId="bd40893a-d7b0-46e9-8e20-b7bd51641b40" providerId="ADAL" clId="{1E70787C-441D-4C9E-9D39-0ABDE5292997}" dt="2022-11-14T14:21:43.512" v="54"/>
        <pc:sldMkLst>
          <pc:docMk/>
          <pc:sldMk cId="3026764281" sldId="2076138173"/>
        </pc:sldMkLst>
      </pc:sldChg>
      <pc:sldChg chg="add">
        <pc:chgData name="Hissam EL BARKAOUI" userId="bd40893a-d7b0-46e9-8e20-b7bd51641b40" providerId="ADAL" clId="{1E70787C-441D-4C9E-9D39-0ABDE5292997}" dt="2022-11-14T14:50:28.067" v="460" actId="2890"/>
        <pc:sldMkLst>
          <pc:docMk/>
          <pc:sldMk cId="3124259909" sldId="2076138173"/>
        </pc:sldMkLst>
      </pc:sldChg>
      <pc:sldChg chg="addSp modSp add del mod">
        <pc:chgData name="Hissam EL BARKAOUI" userId="bd40893a-d7b0-46e9-8e20-b7bd51641b40" providerId="ADAL" clId="{1E70787C-441D-4C9E-9D39-0ABDE5292997}" dt="2022-11-16T15:11:36.115" v="1005" actId="2696"/>
        <pc:sldMkLst>
          <pc:docMk/>
          <pc:sldMk cId="4136788999" sldId="2076138174"/>
        </pc:sldMkLst>
        <pc:spChg chg="add mod">
          <ac:chgData name="Hissam EL BARKAOUI" userId="bd40893a-d7b0-46e9-8e20-b7bd51641b40" providerId="ADAL" clId="{1E70787C-441D-4C9E-9D39-0ABDE5292997}" dt="2022-11-14T14:54:42.458" v="518" actId="20577"/>
          <ac:spMkLst>
            <pc:docMk/>
            <pc:sldMk cId="4136788999" sldId="2076138174"/>
            <ac:spMk id="10" creationId="{294802ED-0A63-4330-AC04-F588423CF330}"/>
          </ac:spMkLst>
        </pc:spChg>
        <pc:spChg chg="mod">
          <ac:chgData name="Hissam EL BARKAOUI" userId="bd40893a-d7b0-46e9-8e20-b7bd51641b40" providerId="ADAL" clId="{1E70787C-441D-4C9E-9D39-0ABDE5292997}" dt="2022-11-14T14:54:56.200" v="519"/>
          <ac:spMkLst>
            <pc:docMk/>
            <pc:sldMk cId="4136788999" sldId="2076138174"/>
            <ac:spMk id="25" creationId="{398E3399-844C-4D8C-8BD8-3AE08AF3015F}"/>
          </ac:spMkLst>
        </pc:spChg>
        <pc:spChg chg="mod">
          <ac:chgData name="Hissam EL BARKAOUI" userId="bd40893a-d7b0-46e9-8e20-b7bd51641b40" providerId="ADAL" clId="{1E70787C-441D-4C9E-9D39-0ABDE5292997}" dt="2022-11-14T14:56:00.536" v="571" actId="20577"/>
          <ac:spMkLst>
            <pc:docMk/>
            <pc:sldMk cId="4136788999" sldId="2076138174"/>
            <ac:spMk id="31" creationId="{19231133-1ED6-44AA-922E-624F48C1752E}"/>
          </ac:spMkLst>
        </pc:spChg>
      </pc:sldChg>
    </pc:docChg>
  </pc:docChgLst>
  <pc:docChgLst>
    <pc:chgData name="Dalil BENAOUDA" userId="S::dalil.benaouda@talan.com::6bc32e50-31cc-420e-af2c-c81feb754bf7" providerId="AD" clId="Web-{D14073E8-8CE5-CA81-56C4-ADC652A63877}"/>
    <pc:docChg chg="modSld">
      <pc:chgData name="Dalil BENAOUDA" userId="S::dalil.benaouda@talan.com::6bc32e50-31cc-420e-af2c-c81feb754bf7" providerId="AD" clId="Web-{D14073E8-8CE5-CA81-56C4-ADC652A63877}" dt="2023-01-24T17:16:43.145" v="0" actId="20577"/>
      <pc:docMkLst>
        <pc:docMk/>
      </pc:docMkLst>
      <pc:sldChg chg="modSp">
        <pc:chgData name="Dalil BENAOUDA" userId="S::dalil.benaouda@talan.com::6bc32e50-31cc-420e-af2c-c81feb754bf7" providerId="AD" clId="Web-{D14073E8-8CE5-CA81-56C4-ADC652A63877}" dt="2023-01-24T17:16:43.145" v="0" actId="20577"/>
        <pc:sldMkLst>
          <pc:docMk/>
          <pc:sldMk cId="1680199837" sldId="2076138123"/>
        </pc:sldMkLst>
        <pc:spChg chg="mod">
          <ac:chgData name="Dalil BENAOUDA" userId="S::dalil.benaouda@talan.com::6bc32e50-31cc-420e-af2c-c81feb754bf7" providerId="AD" clId="Web-{D14073E8-8CE5-CA81-56C4-ADC652A63877}" dt="2023-01-24T17:16:43.145" v="0" actId="20577"/>
          <ac:spMkLst>
            <pc:docMk/>
            <pc:sldMk cId="1680199837" sldId="2076138123"/>
            <ac:spMk id="23" creationId="{8A21ECE2-66F9-47D0-B75D-D8A050BCD7DC}"/>
          </ac:spMkLst>
        </pc:spChg>
      </pc:sldChg>
    </pc:docChg>
  </pc:docChgLst>
  <pc:docChgLst>
    <pc:chgData name="Frédéric NGUYEN KIM" userId="S::frederic.nguyen-kim@talan.com::91a3dcbd-d60c-40ca-842f-e84e51d3b939" providerId="AD" clId="Web-{3DBC437F-585D-81BA-EED8-7C618E8EC8EE}"/>
    <pc:docChg chg="addSld delSld modSld addMainMaster modSection">
      <pc:chgData name="Frédéric NGUYEN KIM" userId="S::frederic.nguyen-kim@talan.com::91a3dcbd-d60c-40ca-842f-e84e51d3b939" providerId="AD" clId="Web-{3DBC437F-585D-81BA-EED8-7C618E8EC8EE}" dt="2023-02-27T20:53:50.729" v="153"/>
      <pc:docMkLst>
        <pc:docMk/>
      </pc:docMkLst>
      <pc:sldChg chg="addSp delSp modSp del addAnim">
        <pc:chgData name="Frédéric NGUYEN KIM" userId="S::frederic.nguyen-kim@talan.com::91a3dcbd-d60c-40ca-842f-e84e51d3b939" providerId="AD" clId="Web-{3DBC437F-585D-81BA-EED8-7C618E8EC8EE}" dt="2023-02-27T20:53:48.667" v="152"/>
        <pc:sldMkLst>
          <pc:docMk/>
          <pc:sldMk cId="3260995176" sldId="2147469875"/>
        </pc:sldMkLst>
        <pc:spChg chg="add mod">
          <ac:chgData name="Frédéric NGUYEN KIM" userId="S::frederic.nguyen-kim@talan.com::91a3dcbd-d60c-40ca-842f-e84e51d3b939" providerId="AD" clId="Web-{3DBC437F-585D-81BA-EED8-7C618E8EC8EE}" dt="2023-02-27T20:50:47.958" v="23" actId="1076"/>
          <ac:spMkLst>
            <pc:docMk/>
            <pc:sldMk cId="3260995176" sldId="2147469875"/>
            <ac:spMk id="5" creationId="{519D075A-D18F-7FF4-6BCC-5F7BF7A11A4D}"/>
          </ac:spMkLst>
        </pc:spChg>
        <pc:spChg chg="ord">
          <ac:chgData name="Frédéric NGUYEN KIM" userId="S::frederic.nguyen-kim@talan.com::91a3dcbd-d60c-40ca-842f-e84e51d3b939" providerId="AD" clId="Web-{3DBC437F-585D-81BA-EED8-7C618E8EC8EE}" dt="2023-02-27T20:50:13.676" v="18"/>
          <ac:spMkLst>
            <pc:docMk/>
            <pc:sldMk cId="3260995176" sldId="2147469875"/>
            <ac:spMk id="24" creationId="{677D79F5-742B-2216-BD71-5D4B0890B911}"/>
          </ac:spMkLst>
        </pc:spChg>
        <pc:spChg chg="mod">
          <ac:chgData name="Frédéric NGUYEN KIM" userId="S::frederic.nguyen-kim@talan.com::91a3dcbd-d60c-40ca-842f-e84e51d3b939" providerId="AD" clId="Web-{3DBC437F-585D-81BA-EED8-7C618E8EC8EE}" dt="2023-02-27T20:49:46.191" v="14" actId="1076"/>
          <ac:spMkLst>
            <pc:docMk/>
            <pc:sldMk cId="3260995176" sldId="2147469875"/>
            <ac:spMk id="217" creationId="{ACBEB19E-2E70-897B-2656-D08F301B74D3}"/>
          </ac:spMkLst>
        </pc:spChg>
        <pc:spChg chg="del">
          <ac:chgData name="Frédéric NGUYEN KIM" userId="S::frederic.nguyen-kim@talan.com::91a3dcbd-d60c-40ca-842f-e84e51d3b939" providerId="AD" clId="Web-{3DBC437F-585D-81BA-EED8-7C618E8EC8EE}" dt="2023-02-27T20:49:35.394" v="13"/>
          <ac:spMkLst>
            <pc:docMk/>
            <pc:sldMk cId="3260995176" sldId="2147469875"/>
            <ac:spMk id="218" creationId="{ACBEB19E-2E70-897B-2656-D08F301B74D3}"/>
          </ac:spMkLst>
        </pc:spChg>
        <pc:picChg chg="add del mod">
          <ac:chgData name="Frédéric NGUYEN KIM" userId="S::frederic.nguyen-kim@talan.com::91a3dcbd-d60c-40ca-842f-e84e51d3b939" providerId="AD" clId="Web-{3DBC437F-585D-81BA-EED8-7C618E8EC8EE}" dt="2023-02-27T20:47:39" v="1"/>
          <ac:picMkLst>
            <pc:docMk/>
            <pc:sldMk cId="3260995176" sldId="2147469875"/>
            <ac:picMk id="3" creationId="{3F36144A-EB4C-B78E-CD15-76A305A6AFBE}"/>
          </ac:picMkLst>
        </pc:picChg>
      </pc:sldChg>
      <pc:sldChg chg="modSp del">
        <pc:chgData name="Frédéric NGUYEN KIM" userId="S::frederic.nguyen-kim@talan.com::91a3dcbd-d60c-40ca-842f-e84e51d3b939" providerId="AD" clId="Web-{3DBC437F-585D-81BA-EED8-7C618E8EC8EE}" dt="2023-02-27T20:50:54.052" v="24"/>
        <pc:sldMkLst>
          <pc:docMk/>
          <pc:sldMk cId="1852232871" sldId="2147469908"/>
        </pc:sldMkLst>
        <pc:spChg chg="mod">
          <ac:chgData name="Frédéric NGUYEN KIM" userId="S::frederic.nguyen-kim@talan.com::91a3dcbd-d60c-40ca-842f-e84e51d3b939" providerId="AD" clId="Web-{3DBC437F-585D-81BA-EED8-7C618E8EC8EE}" dt="2023-02-27T20:50:30.552" v="19" actId="1076"/>
          <ac:spMkLst>
            <pc:docMk/>
            <pc:sldMk cId="1852232871" sldId="2147469908"/>
            <ac:spMk id="3" creationId="{17235AD5-FAE7-5DF9-02B1-F6A34A308D17}"/>
          </ac:spMkLst>
        </pc:spChg>
        <pc:spChg chg="mod">
          <ac:chgData name="Frédéric NGUYEN KIM" userId="S::frederic.nguyen-kim@talan.com::91a3dcbd-d60c-40ca-842f-e84e51d3b939" providerId="AD" clId="Web-{3DBC437F-585D-81BA-EED8-7C618E8EC8EE}" dt="2023-02-27T20:47:59.610" v="5" actId="1076"/>
          <ac:spMkLst>
            <pc:docMk/>
            <pc:sldMk cId="1852232871" sldId="2147469908"/>
            <ac:spMk id="6" creationId="{5DF98151-2E45-3CBC-3775-F6FBC9B5931C}"/>
          </ac:spMkLst>
        </pc:spChg>
        <pc:spChg chg="mod">
          <ac:chgData name="Frédéric NGUYEN KIM" userId="S::frederic.nguyen-kim@talan.com::91a3dcbd-d60c-40ca-842f-e84e51d3b939" providerId="AD" clId="Web-{3DBC437F-585D-81BA-EED8-7C618E8EC8EE}" dt="2023-02-27T20:47:46.016" v="2" actId="1076"/>
          <ac:spMkLst>
            <pc:docMk/>
            <pc:sldMk cId="1852232871" sldId="2147469908"/>
            <ac:spMk id="8" creationId="{C74270E4-BE1C-9947-CD62-E03BC923C02B}"/>
          </ac:spMkLst>
        </pc:spChg>
        <pc:spChg chg="mod">
          <ac:chgData name="Frédéric NGUYEN KIM" userId="S::frederic.nguyen-kim@talan.com::91a3dcbd-d60c-40ca-842f-e84e51d3b939" providerId="AD" clId="Web-{3DBC437F-585D-81BA-EED8-7C618E8EC8EE}" dt="2023-02-27T20:47:55.719" v="4" actId="1076"/>
          <ac:spMkLst>
            <pc:docMk/>
            <pc:sldMk cId="1852232871" sldId="2147469908"/>
            <ac:spMk id="10" creationId="{233FA3B2-973E-3847-24F8-522A25C146D8}"/>
          </ac:spMkLst>
        </pc:spChg>
        <pc:spChg chg="mod">
          <ac:chgData name="Frédéric NGUYEN KIM" userId="S::frederic.nguyen-kim@talan.com::91a3dcbd-d60c-40ca-842f-e84e51d3b939" providerId="AD" clId="Web-{3DBC437F-585D-81BA-EED8-7C618E8EC8EE}" dt="2023-02-27T20:50:38.864" v="21" actId="1076"/>
          <ac:spMkLst>
            <pc:docMk/>
            <pc:sldMk cId="1852232871" sldId="2147469908"/>
            <ac:spMk id="39" creationId="{0CFED813-A6C6-4FAF-833B-C3506B345E59}"/>
          </ac:spMkLst>
        </pc:spChg>
        <pc:spChg chg="mod">
          <ac:chgData name="Frédéric NGUYEN KIM" userId="S::frederic.nguyen-kim@talan.com::91a3dcbd-d60c-40ca-842f-e84e51d3b939" providerId="AD" clId="Web-{3DBC437F-585D-81BA-EED8-7C618E8EC8EE}" dt="2023-02-27T20:50:34.599" v="20" actId="1076"/>
          <ac:spMkLst>
            <pc:docMk/>
            <pc:sldMk cId="1852232871" sldId="2147469908"/>
            <ac:spMk id="40" creationId="{C7E06898-8EB1-4310-B527-09FF8A536D79}"/>
          </ac:spMkLst>
        </pc:spChg>
        <pc:spChg chg="mod">
          <ac:chgData name="Frédéric NGUYEN KIM" userId="S::frederic.nguyen-kim@talan.com::91a3dcbd-d60c-40ca-842f-e84e51d3b939" providerId="AD" clId="Web-{3DBC437F-585D-81BA-EED8-7C618E8EC8EE}" dt="2023-02-27T20:47:52.594" v="3" actId="1076"/>
          <ac:spMkLst>
            <pc:docMk/>
            <pc:sldMk cId="1852232871" sldId="2147469908"/>
            <ac:spMk id="41" creationId="{2FFC2D25-9CE2-430C-A9AB-17E3D73A5E47}"/>
          </ac:spMkLst>
        </pc:spChg>
        <pc:spChg chg="mod">
          <ac:chgData name="Frédéric NGUYEN KIM" userId="S::frederic.nguyen-kim@talan.com::91a3dcbd-d60c-40ca-842f-e84e51d3b939" providerId="AD" clId="Web-{3DBC437F-585D-81BA-EED8-7C618E8EC8EE}" dt="2023-02-27T20:48:06.204" v="7" actId="1076"/>
          <ac:spMkLst>
            <pc:docMk/>
            <pc:sldMk cId="1852232871" sldId="2147469908"/>
            <ac:spMk id="42" creationId="{914BB1C9-A73E-42D0-BF56-64A5CAF3413D}"/>
          </ac:spMkLst>
        </pc:spChg>
        <pc:cxnChg chg="mod">
          <ac:chgData name="Frédéric NGUYEN KIM" userId="S::frederic.nguyen-kim@talan.com::91a3dcbd-d60c-40ca-842f-e84e51d3b939" providerId="AD" clId="Web-{3DBC437F-585D-81BA-EED8-7C618E8EC8EE}" dt="2023-02-27T20:50:38.864" v="21" actId="1076"/>
          <ac:cxnSpMkLst>
            <pc:docMk/>
            <pc:sldMk cId="1852232871" sldId="2147469908"/>
            <ac:cxnSpMk id="43" creationId="{53B7301A-CF1F-42DE-9441-8F313AA23347}"/>
          </ac:cxnSpMkLst>
        </pc:cxnChg>
      </pc:sldChg>
      <pc:sldChg chg="addSp delSp modSp add del addAnim delAnim">
        <pc:chgData name="Frédéric NGUYEN KIM" userId="S::frederic.nguyen-kim@talan.com::91a3dcbd-d60c-40ca-842f-e84e51d3b939" providerId="AD" clId="Web-{3DBC437F-585D-81BA-EED8-7C618E8EC8EE}" dt="2023-02-27T20:53:50.729" v="153"/>
        <pc:sldMkLst>
          <pc:docMk/>
          <pc:sldMk cId="2661975577" sldId="2147469908"/>
        </pc:sldMkLst>
        <pc:spChg chg="add del">
          <ac:chgData name="Frédéric NGUYEN KIM" userId="S::frederic.nguyen-kim@talan.com::91a3dcbd-d60c-40ca-842f-e84e51d3b939" providerId="AD" clId="Web-{3DBC437F-585D-81BA-EED8-7C618E8EC8EE}" dt="2023-02-27T20:52:49.774" v="88"/>
          <ac:spMkLst>
            <pc:docMk/>
            <pc:sldMk cId="2661975577" sldId="2147469908"/>
            <ac:spMk id="2" creationId="{B4822151-CE1E-0408-C8AD-26270EDD6E35}"/>
          </ac:spMkLst>
        </pc:spChg>
        <pc:spChg chg="add del">
          <ac:chgData name="Frédéric NGUYEN KIM" userId="S::frederic.nguyen-kim@talan.com::91a3dcbd-d60c-40ca-842f-e84e51d3b939" providerId="AD" clId="Web-{3DBC437F-585D-81BA-EED8-7C618E8EC8EE}" dt="2023-02-27T20:52:49.821" v="119"/>
          <ac:spMkLst>
            <pc:docMk/>
            <pc:sldMk cId="2661975577" sldId="2147469908"/>
            <ac:spMk id="4" creationId="{CFCDDBB2-83A2-4329-801C-162B7566B2F4}"/>
          </ac:spMkLst>
        </pc:spChg>
        <pc:spChg chg="add del mod">
          <ac:chgData name="Frédéric NGUYEN KIM" userId="S::frederic.nguyen-kim@talan.com::91a3dcbd-d60c-40ca-842f-e84e51d3b939" providerId="AD" clId="Web-{3DBC437F-585D-81BA-EED8-7C618E8EC8EE}" dt="2023-02-27T20:52:32.852" v="57"/>
          <ac:spMkLst>
            <pc:docMk/>
            <pc:sldMk cId="2661975577" sldId="2147469908"/>
            <ac:spMk id="5" creationId="{BD4CBE8D-34CC-66E4-866F-B2B3C9197FD3}"/>
          </ac:spMkLst>
        </pc:spChg>
        <pc:spChg chg="add mod">
          <ac:chgData name="Frédéric NGUYEN KIM" userId="S::frederic.nguyen-kim@talan.com::91a3dcbd-d60c-40ca-842f-e84e51d3b939" providerId="AD" clId="Web-{3DBC437F-585D-81BA-EED8-7C618E8EC8EE}" dt="2023-02-27T20:52:49.821" v="119"/>
          <ac:spMkLst>
            <pc:docMk/>
            <pc:sldMk cId="2661975577" sldId="2147469908"/>
            <ac:spMk id="7" creationId="{D109701C-CA02-9338-17E3-6B8C5A26B8E8}"/>
          </ac:spMkLst>
        </pc:spChg>
        <pc:spChg chg="del">
          <ac:chgData name="Frédéric NGUYEN KIM" userId="S::frederic.nguyen-kim@talan.com::91a3dcbd-d60c-40ca-842f-e84e51d3b939" providerId="AD" clId="Web-{3DBC437F-585D-81BA-EED8-7C618E8EC8EE}" dt="2023-02-27T20:52:49.806" v="118"/>
          <ac:spMkLst>
            <pc:docMk/>
            <pc:sldMk cId="2661975577" sldId="2147469908"/>
            <ac:spMk id="34" creationId="{30A481E2-B8A4-4208-9F5F-A6652C2C4CDB}"/>
          </ac:spMkLst>
        </pc:spChg>
        <pc:spChg chg="add del">
          <ac:chgData name="Frédéric NGUYEN KIM" userId="S::frederic.nguyen-kim@talan.com::91a3dcbd-d60c-40ca-842f-e84e51d3b939" providerId="AD" clId="Web-{3DBC437F-585D-81BA-EED8-7C618E8EC8EE}" dt="2023-02-27T20:52:49.790" v="117"/>
          <ac:spMkLst>
            <pc:docMk/>
            <pc:sldMk cId="2661975577" sldId="2147469908"/>
            <ac:spMk id="35" creationId="{4F95C2E0-F4D0-4065-BCF7-790A865CD5C4}"/>
          </ac:spMkLst>
        </pc:spChg>
        <pc:spChg chg="add del">
          <ac:chgData name="Frédéric NGUYEN KIM" userId="S::frederic.nguyen-kim@talan.com::91a3dcbd-d60c-40ca-842f-e84e51d3b939" providerId="AD" clId="Web-{3DBC437F-585D-81BA-EED8-7C618E8EC8EE}" dt="2023-02-27T20:52:49.790" v="116"/>
          <ac:spMkLst>
            <pc:docMk/>
            <pc:sldMk cId="2661975577" sldId="2147469908"/>
            <ac:spMk id="39" creationId="{0CFED813-A6C6-4FAF-833B-C3506B345E59}"/>
          </ac:spMkLst>
        </pc:spChg>
        <pc:spChg chg="add del">
          <ac:chgData name="Frédéric NGUYEN KIM" userId="S::frederic.nguyen-kim@talan.com::91a3dcbd-d60c-40ca-842f-e84e51d3b939" providerId="AD" clId="Web-{3DBC437F-585D-81BA-EED8-7C618E8EC8EE}" dt="2023-02-27T20:52:49.790" v="115"/>
          <ac:spMkLst>
            <pc:docMk/>
            <pc:sldMk cId="2661975577" sldId="2147469908"/>
            <ac:spMk id="40" creationId="{C7E06898-8EB1-4310-B527-09FF8A536D79}"/>
          </ac:spMkLst>
        </pc:spChg>
        <pc:spChg chg="add del">
          <ac:chgData name="Frédéric NGUYEN KIM" userId="S::frederic.nguyen-kim@talan.com::91a3dcbd-d60c-40ca-842f-e84e51d3b939" providerId="AD" clId="Web-{3DBC437F-585D-81BA-EED8-7C618E8EC8EE}" dt="2023-02-27T20:52:49.790" v="114"/>
          <ac:spMkLst>
            <pc:docMk/>
            <pc:sldMk cId="2661975577" sldId="2147469908"/>
            <ac:spMk id="41" creationId="{2FFC2D25-9CE2-430C-A9AB-17E3D73A5E47}"/>
          </ac:spMkLst>
        </pc:spChg>
        <pc:spChg chg="add del">
          <ac:chgData name="Frédéric NGUYEN KIM" userId="S::frederic.nguyen-kim@talan.com::91a3dcbd-d60c-40ca-842f-e84e51d3b939" providerId="AD" clId="Web-{3DBC437F-585D-81BA-EED8-7C618E8EC8EE}" dt="2023-02-27T20:52:49.790" v="113"/>
          <ac:spMkLst>
            <pc:docMk/>
            <pc:sldMk cId="2661975577" sldId="2147469908"/>
            <ac:spMk id="42" creationId="{914BB1C9-A73E-42D0-BF56-64A5CAF3413D}"/>
          </ac:spMkLst>
        </pc:spChg>
        <pc:spChg chg="add del">
          <ac:chgData name="Frédéric NGUYEN KIM" userId="S::frederic.nguyen-kim@talan.com::91a3dcbd-d60c-40ca-842f-e84e51d3b939" providerId="AD" clId="Web-{3DBC437F-585D-81BA-EED8-7C618E8EC8EE}" dt="2023-02-27T20:52:49.790" v="111"/>
          <ac:spMkLst>
            <pc:docMk/>
            <pc:sldMk cId="2661975577" sldId="2147469908"/>
            <ac:spMk id="44" creationId="{EFC1E9DF-F005-43D9-9E12-0B36E80167DF}"/>
          </ac:spMkLst>
        </pc:spChg>
        <pc:spChg chg="add del">
          <ac:chgData name="Frédéric NGUYEN KIM" userId="S::frederic.nguyen-kim@talan.com::91a3dcbd-d60c-40ca-842f-e84e51d3b939" providerId="AD" clId="Web-{3DBC437F-585D-81BA-EED8-7C618E8EC8EE}" dt="2023-02-27T20:52:49.790" v="110"/>
          <ac:spMkLst>
            <pc:docMk/>
            <pc:sldMk cId="2661975577" sldId="2147469908"/>
            <ac:spMk id="45" creationId="{519B2962-970C-49D0-A3A7-1D6F262D2982}"/>
          </ac:spMkLst>
        </pc:spChg>
        <pc:spChg chg="add del">
          <ac:chgData name="Frédéric NGUYEN KIM" userId="S::frederic.nguyen-kim@talan.com::91a3dcbd-d60c-40ca-842f-e84e51d3b939" providerId="AD" clId="Web-{3DBC437F-585D-81BA-EED8-7C618E8EC8EE}" dt="2023-02-27T20:52:49.790" v="109"/>
          <ac:spMkLst>
            <pc:docMk/>
            <pc:sldMk cId="2661975577" sldId="2147469908"/>
            <ac:spMk id="46" creationId="{87E441DB-69EF-4143-BEFD-418CD7B4360F}"/>
          </ac:spMkLst>
        </pc:spChg>
        <pc:spChg chg="add del">
          <ac:chgData name="Frédéric NGUYEN KIM" userId="S::frederic.nguyen-kim@talan.com::91a3dcbd-d60c-40ca-842f-e84e51d3b939" providerId="AD" clId="Web-{3DBC437F-585D-81BA-EED8-7C618E8EC8EE}" dt="2023-02-27T20:52:49.790" v="107"/>
          <ac:spMkLst>
            <pc:docMk/>
            <pc:sldMk cId="2661975577" sldId="2147469908"/>
            <ac:spMk id="68" creationId="{2044BF25-72AD-43F8-9B47-F2B37F902DC2}"/>
          </ac:spMkLst>
        </pc:spChg>
        <pc:spChg chg="add del">
          <ac:chgData name="Frédéric NGUYEN KIM" userId="S::frederic.nguyen-kim@talan.com::91a3dcbd-d60c-40ca-842f-e84e51d3b939" providerId="AD" clId="Web-{3DBC437F-585D-81BA-EED8-7C618E8EC8EE}" dt="2023-02-27T20:52:49.790" v="106"/>
          <ac:spMkLst>
            <pc:docMk/>
            <pc:sldMk cId="2661975577" sldId="2147469908"/>
            <ac:spMk id="69" creationId="{94F49B23-E8BE-4572-84C0-AD877F02452E}"/>
          </ac:spMkLst>
        </pc:spChg>
        <pc:spChg chg="add del">
          <ac:chgData name="Frédéric NGUYEN KIM" userId="S::frederic.nguyen-kim@talan.com::91a3dcbd-d60c-40ca-842f-e84e51d3b939" providerId="AD" clId="Web-{3DBC437F-585D-81BA-EED8-7C618E8EC8EE}" dt="2023-02-27T20:52:49.774" v="105"/>
          <ac:spMkLst>
            <pc:docMk/>
            <pc:sldMk cId="2661975577" sldId="2147469908"/>
            <ac:spMk id="71" creationId="{C78CC0D7-A375-4C6C-AEF6-6C2D934EED76}"/>
          </ac:spMkLst>
        </pc:spChg>
        <pc:spChg chg="add del">
          <ac:chgData name="Frédéric NGUYEN KIM" userId="S::frederic.nguyen-kim@talan.com::91a3dcbd-d60c-40ca-842f-e84e51d3b939" providerId="AD" clId="Web-{3DBC437F-585D-81BA-EED8-7C618E8EC8EE}" dt="2023-02-27T20:52:49.774" v="104"/>
          <ac:spMkLst>
            <pc:docMk/>
            <pc:sldMk cId="2661975577" sldId="2147469908"/>
            <ac:spMk id="72" creationId="{87E555B3-10CA-4F50-A468-47839995E81B}"/>
          </ac:spMkLst>
        </pc:spChg>
        <pc:spChg chg="add del">
          <ac:chgData name="Frédéric NGUYEN KIM" userId="S::frederic.nguyen-kim@talan.com::91a3dcbd-d60c-40ca-842f-e84e51d3b939" providerId="AD" clId="Web-{3DBC437F-585D-81BA-EED8-7C618E8EC8EE}" dt="2023-02-27T20:52:49.774" v="103"/>
          <ac:spMkLst>
            <pc:docMk/>
            <pc:sldMk cId="2661975577" sldId="2147469908"/>
            <ac:spMk id="73" creationId="{BD18910C-7358-4E6F-A3D6-9404427705CC}"/>
          </ac:spMkLst>
        </pc:spChg>
        <pc:spChg chg="add del">
          <ac:chgData name="Frédéric NGUYEN KIM" userId="S::frederic.nguyen-kim@talan.com::91a3dcbd-d60c-40ca-842f-e84e51d3b939" providerId="AD" clId="Web-{3DBC437F-585D-81BA-EED8-7C618E8EC8EE}" dt="2023-02-27T20:52:49.774" v="102"/>
          <ac:spMkLst>
            <pc:docMk/>
            <pc:sldMk cId="2661975577" sldId="2147469908"/>
            <ac:spMk id="76" creationId="{F63F8662-3501-43CE-B2A6-DCD0BF74E945}"/>
          </ac:spMkLst>
        </pc:spChg>
        <pc:spChg chg="add del">
          <ac:chgData name="Frédéric NGUYEN KIM" userId="S::frederic.nguyen-kim@talan.com::91a3dcbd-d60c-40ca-842f-e84e51d3b939" providerId="AD" clId="Web-{3DBC437F-585D-81BA-EED8-7C618E8EC8EE}" dt="2023-02-27T20:52:49.774" v="101"/>
          <ac:spMkLst>
            <pc:docMk/>
            <pc:sldMk cId="2661975577" sldId="2147469908"/>
            <ac:spMk id="77" creationId="{9A11663E-80CB-482D-B6D0-99F01293ECDA}"/>
          </ac:spMkLst>
        </pc:spChg>
        <pc:spChg chg="add del">
          <ac:chgData name="Frédéric NGUYEN KIM" userId="S::frederic.nguyen-kim@talan.com::91a3dcbd-d60c-40ca-842f-e84e51d3b939" providerId="AD" clId="Web-{3DBC437F-585D-81BA-EED8-7C618E8EC8EE}" dt="2023-02-27T20:52:49.774" v="100"/>
          <ac:spMkLst>
            <pc:docMk/>
            <pc:sldMk cId="2661975577" sldId="2147469908"/>
            <ac:spMk id="79" creationId="{7B5F2E80-2549-4A97-8244-05E56A59E82E}"/>
          </ac:spMkLst>
        </pc:spChg>
        <pc:spChg chg="add del">
          <ac:chgData name="Frédéric NGUYEN KIM" userId="S::frederic.nguyen-kim@talan.com::91a3dcbd-d60c-40ca-842f-e84e51d3b939" providerId="AD" clId="Web-{3DBC437F-585D-81BA-EED8-7C618E8EC8EE}" dt="2023-02-27T20:52:49.774" v="99"/>
          <ac:spMkLst>
            <pc:docMk/>
            <pc:sldMk cId="2661975577" sldId="2147469908"/>
            <ac:spMk id="80" creationId="{87C8956E-B93D-40E3-8795-15CC0D2EF7B5}"/>
          </ac:spMkLst>
        </pc:spChg>
        <pc:spChg chg="add del">
          <ac:chgData name="Frédéric NGUYEN KIM" userId="S::frederic.nguyen-kim@talan.com::91a3dcbd-d60c-40ca-842f-e84e51d3b939" providerId="AD" clId="Web-{3DBC437F-585D-81BA-EED8-7C618E8EC8EE}" dt="2023-02-27T20:52:49.774" v="98"/>
          <ac:spMkLst>
            <pc:docMk/>
            <pc:sldMk cId="2661975577" sldId="2147469908"/>
            <ac:spMk id="81" creationId="{7E61B974-A39A-4353-B824-D3FDFEC5F4CB}"/>
          </ac:spMkLst>
        </pc:spChg>
        <pc:spChg chg="add del">
          <ac:chgData name="Frédéric NGUYEN KIM" userId="S::frederic.nguyen-kim@talan.com::91a3dcbd-d60c-40ca-842f-e84e51d3b939" providerId="AD" clId="Web-{3DBC437F-585D-81BA-EED8-7C618E8EC8EE}" dt="2023-02-27T20:52:49.774" v="97"/>
          <ac:spMkLst>
            <pc:docMk/>
            <pc:sldMk cId="2661975577" sldId="2147469908"/>
            <ac:spMk id="82" creationId="{3B5845EA-EC8A-4519-B23D-FD6A2F04CD4C}"/>
          </ac:spMkLst>
        </pc:spChg>
        <pc:spChg chg="add del">
          <ac:chgData name="Frédéric NGUYEN KIM" userId="S::frederic.nguyen-kim@talan.com::91a3dcbd-d60c-40ca-842f-e84e51d3b939" providerId="AD" clId="Web-{3DBC437F-585D-81BA-EED8-7C618E8EC8EE}" dt="2023-02-27T20:52:49.774" v="94"/>
          <ac:spMkLst>
            <pc:docMk/>
            <pc:sldMk cId="2661975577" sldId="2147469908"/>
            <ac:spMk id="112" creationId="{5EDAB1E7-A379-4691-9A51-C24082D188F6}"/>
          </ac:spMkLst>
        </pc:spChg>
        <pc:spChg chg="add del">
          <ac:chgData name="Frédéric NGUYEN KIM" userId="S::frederic.nguyen-kim@talan.com::91a3dcbd-d60c-40ca-842f-e84e51d3b939" providerId="AD" clId="Web-{3DBC437F-585D-81BA-EED8-7C618E8EC8EE}" dt="2023-02-27T20:52:49.774" v="92"/>
          <ac:spMkLst>
            <pc:docMk/>
            <pc:sldMk cId="2661975577" sldId="2147469908"/>
            <ac:spMk id="114" creationId="{B7BD5012-7B74-7F70-823B-C5FA30F38914}"/>
          </ac:spMkLst>
        </pc:spChg>
        <pc:spChg chg="add del">
          <ac:chgData name="Frédéric NGUYEN KIM" userId="S::frederic.nguyen-kim@talan.com::91a3dcbd-d60c-40ca-842f-e84e51d3b939" providerId="AD" clId="Web-{3DBC437F-585D-81BA-EED8-7C618E8EC8EE}" dt="2023-02-27T20:52:49.774" v="91"/>
          <ac:spMkLst>
            <pc:docMk/>
            <pc:sldMk cId="2661975577" sldId="2147469908"/>
            <ac:spMk id="125" creationId="{D45531ED-ECA8-B28A-6DB0-C1C45A602E4E}"/>
          </ac:spMkLst>
        </pc:spChg>
        <pc:spChg chg="add del">
          <ac:chgData name="Frédéric NGUYEN KIM" userId="S::frederic.nguyen-kim@talan.com::91a3dcbd-d60c-40ca-842f-e84e51d3b939" providerId="AD" clId="Web-{3DBC437F-585D-81BA-EED8-7C618E8EC8EE}" dt="2023-02-27T20:52:49.774" v="93"/>
          <ac:spMkLst>
            <pc:docMk/>
            <pc:sldMk cId="2661975577" sldId="2147469908"/>
            <ac:spMk id="126" creationId="{854B95CF-DD01-4E11-BE5A-3D0462CD192B}"/>
          </ac:spMkLst>
        </pc:spChg>
        <pc:spChg chg="add del">
          <ac:chgData name="Frédéric NGUYEN KIM" userId="S::frederic.nguyen-kim@talan.com::91a3dcbd-d60c-40ca-842f-e84e51d3b939" providerId="AD" clId="Web-{3DBC437F-585D-81BA-EED8-7C618E8EC8EE}" dt="2023-02-27T20:52:49.774" v="90"/>
          <ac:spMkLst>
            <pc:docMk/>
            <pc:sldMk cId="2661975577" sldId="2147469908"/>
            <ac:spMk id="129" creationId="{0776338E-5677-26D9-7722-B1209C6D5689}"/>
          </ac:spMkLst>
        </pc:spChg>
        <pc:spChg chg="add del">
          <ac:chgData name="Frédéric NGUYEN KIM" userId="S::frederic.nguyen-kim@talan.com::91a3dcbd-d60c-40ca-842f-e84e51d3b939" providerId="AD" clId="Web-{3DBC437F-585D-81BA-EED8-7C618E8EC8EE}" dt="2023-02-27T20:52:49.774" v="89"/>
          <ac:spMkLst>
            <pc:docMk/>
            <pc:sldMk cId="2661975577" sldId="2147469908"/>
            <ac:spMk id="130" creationId="{6216AF6F-8DA3-6392-635B-E81CF6332B6B}"/>
          </ac:spMkLst>
        </pc:spChg>
        <pc:grpChg chg="add del">
          <ac:chgData name="Frédéric NGUYEN KIM" userId="S::frederic.nguyen-kim@talan.com::91a3dcbd-d60c-40ca-842f-e84e51d3b939" providerId="AD" clId="Web-{3DBC437F-585D-81BA-EED8-7C618E8EC8EE}" dt="2023-02-27T20:52:49.790" v="108"/>
          <ac:grpSpMkLst>
            <pc:docMk/>
            <pc:sldMk cId="2661975577" sldId="2147469908"/>
            <ac:grpSpMk id="56" creationId="{7BD0350C-AFA8-4EC4-BB0B-7AADEF3D4C96}"/>
          </ac:grpSpMkLst>
        </pc:grpChg>
        <pc:grpChg chg="add del">
          <ac:chgData name="Frédéric NGUYEN KIM" userId="S::frederic.nguyen-kim@talan.com::91a3dcbd-d60c-40ca-842f-e84e51d3b939" providerId="AD" clId="Web-{3DBC437F-585D-81BA-EED8-7C618E8EC8EE}" dt="2023-02-27T20:52:49.774" v="96"/>
          <ac:grpSpMkLst>
            <pc:docMk/>
            <pc:sldMk cId="2661975577" sldId="2147469908"/>
            <ac:grpSpMk id="83" creationId="{1985D02D-CBA4-41CB-9B5A-4CD69BA276F0}"/>
          </ac:grpSpMkLst>
        </pc:grpChg>
        <pc:grpChg chg="add del">
          <ac:chgData name="Frédéric NGUYEN KIM" userId="S::frederic.nguyen-kim@talan.com::91a3dcbd-d60c-40ca-842f-e84e51d3b939" providerId="AD" clId="Web-{3DBC437F-585D-81BA-EED8-7C618E8EC8EE}" dt="2023-02-27T20:52:49.774" v="95"/>
          <ac:grpSpMkLst>
            <pc:docMk/>
            <pc:sldMk cId="2661975577" sldId="2147469908"/>
            <ac:grpSpMk id="127" creationId="{E11DD0DD-D466-4334-875F-E38A54E02BD7}"/>
          </ac:grpSpMkLst>
        </pc:grpChg>
        <pc:cxnChg chg="add del mod">
          <ac:chgData name="Frédéric NGUYEN KIM" userId="S::frederic.nguyen-kim@talan.com::91a3dcbd-d60c-40ca-842f-e84e51d3b939" providerId="AD" clId="Web-{3DBC437F-585D-81BA-EED8-7C618E8EC8EE}" dt="2023-02-27T20:52:49.790" v="112"/>
          <ac:cxnSpMkLst>
            <pc:docMk/>
            <pc:sldMk cId="2661975577" sldId="2147469908"/>
            <ac:cxnSpMk id="43" creationId="{53B7301A-CF1F-42DE-9441-8F313AA23347}"/>
          </ac:cxnSpMkLst>
        </pc:cxnChg>
      </pc:sldChg>
      <pc:sldChg chg="addSp delSp add replId delAnim">
        <pc:chgData name="Frédéric NGUYEN KIM" userId="S::frederic.nguyen-kim@talan.com::91a3dcbd-d60c-40ca-842f-e84e51d3b939" providerId="AD" clId="Web-{3DBC437F-585D-81BA-EED8-7C618E8EC8EE}" dt="2023-02-27T20:53:29.010" v="151"/>
        <pc:sldMkLst>
          <pc:docMk/>
          <pc:sldMk cId="3144834754" sldId="2147469909"/>
        </pc:sldMkLst>
        <pc:spChg chg="add del">
          <ac:chgData name="Frédéric NGUYEN KIM" userId="S::frederic.nguyen-kim@talan.com::91a3dcbd-d60c-40ca-842f-e84e51d3b939" providerId="AD" clId="Web-{3DBC437F-585D-81BA-EED8-7C618E8EC8EE}" dt="2023-02-27T20:53:18.806" v="149"/>
          <ac:spMkLst>
            <pc:docMk/>
            <pc:sldMk cId="3144834754" sldId="2147469909"/>
            <ac:spMk id="3" creationId="{CE2D7AAE-6225-8371-671F-C38C4A1CE007}"/>
          </ac:spMkLst>
        </pc:spChg>
        <pc:spChg chg="add">
          <ac:chgData name="Frédéric NGUYEN KIM" userId="S::frederic.nguyen-kim@talan.com::91a3dcbd-d60c-40ca-842f-e84e51d3b939" providerId="AD" clId="Web-{3DBC437F-585D-81BA-EED8-7C618E8EC8EE}" dt="2023-02-27T20:53:12.134" v="148"/>
          <ac:spMkLst>
            <pc:docMk/>
            <pc:sldMk cId="3144834754" sldId="2147469909"/>
            <ac:spMk id="4" creationId="{7C03152C-0D5E-999C-4945-017934906984}"/>
          </ac:spMkLst>
        </pc:spChg>
        <pc:spChg chg="del">
          <ac:chgData name="Frédéric NGUYEN KIM" userId="S::frederic.nguyen-kim@talan.com::91a3dcbd-d60c-40ca-842f-e84e51d3b939" providerId="AD" clId="Web-{3DBC437F-585D-81BA-EED8-7C618E8EC8EE}" dt="2023-02-27T20:53:04.572" v="147"/>
          <ac:spMkLst>
            <pc:docMk/>
            <pc:sldMk cId="3144834754" sldId="2147469909"/>
            <ac:spMk id="5" creationId="{519D075A-D18F-7FF4-6BCC-5F7BF7A11A4D}"/>
          </ac:spMkLst>
        </pc:spChg>
        <pc:spChg chg="add">
          <ac:chgData name="Frédéric NGUYEN KIM" userId="S::frederic.nguyen-kim@talan.com::91a3dcbd-d60c-40ca-842f-e84e51d3b939" providerId="AD" clId="Web-{3DBC437F-585D-81BA-EED8-7C618E8EC8EE}" dt="2023-02-27T20:53:12.134" v="148"/>
          <ac:spMkLst>
            <pc:docMk/>
            <pc:sldMk cId="3144834754" sldId="2147469909"/>
            <ac:spMk id="6" creationId="{F2F196BA-F630-E5BF-F8AF-60A393002CA1}"/>
          </ac:spMkLst>
        </pc:spChg>
        <pc:spChg chg="add">
          <ac:chgData name="Frédéric NGUYEN KIM" userId="S::frederic.nguyen-kim@talan.com::91a3dcbd-d60c-40ca-842f-e84e51d3b939" providerId="AD" clId="Web-{3DBC437F-585D-81BA-EED8-7C618E8EC8EE}" dt="2023-02-27T20:53:12.134" v="148"/>
          <ac:spMkLst>
            <pc:docMk/>
            <pc:sldMk cId="3144834754" sldId="2147469909"/>
            <ac:spMk id="7" creationId="{AA2B4B02-07FB-7640-73DF-B4B0B58A620A}"/>
          </ac:spMkLst>
        </pc:spChg>
        <pc:spChg chg="add">
          <ac:chgData name="Frédéric NGUYEN KIM" userId="S::frederic.nguyen-kim@talan.com::91a3dcbd-d60c-40ca-842f-e84e51d3b939" providerId="AD" clId="Web-{3DBC437F-585D-81BA-EED8-7C618E8EC8EE}" dt="2023-02-27T20:53:12.134" v="148"/>
          <ac:spMkLst>
            <pc:docMk/>
            <pc:sldMk cId="3144834754" sldId="2147469909"/>
            <ac:spMk id="8" creationId="{6ACD68C6-1ABC-FA7F-17D5-86EBD19A9E65}"/>
          </ac:spMkLst>
        </pc:spChg>
        <pc:spChg chg="add">
          <ac:chgData name="Frédéric NGUYEN KIM" userId="S::frederic.nguyen-kim@talan.com::91a3dcbd-d60c-40ca-842f-e84e51d3b939" providerId="AD" clId="Web-{3DBC437F-585D-81BA-EED8-7C618E8EC8EE}" dt="2023-02-27T20:53:12.134" v="148"/>
          <ac:spMkLst>
            <pc:docMk/>
            <pc:sldMk cId="3144834754" sldId="2147469909"/>
            <ac:spMk id="9" creationId="{5E79137C-896B-AEBF-925D-8A17714571A3}"/>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0" creationId="{4C38344B-8792-F937-8AB9-791EF7F860D0}"/>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2" creationId="{85E640DB-C949-1ABB-622A-F153A64A0F5E}"/>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3" creationId="{740CD8FB-2C56-C88E-E5C4-F8EDE0AEE242}"/>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4" creationId="{14A989CE-E809-5D6E-A7DD-3833942BDD4E}"/>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6" creationId="{E2EF156F-EAE0-A6C1-2709-C464046BD994}"/>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7" creationId="{DF5BC537-5909-81E7-1776-95A1488B62AB}"/>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8" creationId="{A1E8DA8D-DDA9-9516-4600-D91AAD8CD040}"/>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9" creationId="{CBD6D245-BF5B-1DC2-AC45-A423A8E00CBE}"/>
          </ac:spMkLst>
        </pc:spChg>
        <pc:spChg chg="del">
          <ac:chgData name="Frédéric NGUYEN KIM" userId="S::frederic.nguyen-kim@talan.com::91a3dcbd-d60c-40ca-842f-e84e51d3b939" providerId="AD" clId="Web-{3DBC437F-585D-81BA-EED8-7C618E8EC8EE}" dt="2023-02-27T20:53:02.290" v="146"/>
          <ac:spMkLst>
            <pc:docMk/>
            <pc:sldMk cId="3144834754" sldId="2147469909"/>
            <ac:spMk id="20" creationId="{019007E8-23CC-DFCF-45AC-BB85CD9EED1C}"/>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1" creationId="{CE7191A5-2FC4-3492-A6B8-BA3E8C65D576}"/>
          </ac:spMkLst>
        </pc:spChg>
        <pc:spChg chg="del">
          <ac:chgData name="Frédéric NGUYEN KIM" userId="S::frederic.nguyen-kim@talan.com::91a3dcbd-d60c-40ca-842f-e84e51d3b939" providerId="AD" clId="Web-{3DBC437F-585D-81BA-EED8-7C618E8EC8EE}" dt="2023-02-27T20:53:02.290" v="145"/>
          <ac:spMkLst>
            <pc:docMk/>
            <pc:sldMk cId="3144834754" sldId="2147469909"/>
            <ac:spMk id="22" creationId="{6AC13B9B-39D1-9B25-96B5-61592D13EB1C}"/>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3" creationId="{DB6C3D9F-349A-844B-ED6B-5E26B0117BB7}"/>
          </ac:spMkLst>
        </pc:spChg>
        <pc:spChg chg="del">
          <ac:chgData name="Frédéric NGUYEN KIM" userId="S::frederic.nguyen-kim@talan.com::91a3dcbd-d60c-40ca-842f-e84e51d3b939" providerId="AD" clId="Web-{3DBC437F-585D-81BA-EED8-7C618E8EC8EE}" dt="2023-02-27T20:53:02.290" v="144"/>
          <ac:spMkLst>
            <pc:docMk/>
            <pc:sldMk cId="3144834754" sldId="2147469909"/>
            <ac:spMk id="24" creationId="{677D79F5-742B-2216-BD71-5D4B0890B911}"/>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5" creationId="{ED42A14E-AA65-2244-0FAC-744C00CCE5DB}"/>
          </ac:spMkLst>
        </pc:spChg>
        <pc:spChg chg="del">
          <ac:chgData name="Frédéric NGUYEN KIM" userId="S::frederic.nguyen-kim@talan.com::91a3dcbd-d60c-40ca-842f-e84e51d3b939" providerId="AD" clId="Web-{3DBC437F-585D-81BA-EED8-7C618E8EC8EE}" dt="2023-02-27T20:53:02.290" v="143"/>
          <ac:spMkLst>
            <pc:docMk/>
            <pc:sldMk cId="3144834754" sldId="2147469909"/>
            <ac:spMk id="26" creationId="{8B59AA50-BB7B-0B49-10AC-D0A958A24188}"/>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7" creationId="{0BEF3F4B-E618-1494-3421-260AB0EC87CF}"/>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9" creationId="{B54F31AE-AFB7-514D-4F49-9EB53C412810}"/>
          </ac:spMkLst>
        </pc:spChg>
        <pc:spChg chg="del">
          <ac:chgData name="Frédéric NGUYEN KIM" userId="S::frederic.nguyen-kim@talan.com::91a3dcbd-d60c-40ca-842f-e84e51d3b939" providerId="AD" clId="Web-{3DBC437F-585D-81BA-EED8-7C618E8EC8EE}" dt="2023-02-27T20:53:02.290" v="141"/>
          <ac:spMkLst>
            <pc:docMk/>
            <pc:sldMk cId="3144834754" sldId="2147469909"/>
            <ac:spMk id="30" creationId="{576DCF9A-2C9D-4333-794C-BC31EA2889E5}"/>
          </ac:spMkLst>
        </pc:spChg>
        <pc:spChg chg="add">
          <ac:chgData name="Frédéric NGUYEN KIM" userId="S::frederic.nguyen-kim@talan.com::91a3dcbd-d60c-40ca-842f-e84e51d3b939" providerId="AD" clId="Web-{3DBC437F-585D-81BA-EED8-7C618E8EC8EE}" dt="2023-02-27T20:53:12.134" v="148"/>
          <ac:spMkLst>
            <pc:docMk/>
            <pc:sldMk cId="3144834754" sldId="2147469909"/>
            <ac:spMk id="31" creationId="{7D855857-B854-9CE9-D239-CF3F02B1F8FF}"/>
          </ac:spMkLst>
        </pc:spChg>
        <pc:spChg chg="del">
          <ac:chgData name="Frédéric NGUYEN KIM" userId="S::frederic.nguyen-kim@talan.com::91a3dcbd-d60c-40ca-842f-e84e51d3b939" providerId="AD" clId="Web-{3DBC437F-585D-81BA-EED8-7C618E8EC8EE}" dt="2023-02-27T20:53:02.290" v="140"/>
          <ac:spMkLst>
            <pc:docMk/>
            <pc:sldMk cId="3144834754" sldId="2147469909"/>
            <ac:spMk id="32" creationId="{6AAF635A-DE89-ADFE-80D1-A603527CA79A}"/>
          </ac:spMkLst>
        </pc:spChg>
        <pc:spChg chg="add">
          <ac:chgData name="Frédéric NGUYEN KIM" userId="S::frederic.nguyen-kim@talan.com::91a3dcbd-d60c-40ca-842f-e84e51d3b939" providerId="AD" clId="Web-{3DBC437F-585D-81BA-EED8-7C618E8EC8EE}" dt="2023-02-27T20:53:12.134" v="148"/>
          <ac:spMkLst>
            <pc:docMk/>
            <pc:sldMk cId="3144834754" sldId="2147469909"/>
            <ac:spMk id="33" creationId="{528BEFE3-04F8-F05B-0218-E36BA59F9C53}"/>
          </ac:spMkLst>
        </pc:spChg>
        <pc:spChg chg="del">
          <ac:chgData name="Frédéric NGUYEN KIM" userId="S::frederic.nguyen-kim@talan.com::91a3dcbd-d60c-40ca-842f-e84e51d3b939" providerId="AD" clId="Web-{3DBC437F-585D-81BA-EED8-7C618E8EC8EE}" dt="2023-02-27T20:53:02.290" v="139"/>
          <ac:spMkLst>
            <pc:docMk/>
            <pc:sldMk cId="3144834754" sldId="2147469909"/>
            <ac:spMk id="34" creationId="{758CC489-0B19-74BC-44E2-921AB893BA51}"/>
          </ac:spMkLst>
        </pc:spChg>
        <pc:spChg chg="del">
          <ac:chgData name="Frédéric NGUYEN KIM" userId="S::frederic.nguyen-kim@talan.com::91a3dcbd-d60c-40ca-842f-e84e51d3b939" providerId="AD" clId="Web-{3DBC437F-585D-81BA-EED8-7C618E8EC8EE}" dt="2023-02-27T20:53:02.290" v="137"/>
          <ac:spMkLst>
            <pc:docMk/>
            <pc:sldMk cId="3144834754" sldId="2147469909"/>
            <ac:spMk id="47" creationId="{161E1FB8-05FA-C535-E6A8-99273C98F484}"/>
          </ac:spMkLst>
        </pc:spChg>
        <pc:spChg chg="add del">
          <ac:chgData name="Frédéric NGUYEN KIM" userId="S::frederic.nguyen-kim@talan.com::91a3dcbd-d60c-40ca-842f-e84e51d3b939" providerId="AD" clId="Web-{3DBC437F-585D-81BA-EED8-7C618E8EC8EE}" dt="2023-02-27T20:53:21.213" v="150"/>
          <ac:spMkLst>
            <pc:docMk/>
            <pc:sldMk cId="3144834754" sldId="2147469909"/>
            <ac:spMk id="48" creationId="{BBC1A6D0-ADBB-F44A-C0BD-89FEE1C04481}"/>
          </ac:spMkLst>
        </pc:spChg>
        <pc:spChg chg="del">
          <ac:chgData name="Frédéric NGUYEN KIM" userId="S::frederic.nguyen-kim@talan.com::91a3dcbd-d60c-40ca-842f-e84e51d3b939" providerId="AD" clId="Web-{3DBC437F-585D-81BA-EED8-7C618E8EC8EE}" dt="2023-02-27T20:53:02.290" v="136"/>
          <ac:spMkLst>
            <pc:docMk/>
            <pc:sldMk cId="3144834754" sldId="2147469909"/>
            <ac:spMk id="49" creationId="{3EE8FDA8-E3D4-77FA-C3A3-EA717C7B4646}"/>
          </ac:spMkLst>
        </pc:spChg>
        <pc:spChg chg="add del">
          <ac:chgData name="Frédéric NGUYEN KIM" userId="S::frederic.nguyen-kim@talan.com::91a3dcbd-d60c-40ca-842f-e84e51d3b939" providerId="AD" clId="Web-{3DBC437F-585D-81BA-EED8-7C618E8EC8EE}" dt="2023-02-27T20:53:29.010" v="151"/>
          <ac:spMkLst>
            <pc:docMk/>
            <pc:sldMk cId="3144834754" sldId="2147469909"/>
            <ac:spMk id="50" creationId="{3DB79C72-CDB9-4AEA-01F9-CC323F651BE6}"/>
          </ac:spMkLst>
        </pc:spChg>
        <pc:spChg chg="del">
          <ac:chgData name="Frédéric NGUYEN KIM" userId="S::frederic.nguyen-kim@talan.com::91a3dcbd-d60c-40ca-842f-e84e51d3b939" providerId="AD" clId="Web-{3DBC437F-585D-81BA-EED8-7C618E8EC8EE}" dt="2023-02-27T20:53:02.290" v="135"/>
          <ac:spMkLst>
            <pc:docMk/>
            <pc:sldMk cId="3144834754" sldId="2147469909"/>
            <ac:spMk id="51" creationId="{536FF69F-1BDC-8158-E2EA-99085655AED0}"/>
          </ac:spMkLst>
        </pc:spChg>
        <pc:spChg chg="add">
          <ac:chgData name="Frédéric NGUYEN KIM" userId="S::frederic.nguyen-kim@talan.com::91a3dcbd-d60c-40ca-842f-e84e51d3b939" providerId="AD" clId="Web-{3DBC437F-585D-81BA-EED8-7C618E8EC8EE}" dt="2023-02-27T20:53:12.134" v="148"/>
          <ac:spMkLst>
            <pc:docMk/>
            <pc:sldMk cId="3144834754" sldId="2147469909"/>
            <ac:spMk id="52" creationId="{81A49D45-97C4-1B65-8E17-7BA505A2960F}"/>
          </ac:spMkLst>
        </pc:spChg>
        <pc:spChg chg="del">
          <ac:chgData name="Frédéric NGUYEN KIM" userId="S::frederic.nguyen-kim@talan.com::91a3dcbd-d60c-40ca-842f-e84e51d3b939" providerId="AD" clId="Web-{3DBC437F-585D-81BA-EED8-7C618E8EC8EE}" dt="2023-02-27T20:53:02.290" v="134"/>
          <ac:spMkLst>
            <pc:docMk/>
            <pc:sldMk cId="3144834754" sldId="2147469909"/>
            <ac:spMk id="53" creationId="{62243F49-73BD-BD7D-A2B4-D83C69A88207}"/>
          </ac:spMkLst>
        </pc:spChg>
        <pc:spChg chg="add">
          <ac:chgData name="Frédéric NGUYEN KIM" userId="S::frederic.nguyen-kim@talan.com::91a3dcbd-d60c-40ca-842f-e84e51d3b939" providerId="AD" clId="Web-{3DBC437F-585D-81BA-EED8-7C618E8EC8EE}" dt="2023-02-27T20:53:12.134" v="148"/>
          <ac:spMkLst>
            <pc:docMk/>
            <pc:sldMk cId="3144834754" sldId="2147469909"/>
            <ac:spMk id="54" creationId="{E3CE89A1-A135-73F5-4042-F24952E33E1E}"/>
          </ac:spMkLst>
        </pc:spChg>
        <pc:spChg chg="del">
          <ac:chgData name="Frédéric NGUYEN KIM" userId="S::frederic.nguyen-kim@talan.com::91a3dcbd-d60c-40ca-842f-e84e51d3b939" providerId="AD" clId="Web-{3DBC437F-585D-81BA-EED8-7C618E8EC8EE}" dt="2023-02-27T20:53:02.290" v="133"/>
          <ac:spMkLst>
            <pc:docMk/>
            <pc:sldMk cId="3144834754" sldId="2147469909"/>
            <ac:spMk id="55" creationId="{312C5AAF-59AE-43FA-5BAC-EC1ECCD42B62}"/>
          </ac:spMkLst>
        </pc:spChg>
        <pc:spChg chg="add">
          <ac:chgData name="Frédéric NGUYEN KIM" userId="S::frederic.nguyen-kim@talan.com::91a3dcbd-d60c-40ca-842f-e84e51d3b939" providerId="AD" clId="Web-{3DBC437F-585D-81BA-EED8-7C618E8EC8EE}" dt="2023-02-27T20:53:12.134" v="148"/>
          <ac:spMkLst>
            <pc:docMk/>
            <pc:sldMk cId="3144834754" sldId="2147469909"/>
            <ac:spMk id="56" creationId="{BAA62C19-6564-9887-D19E-CFB7E2BBB02B}"/>
          </ac:spMkLst>
        </pc:spChg>
        <pc:spChg chg="del">
          <ac:chgData name="Frédéric NGUYEN KIM" userId="S::frederic.nguyen-kim@talan.com::91a3dcbd-d60c-40ca-842f-e84e51d3b939" providerId="AD" clId="Web-{3DBC437F-585D-81BA-EED8-7C618E8EC8EE}" dt="2023-02-27T20:53:02.290" v="132"/>
          <ac:spMkLst>
            <pc:docMk/>
            <pc:sldMk cId="3144834754" sldId="2147469909"/>
            <ac:spMk id="57" creationId="{314BE459-78E2-4DE6-327B-DCD66D320F0B}"/>
          </ac:spMkLst>
        </pc:spChg>
        <pc:spChg chg="add">
          <ac:chgData name="Frédéric NGUYEN KIM" userId="S::frederic.nguyen-kim@talan.com::91a3dcbd-d60c-40ca-842f-e84e51d3b939" providerId="AD" clId="Web-{3DBC437F-585D-81BA-EED8-7C618E8EC8EE}" dt="2023-02-27T20:53:12.134" v="148"/>
          <ac:spMkLst>
            <pc:docMk/>
            <pc:sldMk cId="3144834754" sldId="2147469909"/>
            <ac:spMk id="58" creationId="{60D9FC39-D4AE-D046-C356-F79D0EEF7DC5}"/>
          </ac:spMkLst>
        </pc:spChg>
        <pc:spChg chg="del">
          <ac:chgData name="Frédéric NGUYEN KIM" userId="S::frederic.nguyen-kim@talan.com::91a3dcbd-d60c-40ca-842f-e84e51d3b939" providerId="AD" clId="Web-{3DBC437F-585D-81BA-EED8-7C618E8EC8EE}" dt="2023-02-27T20:53:02.290" v="131"/>
          <ac:spMkLst>
            <pc:docMk/>
            <pc:sldMk cId="3144834754" sldId="2147469909"/>
            <ac:spMk id="59" creationId="{577ECD0B-035C-6CF9-7CCB-6D134DF366CC}"/>
          </ac:spMkLst>
        </pc:spChg>
        <pc:spChg chg="add">
          <ac:chgData name="Frédéric NGUYEN KIM" userId="S::frederic.nguyen-kim@talan.com::91a3dcbd-d60c-40ca-842f-e84e51d3b939" providerId="AD" clId="Web-{3DBC437F-585D-81BA-EED8-7C618E8EC8EE}" dt="2023-02-27T20:53:12.134" v="148"/>
          <ac:spMkLst>
            <pc:docMk/>
            <pc:sldMk cId="3144834754" sldId="2147469909"/>
            <ac:spMk id="60" creationId="{2F13E9AD-F06E-A35B-8CBD-D79242BDD669}"/>
          </ac:spMkLst>
        </pc:spChg>
        <pc:spChg chg="del">
          <ac:chgData name="Frédéric NGUYEN KIM" userId="S::frederic.nguyen-kim@talan.com::91a3dcbd-d60c-40ca-842f-e84e51d3b939" providerId="AD" clId="Web-{3DBC437F-585D-81BA-EED8-7C618E8EC8EE}" dt="2023-02-27T20:53:02.290" v="130"/>
          <ac:spMkLst>
            <pc:docMk/>
            <pc:sldMk cId="3144834754" sldId="2147469909"/>
            <ac:spMk id="61" creationId="{60784AFE-1D29-E896-35FF-7022A6DACB4F}"/>
          </ac:spMkLst>
        </pc:spChg>
        <pc:spChg chg="add">
          <ac:chgData name="Frédéric NGUYEN KIM" userId="S::frederic.nguyen-kim@talan.com::91a3dcbd-d60c-40ca-842f-e84e51d3b939" providerId="AD" clId="Web-{3DBC437F-585D-81BA-EED8-7C618E8EC8EE}" dt="2023-02-27T20:53:12.134" v="148"/>
          <ac:spMkLst>
            <pc:docMk/>
            <pc:sldMk cId="3144834754" sldId="2147469909"/>
            <ac:spMk id="62" creationId="{C1204D10-39A6-53BE-62AA-77486C4723AC}"/>
          </ac:spMkLst>
        </pc:spChg>
        <pc:spChg chg="del">
          <ac:chgData name="Frédéric NGUYEN KIM" userId="S::frederic.nguyen-kim@talan.com::91a3dcbd-d60c-40ca-842f-e84e51d3b939" providerId="AD" clId="Web-{3DBC437F-585D-81BA-EED8-7C618E8EC8EE}" dt="2023-02-27T20:53:02.275" v="129"/>
          <ac:spMkLst>
            <pc:docMk/>
            <pc:sldMk cId="3144834754" sldId="2147469909"/>
            <ac:spMk id="63" creationId="{79B2CE08-BD4D-017E-28A0-1A7722AC7D8B}"/>
          </ac:spMkLst>
        </pc:spChg>
        <pc:spChg chg="add">
          <ac:chgData name="Frédéric NGUYEN KIM" userId="S::frederic.nguyen-kim@talan.com::91a3dcbd-d60c-40ca-842f-e84e51d3b939" providerId="AD" clId="Web-{3DBC437F-585D-81BA-EED8-7C618E8EC8EE}" dt="2023-02-27T20:53:12.134" v="148"/>
          <ac:spMkLst>
            <pc:docMk/>
            <pc:sldMk cId="3144834754" sldId="2147469909"/>
            <ac:spMk id="64" creationId="{4D2E8B1D-4D3F-FB79-A860-1BF02B7DFE5F}"/>
          </ac:spMkLst>
        </pc:spChg>
        <pc:spChg chg="del">
          <ac:chgData name="Frédéric NGUYEN KIM" userId="S::frederic.nguyen-kim@talan.com::91a3dcbd-d60c-40ca-842f-e84e51d3b939" providerId="AD" clId="Web-{3DBC437F-585D-81BA-EED8-7C618E8EC8EE}" dt="2023-02-27T20:53:02.275" v="128"/>
          <ac:spMkLst>
            <pc:docMk/>
            <pc:sldMk cId="3144834754" sldId="2147469909"/>
            <ac:spMk id="65" creationId="{4E6FF14D-338D-FDEB-228E-4F6727701892}"/>
          </ac:spMkLst>
        </pc:spChg>
        <pc:spChg chg="add">
          <ac:chgData name="Frédéric NGUYEN KIM" userId="S::frederic.nguyen-kim@talan.com::91a3dcbd-d60c-40ca-842f-e84e51d3b939" providerId="AD" clId="Web-{3DBC437F-585D-81BA-EED8-7C618E8EC8EE}" dt="2023-02-27T20:53:12.134" v="148"/>
          <ac:spMkLst>
            <pc:docMk/>
            <pc:sldMk cId="3144834754" sldId="2147469909"/>
            <ac:spMk id="66" creationId="{50F54519-3F10-D14C-B8B3-DDDD2E663733}"/>
          </ac:spMkLst>
        </pc:spChg>
        <pc:spChg chg="del">
          <ac:chgData name="Frédéric NGUYEN KIM" userId="S::frederic.nguyen-kim@talan.com::91a3dcbd-d60c-40ca-842f-e84e51d3b939" providerId="AD" clId="Web-{3DBC437F-585D-81BA-EED8-7C618E8EC8EE}" dt="2023-02-27T20:53:02.275" v="127"/>
          <ac:spMkLst>
            <pc:docMk/>
            <pc:sldMk cId="3144834754" sldId="2147469909"/>
            <ac:spMk id="67" creationId="{7115B209-6C5B-14C5-EDB6-15682F7D2477}"/>
          </ac:spMkLst>
        </pc:spChg>
        <pc:spChg chg="add">
          <ac:chgData name="Frédéric NGUYEN KIM" userId="S::frederic.nguyen-kim@talan.com::91a3dcbd-d60c-40ca-842f-e84e51d3b939" providerId="AD" clId="Web-{3DBC437F-585D-81BA-EED8-7C618E8EC8EE}" dt="2023-02-27T20:53:12.134" v="148"/>
          <ac:spMkLst>
            <pc:docMk/>
            <pc:sldMk cId="3144834754" sldId="2147469909"/>
            <ac:spMk id="68" creationId="{B37DA097-AA6B-03AF-3A73-0A6295B4A6E5}"/>
          </ac:spMkLst>
        </pc:spChg>
        <pc:spChg chg="add">
          <ac:chgData name="Frédéric NGUYEN KIM" userId="S::frederic.nguyen-kim@talan.com::91a3dcbd-d60c-40ca-842f-e84e51d3b939" providerId="AD" clId="Web-{3DBC437F-585D-81BA-EED8-7C618E8EC8EE}" dt="2023-02-27T20:53:12.134" v="148"/>
          <ac:spMkLst>
            <pc:docMk/>
            <pc:sldMk cId="3144834754" sldId="2147469909"/>
            <ac:spMk id="98" creationId="{6747CFC9-115C-DE5D-6C3F-02199A3C7656}"/>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10" creationId="{87ABBA1D-8A44-4BE4-B1A6-5AF1B5B9B3E9}"/>
          </ac:spMkLst>
        </pc:spChg>
        <pc:spChg chg="del">
          <ac:chgData name="Frédéric NGUYEN KIM" userId="S::frederic.nguyen-kim@talan.com::91a3dcbd-d60c-40ca-842f-e84e51d3b939" providerId="AD" clId="Web-{3DBC437F-585D-81BA-EED8-7C618E8EC8EE}" dt="2023-02-27T20:53:02.275" v="124"/>
          <ac:spMkLst>
            <pc:docMk/>
            <pc:sldMk cId="3144834754" sldId="2147469909"/>
            <ac:spMk id="111" creationId="{CDB3049C-6C3A-E881-78FB-B000571E9B9C}"/>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12" creationId="{B0DC9293-EE54-6636-6126-5A3804D90732}"/>
          </ac:spMkLst>
        </pc:spChg>
        <pc:spChg chg="del">
          <ac:chgData name="Frédéric NGUYEN KIM" userId="S::frederic.nguyen-kim@talan.com::91a3dcbd-d60c-40ca-842f-e84e51d3b939" providerId="AD" clId="Web-{3DBC437F-585D-81BA-EED8-7C618E8EC8EE}" dt="2023-02-27T20:53:02.275" v="123"/>
          <ac:spMkLst>
            <pc:docMk/>
            <pc:sldMk cId="3144834754" sldId="2147469909"/>
            <ac:spMk id="113" creationId="{196ADAEB-A615-EFFE-7732-7D7EC9E53C55}"/>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14" creationId="{3E7C5BC0-7D2B-EAF7-48F1-C8ED3B858FB6}"/>
          </ac:spMkLst>
        </pc:spChg>
        <pc:spChg chg="del">
          <ac:chgData name="Frédéric NGUYEN KIM" userId="S::frederic.nguyen-kim@talan.com::91a3dcbd-d60c-40ca-842f-e84e51d3b939" providerId="AD" clId="Web-{3DBC437F-585D-81BA-EED8-7C618E8EC8EE}" dt="2023-02-27T20:53:02.275" v="122"/>
          <ac:spMkLst>
            <pc:docMk/>
            <pc:sldMk cId="3144834754" sldId="2147469909"/>
            <ac:spMk id="115" creationId="{652621C4-8EAB-5A2D-5AE5-7503E4D19439}"/>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16" creationId="{C932B25F-9F18-5D82-70E5-A92F00ABC711}"/>
          </ac:spMkLst>
        </pc:spChg>
        <pc:spChg chg="del">
          <ac:chgData name="Frédéric NGUYEN KIM" userId="S::frederic.nguyen-kim@talan.com::91a3dcbd-d60c-40ca-842f-e84e51d3b939" providerId="AD" clId="Web-{3DBC437F-585D-81BA-EED8-7C618E8EC8EE}" dt="2023-02-27T20:53:02.275" v="121"/>
          <ac:spMkLst>
            <pc:docMk/>
            <pc:sldMk cId="3144834754" sldId="2147469909"/>
            <ac:spMk id="117" creationId="{1D514AD5-D61E-7E73-25E4-D66C7ED6A0FF}"/>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18" creationId="{41920F53-D21E-21EB-814B-52267F015244}"/>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19" creationId="{85556EDA-6D3E-F741-0342-7374350F521C}"/>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20" creationId="{65ECE60D-F9FA-E919-9B06-3C3EDC6BEAFC}"/>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21" creationId="{ED9275D9-1322-0CBF-E5C9-C917E8B1073F}"/>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22" creationId="{C8A508BD-2EE0-624C-29AC-C8D463E40E0F}"/>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23" creationId="{D8E48552-CD25-34ED-3E5F-D4577E383430}"/>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24" creationId="{0AFC7AB7-CF9F-09BE-22C8-AE5CD1160CF4}"/>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25" creationId="{2ACB3236-E6B6-1611-8609-0BDE125E5959}"/>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26" creationId="{8FD82711-931C-2C4D-F1DF-01D0FEBBC17B}"/>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27" creationId="{41EF91D9-CA69-B0EE-E935-B5A25D5D6C73}"/>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92" creationId="{738322EA-4168-A1FC-EAC3-359D05FD2456}"/>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93" creationId="{60051822-6938-9829-6869-E3F7A06AE29F}"/>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94" creationId="{B01A363C-C2E2-0CBE-4A4E-B25A7C3EEEC5}"/>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95" creationId="{2D8967E7-FBD1-789C-4A02-0F7713552368}"/>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96" creationId="{2E977684-34FC-6239-E94C-B10C6175D327}"/>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97" creationId="{613B8F3F-70AF-18D6-05E2-3806F28513E7}"/>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98" creationId="{58BF5546-AEFF-709E-77A1-B85CE11F20BD}"/>
          </ac:spMkLst>
        </pc:spChg>
        <pc:spChg chg="add">
          <ac:chgData name="Frédéric NGUYEN KIM" userId="S::frederic.nguyen-kim@talan.com::91a3dcbd-d60c-40ca-842f-e84e51d3b939" providerId="AD" clId="Web-{3DBC437F-585D-81BA-EED8-7C618E8EC8EE}" dt="2023-02-27T20:53:12.134" v="148"/>
          <ac:spMkLst>
            <pc:docMk/>
            <pc:sldMk cId="3144834754" sldId="2147469909"/>
            <ac:spMk id="199" creationId="{470084B1-CC1D-C0E6-F08B-1C423E472BDB}"/>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00" creationId="{06E34FE5-9E07-F529-C2C1-65B948001E0D}"/>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01" creationId="{D63A5456-8135-F03A-8C16-7B5217C020ED}"/>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02" creationId="{F420E7AA-C819-9273-F966-84500991E3D8}"/>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03" creationId="{E5CF9543-8681-3C7C-6DAB-E18F561A363A}"/>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04" creationId="{766AE04F-E133-0909-FB47-10DB554B0D54}"/>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05" creationId="{B02ECB5A-6B6E-85DD-3E8B-F1290517888B}"/>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06" creationId="{D19DE355-F040-8F32-ECEB-66848E7546C8}"/>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07" creationId="{0C99757C-2F11-B864-FDBE-16DE0FAB2C40}"/>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08" creationId="{EFB330C9-EA44-BFEC-7278-B91498ECC52C}"/>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09" creationId="{30A088C7-B4C6-E417-98E1-CBB85332E875}"/>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10" creationId="{FF02B095-D849-3155-99BD-4A33826E1F5C}"/>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11" creationId="{255D045F-9A02-7972-1F7F-88564F5E6EB2}"/>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12" creationId="{A2278185-5EE3-41AB-6BB2-9E49E69C169D}"/>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13" creationId="{FFA35324-2A35-0492-CAEC-FFA98F6F4EB5}"/>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14" creationId="{8A094CBE-2BEF-F073-1C68-832390B8E359}"/>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15" creationId="{8896064B-80E1-692C-620B-9FBC92FAEDA6}"/>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16" creationId="{E19B2763-252B-9953-56F8-B27A63055FB9}"/>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18" creationId="{87602F04-74C3-5CF4-58CD-94A67A235B82}"/>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19" creationId="{49B02535-B6F6-F223-3EF1-A04097432CDB}"/>
          </ac:spMkLst>
        </pc:spChg>
        <pc:spChg chg="add">
          <ac:chgData name="Frédéric NGUYEN KIM" userId="S::frederic.nguyen-kim@talan.com::91a3dcbd-d60c-40ca-842f-e84e51d3b939" providerId="AD" clId="Web-{3DBC437F-585D-81BA-EED8-7C618E8EC8EE}" dt="2023-02-27T20:53:12.134" v="148"/>
          <ac:spMkLst>
            <pc:docMk/>
            <pc:sldMk cId="3144834754" sldId="2147469909"/>
            <ac:spMk id="220" creationId="{728BB727-2115-507E-3DF7-36736BDECD24}"/>
          </ac:spMkLst>
        </pc:spChg>
        <pc:grpChg chg="add">
          <ac:chgData name="Frédéric NGUYEN KIM" userId="S::frederic.nguyen-kim@talan.com::91a3dcbd-d60c-40ca-842f-e84e51d3b939" providerId="AD" clId="Web-{3DBC437F-585D-81BA-EED8-7C618E8EC8EE}" dt="2023-02-27T20:53:12.134" v="148"/>
          <ac:grpSpMkLst>
            <pc:docMk/>
            <pc:sldMk cId="3144834754" sldId="2147469909"/>
            <ac:grpSpMk id="15" creationId="{5FB461E4-4C28-8393-4057-981443D31666}"/>
          </ac:grpSpMkLst>
        </pc:grpChg>
        <pc:grpChg chg="add">
          <ac:chgData name="Frédéric NGUYEN KIM" userId="S::frederic.nguyen-kim@talan.com::91a3dcbd-d60c-40ca-842f-e84e51d3b939" providerId="AD" clId="Web-{3DBC437F-585D-81BA-EED8-7C618E8EC8EE}" dt="2023-02-27T20:53:12.134" v="148"/>
          <ac:grpSpMkLst>
            <pc:docMk/>
            <pc:sldMk cId="3144834754" sldId="2147469909"/>
            <ac:grpSpMk id="35" creationId="{3303A056-8AD0-3799-CE11-75F7348B4975}"/>
          </ac:grpSpMkLst>
        </pc:grpChg>
        <pc:grpChg chg="del">
          <ac:chgData name="Frédéric NGUYEN KIM" userId="S::frederic.nguyen-kim@talan.com::91a3dcbd-d60c-40ca-842f-e84e51d3b939" providerId="AD" clId="Web-{3DBC437F-585D-81BA-EED8-7C618E8EC8EE}" dt="2023-02-27T20:53:02.290" v="138"/>
          <ac:grpSpMkLst>
            <pc:docMk/>
            <pc:sldMk cId="3144834754" sldId="2147469909"/>
            <ac:grpSpMk id="45" creationId="{0831657D-873E-9CDC-4167-64DDAB76A120}"/>
          </ac:grpSpMkLst>
        </pc:grpChg>
        <pc:grpChg chg="add">
          <ac:chgData name="Frédéric NGUYEN KIM" userId="S::frederic.nguyen-kim@talan.com::91a3dcbd-d60c-40ca-842f-e84e51d3b939" providerId="AD" clId="Web-{3DBC437F-585D-81BA-EED8-7C618E8EC8EE}" dt="2023-02-27T20:53:12.134" v="148"/>
          <ac:grpSpMkLst>
            <pc:docMk/>
            <pc:sldMk cId="3144834754" sldId="2147469909"/>
            <ac:grpSpMk id="46" creationId="{0283FBDD-5329-90C6-51B9-874F4EF6D6AA}"/>
          </ac:grpSpMkLst>
        </pc:grpChg>
        <pc:grpChg chg="del">
          <ac:chgData name="Frédéric NGUYEN KIM" userId="S::frederic.nguyen-kim@talan.com::91a3dcbd-d60c-40ca-842f-e84e51d3b939" providerId="AD" clId="Web-{3DBC437F-585D-81BA-EED8-7C618E8EC8EE}" dt="2023-02-27T20:53:02.275" v="126"/>
          <ac:grpSpMkLst>
            <pc:docMk/>
            <pc:sldMk cId="3144834754" sldId="2147469909"/>
            <ac:grpSpMk id="97" creationId="{41987F87-C083-D511-AA92-3FF3FBDB997A}"/>
          </ac:grpSpMkLst>
        </pc:grpChg>
        <pc:grpChg chg="del">
          <ac:chgData name="Frédéric NGUYEN KIM" userId="S::frederic.nguyen-kim@talan.com::91a3dcbd-d60c-40ca-842f-e84e51d3b939" providerId="AD" clId="Web-{3DBC437F-585D-81BA-EED8-7C618E8EC8EE}" dt="2023-02-27T20:53:02.275" v="125"/>
          <ac:grpSpMkLst>
            <pc:docMk/>
            <pc:sldMk cId="3144834754" sldId="2147469909"/>
            <ac:grpSpMk id="109" creationId="{479B5CDB-467F-3A0F-1F94-0645DF83F816}"/>
          </ac:grpSpMkLst>
        </pc:grpChg>
        <pc:cxnChg chg="add">
          <ac:chgData name="Frédéric NGUYEN KIM" userId="S::frederic.nguyen-kim@talan.com::91a3dcbd-d60c-40ca-842f-e84e51d3b939" providerId="AD" clId="Web-{3DBC437F-585D-81BA-EED8-7C618E8EC8EE}" dt="2023-02-27T20:53:12.134" v="148"/>
          <ac:cxnSpMkLst>
            <pc:docMk/>
            <pc:sldMk cId="3144834754" sldId="2147469909"/>
            <ac:cxnSpMk id="11" creationId="{762012A7-FCA6-9A08-1A77-D16D4F1FC073}"/>
          </ac:cxnSpMkLst>
        </pc:cxnChg>
        <pc:cxnChg chg="del">
          <ac:chgData name="Frédéric NGUYEN KIM" userId="S::frederic.nguyen-kim@talan.com::91a3dcbd-d60c-40ca-842f-e84e51d3b939" providerId="AD" clId="Web-{3DBC437F-585D-81BA-EED8-7C618E8EC8EE}" dt="2023-02-27T20:53:02.290" v="142"/>
          <ac:cxnSpMkLst>
            <pc:docMk/>
            <pc:sldMk cId="3144834754" sldId="2147469909"/>
            <ac:cxnSpMk id="28" creationId="{964829DE-FBFA-6765-93C4-D7B04F512D78}"/>
          </ac:cxnSpMkLst>
        </pc:cxnChg>
      </pc:sldChg>
      <pc:sldMasterChg chg="add addSldLayout">
        <pc:chgData name="Frédéric NGUYEN KIM" userId="S::frederic.nguyen-kim@talan.com::91a3dcbd-d60c-40ca-842f-e84e51d3b939" providerId="AD" clId="Web-{3DBC437F-585D-81BA-EED8-7C618E8EC8EE}" dt="2023-02-27T20:52:00.539" v="25"/>
        <pc:sldMasterMkLst>
          <pc:docMk/>
          <pc:sldMasterMk cId="2290518370" sldId="2147483690"/>
        </pc:sldMasterMkLst>
        <pc:sldLayoutChg chg="add">
          <pc:chgData name="Frédéric NGUYEN KIM" userId="S::frederic.nguyen-kim@talan.com::91a3dcbd-d60c-40ca-842f-e84e51d3b939" providerId="AD" clId="Web-{3DBC437F-585D-81BA-EED8-7C618E8EC8EE}" dt="2023-02-27T20:52:00.539" v="25"/>
          <pc:sldLayoutMkLst>
            <pc:docMk/>
            <pc:sldMasterMk cId="2290518370" sldId="2147483690"/>
            <pc:sldLayoutMk cId="2607318801" sldId="2147483691"/>
          </pc:sldLayoutMkLst>
        </pc:sldLayoutChg>
        <pc:sldLayoutChg chg="add">
          <pc:chgData name="Frédéric NGUYEN KIM" userId="S::frederic.nguyen-kim@talan.com::91a3dcbd-d60c-40ca-842f-e84e51d3b939" providerId="AD" clId="Web-{3DBC437F-585D-81BA-EED8-7C618E8EC8EE}" dt="2023-02-27T20:52:00.539" v="25"/>
          <pc:sldLayoutMkLst>
            <pc:docMk/>
            <pc:sldMasterMk cId="2290518370" sldId="2147483690"/>
            <pc:sldLayoutMk cId="3194609206" sldId="2147483692"/>
          </pc:sldLayoutMkLst>
        </pc:sldLayoutChg>
        <pc:sldLayoutChg chg="add">
          <pc:chgData name="Frédéric NGUYEN KIM" userId="S::frederic.nguyen-kim@talan.com::91a3dcbd-d60c-40ca-842f-e84e51d3b939" providerId="AD" clId="Web-{3DBC437F-585D-81BA-EED8-7C618E8EC8EE}" dt="2023-02-27T20:52:00.539" v="25"/>
          <pc:sldLayoutMkLst>
            <pc:docMk/>
            <pc:sldMasterMk cId="2290518370" sldId="2147483690"/>
            <pc:sldLayoutMk cId="4196943498" sldId="2147483693"/>
          </pc:sldLayoutMkLst>
        </pc:sldLayoutChg>
        <pc:sldLayoutChg chg="add">
          <pc:chgData name="Frédéric NGUYEN KIM" userId="S::frederic.nguyen-kim@talan.com::91a3dcbd-d60c-40ca-842f-e84e51d3b939" providerId="AD" clId="Web-{3DBC437F-585D-81BA-EED8-7C618E8EC8EE}" dt="2023-02-27T20:52:00.539" v="25"/>
          <pc:sldLayoutMkLst>
            <pc:docMk/>
            <pc:sldMasterMk cId="2290518370" sldId="2147483690"/>
            <pc:sldLayoutMk cId="1018498181" sldId="2147483694"/>
          </pc:sldLayoutMkLst>
        </pc:sldLayoutChg>
        <pc:sldLayoutChg chg="add">
          <pc:chgData name="Frédéric NGUYEN KIM" userId="S::frederic.nguyen-kim@talan.com::91a3dcbd-d60c-40ca-842f-e84e51d3b939" providerId="AD" clId="Web-{3DBC437F-585D-81BA-EED8-7C618E8EC8EE}" dt="2023-02-27T20:52:00.539" v="25"/>
          <pc:sldLayoutMkLst>
            <pc:docMk/>
            <pc:sldMasterMk cId="2290518370" sldId="2147483690"/>
            <pc:sldLayoutMk cId="3658429009" sldId="2147483695"/>
          </pc:sldLayoutMkLst>
        </pc:sldLayoutChg>
        <pc:sldLayoutChg chg="add">
          <pc:chgData name="Frédéric NGUYEN KIM" userId="S::frederic.nguyen-kim@talan.com::91a3dcbd-d60c-40ca-842f-e84e51d3b939" providerId="AD" clId="Web-{3DBC437F-585D-81BA-EED8-7C618E8EC8EE}" dt="2023-02-27T20:52:00.539" v="25"/>
          <pc:sldLayoutMkLst>
            <pc:docMk/>
            <pc:sldMasterMk cId="2290518370" sldId="2147483690"/>
            <pc:sldLayoutMk cId="3783389040" sldId="2147483696"/>
          </pc:sldLayoutMkLst>
        </pc:sldLayoutChg>
        <pc:sldLayoutChg chg="add">
          <pc:chgData name="Frédéric NGUYEN KIM" userId="S::frederic.nguyen-kim@talan.com::91a3dcbd-d60c-40ca-842f-e84e51d3b939" providerId="AD" clId="Web-{3DBC437F-585D-81BA-EED8-7C618E8EC8EE}" dt="2023-02-27T20:52:00.539" v="25"/>
          <pc:sldLayoutMkLst>
            <pc:docMk/>
            <pc:sldMasterMk cId="2290518370" sldId="2147483690"/>
            <pc:sldLayoutMk cId="3594670789" sldId="2147483697"/>
          </pc:sldLayoutMkLst>
        </pc:sldLayoutChg>
        <pc:sldLayoutChg chg="add">
          <pc:chgData name="Frédéric NGUYEN KIM" userId="S::frederic.nguyen-kim@talan.com::91a3dcbd-d60c-40ca-842f-e84e51d3b939" providerId="AD" clId="Web-{3DBC437F-585D-81BA-EED8-7C618E8EC8EE}" dt="2023-02-27T20:52:00.539" v="25"/>
          <pc:sldLayoutMkLst>
            <pc:docMk/>
            <pc:sldMasterMk cId="2290518370" sldId="2147483690"/>
            <pc:sldLayoutMk cId="2019066691" sldId="2147483698"/>
          </pc:sldLayoutMkLst>
        </pc:sldLayoutChg>
      </pc:sldMasterChg>
    </pc:docChg>
  </pc:docChgLst>
  <pc:docChgLst>
    <pc:chgData name="Dalil BENAOUDA" userId="6bc32e50-31cc-420e-af2c-c81feb754bf7" providerId="ADAL" clId="{2B1617D0-14B2-4879-AEBD-46BD4567454B}"/>
    <pc:docChg chg="undo redo custSel addSld delSld modSld sldOrd modMainMaster modSection">
      <pc:chgData name="Dalil BENAOUDA" userId="6bc32e50-31cc-420e-af2c-c81feb754bf7" providerId="ADAL" clId="{2B1617D0-14B2-4879-AEBD-46BD4567454B}" dt="2023-01-26T14:59:54.289" v="9065" actId="1076"/>
      <pc:docMkLst>
        <pc:docMk/>
      </pc:docMkLst>
      <pc:sldChg chg="addSp delSp modSp add mod">
        <pc:chgData name="Dalil BENAOUDA" userId="6bc32e50-31cc-420e-af2c-c81feb754bf7" providerId="ADAL" clId="{2B1617D0-14B2-4879-AEBD-46BD4567454B}" dt="2023-01-26T13:51:43.332" v="8219" actId="20577"/>
        <pc:sldMkLst>
          <pc:docMk/>
          <pc:sldMk cId="0" sldId="262"/>
        </pc:sldMkLst>
        <pc:spChg chg="mod">
          <ac:chgData name="Dalil BENAOUDA" userId="6bc32e50-31cc-420e-af2c-c81feb754bf7" providerId="ADAL" clId="{2B1617D0-14B2-4879-AEBD-46BD4567454B}" dt="2023-01-26T13:49:02.479" v="8084" actId="20577"/>
          <ac:spMkLst>
            <pc:docMk/>
            <pc:sldMk cId="0" sldId="262"/>
            <ac:spMk id="5" creationId="{4CD2510C-8860-4633-88FF-F4E4F870571E}"/>
          </ac:spMkLst>
        </pc:spChg>
        <pc:spChg chg="add del mod">
          <ac:chgData name="Dalil BENAOUDA" userId="6bc32e50-31cc-420e-af2c-c81feb754bf7" providerId="ADAL" clId="{2B1617D0-14B2-4879-AEBD-46BD4567454B}" dt="2023-01-26T13:48:36.414" v="8022" actId="478"/>
          <ac:spMkLst>
            <pc:docMk/>
            <pc:sldMk cId="0" sldId="262"/>
            <ac:spMk id="26" creationId="{185789E0-EB7B-438A-B072-0410BA2535DD}"/>
          </ac:spMkLst>
        </pc:spChg>
        <pc:spChg chg="mod">
          <ac:chgData name="Dalil BENAOUDA" userId="6bc32e50-31cc-420e-af2c-c81feb754bf7" providerId="ADAL" clId="{2B1617D0-14B2-4879-AEBD-46BD4567454B}" dt="2023-01-26T13:48:34.274" v="8021" actId="113"/>
          <ac:spMkLst>
            <pc:docMk/>
            <pc:sldMk cId="0" sldId="262"/>
            <ac:spMk id="2059" creationId="{00000000-0000-0000-0000-000000000000}"/>
          </ac:spMkLst>
        </pc:spChg>
        <pc:spChg chg="mod">
          <ac:chgData name="Dalil BENAOUDA" userId="6bc32e50-31cc-420e-af2c-c81feb754bf7" providerId="ADAL" clId="{2B1617D0-14B2-4879-AEBD-46BD4567454B}" dt="2023-01-26T13:51:43.332" v="8219" actId="20577"/>
          <ac:spMkLst>
            <pc:docMk/>
            <pc:sldMk cId="0" sldId="262"/>
            <ac:spMk id="2062" creationId="{00000000-0000-0000-0000-000000000000}"/>
          </ac:spMkLst>
        </pc:spChg>
      </pc:sldChg>
      <pc:sldChg chg="add del mod ord modShow">
        <pc:chgData name="Dalil BENAOUDA" userId="6bc32e50-31cc-420e-af2c-c81feb754bf7" providerId="ADAL" clId="{2B1617D0-14B2-4879-AEBD-46BD4567454B}" dt="2023-01-23T16:56:13.939" v="5275" actId="2696"/>
        <pc:sldMkLst>
          <pc:docMk/>
          <pc:sldMk cId="3594919845" sldId="3317"/>
        </pc:sldMkLst>
      </pc:sldChg>
      <pc:sldChg chg="add del mod modShow">
        <pc:chgData name="Dalil BENAOUDA" userId="6bc32e50-31cc-420e-af2c-c81feb754bf7" providerId="ADAL" clId="{2B1617D0-14B2-4879-AEBD-46BD4567454B}" dt="2023-01-23T17:04:35.035" v="5783" actId="2696"/>
        <pc:sldMkLst>
          <pc:docMk/>
          <pc:sldMk cId="2464326663" sldId="2076137017"/>
        </pc:sldMkLst>
      </pc:sldChg>
      <pc:sldChg chg="delSp modSp add mod ord modShow">
        <pc:chgData name="Dalil BENAOUDA" userId="6bc32e50-31cc-420e-af2c-c81feb754bf7" providerId="ADAL" clId="{2B1617D0-14B2-4879-AEBD-46BD4567454B}" dt="2023-01-26T13:37:23.484" v="7465" actId="729"/>
        <pc:sldMkLst>
          <pc:docMk/>
          <pc:sldMk cId="1680199837" sldId="2076138123"/>
        </pc:sldMkLst>
        <pc:spChg chg="mod">
          <ac:chgData name="Dalil BENAOUDA" userId="6bc32e50-31cc-420e-af2c-c81feb754bf7" providerId="ADAL" clId="{2B1617D0-14B2-4879-AEBD-46BD4567454B}" dt="2023-01-24T08:25:39.177" v="6242" actId="1076"/>
          <ac:spMkLst>
            <pc:docMk/>
            <pc:sldMk cId="1680199837" sldId="2076138123"/>
            <ac:spMk id="2" creationId="{194A45AD-9490-4EC7-9E07-4DEE0A3C2F95}"/>
          </ac:spMkLst>
        </pc:spChg>
        <pc:spChg chg="mod">
          <ac:chgData name="Dalil BENAOUDA" userId="6bc32e50-31cc-420e-af2c-c81feb754bf7" providerId="ADAL" clId="{2B1617D0-14B2-4879-AEBD-46BD4567454B}" dt="2023-01-26T11:12:04.187" v="6895" actId="1076"/>
          <ac:spMkLst>
            <pc:docMk/>
            <pc:sldMk cId="1680199837" sldId="2076138123"/>
            <ac:spMk id="3" creationId="{80D52342-C2B0-428C-8805-971DE696581C}"/>
          </ac:spMkLst>
        </pc:spChg>
        <pc:spChg chg="mod">
          <ac:chgData name="Dalil BENAOUDA" userId="6bc32e50-31cc-420e-af2c-c81feb754bf7" providerId="ADAL" clId="{2B1617D0-14B2-4879-AEBD-46BD4567454B}" dt="2023-01-26T11:11:58.552" v="6892" actId="1076"/>
          <ac:spMkLst>
            <pc:docMk/>
            <pc:sldMk cId="1680199837" sldId="2076138123"/>
            <ac:spMk id="4" creationId="{27936E2C-7B10-460C-A343-299054D7E440}"/>
          </ac:spMkLst>
        </pc:spChg>
        <pc:spChg chg="mod">
          <ac:chgData name="Dalil BENAOUDA" userId="6bc32e50-31cc-420e-af2c-c81feb754bf7" providerId="ADAL" clId="{2B1617D0-14B2-4879-AEBD-46BD4567454B}" dt="2023-01-26T11:11:53.360" v="6891" actId="1076"/>
          <ac:spMkLst>
            <pc:docMk/>
            <pc:sldMk cId="1680199837" sldId="2076138123"/>
            <ac:spMk id="6" creationId="{D25A3A40-DA67-48AA-A40D-DD64C5E42C62}"/>
          </ac:spMkLst>
        </pc:spChg>
        <pc:spChg chg="del mod">
          <ac:chgData name="Dalil BENAOUDA" userId="6bc32e50-31cc-420e-af2c-c81feb754bf7" providerId="ADAL" clId="{2B1617D0-14B2-4879-AEBD-46BD4567454B}" dt="2023-01-26T11:11:10.658" v="6873" actId="478"/>
          <ac:spMkLst>
            <pc:docMk/>
            <pc:sldMk cId="1680199837" sldId="2076138123"/>
            <ac:spMk id="8" creationId="{481CDD81-3A26-4179-8FA9-C55811162A89}"/>
          </ac:spMkLst>
        </pc:spChg>
        <pc:spChg chg="mod">
          <ac:chgData name="Dalil BENAOUDA" userId="6bc32e50-31cc-420e-af2c-c81feb754bf7" providerId="ADAL" clId="{2B1617D0-14B2-4879-AEBD-46BD4567454B}" dt="2023-01-26T11:12:45.250" v="6897" actId="14100"/>
          <ac:spMkLst>
            <pc:docMk/>
            <pc:sldMk cId="1680199837" sldId="2076138123"/>
            <ac:spMk id="10" creationId="{0F6AAC6D-E29F-4B70-A13E-546C6FF1BCAC}"/>
          </ac:spMkLst>
        </pc:spChg>
        <pc:spChg chg="del">
          <ac:chgData name="Dalil BENAOUDA" userId="6bc32e50-31cc-420e-af2c-c81feb754bf7" providerId="ADAL" clId="{2B1617D0-14B2-4879-AEBD-46BD4567454B}" dt="2023-01-23T16:49:00.632" v="5119" actId="478"/>
          <ac:spMkLst>
            <pc:docMk/>
            <pc:sldMk cId="1680199837" sldId="2076138123"/>
            <ac:spMk id="20" creationId="{68E64F6D-D134-4793-BE79-5639A84B27D2}"/>
          </ac:spMkLst>
        </pc:spChg>
        <pc:spChg chg="del">
          <ac:chgData name="Dalil BENAOUDA" userId="6bc32e50-31cc-420e-af2c-c81feb754bf7" providerId="ADAL" clId="{2B1617D0-14B2-4879-AEBD-46BD4567454B}" dt="2023-01-23T16:49:00.632" v="5119" actId="478"/>
          <ac:spMkLst>
            <pc:docMk/>
            <pc:sldMk cId="1680199837" sldId="2076138123"/>
            <ac:spMk id="21" creationId="{C8FFA563-45B5-46BA-A141-077455558F7A}"/>
          </ac:spMkLst>
        </pc:spChg>
        <pc:spChg chg="mod">
          <ac:chgData name="Dalil BENAOUDA" userId="6bc32e50-31cc-420e-af2c-c81feb754bf7" providerId="ADAL" clId="{2B1617D0-14B2-4879-AEBD-46BD4567454B}" dt="2023-01-26T11:13:14.986" v="6904" actId="14100"/>
          <ac:spMkLst>
            <pc:docMk/>
            <pc:sldMk cId="1680199837" sldId="2076138123"/>
            <ac:spMk id="23" creationId="{8A21ECE2-66F9-47D0-B75D-D8A050BCD7DC}"/>
          </ac:spMkLst>
        </pc:spChg>
        <pc:spChg chg="mod">
          <ac:chgData name="Dalil BENAOUDA" userId="6bc32e50-31cc-420e-af2c-c81feb754bf7" providerId="ADAL" clId="{2B1617D0-14B2-4879-AEBD-46BD4567454B}" dt="2023-01-26T11:13:19.685" v="6906" actId="14100"/>
          <ac:spMkLst>
            <pc:docMk/>
            <pc:sldMk cId="1680199837" sldId="2076138123"/>
            <ac:spMk id="24" creationId="{59490B75-23A8-44AF-B0A4-ACA73D055108}"/>
          </ac:spMkLst>
        </pc:spChg>
        <pc:spChg chg="del mod">
          <ac:chgData name="Dalil BENAOUDA" userId="6bc32e50-31cc-420e-af2c-c81feb754bf7" providerId="ADAL" clId="{2B1617D0-14B2-4879-AEBD-46BD4567454B}" dt="2023-01-26T11:12:01.115" v="6893" actId="478"/>
          <ac:spMkLst>
            <pc:docMk/>
            <pc:sldMk cId="1680199837" sldId="2076138123"/>
            <ac:spMk id="30" creationId="{C3584A5B-CB31-48C5-89B9-747FF7AFAEB6}"/>
          </ac:spMkLst>
        </pc:spChg>
        <pc:spChg chg="mod">
          <ac:chgData name="Dalil BENAOUDA" userId="6bc32e50-31cc-420e-af2c-c81feb754bf7" providerId="ADAL" clId="{2B1617D0-14B2-4879-AEBD-46BD4567454B}" dt="2023-01-26T11:13:06.114" v="6902" actId="1076"/>
          <ac:spMkLst>
            <pc:docMk/>
            <pc:sldMk cId="1680199837" sldId="2076138123"/>
            <ac:spMk id="31" creationId="{D1C0288C-B01D-4CA4-AFA6-500A98EB0885}"/>
          </ac:spMkLst>
        </pc:spChg>
      </pc:sldChg>
      <pc:sldChg chg="addSp delSp modSp mod ord modNotesTx">
        <pc:chgData name="Dalil BENAOUDA" userId="6bc32e50-31cc-420e-af2c-c81feb754bf7" providerId="ADAL" clId="{2B1617D0-14B2-4879-AEBD-46BD4567454B}" dt="2023-01-23T17:02:46.788" v="5772" actId="20577"/>
        <pc:sldMkLst>
          <pc:docMk/>
          <pc:sldMk cId="113270668" sldId="2147469773"/>
        </pc:sldMkLst>
        <pc:spChg chg="mod">
          <ac:chgData name="Dalil BENAOUDA" userId="6bc32e50-31cc-420e-af2c-c81feb754bf7" providerId="ADAL" clId="{2B1617D0-14B2-4879-AEBD-46BD4567454B}" dt="2023-01-23T10:45:04.824" v="4595" actId="1036"/>
          <ac:spMkLst>
            <pc:docMk/>
            <pc:sldMk cId="113270668" sldId="2147469773"/>
            <ac:spMk id="2" creationId="{67B2A763-09D0-4911-8693-7EA013AC1987}"/>
          </ac:spMkLst>
        </pc:spChg>
        <pc:spChg chg="del">
          <ac:chgData name="Dalil BENAOUDA" userId="6bc32e50-31cc-420e-af2c-c81feb754bf7" providerId="ADAL" clId="{2B1617D0-14B2-4879-AEBD-46BD4567454B}" dt="2023-01-23T10:36:24.288" v="4231" actId="478"/>
          <ac:spMkLst>
            <pc:docMk/>
            <pc:sldMk cId="113270668" sldId="2147469773"/>
            <ac:spMk id="5" creationId="{C3230000-994D-40BB-BB82-F88D7F66FBD0}"/>
          </ac:spMkLst>
        </pc:spChg>
        <pc:spChg chg="mod">
          <ac:chgData name="Dalil BENAOUDA" userId="6bc32e50-31cc-420e-af2c-c81feb754bf7" providerId="ADAL" clId="{2B1617D0-14B2-4879-AEBD-46BD4567454B}" dt="2023-01-23T10:45:04.824" v="4595" actId="1036"/>
          <ac:spMkLst>
            <pc:docMk/>
            <pc:sldMk cId="113270668" sldId="2147469773"/>
            <ac:spMk id="6" creationId="{049ABD13-C1CE-4DCE-8DF3-87B1F7A91549}"/>
          </ac:spMkLst>
        </pc:spChg>
        <pc:spChg chg="mod">
          <ac:chgData name="Dalil BENAOUDA" userId="6bc32e50-31cc-420e-af2c-c81feb754bf7" providerId="ADAL" clId="{2B1617D0-14B2-4879-AEBD-46BD4567454B}" dt="2023-01-23T10:45:04.824" v="4595" actId="1036"/>
          <ac:spMkLst>
            <pc:docMk/>
            <pc:sldMk cId="113270668" sldId="2147469773"/>
            <ac:spMk id="7" creationId="{C6F1084B-B944-4401-9655-8B14281B5555}"/>
          </ac:spMkLst>
        </pc:spChg>
        <pc:spChg chg="mod">
          <ac:chgData name="Dalil BENAOUDA" userId="6bc32e50-31cc-420e-af2c-c81feb754bf7" providerId="ADAL" clId="{2B1617D0-14B2-4879-AEBD-46BD4567454B}" dt="2023-01-23T10:45:04.824" v="4595" actId="1036"/>
          <ac:spMkLst>
            <pc:docMk/>
            <pc:sldMk cId="113270668" sldId="2147469773"/>
            <ac:spMk id="8" creationId="{BA2996C9-20AA-4631-9BE6-FF828FB71BD3}"/>
          </ac:spMkLst>
        </pc:spChg>
        <pc:spChg chg="mod">
          <ac:chgData name="Dalil BENAOUDA" userId="6bc32e50-31cc-420e-af2c-c81feb754bf7" providerId="ADAL" clId="{2B1617D0-14B2-4879-AEBD-46BD4567454B}" dt="2023-01-23T10:45:04.824" v="4595" actId="1036"/>
          <ac:spMkLst>
            <pc:docMk/>
            <pc:sldMk cId="113270668" sldId="2147469773"/>
            <ac:spMk id="15" creationId="{10680AF3-550F-4CF6-A6A7-37962D6B0C5B}"/>
          </ac:spMkLst>
        </pc:spChg>
        <pc:spChg chg="mod">
          <ac:chgData name="Dalil BENAOUDA" userId="6bc32e50-31cc-420e-af2c-c81feb754bf7" providerId="ADAL" clId="{2B1617D0-14B2-4879-AEBD-46BD4567454B}" dt="2023-01-23T10:45:04.824" v="4595" actId="1036"/>
          <ac:spMkLst>
            <pc:docMk/>
            <pc:sldMk cId="113270668" sldId="2147469773"/>
            <ac:spMk id="16" creationId="{B69F765B-7656-4359-BA30-12164CE65E2C}"/>
          </ac:spMkLst>
        </pc:spChg>
        <pc:spChg chg="mod">
          <ac:chgData name="Dalil BENAOUDA" userId="6bc32e50-31cc-420e-af2c-c81feb754bf7" providerId="ADAL" clId="{2B1617D0-14B2-4879-AEBD-46BD4567454B}" dt="2023-01-23T10:45:04.824" v="4595" actId="1036"/>
          <ac:spMkLst>
            <pc:docMk/>
            <pc:sldMk cId="113270668" sldId="2147469773"/>
            <ac:spMk id="17" creationId="{D39F2937-E414-4B24-9776-41666BA21EC5}"/>
          </ac:spMkLst>
        </pc:spChg>
        <pc:spChg chg="mod">
          <ac:chgData name="Dalil BENAOUDA" userId="6bc32e50-31cc-420e-af2c-c81feb754bf7" providerId="ADAL" clId="{2B1617D0-14B2-4879-AEBD-46BD4567454B}" dt="2023-01-23T10:45:04.824" v="4595" actId="1036"/>
          <ac:spMkLst>
            <pc:docMk/>
            <pc:sldMk cId="113270668" sldId="2147469773"/>
            <ac:spMk id="19" creationId="{2F1E5F03-F005-468F-8710-5917B72C8C42}"/>
          </ac:spMkLst>
        </pc:spChg>
        <pc:spChg chg="mod">
          <ac:chgData name="Dalil BENAOUDA" userId="6bc32e50-31cc-420e-af2c-c81feb754bf7" providerId="ADAL" clId="{2B1617D0-14B2-4879-AEBD-46BD4567454B}" dt="2023-01-23T10:45:04.824" v="4595" actId="1036"/>
          <ac:spMkLst>
            <pc:docMk/>
            <pc:sldMk cId="113270668" sldId="2147469773"/>
            <ac:spMk id="20" creationId="{C7D26A75-7C91-4F53-9857-612DB1FDAC10}"/>
          </ac:spMkLst>
        </pc:spChg>
        <pc:spChg chg="mod">
          <ac:chgData name="Dalil BENAOUDA" userId="6bc32e50-31cc-420e-af2c-c81feb754bf7" providerId="ADAL" clId="{2B1617D0-14B2-4879-AEBD-46BD4567454B}" dt="2023-01-23T10:45:04.824" v="4595" actId="1036"/>
          <ac:spMkLst>
            <pc:docMk/>
            <pc:sldMk cId="113270668" sldId="2147469773"/>
            <ac:spMk id="23" creationId="{745344E4-63BF-4CB0-B32A-22B0D5084383}"/>
          </ac:spMkLst>
        </pc:spChg>
        <pc:spChg chg="mod">
          <ac:chgData name="Dalil BENAOUDA" userId="6bc32e50-31cc-420e-af2c-c81feb754bf7" providerId="ADAL" clId="{2B1617D0-14B2-4879-AEBD-46BD4567454B}" dt="2023-01-23T10:45:04.824" v="4595" actId="1036"/>
          <ac:spMkLst>
            <pc:docMk/>
            <pc:sldMk cId="113270668" sldId="2147469773"/>
            <ac:spMk id="24" creationId="{C864C1E5-4860-47DA-94CB-EC926730FFBE}"/>
          </ac:spMkLst>
        </pc:spChg>
        <pc:spChg chg="mod">
          <ac:chgData name="Dalil BENAOUDA" userId="6bc32e50-31cc-420e-af2c-c81feb754bf7" providerId="ADAL" clId="{2B1617D0-14B2-4879-AEBD-46BD4567454B}" dt="2023-01-23T10:45:04.824" v="4595" actId="1036"/>
          <ac:spMkLst>
            <pc:docMk/>
            <pc:sldMk cId="113270668" sldId="2147469773"/>
            <ac:spMk id="25" creationId="{9C3F08DB-0567-4333-8235-015377FBB6B5}"/>
          </ac:spMkLst>
        </pc:spChg>
        <pc:spChg chg="mod">
          <ac:chgData name="Dalil BENAOUDA" userId="6bc32e50-31cc-420e-af2c-c81feb754bf7" providerId="ADAL" clId="{2B1617D0-14B2-4879-AEBD-46BD4567454B}" dt="2023-01-23T10:45:04.824" v="4595" actId="1036"/>
          <ac:spMkLst>
            <pc:docMk/>
            <pc:sldMk cId="113270668" sldId="2147469773"/>
            <ac:spMk id="26" creationId="{4D5CDA7D-C6E8-45C4-BE12-1DE00A24E89A}"/>
          </ac:spMkLst>
        </pc:spChg>
        <pc:spChg chg="mod">
          <ac:chgData name="Dalil BENAOUDA" userId="6bc32e50-31cc-420e-af2c-c81feb754bf7" providerId="ADAL" clId="{2B1617D0-14B2-4879-AEBD-46BD4567454B}" dt="2023-01-23T10:45:04.824" v="4595" actId="1036"/>
          <ac:spMkLst>
            <pc:docMk/>
            <pc:sldMk cId="113270668" sldId="2147469773"/>
            <ac:spMk id="27" creationId="{D9822C97-BE07-4BC0-9C5D-D69B24856C7D}"/>
          </ac:spMkLst>
        </pc:spChg>
        <pc:spChg chg="mod">
          <ac:chgData name="Dalil BENAOUDA" userId="6bc32e50-31cc-420e-af2c-c81feb754bf7" providerId="ADAL" clId="{2B1617D0-14B2-4879-AEBD-46BD4567454B}" dt="2023-01-23T10:45:04.824" v="4595" actId="1036"/>
          <ac:spMkLst>
            <pc:docMk/>
            <pc:sldMk cId="113270668" sldId="2147469773"/>
            <ac:spMk id="28" creationId="{786CBFEF-6A1C-4F7C-AE92-05AF28713490}"/>
          </ac:spMkLst>
        </pc:spChg>
        <pc:spChg chg="mod">
          <ac:chgData name="Dalil BENAOUDA" userId="6bc32e50-31cc-420e-af2c-c81feb754bf7" providerId="ADAL" clId="{2B1617D0-14B2-4879-AEBD-46BD4567454B}" dt="2023-01-23T10:45:04.824" v="4595" actId="1036"/>
          <ac:spMkLst>
            <pc:docMk/>
            <pc:sldMk cId="113270668" sldId="2147469773"/>
            <ac:spMk id="29" creationId="{95F3A4E9-9455-474F-A7EA-CA7893DA9DEA}"/>
          </ac:spMkLst>
        </pc:spChg>
        <pc:spChg chg="mod">
          <ac:chgData name="Dalil BENAOUDA" userId="6bc32e50-31cc-420e-af2c-c81feb754bf7" providerId="ADAL" clId="{2B1617D0-14B2-4879-AEBD-46BD4567454B}" dt="2023-01-23T10:45:04.824" v="4595" actId="1036"/>
          <ac:spMkLst>
            <pc:docMk/>
            <pc:sldMk cId="113270668" sldId="2147469773"/>
            <ac:spMk id="30" creationId="{B8ACC227-BA9A-4D9F-A5D4-C141CC7E03BF}"/>
          </ac:spMkLst>
        </pc:spChg>
        <pc:spChg chg="mod">
          <ac:chgData name="Dalil BENAOUDA" userId="6bc32e50-31cc-420e-af2c-c81feb754bf7" providerId="ADAL" clId="{2B1617D0-14B2-4879-AEBD-46BD4567454B}" dt="2023-01-23T10:45:04.824" v="4595" actId="1036"/>
          <ac:spMkLst>
            <pc:docMk/>
            <pc:sldMk cId="113270668" sldId="2147469773"/>
            <ac:spMk id="31" creationId="{DBFF47BE-BBB6-4C57-AF12-9D6521B594F2}"/>
          </ac:spMkLst>
        </pc:spChg>
        <pc:spChg chg="mod">
          <ac:chgData name="Dalil BENAOUDA" userId="6bc32e50-31cc-420e-af2c-c81feb754bf7" providerId="ADAL" clId="{2B1617D0-14B2-4879-AEBD-46BD4567454B}" dt="2023-01-23T10:45:04.824" v="4595" actId="1036"/>
          <ac:spMkLst>
            <pc:docMk/>
            <pc:sldMk cId="113270668" sldId="2147469773"/>
            <ac:spMk id="32" creationId="{5456086C-DAC3-481A-9AD4-B0B3867B39E3}"/>
          </ac:spMkLst>
        </pc:spChg>
        <pc:spChg chg="del">
          <ac:chgData name="Dalil BENAOUDA" userId="6bc32e50-31cc-420e-af2c-c81feb754bf7" providerId="ADAL" clId="{2B1617D0-14B2-4879-AEBD-46BD4567454B}" dt="2023-01-23T10:36:24.288" v="4231" actId="478"/>
          <ac:spMkLst>
            <pc:docMk/>
            <pc:sldMk cId="113270668" sldId="2147469773"/>
            <ac:spMk id="34" creationId="{0E631611-E634-4FE7-A347-EF78A91A5311}"/>
          </ac:spMkLst>
        </pc:spChg>
        <pc:spChg chg="del">
          <ac:chgData name="Dalil BENAOUDA" userId="6bc32e50-31cc-420e-af2c-c81feb754bf7" providerId="ADAL" clId="{2B1617D0-14B2-4879-AEBD-46BD4567454B}" dt="2023-01-23T10:36:24.288" v="4231" actId="478"/>
          <ac:spMkLst>
            <pc:docMk/>
            <pc:sldMk cId="113270668" sldId="2147469773"/>
            <ac:spMk id="36" creationId="{EEAAFEF9-BD6E-44A5-8591-9E3E590DCD0B}"/>
          </ac:spMkLst>
        </pc:spChg>
        <pc:spChg chg="del">
          <ac:chgData name="Dalil BENAOUDA" userId="6bc32e50-31cc-420e-af2c-c81feb754bf7" providerId="ADAL" clId="{2B1617D0-14B2-4879-AEBD-46BD4567454B}" dt="2023-01-23T10:36:24.288" v="4231" actId="478"/>
          <ac:spMkLst>
            <pc:docMk/>
            <pc:sldMk cId="113270668" sldId="2147469773"/>
            <ac:spMk id="37" creationId="{1F6E131B-023F-455D-9F26-256F9BE18BA1}"/>
          </ac:spMkLst>
        </pc:spChg>
        <pc:spChg chg="add mod">
          <ac:chgData name="Dalil BENAOUDA" userId="6bc32e50-31cc-420e-af2c-c81feb754bf7" providerId="ADAL" clId="{2B1617D0-14B2-4879-AEBD-46BD4567454B}" dt="2023-01-23T10:45:04.824" v="4595" actId="1036"/>
          <ac:spMkLst>
            <pc:docMk/>
            <pc:sldMk cId="113270668" sldId="2147469773"/>
            <ac:spMk id="57" creationId="{967628B8-3039-4288-ABA5-06FA43290D3C}"/>
          </ac:spMkLst>
        </pc:spChg>
        <pc:spChg chg="add del mod">
          <ac:chgData name="Dalil BENAOUDA" userId="6bc32e50-31cc-420e-af2c-c81feb754bf7" providerId="ADAL" clId="{2B1617D0-14B2-4879-AEBD-46BD4567454B}" dt="2023-01-23T10:37:02.899" v="4316"/>
          <ac:spMkLst>
            <pc:docMk/>
            <pc:sldMk cId="113270668" sldId="2147469773"/>
            <ac:spMk id="59" creationId="{C91342C1-99E7-4FCE-8B5D-EA7D99822797}"/>
          </ac:spMkLst>
        </pc:spChg>
        <pc:spChg chg="mod">
          <ac:chgData name="Dalil BENAOUDA" userId="6bc32e50-31cc-420e-af2c-c81feb754bf7" providerId="ADAL" clId="{2B1617D0-14B2-4879-AEBD-46BD4567454B}" dt="2023-01-23T10:45:04.824" v="4595" actId="1036"/>
          <ac:spMkLst>
            <pc:docMk/>
            <pc:sldMk cId="113270668" sldId="2147469773"/>
            <ac:spMk id="60" creationId="{FED5C693-11AD-4F9A-8314-149425D532E0}"/>
          </ac:spMkLst>
        </pc:spChg>
        <pc:spChg chg="add del mod">
          <ac:chgData name="Dalil BENAOUDA" userId="6bc32e50-31cc-420e-af2c-c81feb754bf7" providerId="ADAL" clId="{2B1617D0-14B2-4879-AEBD-46BD4567454B}" dt="2023-01-23T10:37:02.899" v="4316"/>
          <ac:spMkLst>
            <pc:docMk/>
            <pc:sldMk cId="113270668" sldId="2147469773"/>
            <ac:spMk id="61" creationId="{9CE64750-A54B-43BC-97A5-BDA3AF601DB6}"/>
          </ac:spMkLst>
        </pc:spChg>
        <pc:spChg chg="add del mod">
          <ac:chgData name="Dalil BENAOUDA" userId="6bc32e50-31cc-420e-af2c-c81feb754bf7" providerId="ADAL" clId="{2B1617D0-14B2-4879-AEBD-46BD4567454B}" dt="2023-01-23T10:37:02.899" v="4316"/>
          <ac:spMkLst>
            <pc:docMk/>
            <pc:sldMk cId="113270668" sldId="2147469773"/>
            <ac:spMk id="62" creationId="{6DD48D73-F646-4C96-AB0C-5B7C624E75DF}"/>
          </ac:spMkLst>
        </pc:spChg>
        <pc:spChg chg="del">
          <ac:chgData name="Dalil BENAOUDA" userId="6bc32e50-31cc-420e-af2c-c81feb754bf7" providerId="ADAL" clId="{2B1617D0-14B2-4879-AEBD-46BD4567454B}" dt="2023-01-23T10:36:24.288" v="4231" actId="478"/>
          <ac:spMkLst>
            <pc:docMk/>
            <pc:sldMk cId="113270668" sldId="2147469773"/>
            <ac:spMk id="63" creationId="{1775E542-CB1E-4988-A807-97435068F9F8}"/>
          </ac:spMkLst>
        </pc:spChg>
        <pc:spChg chg="mod">
          <ac:chgData name="Dalil BENAOUDA" userId="6bc32e50-31cc-420e-af2c-c81feb754bf7" providerId="ADAL" clId="{2B1617D0-14B2-4879-AEBD-46BD4567454B}" dt="2023-01-23T10:37:01.351" v="4315"/>
          <ac:spMkLst>
            <pc:docMk/>
            <pc:sldMk cId="113270668" sldId="2147469773"/>
            <ac:spMk id="65" creationId="{43AE237B-77B2-43DF-8C96-AE261EA731B7}"/>
          </ac:spMkLst>
        </pc:spChg>
        <pc:spChg chg="mod">
          <ac:chgData name="Dalil BENAOUDA" userId="6bc32e50-31cc-420e-af2c-c81feb754bf7" providerId="ADAL" clId="{2B1617D0-14B2-4879-AEBD-46BD4567454B}" dt="2023-01-23T10:37:01.351" v="4315"/>
          <ac:spMkLst>
            <pc:docMk/>
            <pc:sldMk cId="113270668" sldId="2147469773"/>
            <ac:spMk id="66" creationId="{1A9BB68F-1B01-43EB-B984-7DA7F1F70D97}"/>
          </ac:spMkLst>
        </pc:spChg>
        <pc:spChg chg="mod">
          <ac:chgData name="Dalil BENAOUDA" userId="6bc32e50-31cc-420e-af2c-c81feb754bf7" providerId="ADAL" clId="{2B1617D0-14B2-4879-AEBD-46BD4567454B}" dt="2023-01-23T10:37:01.351" v="4315"/>
          <ac:spMkLst>
            <pc:docMk/>
            <pc:sldMk cId="113270668" sldId="2147469773"/>
            <ac:spMk id="67" creationId="{9CB744F8-5053-4517-A821-B35890C1B939}"/>
          </ac:spMkLst>
        </pc:spChg>
        <pc:spChg chg="mod">
          <ac:chgData name="Dalil BENAOUDA" userId="6bc32e50-31cc-420e-af2c-c81feb754bf7" providerId="ADAL" clId="{2B1617D0-14B2-4879-AEBD-46BD4567454B}" dt="2023-01-23T10:37:01.351" v="4315"/>
          <ac:spMkLst>
            <pc:docMk/>
            <pc:sldMk cId="113270668" sldId="2147469773"/>
            <ac:spMk id="68" creationId="{C533911A-00EA-47B4-A09F-5AD576DB3324}"/>
          </ac:spMkLst>
        </pc:spChg>
        <pc:spChg chg="mod">
          <ac:chgData name="Dalil BENAOUDA" userId="6bc32e50-31cc-420e-af2c-c81feb754bf7" providerId="ADAL" clId="{2B1617D0-14B2-4879-AEBD-46BD4567454B}" dt="2023-01-23T10:37:01.351" v="4315"/>
          <ac:spMkLst>
            <pc:docMk/>
            <pc:sldMk cId="113270668" sldId="2147469773"/>
            <ac:spMk id="69" creationId="{8547B4A6-F917-4D6E-9C9B-C1015B161C20}"/>
          </ac:spMkLst>
        </pc:spChg>
        <pc:spChg chg="mod">
          <ac:chgData name="Dalil BENAOUDA" userId="6bc32e50-31cc-420e-af2c-c81feb754bf7" providerId="ADAL" clId="{2B1617D0-14B2-4879-AEBD-46BD4567454B}" dt="2023-01-23T10:37:01.351" v="4315"/>
          <ac:spMkLst>
            <pc:docMk/>
            <pc:sldMk cId="113270668" sldId="2147469773"/>
            <ac:spMk id="70" creationId="{A159FE72-F294-4E7F-A552-786F8FAB1C3D}"/>
          </ac:spMkLst>
        </pc:spChg>
        <pc:spChg chg="mod">
          <ac:chgData name="Dalil BENAOUDA" userId="6bc32e50-31cc-420e-af2c-c81feb754bf7" providerId="ADAL" clId="{2B1617D0-14B2-4879-AEBD-46BD4567454B}" dt="2023-01-23T10:45:04.824" v="4595" actId="1036"/>
          <ac:spMkLst>
            <pc:docMk/>
            <pc:sldMk cId="113270668" sldId="2147469773"/>
            <ac:spMk id="76" creationId="{82B919AF-ED72-45F0-9DF9-F11EEDA74698}"/>
          </ac:spMkLst>
        </pc:spChg>
        <pc:spChg chg="mod">
          <ac:chgData name="Dalil BENAOUDA" userId="6bc32e50-31cc-420e-af2c-c81feb754bf7" providerId="ADAL" clId="{2B1617D0-14B2-4879-AEBD-46BD4567454B}" dt="2023-01-23T10:45:04.824" v="4595" actId="1036"/>
          <ac:spMkLst>
            <pc:docMk/>
            <pc:sldMk cId="113270668" sldId="2147469773"/>
            <ac:spMk id="77" creationId="{386CCBDF-8674-45FD-99A1-95F633185149}"/>
          </ac:spMkLst>
        </pc:spChg>
        <pc:spChg chg="mod">
          <ac:chgData name="Dalil BENAOUDA" userId="6bc32e50-31cc-420e-af2c-c81feb754bf7" providerId="ADAL" clId="{2B1617D0-14B2-4879-AEBD-46BD4567454B}" dt="2023-01-23T10:37:01.351" v="4315"/>
          <ac:spMkLst>
            <pc:docMk/>
            <pc:sldMk cId="113270668" sldId="2147469773"/>
            <ac:spMk id="78" creationId="{6FD9CE8E-9867-4EC6-B64A-880C5192D455}"/>
          </ac:spMkLst>
        </pc:spChg>
        <pc:spChg chg="mod">
          <ac:chgData name="Dalil BENAOUDA" userId="6bc32e50-31cc-420e-af2c-c81feb754bf7" providerId="ADAL" clId="{2B1617D0-14B2-4879-AEBD-46BD4567454B}" dt="2023-01-23T10:37:01.351" v="4315"/>
          <ac:spMkLst>
            <pc:docMk/>
            <pc:sldMk cId="113270668" sldId="2147469773"/>
            <ac:spMk id="79" creationId="{648618C3-EE10-4E15-9B59-2125A3165676}"/>
          </ac:spMkLst>
        </pc:spChg>
        <pc:spChg chg="mod">
          <ac:chgData name="Dalil BENAOUDA" userId="6bc32e50-31cc-420e-af2c-c81feb754bf7" providerId="ADAL" clId="{2B1617D0-14B2-4879-AEBD-46BD4567454B}" dt="2023-01-23T10:37:01.351" v="4315"/>
          <ac:spMkLst>
            <pc:docMk/>
            <pc:sldMk cId="113270668" sldId="2147469773"/>
            <ac:spMk id="80" creationId="{C0B81320-F677-4EFC-9E40-EECD6798B5FF}"/>
          </ac:spMkLst>
        </pc:spChg>
        <pc:spChg chg="add del mod">
          <ac:chgData name="Dalil BENAOUDA" userId="6bc32e50-31cc-420e-af2c-c81feb754bf7" providerId="ADAL" clId="{2B1617D0-14B2-4879-AEBD-46BD4567454B}" dt="2023-01-23T10:37:02.899" v="4316"/>
          <ac:spMkLst>
            <pc:docMk/>
            <pc:sldMk cId="113270668" sldId="2147469773"/>
            <ac:spMk id="81" creationId="{CDB3D929-FFB6-4C7A-9936-9F03900555A5}"/>
          </ac:spMkLst>
        </pc:spChg>
        <pc:spChg chg="add del mod">
          <ac:chgData name="Dalil BENAOUDA" userId="6bc32e50-31cc-420e-af2c-c81feb754bf7" providerId="ADAL" clId="{2B1617D0-14B2-4879-AEBD-46BD4567454B}" dt="2023-01-23T10:37:02.899" v="4316"/>
          <ac:spMkLst>
            <pc:docMk/>
            <pc:sldMk cId="113270668" sldId="2147469773"/>
            <ac:spMk id="82" creationId="{7F918E4D-DF84-4FB4-9400-4DF522C425F8}"/>
          </ac:spMkLst>
        </pc:spChg>
        <pc:spChg chg="add del mod">
          <ac:chgData name="Dalil BENAOUDA" userId="6bc32e50-31cc-420e-af2c-c81feb754bf7" providerId="ADAL" clId="{2B1617D0-14B2-4879-AEBD-46BD4567454B}" dt="2023-01-23T10:37:02.899" v="4316"/>
          <ac:spMkLst>
            <pc:docMk/>
            <pc:sldMk cId="113270668" sldId="2147469773"/>
            <ac:spMk id="83" creationId="{A2217FB7-1B5E-4F72-ABB6-F7F1B86427C7}"/>
          </ac:spMkLst>
        </pc:spChg>
        <pc:spChg chg="add del mod">
          <ac:chgData name="Dalil BENAOUDA" userId="6bc32e50-31cc-420e-af2c-c81feb754bf7" providerId="ADAL" clId="{2B1617D0-14B2-4879-AEBD-46BD4567454B}" dt="2023-01-23T10:37:02.899" v="4316"/>
          <ac:spMkLst>
            <pc:docMk/>
            <pc:sldMk cId="113270668" sldId="2147469773"/>
            <ac:spMk id="84" creationId="{5529672B-7148-4BAC-AA46-16D0299B2642}"/>
          </ac:spMkLst>
        </pc:spChg>
        <pc:spChg chg="add del mod">
          <ac:chgData name="Dalil BENAOUDA" userId="6bc32e50-31cc-420e-af2c-c81feb754bf7" providerId="ADAL" clId="{2B1617D0-14B2-4879-AEBD-46BD4567454B}" dt="2023-01-23T10:37:02.899" v="4316"/>
          <ac:spMkLst>
            <pc:docMk/>
            <pc:sldMk cId="113270668" sldId="2147469773"/>
            <ac:spMk id="85" creationId="{3A455F68-3A43-438D-9DDB-EC8ABCCF3C24}"/>
          </ac:spMkLst>
        </pc:spChg>
        <pc:spChg chg="add del mod">
          <ac:chgData name="Dalil BENAOUDA" userId="6bc32e50-31cc-420e-af2c-c81feb754bf7" providerId="ADAL" clId="{2B1617D0-14B2-4879-AEBD-46BD4567454B}" dt="2023-01-23T10:37:02.899" v="4316"/>
          <ac:spMkLst>
            <pc:docMk/>
            <pc:sldMk cId="113270668" sldId="2147469773"/>
            <ac:spMk id="86" creationId="{454CA663-7116-4953-88B6-25D7C3BEC2C0}"/>
          </ac:spMkLst>
        </pc:spChg>
        <pc:spChg chg="add del mod">
          <ac:chgData name="Dalil BENAOUDA" userId="6bc32e50-31cc-420e-af2c-c81feb754bf7" providerId="ADAL" clId="{2B1617D0-14B2-4879-AEBD-46BD4567454B}" dt="2023-01-23T10:37:02.899" v="4316"/>
          <ac:spMkLst>
            <pc:docMk/>
            <pc:sldMk cId="113270668" sldId="2147469773"/>
            <ac:spMk id="87" creationId="{6BECE70C-1537-4694-8B75-5ACA911E885F}"/>
          </ac:spMkLst>
        </pc:spChg>
        <pc:spChg chg="add del mod">
          <ac:chgData name="Dalil BENAOUDA" userId="6bc32e50-31cc-420e-af2c-c81feb754bf7" providerId="ADAL" clId="{2B1617D0-14B2-4879-AEBD-46BD4567454B}" dt="2023-01-23T10:37:02.899" v="4316"/>
          <ac:spMkLst>
            <pc:docMk/>
            <pc:sldMk cId="113270668" sldId="2147469773"/>
            <ac:spMk id="91" creationId="{9DDDBE7F-8570-4FE8-856B-A75CDEE01E8B}"/>
          </ac:spMkLst>
        </pc:spChg>
        <pc:spChg chg="add del mod">
          <ac:chgData name="Dalil BENAOUDA" userId="6bc32e50-31cc-420e-af2c-c81feb754bf7" providerId="ADAL" clId="{2B1617D0-14B2-4879-AEBD-46BD4567454B}" dt="2023-01-23T10:37:31.492" v="4324"/>
          <ac:spMkLst>
            <pc:docMk/>
            <pc:sldMk cId="113270668" sldId="2147469773"/>
            <ac:spMk id="92" creationId="{A9CAF0DF-4643-44BE-B9C2-49678C82CD33}"/>
          </ac:spMkLst>
        </pc:spChg>
        <pc:spChg chg="add del mod">
          <ac:chgData name="Dalil BENAOUDA" userId="6bc32e50-31cc-420e-af2c-c81feb754bf7" providerId="ADAL" clId="{2B1617D0-14B2-4879-AEBD-46BD4567454B}" dt="2023-01-23T10:37:31.492" v="4324"/>
          <ac:spMkLst>
            <pc:docMk/>
            <pc:sldMk cId="113270668" sldId="2147469773"/>
            <ac:spMk id="93" creationId="{F27E2570-67C0-4574-9812-D09F71F51C44}"/>
          </ac:spMkLst>
        </pc:spChg>
        <pc:spChg chg="add del mod">
          <ac:chgData name="Dalil BENAOUDA" userId="6bc32e50-31cc-420e-af2c-c81feb754bf7" providerId="ADAL" clId="{2B1617D0-14B2-4879-AEBD-46BD4567454B}" dt="2023-01-23T10:37:31.492" v="4324"/>
          <ac:spMkLst>
            <pc:docMk/>
            <pc:sldMk cId="113270668" sldId="2147469773"/>
            <ac:spMk id="94" creationId="{24C178E9-1CFC-4B28-BBEF-12CE05ECFE93}"/>
          </ac:spMkLst>
        </pc:spChg>
        <pc:spChg chg="mod">
          <ac:chgData name="Dalil BENAOUDA" userId="6bc32e50-31cc-420e-af2c-c81feb754bf7" providerId="ADAL" clId="{2B1617D0-14B2-4879-AEBD-46BD4567454B}" dt="2023-01-23T10:37:16.682" v="4317"/>
          <ac:spMkLst>
            <pc:docMk/>
            <pc:sldMk cId="113270668" sldId="2147469773"/>
            <ac:spMk id="96" creationId="{3276D8A1-8071-490C-9B4F-DA646AA90792}"/>
          </ac:spMkLst>
        </pc:spChg>
        <pc:spChg chg="mod">
          <ac:chgData name="Dalil BENAOUDA" userId="6bc32e50-31cc-420e-af2c-c81feb754bf7" providerId="ADAL" clId="{2B1617D0-14B2-4879-AEBD-46BD4567454B}" dt="2023-01-23T10:37:16.682" v="4317"/>
          <ac:spMkLst>
            <pc:docMk/>
            <pc:sldMk cId="113270668" sldId="2147469773"/>
            <ac:spMk id="97" creationId="{4C078998-5C0F-4352-B843-6FE1F79DAC23}"/>
          </ac:spMkLst>
        </pc:spChg>
        <pc:spChg chg="mod">
          <ac:chgData name="Dalil BENAOUDA" userId="6bc32e50-31cc-420e-af2c-c81feb754bf7" providerId="ADAL" clId="{2B1617D0-14B2-4879-AEBD-46BD4567454B}" dt="2023-01-23T10:37:16.682" v="4317"/>
          <ac:spMkLst>
            <pc:docMk/>
            <pc:sldMk cId="113270668" sldId="2147469773"/>
            <ac:spMk id="98" creationId="{243B3539-DCA0-4826-9DFE-16FD606CA1AC}"/>
          </ac:spMkLst>
        </pc:spChg>
        <pc:spChg chg="mod">
          <ac:chgData name="Dalil BENAOUDA" userId="6bc32e50-31cc-420e-af2c-c81feb754bf7" providerId="ADAL" clId="{2B1617D0-14B2-4879-AEBD-46BD4567454B}" dt="2023-01-23T10:37:16.682" v="4317"/>
          <ac:spMkLst>
            <pc:docMk/>
            <pc:sldMk cId="113270668" sldId="2147469773"/>
            <ac:spMk id="99" creationId="{BEC97732-8CBA-458C-A606-5EE990503077}"/>
          </ac:spMkLst>
        </pc:spChg>
        <pc:spChg chg="mod">
          <ac:chgData name="Dalil BENAOUDA" userId="6bc32e50-31cc-420e-af2c-c81feb754bf7" providerId="ADAL" clId="{2B1617D0-14B2-4879-AEBD-46BD4567454B}" dt="2023-01-23T10:37:16.682" v="4317"/>
          <ac:spMkLst>
            <pc:docMk/>
            <pc:sldMk cId="113270668" sldId="2147469773"/>
            <ac:spMk id="100" creationId="{2777601D-550F-47FB-A32A-B2383E1A2013}"/>
          </ac:spMkLst>
        </pc:spChg>
        <pc:spChg chg="mod">
          <ac:chgData name="Dalil BENAOUDA" userId="6bc32e50-31cc-420e-af2c-c81feb754bf7" providerId="ADAL" clId="{2B1617D0-14B2-4879-AEBD-46BD4567454B}" dt="2023-01-23T10:37:16.682" v="4317"/>
          <ac:spMkLst>
            <pc:docMk/>
            <pc:sldMk cId="113270668" sldId="2147469773"/>
            <ac:spMk id="101" creationId="{06C5727B-D147-4284-B46F-744E95B71E20}"/>
          </ac:spMkLst>
        </pc:spChg>
        <pc:spChg chg="mod">
          <ac:chgData name="Dalil BENAOUDA" userId="6bc32e50-31cc-420e-af2c-c81feb754bf7" providerId="ADAL" clId="{2B1617D0-14B2-4879-AEBD-46BD4567454B}" dt="2023-01-23T10:37:16.682" v="4317"/>
          <ac:spMkLst>
            <pc:docMk/>
            <pc:sldMk cId="113270668" sldId="2147469773"/>
            <ac:spMk id="102" creationId="{64C05CFD-D762-4C0B-908F-AB6044CD4CB1}"/>
          </ac:spMkLst>
        </pc:spChg>
        <pc:spChg chg="mod">
          <ac:chgData name="Dalil BENAOUDA" userId="6bc32e50-31cc-420e-af2c-c81feb754bf7" providerId="ADAL" clId="{2B1617D0-14B2-4879-AEBD-46BD4567454B}" dt="2023-01-23T10:37:16.682" v="4317"/>
          <ac:spMkLst>
            <pc:docMk/>
            <pc:sldMk cId="113270668" sldId="2147469773"/>
            <ac:spMk id="103" creationId="{E56BCB95-3C90-4810-B172-41C45780E714}"/>
          </ac:spMkLst>
        </pc:spChg>
        <pc:spChg chg="mod">
          <ac:chgData name="Dalil BENAOUDA" userId="6bc32e50-31cc-420e-af2c-c81feb754bf7" providerId="ADAL" clId="{2B1617D0-14B2-4879-AEBD-46BD4567454B}" dt="2023-01-23T10:37:16.682" v="4317"/>
          <ac:spMkLst>
            <pc:docMk/>
            <pc:sldMk cId="113270668" sldId="2147469773"/>
            <ac:spMk id="104" creationId="{BB5EFBF0-DF4C-418A-8DD6-262DA5D4446B}"/>
          </ac:spMkLst>
        </pc:spChg>
        <pc:spChg chg="add del mod">
          <ac:chgData name="Dalil BENAOUDA" userId="6bc32e50-31cc-420e-af2c-c81feb754bf7" providerId="ADAL" clId="{2B1617D0-14B2-4879-AEBD-46BD4567454B}" dt="2023-01-23T10:37:31.492" v="4324"/>
          <ac:spMkLst>
            <pc:docMk/>
            <pc:sldMk cId="113270668" sldId="2147469773"/>
            <ac:spMk id="105" creationId="{9E86DBF5-AFAA-42E0-AF6E-85889426BE9B}"/>
          </ac:spMkLst>
        </pc:spChg>
        <pc:spChg chg="add del mod">
          <ac:chgData name="Dalil BENAOUDA" userId="6bc32e50-31cc-420e-af2c-c81feb754bf7" providerId="ADAL" clId="{2B1617D0-14B2-4879-AEBD-46BD4567454B}" dt="2023-01-23T10:37:31.492" v="4324"/>
          <ac:spMkLst>
            <pc:docMk/>
            <pc:sldMk cId="113270668" sldId="2147469773"/>
            <ac:spMk id="106" creationId="{7CB79B12-842F-41CF-931D-43F098EB437F}"/>
          </ac:spMkLst>
        </pc:spChg>
        <pc:spChg chg="add del mod">
          <ac:chgData name="Dalil BENAOUDA" userId="6bc32e50-31cc-420e-af2c-c81feb754bf7" providerId="ADAL" clId="{2B1617D0-14B2-4879-AEBD-46BD4567454B}" dt="2023-01-23T10:37:31.492" v="4324"/>
          <ac:spMkLst>
            <pc:docMk/>
            <pc:sldMk cId="113270668" sldId="2147469773"/>
            <ac:spMk id="107" creationId="{63061F02-DB8F-4BF2-957E-FC54EFD449A2}"/>
          </ac:spMkLst>
        </pc:spChg>
        <pc:spChg chg="add del mod">
          <ac:chgData name="Dalil BENAOUDA" userId="6bc32e50-31cc-420e-af2c-c81feb754bf7" providerId="ADAL" clId="{2B1617D0-14B2-4879-AEBD-46BD4567454B}" dt="2023-01-23T10:37:31.492" v="4324"/>
          <ac:spMkLst>
            <pc:docMk/>
            <pc:sldMk cId="113270668" sldId="2147469773"/>
            <ac:spMk id="108" creationId="{F6AA6AC0-A997-4829-BBBC-9F40A6821D96}"/>
          </ac:spMkLst>
        </pc:spChg>
        <pc:spChg chg="add del mod">
          <ac:chgData name="Dalil BENAOUDA" userId="6bc32e50-31cc-420e-af2c-c81feb754bf7" providerId="ADAL" clId="{2B1617D0-14B2-4879-AEBD-46BD4567454B}" dt="2023-01-23T10:37:31.492" v="4324"/>
          <ac:spMkLst>
            <pc:docMk/>
            <pc:sldMk cId="113270668" sldId="2147469773"/>
            <ac:spMk id="109" creationId="{2D72C544-A256-4D68-8EB4-B72EB1D42E1C}"/>
          </ac:spMkLst>
        </pc:spChg>
        <pc:spChg chg="add del mod">
          <ac:chgData name="Dalil BENAOUDA" userId="6bc32e50-31cc-420e-af2c-c81feb754bf7" providerId="ADAL" clId="{2B1617D0-14B2-4879-AEBD-46BD4567454B}" dt="2023-01-23T10:37:31.492" v="4324"/>
          <ac:spMkLst>
            <pc:docMk/>
            <pc:sldMk cId="113270668" sldId="2147469773"/>
            <ac:spMk id="110" creationId="{19426A03-8B1F-47B4-BEFF-CF16F0B0B728}"/>
          </ac:spMkLst>
        </pc:spChg>
        <pc:spChg chg="add del mod">
          <ac:chgData name="Dalil BENAOUDA" userId="6bc32e50-31cc-420e-af2c-c81feb754bf7" providerId="ADAL" clId="{2B1617D0-14B2-4879-AEBD-46BD4567454B}" dt="2023-01-23T10:37:31.492" v="4324"/>
          <ac:spMkLst>
            <pc:docMk/>
            <pc:sldMk cId="113270668" sldId="2147469773"/>
            <ac:spMk id="111" creationId="{490DB694-E939-436E-888A-B4053D159D25}"/>
          </ac:spMkLst>
        </pc:spChg>
        <pc:spChg chg="add del mod">
          <ac:chgData name="Dalil BENAOUDA" userId="6bc32e50-31cc-420e-af2c-c81feb754bf7" providerId="ADAL" clId="{2B1617D0-14B2-4879-AEBD-46BD4567454B}" dt="2023-01-23T10:37:31.492" v="4324"/>
          <ac:spMkLst>
            <pc:docMk/>
            <pc:sldMk cId="113270668" sldId="2147469773"/>
            <ac:spMk id="115" creationId="{072D456C-3280-4F7C-8951-EDCCCA5FE05D}"/>
          </ac:spMkLst>
        </pc:spChg>
        <pc:spChg chg="add mod">
          <ac:chgData name="Dalil BENAOUDA" userId="6bc32e50-31cc-420e-af2c-c81feb754bf7" providerId="ADAL" clId="{2B1617D0-14B2-4879-AEBD-46BD4567454B}" dt="2023-01-23T10:45:04.824" v="4595" actId="1036"/>
          <ac:spMkLst>
            <pc:docMk/>
            <pc:sldMk cId="113270668" sldId="2147469773"/>
            <ac:spMk id="116" creationId="{B5A68752-DC80-412A-982F-9EE3EF96710B}"/>
          </ac:spMkLst>
        </pc:spChg>
        <pc:spChg chg="add mod">
          <ac:chgData name="Dalil BENAOUDA" userId="6bc32e50-31cc-420e-af2c-c81feb754bf7" providerId="ADAL" clId="{2B1617D0-14B2-4879-AEBD-46BD4567454B}" dt="2023-01-23T10:45:04.824" v="4595" actId="1036"/>
          <ac:spMkLst>
            <pc:docMk/>
            <pc:sldMk cId="113270668" sldId="2147469773"/>
            <ac:spMk id="117" creationId="{9B0F3428-263D-4970-9E02-D697D6B78CD6}"/>
          </ac:spMkLst>
        </pc:spChg>
        <pc:spChg chg="add del mod">
          <ac:chgData name="Dalil BENAOUDA" userId="6bc32e50-31cc-420e-af2c-c81feb754bf7" providerId="ADAL" clId="{2B1617D0-14B2-4879-AEBD-46BD4567454B}" dt="2023-01-23T10:38:30.950" v="4381" actId="478"/>
          <ac:spMkLst>
            <pc:docMk/>
            <pc:sldMk cId="113270668" sldId="2147469773"/>
            <ac:spMk id="119" creationId="{FE99D794-0281-4EDA-B16D-B101155B8DE0}"/>
          </ac:spMkLst>
        </pc:spChg>
        <pc:spChg chg="add del mod">
          <ac:chgData name="Dalil BENAOUDA" userId="6bc32e50-31cc-420e-af2c-c81feb754bf7" providerId="ADAL" clId="{2B1617D0-14B2-4879-AEBD-46BD4567454B}" dt="2023-01-23T10:39:10.009" v="4420" actId="478"/>
          <ac:spMkLst>
            <pc:docMk/>
            <pc:sldMk cId="113270668" sldId="2147469773"/>
            <ac:spMk id="122" creationId="{87A9BA89-CFF6-4842-9133-CF87916331B4}"/>
          </ac:spMkLst>
        </pc:spChg>
        <pc:spChg chg="add del mod">
          <ac:chgData name="Dalil BENAOUDA" userId="6bc32e50-31cc-420e-af2c-c81feb754bf7" providerId="ADAL" clId="{2B1617D0-14B2-4879-AEBD-46BD4567454B}" dt="2023-01-23T10:39:12.092" v="4421" actId="478"/>
          <ac:spMkLst>
            <pc:docMk/>
            <pc:sldMk cId="113270668" sldId="2147469773"/>
            <ac:spMk id="123" creationId="{97CCA967-4521-4F7E-AF1F-FA6D1E5B11F9}"/>
          </ac:spMkLst>
        </pc:spChg>
        <pc:spChg chg="add del mod">
          <ac:chgData name="Dalil BENAOUDA" userId="6bc32e50-31cc-420e-af2c-c81feb754bf7" providerId="ADAL" clId="{2B1617D0-14B2-4879-AEBD-46BD4567454B}" dt="2023-01-23T10:41:15.165" v="4443" actId="478"/>
          <ac:spMkLst>
            <pc:docMk/>
            <pc:sldMk cId="113270668" sldId="2147469773"/>
            <ac:spMk id="125" creationId="{E05F59DE-53BD-4F01-8BCE-DA08DAED9E4B}"/>
          </ac:spMkLst>
        </pc:spChg>
        <pc:spChg chg="add mod">
          <ac:chgData name="Dalil BENAOUDA" userId="6bc32e50-31cc-420e-af2c-c81feb754bf7" providerId="ADAL" clId="{2B1617D0-14B2-4879-AEBD-46BD4567454B}" dt="2023-01-23T10:45:04.824" v="4595" actId="1036"/>
          <ac:spMkLst>
            <pc:docMk/>
            <pc:sldMk cId="113270668" sldId="2147469773"/>
            <ac:spMk id="126" creationId="{D6788877-DAC0-4DF9-8209-84D26B7DBDA3}"/>
          </ac:spMkLst>
        </pc:spChg>
        <pc:spChg chg="mod">
          <ac:chgData name="Dalil BENAOUDA" userId="6bc32e50-31cc-420e-af2c-c81feb754bf7" providerId="ADAL" clId="{2B1617D0-14B2-4879-AEBD-46BD4567454B}" dt="2023-01-23T10:41:08.651" v="4441"/>
          <ac:spMkLst>
            <pc:docMk/>
            <pc:sldMk cId="113270668" sldId="2147469773"/>
            <ac:spMk id="128" creationId="{C6F9BCE7-9722-4117-A05A-9051297EEC1B}"/>
          </ac:spMkLst>
        </pc:spChg>
        <pc:spChg chg="mod">
          <ac:chgData name="Dalil BENAOUDA" userId="6bc32e50-31cc-420e-af2c-c81feb754bf7" providerId="ADAL" clId="{2B1617D0-14B2-4879-AEBD-46BD4567454B}" dt="2023-01-23T10:41:08.651" v="4441"/>
          <ac:spMkLst>
            <pc:docMk/>
            <pc:sldMk cId="113270668" sldId="2147469773"/>
            <ac:spMk id="129" creationId="{D7F00FC8-B2FA-4712-B69B-8612EA8CD057}"/>
          </ac:spMkLst>
        </pc:spChg>
        <pc:spChg chg="add mod">
          <ac:chgData name="Dalil BENAOUDA" userId="6bc32e50-31cc-420e-af2c-c81feb754bf7" providerId="ADAL" clId="{2B1617D0-14B2-4879-AEBD-46BD4567454B}" dt="2023-01-23T10:45:04.824" v="4595" actId="1036"/>
          <ac:spMkLst>
            <pc:docMk/>
            <pc:sldMk cId="113270668" sldId="2147469773"/>
            <ac:spMk id="131" creationId="{01120264-DFCA-4C4F-8644-1030AF6A1F44}"/>
          </ac:spMkLst>
        </pc:spChg>
        <pc:spChg chg="add del mod">
          <ac:chgData name="Dalil BENAOUDA" userId="6bc32e50-31cc-420e-af2c-c81feb754bf7" providerId="ADAL" clId="{2B1617D0-14B2-4879-AEBD-46BD4567454B}" dt="2023-01-23T10:43:47.432" v="4494" actId="478"/>
          <ac:spMkLst>
            <pc:docMk/>
            <pc:sldMk cId="113270668" sldId="2147469773"/>
            <ac:spMk id="133" creationId="{5B089789-C433-4A26-82C8-E0B7D45AE185}"/>
          </ac:spMkLst>
        </pc:spChg>
        <pc:grpChg chg="mod">
          <ac:chgData name="Dalil BENAOUDA" userId="6bc32e50-31cc-420e-af2c-c81feb754bf7" providerId="ADAL" clId="{2B1617D0-14B2-4879-AEBD-46BD4567454B}" dt="2023-01-23T10:45:04.824" v="4595" actId="1036"/>
          <ac:grpSpMkLst>
            <pc:docMk/>
            <pc:sldMk cId="113270668" sldId="2147469773"/>
            <ac:grpSpMk id="22" creationId="{211AC9E3-BC30-409C-B971-29F2D19E9610}"/>
          </ac:grpSpMkLst>
        </pc:grpChg>
        <pc:grpChg chg="del">
          <ac:chgData name="Dalil BENAOUDA" userId="6bc32e50-31cc-420e-af2c-c81feb754bf7" providerId="ADAL" clId="{2B1617D0-14B2-4879-AEBD-46BD4567454B}" dt="2023-01-23T10:33:51.378" v="4219" actId="478"/>
          <ac:grpSpMkLst>
            <pc:docMk/>
            <pc:sldMk cId="113270668" sldId="2147469773"/>
            <ac:grpSpMk id="50" creationId="{B01B37B5-E534-43B5-A42A-C1CAF346C567}"/>
          </ac:grpSpMkLst>
        </pc:grpChg>
        <pc:grpChg chg="add del mod">
          <ac:chgData name="Dalil BENAOUDA" userId="6bc32e50-31cc-420e-af2c-c81feb754bf7" providerId="ADAL" clId="{2B1617D0-14B2-4879-AEBD-46BD4567454B}" dt="2023-01-23T10:37:02.899" v="4316"/>
          <ac:grpSpMkLst>
            <pc:docMk/>
            <pc:sldMk cId="113270668" sldId="2147469773"/>
            <ac:grpSpMk id="64" creationId="{A1AF7623-361C-4531-ADD1-D560E68FC184}"/>
          </ac:grpSpMkLst>
        </pc:grpChg>
        <pc:grpChg chg="del">
          <ac:chgData name="Dalil BENAOUDA" userId="6bc32e50-31cc-420e-af2c-c81feb754bf7" providerId="ADAL" clId="{2B1617D0-14B2-4879-AEBD-46BD4567454B}" dt="2023-01-23T10:36:24.288" v="4231" actId="478"/>
          <ac:grpSpMkLst>
            <pc:docMk/>
            <pc:sldMk cId="113270668" sldId="2147469773"/>
            <ac:grpSpMk id="71" creationId="{DCDC2A56-EE7C-454B-A5A3-660438841BEB}"/>
          </ac:grpSpMkLst>
        </pc:grpChg>
        <pc:grpChg chg="del">
          <ac:chgData name="Dalil BENAOUDA" userId="6bc32e50-31cc-420e-af2c-c81feb754bf7" providerId="ADAL" clId="{2B1617D0-14B2-4879-AEBD-46BD4567454B}" dt="2023-01-23T10:36:28.663" v="4232" actId="478"/>
          <ac:grpSpMkLst>
            <pc:docMk/>
            <pc:sldMk cId="113270668" sldId="2147469773"/>
            <ac:grpSpMk id="72" creationId="{3B3541E1-9363-4CF3-9F16-DA141761D640}"/>
          </ac:grpSpMkLst>
        </pc:grpChg>
        <pc:grpChg chg="mod">
          <ac:chgData name="Dalil BENAOUDA" userId="6bc32e50-31cc-420e-af2c-c81feb754bf7" providerId="ADAL" clId="{2B1617D0-14B2-4879-AEBD-46BD4567454B}" dt="2023-01-23T10:45:04.824" v="4595" actId="1036"/>
          <ac:grpSpMkLst>
            <pc:docMk/>
            <pc:sldMk cId="113270668" sldId="2147469773"/>
            <ac:grpSpMk id="75" creationId="{E08E3649-6390-4EDB-A99D-626F3CD63D50}"/>
          </ac:grpSpMkLst>
        </pc:grpChg>
        <pc:grpChg chg="add del mod">
          <ac:chgData name="Dalil BENAOUDA" userId="6bc32e50-31cc-420e-af2c-c81feb754bf7" providerId="ADAL" clId="{2B1617D0-14B2-4879-AEBD-46BD4567454B}" dt="2023-01-23T10:37:31.492" v="4324"/>
          <ac:grpSpMkLst>
            <pc:docMk/>
            <pc:sldMk cId="113270668" sldId="2147469773"/>
            <ac:grpSpMk id="95" creationId="{95345021-F837-46FA-A287-923E424D2EC4}"/>
          </ac:grpSpMkLst>
        </pc:grpChg>
        <pc:grpChg chg="add del mod">
          <ac:chgData name="Dalil BENAOUDA" userId="6bc32e50-31cc-420e-af2c-c81feb754bf7" providerId="ADAL" clId="{2B1617D0-14B2-4879-AEBD-46BD4567454B}" dt="2023-01-23T10:42:25.164" v="4469" actId="478"/>
          <ac:grpSpMkLst>
            <pc:docMk/>
            <pc:sldMk cId="113270668" sldId="2147469773"/>
            <ac:grpSpMk id="127" creationId="{F0501F17-DADA-4E88-A84D-3C08C208D392}"/>
          </ac:grpSpMkLst>
        </pc:grpChg>
        <pc:picChg chg="mod">
          <ac:chgData name="Dalil BENAOUDA" userId="6bc32e50-31cc-420e-af2c-c81feb754bf7" providerId="ADAL" clId="{2B1617D0-14B2-4879-AEBD-46BD4567454B}" dt="2023-01-23T10:45:04.824" v="4595" actId="1036"/>
          <ac:picMkLst>
            <pc:docMk/>
            <pc:sldMk cId="113270668" sldId="2147469773"/>
            <ac:picMk id="9" creationId="{4FA01671-079B-4521-9315-A0442A3E7FB9}"/>
          </ac:picMkLst>
        </pc:picChg>
        <pc:picChg chg="mod">
          <ac:chgData name="Dalil BENAOUDA" userId="6bc32e50-31cc-420e-af2c-c81feb754bf7" providerId="ADAL" clId="{2B1617D0-14B2-4879-AEBD-46BD4567454B}" dt="2023-01-23T10:45:04.824" v="4595" actId="1036"/>
          <ac:picMkLst>
            <pc:docMk/>
            <pc:sldMk cId="113270668" sldId="2147469773"/>
            <ac:picMk id="10" creationId="{9DCA7D60-5E6E-42E6-B1C5-04D8C9F2FB52}"/>
          </ac:picMkLst>
        </pc:picChg>
        <pc:picChg chg="del">
          <ac:chgData name="Dalil BENAOUDA" userId="6bc32e50-31cc-420e-af2c-c81feb754bf7" providerId="ADAL" clId="{2B1617D0-14B2-4879-AEBD-46BD4567454B}" dt="2023-01-23T10:36:24.288" v="4231" actId="478"/>
          <ac:picMkLst>
            <pc:docMk/>
            <pc:sldMk cId="113270668" sldId="2147469773"/>
            <ac:picMk id="11" creationId="{D17912CF-6B1D-4CDF-9609-89CC4381BBF3}"/>
          </ac:picMkLst>
        </pc:picChg>
        <pc:picChg chg="mod">
          <ac:chgData name="Dalil BENAOUDA" userId="6bc32e50-31cc-420e-af2c-c81feb754bf7" providerId="ADAL" clId="{2B1617D0-14B2-4879-AEBD-46BD4567454B}" dt="2023-01-23T10:45:04.824" v="4595" actId="1036"/>
          <ac:picMkLst>
            <pc:docMk/>
            <pc:sldMk cId="113270668" sldId="2147469773"/>
            <ac:picMk id="13" creationId="{C57B84FB-9419-4818-9FD7-A65AFF21D480}"/>
          </ac:picMkLst>
        </pc:picChg>
        <pc:picChg chg="mod">
          <ac:chgData name="Dalil BENAOUDA" userId="6bc32e50-31cc-420e-af2c-c81feb754bf7" providerId="ADAL" clId="{2B1617D0-14B2-4879-AEBD-46BD4567454B}" dt="2023-01-23T10:45:04.824" v="4595" actId="1036"/>
          <ac:picMkLst>
            <pc:docMk/>
            <pc:sldMk cId="113270668" sldId="2147469773"/>
            <ac:picMk id="14" creationId="{39C52BF5-AD92-4ACC-96BE-48ACCC578005}"/>
          </ac:picMkLst>
        </pc:picChg>
        <pc:picChg chg="mod">
          <ac:chgData name="Dalil BENAOUDA" userId="6bc32e50-31cc-420e-af2c-c81feb754bf7" providerId="ADAL" clId="{2B1617D0-14B2-4879-AEBD-46BD4567454B}" dt="2023-01-23T10:45:04.824" v="4595" actId="1036"/>
          <ac:picMkLst>
            <pc:docMk/>
            <pc:sldMk cId="113270668" sldId="2147469773"/>
            <ac:picMk id="21" creationId="{BC0EFC8D-7278-4FC1-94E2-6CEA7BF558FE}"/>
          </ac:picMkLst>
        </pc:picChg>
        <pc:picChg chg="del">
          <ac:chgData name="Dalil BENAOUDA" userId="6bc32e50-31cc-420e-af2c-c81feb754bf7" providerId="ADAL" clId="{2B1617D0-14B2-4879-AEBD-46BD4567454B}" dt="2023-01-23T10:36:24.288" v="4231" actId="478"/>
          <ac:picMkLst>
            <pc:docMk/>
            <pc:sldMk cId="113270668" sldId="2147469773"/>
            <ac:picMk id="33" creationId="{7F3F5F93-3B91-4406-A1B0-450C9DA10F79}"/>
          </ac:picMkLst>
        </pc:picChg>
        <pc:picChg chg="del">
          <ac:chgData name="Dalil BENAOUDA" userId="6bc32e50-31cc-420e-af2c-c81feb754bf7" providerId="ADAL" clId="{2B1617D0-14B2-4879-AEBD-46BD4567454B}" dt="2023-01-23T10:35:21.591" v="4222" actId="478"/>
          <ac:picMkLst>
            <pc:docMk/>
            <pc:sldMk cId="113270668" sldId="2147469773"/>
            <ac:picMk id="51" creationId="{808ED442-E54C-4915-92B3-38107B138C24}"/>
          </ac:picMkLst>
        </pc:picChg>
        <pc:picChg chg="mod">
          <ac:chgData name="Dalil BENAOUDA" userId="6bc32e50-31cc-420e-af2c-c81feb754bf7" providerId="ADAL" clId="{2B1617D0-14B2-4879-AEBD-46BD4567454B}" dt="2023-01-23T10:45:04.824" v="4595" actId="1036"/>
          <ac:picMkLst>
            <pc:docMk/>
            <pc:sldMk cId="113270668" sldId="2147469773"/>
            <ac:picMk id="52" creationId="{784BD7BB-6012-473C-B356-FFEDD914C3A6}"/>
          </ac:picMkLst>
        </pc:picChg>
        <pc:picChg chg="mod">
          <ac:chgData name="Dalil BENAOUDA" userId="6bc32e50-31cc-420e-af2c-c81feb754bf7" providerId="ADAL" clId="{2B1617D0-14B2-4879-AEBD-46BD4567454B}" dt="2023-01-23T10:45:04.824" v="4595" actId="1036"/>
          <ac:picMkLst>
            <pc:docMk/>
            <pc:sldMk cId="113270668" sldId="2147469773"/>
            <ac:picMk id="53" creationId="{C74D0DC7-E814-4B9B-A341-8D73299D89A1}"/>
          </ac:picMkLst>
        </pc:picChg>
        <pc:picChg chg="mod">
          <ac:chgData name="Dalil BENAOUDA" userId="6bc32e50-31cc-420e-af2c-c81feb754bf7" providerId="ADAL" clId="{2B1617D0-14B2-4879-AEBD-46BD4567454B}" dt="2023-01-23T10:45:04.824" v="4595" actId="1036"/>
          <ac:picMkLst>
            <pc:docMk/>
            <pc:sldMk cId="113270668" sldId="2147469773"/>
            <ac:picMk id="54" creationId="{2BD30CE7-33E3-49F6-9BF2-49C5C2AD5A53}"/>
          </ac:picMkLst>
        </pc:picChg>
        <pc:picChg chg="add mod">
          <ac:chgData name="Dalil BENAOUDA" userId="6bc32e50-31cc-420e-af2c-c81feb754bf7" providerId="ADAL" clId="{2B1617D0-14B2-4879-AEBD-46BD4567454B}" dt="2023-01-23T10:45:04.824" v="4595" actId="1036"/>
          <ac:picMkLst>
            <pc:docMk/>
            <pc:sldMk cId="113270668" sldId="2147469773"/>
            <ac:picMk id="55" creationId="{A9F62180-C33C-4FD7-8064-197B5FAB9C45}"/>
          </ac:picMkLst>
        </pc:picChg>
        <pc:picChg chg="del">
          <ac:chgData name="Dalil BENAOUDA" userId="6bc32e50-31cc-420e-af2c-c81feb754bf7" providerId="ADAL" clId="{2B1617D0-14B2-4879-AEBD-46BD4567454B}" dt="2023-01-23T10:36:24.288" v="4231" actId="478"/>
          <ac:picMkLst>
            <pc:docMk/>
            <pc:sldMk cId="113270668" sldId="2147469773"/>
            <ac:picMk id="56" creationId="{31763CDD-DCB9-4F9C-A89A-21BF78674BF5}"/>
          </ac:picMkLst>
        </pc:picChg>
        <pc:picChg chg="mod">
          <ac:chgData name="Dalil BENAOUDA" userId="6bc32e50-31cc-420e-af2c-c81feb754bf7" providerId="ADAL" clId="{2B1617D0-14B2-4879-AEBD-46BD4567454B}" dt="2023-01-23T10:45:04.824" v="4595" actId="1036"/>
          <ac:picMkLst>
            <pc:docMk/>
            <pc:sldMk cId="113270668" sldId="2147469773"/>
            <ac:picMk id="58" creationId="{223633B3-780C-45E0-B911-F7900E0F1D8A}"/>
          </ac:picMkLst>
        </pc:picChg>
        <pc:picChg chg="add del mod">
          <ac:chgData name="Dalil BENAOUDA" userId="6bc32e50-31cc-420e-af2c-c81feb754bf7" providerId="ADAL" clId="{2B1617D0-14B2-4879-AEBD-46BD4567454B}" dt="2023-01-23T10:37:02.899" v="4316"/>
          <ac:picMkLst>
            <pc:docMk/>
            <pc:sldMk cId="113270668" sldId="2147469773"/>
            <ac:picMk id="88" creationId="{72883A64-D8EB-48BB-AB5E-42E71780E44F}"/>
          </ac:picMkLst>
        </pc:picChg>
        <pc:picChg chg="add del mod">
          <ac:chgData name="Dalil BENAOUDA" userId="6bc32e50-31cc-420e-af2c-c81feb754bf7" providerId="ADAL" clId="{2B1617D0-14B2-4879-AEBD-46BD4567454B}" dt="2023-01-23T10:37:02.899" v="4316"/>
          <ac:picMkLst>
            <pc:docMk/>
            <pc:sldMk cId="113270668" sldId="2147469773"/>
            <ac:picMk id="89" creationId="{1CBA9F14-51CE-451B-94DD-9186CE3FEFC1}"/>
          </ac:picMkLst>
        </pc:picChg>
        <pc:picChg chg="add del mod">
          <ac:chgData name="Dalil BENAOUDA" userId="6bc32e50-31cc-420e-af2c-c81feb754bf7" providerId="ADAL" clId="{2B1617D0-14B2-4879-AEBD-46BD4567454B}" dt="2023-01-23T10:37:02.899" v="4316"/>
          <ac:picMkLst>
            <pc:docMk/>
            <pc:sldMk cId="113270668" sldId="2147469773"/>
            <ac:picMk id="90" creationId="{D8B76489-D8C5-45F5-8D12-C76017B28963}"/>
          </ac:picMkLst>
        </pc:picChg>
        <pc:picChg chg="add del mod">
          <ac:chgData name="Dalil BENAOUDA" userId="6bc32e50-31cc-420e-af2c-c81feb754bf7" providerId="ADAL" clId="{2B1617D0-14B2-4879-AEBD-46BD4567454B}" dt="2023-01-23T10:37:31.492" v="4324"/>
          <ac:picMkLst>
            <pc:docMk/>
            <pc:sldMk cId="113270668" sldId="2147469773"/>
            <ac:picMk id="112" creationId="{1937E514-A69D-493E-A44E-F70C21778F41}"/>
          </ac:picMkLst>
        </pc:picChg>
        <pc:picChg chg="add del mod">
          <ac:chgData name="Dalil BENAOUDA" userId="6bc32e50-31cc-420e-af2c-c81feb754bf7" providerId="ADAL" clId="{2B1617D0-14B2-4879-AEBD-46BD4567454B}" dt="2023-01-23T10:37:31.492" v="4324"/>
          <ac:picMkLst>
            <pc:docMk/>
            <pc:sldMk cId="113270668" sldId="2147469773"/>
            <ac:picMk id="113" creationId="{3561E4E9-74A0-40CC-B170-8F6BDEC50EF6}"/>
          </ac:picMkLst>
        </pc:picChg>
        <pc:picChg chg="add del mod">
          <ac:chgData name="Dalil BENAOUDA" userId="6bc32e50-31cc-420e-af2c-c81feb754bf7" providerId="ADAL" clId="{2B1617D0-14B2-4879-AEBD-46BD4567454B}" dt="2023-01-23T10:37:31.492" v="4324"/>
          <ac:picMkLst>
            <pc:docMk/>
            <pc:sldMk cId="113270668" sldId="2147469773"/>
            <ac:picMk id="114" creationId="{3A2D5AA9-1A3C-4C32-B59D-DEBCB312392E}"/>
          </ac:picMkLst>
        </pc:picChg>
        <pc:picChg chg="add del mod">
          <ac:chgData name="Dalil BENAOUDA" userId="6bc32e50-31cc-420e-af2c-c81feb754bf7" providerId="ADAL" clId="{2B1617D0-14B2-4879-AEBD-46BD4567454B}" dt="2023-01-23T10:38:30.950" v="4381" actId="478"/>
          <ac:picMkLst>
            <pc:docMk/>
            <pc:sldMk cId="113270668" sldId="2147469773"/>
            <ac:picMk id="120" creationId="{89710B5A-4EF5-452D-ADB0-8476691614E8}"/>
          </ac:picMkLst>
        </pc:picChg>
        <pc:picChg chg="add mod">
          <ac:chgData name="Dalil BENAOUDA" userId="6bc32e50-31cc-420e-af2c-c81feb754bf7" providerId="ADAL" clId="{2B1617D0-14B2-4879-AEBD-46BD4567454B}" dt="2023-01-23T10:45:04.824" v="4595" actId="1036"/>
          <ac:picMkLst>
            <pc:docMk/>
            <pc:sldMk cId="113270668" sldId="2147469773"/>
            <ac:picMk id="124" creationId="{2F10272C-80FF-4E47-A971-2C81513B337E}"/>
          </ac:picMkLst>
        </pc:picChg>
        <pc:picChg chg="add del mod">
          <ac:chgData name="Dalil BENAOUDA" userId="6bc32e50-31cc-420e-af2c-c81feb754bf7" providerId="ADAL" clId="{2B1617D0-14B2-4879-AEBD-46BD4567454B}" dt="2023-01-23T10:41:45.131" v="4455" actId="478"/>
          <ac:picMkLst>
            <pc:docMk/>
            <pc:sldMk cId="113270668" sldId="2147469773"/>
            <ac:picMk id="130" creationId="{D7597E7B-058C-4BA1-84A4-57F60964D012}"/>
          </ac:picMkLst>
        </pc:picChg>
        <pc:picChg chg="add del mod">
          <ac:chgData name="Dalil BENAOUDA" userId="6bc32e50-31cc-420e-af2c-c81feb754bf7" providerId="ADAL" clId="{2B1617D0-14B2-4879-AEBD-46BD4567454B}" dt="2023-01-23T10:43:48.629" v="4495" actId="478"/>
          <ac:picMkLst>
            <pc:docMk/>
            <pc:sldMk cId="113270668" sldId="2147469773"/>
            <ac:picMk id="132" creationId="{7057E0EA-5FAC-4437-B72E-0B89E6E2D560}"/>
          </ac:picMkLst>
        </pc:picChg>
        <pc:picChg chg="add del mod">
          <ac:chgData name="Dalil BENAOUDA" userId="6bc32e50-31cc-420e-af2c-c81feb754bf7" providerId="ADAL" clId="{2B1617D0-14B2-4879-AEBD-46BD4567454B}" dt="2023-01-23T10:43:47.432" v="4494" actId="478"/>
          <ac:picMkLst>
            <pc:docMk/>
            <pc:sldMk cId="113270668" sldId="2147469773"/>
            <ac:picMk id="134" creationId="{643F89BB-9025-4866-9939-24D538C1CE80}"/>
          </ac:picMkLst>
        </pc:picChg>
        <pc:picChg chg="add mod">
          <ac:chgData name="Dalil BENAOUDA" userId="6bc32e50-31cc-420e-af2c-c81feb754bf7" providerId="ADAL" clId="{2B1617D0-14B2-4879-AEBD-46BD4567454B}" dt="2023-01-23T10:45:04.824" v="4595" actId="1036"/>
          <ac:picMkLst>
            <pc:docMk/>
            <pc:sldMk cId="113270668" sldId="2147469773"/>
            <ac:picMk id="135" creationId="{7F6C4B6B-5120-4F57-AC63-00E73D0E18B1}"/>
          </ac:picMkLst>
        </pc:picChg>
        <pc:picChg chg="add mod">
          <ac:chgData name="Dalil BENAOUDA" userId="6bc32e50-31cc-420e-af2c-c81feb754bf7" providerId="ADAL" clId="{2B1617D0-14B2-4879-AEBD-46BD4567454B}" dt="2023-01-23T10:45:04.824" v="4595" actId="1036"/>
          <ac:picMkLst>
            <pc:docMk/>
            <pc:sldMk cId="113270668" sldId="2147469773"/>
            <ac:picMk id="136" creationId="{FE458C2A-E36B-466A-A9E4-21A64F347CDC}"/>
          </ac:picMkLst>
        </pc:picChg>
        <pc:picChg chg="add mod">
          <ac:chgData name="Dalil BENAOUDA" userId="6bc32e50-31cc-420e-af2c-c81feb754bf7" providerId="ADAL" clId="{2B1617D0-14B2-4879-AEBD-46BD4567454B}" dt="2023-01-23T10:45:04.824" v="4595" actId="1036"/>
          <ac:picMkLst>
            <pc:docMk/>
            <pc:sldMk cId="113270668" sldId="2147469773"/>
            <ac:picMk id="137" creationId="{A4352815-D6DB-4C3C-A772-AB31823F8378}"/>
          </ac:picMkLst>
        </pc:picChg>
        <pc:picChg chg="add del mod">
          <ac:chgData name="Dalil BENAOUDA" userId="6bc32e50-31cc-420e-af2c-c81feb754bf7" providerId="ADAL" clId="{2B1617D0-14B2-4879-AEBD-46BD4567454B}" dt="2023-01-23T10:44:01.734" v="4499" actId="478"/>
          <ac:picMkLst>
            <pc:docMk/>
            <pc:sldMk cId="113270668" sldId="2147469773"/>
            <ac:picMk id="138" creationId="{7BAA49B4-462C-4C22-9EDA-8D9AB5DE8D8F}"/>
          </ac:picMkLst>
        </pc:picChg>
        <pc:picChg chg="add del mod">
          <ac:chgData name="Dalil BENAOUDA" userId="6bc32e50-31cc-420e-af2c-c81feb754bf7" providerId="ADAL" clId="{2B1617D0-14B2-4879-AEBD-46BD4567454B}" dt="2023-01-23T10:43:57.475" v="4498" actId="478"/>
          <ac:picMkLst>
            <pc:docMk/>
            <pc:sldMk cId="113270668" sldId="2147469773"/>
            <ac:picMk id="139" creationId="{AA979287-09DD-4F3E-83B1-A3983B7CC096}"/>
          </ac:picMkLst>
        </pc:picChg>
        <pc:picChg chg="add mod">
          <ac:chgData name="Dalil BENAOUDA" userId="6bc32e50-31cc-420e-af2c-c81feb754bf7" providerId="ADAL" clId="{2B1617D0-14B2-4879-AEBD-46BD4567454B}" dt="2023-01-23T10:45:04.824" v="4595" actId="1036"/>
          <ac:picMkLst>
            <pc:docMk/>
            <pc:sldMk cId="113270668" sldId="2147469773"/>
            <ac:picMk id="140" creationId="{81F02449-67C0-481B-B373-607104ECA1A5}"/>
          </ac:picMkLst>
        </pc:picChg>
        <pc:cxnChg chg="mod">
          <ac:chgData name="Dalil BENAOUDA" userId="6bc32e50-31cc-420e-af2c-c81feb754bf7" providerId="ADAL" clId="{2B1617D0-14B2-4879-AEBD-46BD4567454B}" dt="2023-01-23T10:45:04.824" v="4595" actId="1036"/>
          <ac:cxnSpMkLst>
            <pc:docMk/>
            <pc:sldMk cId="113270668" sldId="2147469773"/>
            <ac:cxnSpMk id="18" creationId="{D6FAE3F3-2EDC-4E2E-BF82-236D21D5AAB9}"/>
          </ac:cxnSpMkLst>
        </pc:cxnChg>
        <pc:cxnChg chg="add del mod">
          <ac:chgData name="Dalil BENAOUDA" userId="6bc32e50-31cc-420e-af2c-c81feb754bf7" providerId="ADAL" clId="{2B1617D0-14B2-4879-AEBD-46BD4567454B}" dt="2023-01-23T10:38:30.950" v="4381" actId="478"/>
          <ac:cxnSpMkLst>
            <pc:docMk/>
            <pc:sldMk cId="113270668" sldId="2147469773"/>
            <ac:cxnSpMk id="118" creationId="{675471E8-EB1B-44C8-99D1-F3F63F2C42B7}"/>
          </ac:cxnSpMkLst>
        </pc:cxnChg>
        <pc:cxnChg chg="add mod">
          <ac:chgData name="Dalil BENAOUDA" userId="6bc32e50-31cc-420e-af2c-c81feb754bf7" providerId="ADAL" clId="{2B1617D0-14B2-4879-AEBD-46BD4567454B}" dt="2023-01-23T10:45:04.824" v="4595" actId="1036"/>
          <ac:cxnSpMkLst>
            <pc:docMk/>
            <pc:sldMk cId="113270668" sldId="2147469773"/>
            <ac:cxnSpMk id="121" creationId="{E13A4D47-77FD-4BFD-B330-C110FAA1A1FC}"/>
          </ac:cxnSpMkLst>
        </pc:cxnChg>
      </pc:sldChg>
      <pc:sldChg chg="addSp modSp mod modShow">
        <pc:chgData name="Dalil BENAOUDA" userId="6bc32e50-31cc-420e-af2c-c81feb754bf7" providerId="ADAL" clId="{2B1617D0-14B2-4879-AEBD-46BD4567454B}" dt="2023-01-26T14:56:17.400" v="8809"/>
        <pc:sldMkLst>
          <pc:docMk/>
          <pc:sldMk cId="821738576" sldId="2147469786"/>
        </pc:sldMkLst>
        <pc:spChg chg="add mod">
          <ac:chgData name="Dalil BENAOUDA" userId="6bc32e50-31cc-420e-af2c-c81feb754bf7" providerId="ADAL" clId="{2B1617D0-14B2-4879-AEBD-46BD4567454B}" dt="2023-01-26T14:56:17.400" v="8809"/>
          <ac:spMkLst>
            <pc:docMk/>
            <pc:sldMk cId="821738576" sldId="2147469786"/>
            <ac:spMk id="8" creationId="{9B2C7BB8-1DE6-4C97-AB09-36EED3D47E86}"/>
          </ac:spMkLst>
        </pc:spChg>
      </pc:sldChg>
      <pc:sldChg chg="addSp modSp mod modShow">
        <pc:chgData name="Dalil BENAOUDA" userId="6bc32e50-31cc-420e-af2c-c81feb754bf7" providerId="ADAL" clId="{2B1617D0-14B2-4879-AEBD-46BD4567454B}" dt="2023-01-26T14:56:15.795" v="8808"/>
        <pc:sldMkLst>
          <pc:docMk/>
          <pc:sldMk cId="1985396647" sldId="2147469798"/>
        </pc:sldMkLst>
        <pc:spChg chg="add mod">
          <ac:chgData name="Dalil BENAOUDA" userId="6bc32e50-31cc-420e-af2c-c81feb754bf7" providerId="ADAL" clId="{2B1617D0-14B2-4879-AEBD-46BD4567454B}" dt="2023-01-26T14:56:15.795" v="8808"/>
          <ac:spMkLst>
            <pc:docMk/>
            <pc:sldMk cId="1985396647" sldId="2147469798"/>
            <ac:spMk id="5" creationId="{9B14029A-59F9-4BD1-8104-FBE03EBF56C1}"/>
          </ac:spMkLst>
        </pc:spChg>
      </pc:sldChg>
      <pc:sldChg chg="addSp modSp">
        <pc:chgData name="Dalil BENAOUDA" userId="6bc32e50-31cc-420e-af2c-c81feb754bf7" providerId="ADAL" clId="{2B1617D0-14B2-4879-AEBD-46BD4567454B}" dt="2023-01-26T14:56:19.988" v="8810"/>
        <pc:sldMkLst>
          <pc:docMk/>
          <pc:sldMk cId="530589121" sldId="2147469799"/>
        </pc:sldMkLst>
        <pc:spChg chg="add mod">
          <ac:chgData name="Dalil BENAOUDA" userId="6bc32e50-31cc-420e-af2c-c81feb754bf7" providerId="ADAL" clId="{2B1617D0-14B2-4879-AEBD-46BD4567454B}" dt="2023-01-26T14:56:19.988" v="8810"/>
          <ac:spMkLst>
            <pc:docMk/>
            <pc:sldMk cId="530589121" sldId="2147469799"/>
            <ac:spMk id="38" creationId="{264F6FA7-39A0-4D01-9733-FFA4C3331B39}"/>
          </ac:spMkLst>
        </pc:spChg>
      </pc:sldChg>
      <pc:sldChg chg="addSp modSp">
        <pc:chgData name="Dalil BENAOUDA" userId="6bc32e50-31cc-420e-af2c-c81feb754bf7" providerId="ADAL" clId="{2B1617D0-14B2-4879-AEBD-46BD4567454B}" dt="2023-01-26T14:56:24.466" v="8812"/>
        <pc:sldMkLst>
          <pc:docMk/>
          <pc:sldMk cId="2540188229" sldId="2147469802"/>
        </pc:sldMkLst>
        <pc:spChg chg="add mod">
          <ac:chgData name="Dalil BENAOUDA" userId="6bc32e50-31cc-420e-af2c-c81feb754bf7" providerId="ADAL" clId="{2B1617D0-14B2-4879-AEBD-46BD4567454B}" dt="2023-01-26T14:56:24.466" v="8812"/>
          <ac:spMkLst>
            <pc:docMk/>
            <pc:sldMk cId="2540188229" sldId="2147469802"/>
            <ac:spMk id="32" creationId="{506B86BA-488F-4965-9BBC-234F96E2E658}"/>
          </ac:spMkLst>
        </pc:spChg>
      </pc:sldChg>
      <pc:sldChg chg="modSp mod">
        <pc:chgData name="Dalil BENAOUDA" userId="6bc32e50-31cc-420e-af2c-c81feb754bf7" providerId="ADAL" clId="{2B1617D0-14B2-4879-AEBD-46BD4567454B}" dt="2023-01-24T08:11:56.638" v="5845" actId="115"/>
        <pc:sldMkLst>
          <pc:docMk/>
          <pc:sldMk cId="4289527151" sldId="2147469829"/>
        </pc:sldMkLst>
        <pc:spChg chg="mod">
          <ac:chgData name="Dalil BENAOUDA" userId="6bc32e50-31cc-420e-af2c-c81feb754bf7" providerId="ADAL" clId="{2B1617D0-14B2-4879-AEBD-46BD4567454B}" dt="2023-01-24T08:11:56.638" v="5845" actId="115"/>
          <ac:spMkLst>
            <pc:docMk/>
            <pc:sldMk cId="4289527151" sldId="2147469829"/>
            <ac:spMk id="5" creationId="{F42F9A6C-578C-477B-8E16-1AA32ACD65D9}"/>
          </ac:spMkLst>
        </pc:spChg>
        <pc:spChg chg="mod">
          <ac:chgData name="Dalil BENAOUDA" userId="6bc32e50-31cc-420e-af2c-c81feb754bf7" providerId="ADAL" clId="{2B1617D0-14B2-4879-AEBD-46BD4567454B}" dt="2023-01-23T16:37:49.173" v="5088" actId="20577"/>
          <ac:spMkLst>
            <pc:docMk/>
            <pc:sldMk cId="4289527151" sldId="2147469829"/>
            <ac:spMk id="11" creationId="{3A236E1F-8FDB-4C57-9571-5A1A8872F69F}"/>
          </ac:spMkLst>
        </pc:spChg>
        <pc:spChg chg="mod">
          <ac:chgData name="Dalil BENAOUDA" userId="6bc32e50-31cc-420e-af2c-c81feb754bf7" providerId="ADAL" clId="{2B1617D0-14B2-4879-AEBD-46BD4567454B}" dt="2023-01-23T16:37:15.073" v="5066"/>
          <ac:spMkLst>
            <pc:docMk/>
            <pc:sldMk cId="4289527151" sldId="2147469829"/>
            <ac:spMk id="12" creationId="{B9E505B0-9E31-49F5-8E92-495A60986533}"/>
          </ac:spMkLst>
        </pc:spChg>
        <pc:spChg chg="mod">
          <ac:chgData name="Dalil BENAOUDA" userId="6bc32e50-31cc-420e-af2c-c81feb754bf7" providerId="ADAL" clId="{2B1617D0-14B2-4879-AEBD-46BD4567454B}" dt="2023-01-23T16:37:07.891" v="5065" actId="113"/>
          <ac:spMkLst>
            <pc:docMk/>
            <pc:sldMk cId="4289527151" sldId="2147469829"/>
            <ac:spMk id="20" creationId="{961A0785-D238-4CAD-AB5E-B47F28087ECE}"/>
          </ac:spMkLst>
        </pc:spChg>
      </pc:sldChg>
      <pc:sldChg chg="addSp delSp modSp mod">
        <pc:chgData name="Dalil BENAOUDA" userId="6bc32e50-31cc-420e-af2c-c81feb754bf7" providerId="ADAL" clId="{2B1617D0-14B2-4879-AEBD-46BD4567454B}" dt="2023-01-26T13:35:26.819" v="7464" actId="1036"/>
        <pc:sldMkLst>
          <pc:docMk/>
          <pc:sldMk cId="3405077761" sldId="2147469832"/>
        </pc:sldMkLst>
        <pc:spChg chg="mod">
          <ac:chgData name="Dalil BENAOUDA" userId="6bc32e50-31cc-420e-af2c-c81feb754bf7" providerId="ADAL" clId="{2B1617D0-14B2-4879-AEBD-46BD4567454B}" dt="2023-01-26T13:35:18.424" v="7451" actId="20577"/>
          <ac:spMkLst>
            <pc:docMk/>
            <pc:sldMk cId="3405077761" sldId="2147469832"/>
            <ac:spMk id="4" creationId="{758598F9-8BBB-4424-A0B0-88F9BB4B331D}"/>
          </ac:spMkLst>
        </pc:spChg>
        <pc:spChg chg="mod">
          <ac:chgData name="Dalil BENAOUDA" userId="6bc32e50-31cc-420e-af2c-c81feb754bf7" providerId="ADAL" clId="{2B1617D0-14B2-4879-AEBD-46BD4567454B}" dt="2023-01-26T13:35:26.819" v="7464" actId="1036"/>
          <ac:spMkLst>
            <pc:docMk/>
            <pc:sldMk cId="3405077761" sldId="2147469832"/>
            <ac:spMk id="5" creationId="{5D688AB2-7A9C-4E94-9F96-0D15CEC7E0F1}"/>
          </ac:spMkLst>
        </pc:spChg>
        <pc:spChg chg="mod">
          <ac:chgData name="Dalil BENAOUDA" userId="6bc32e50-31cc-420e-af2c-c81feb754bf7" providerId="ADAL" clId="{2B1617D0-14B2-4879-AEBD-46BD4567454B}" dt="2023-01-26T13:35:26.819" v="7464" actId="1036"/>
          <ac:spMkLst>
            <pc:docMk/>
            <pc:sldMk cId="3405077761" sldId="2147469832"/>
            <ac:spMk id="6" creationId="{04A49824-ABED-44CE-9CFE-F2DB93BED5F1}"/>
          </ac:spMkLst>
        </pc:spChg>
        <pc:spChg chg="mod">
          <ac:chgData name="Dalil BENAOUDA" userId="6bc32e50-31cc-420e-af2c-c81feb754bf7" providerId="ADAL" clId="{2B1617D0-14B2-4879-AEBD-46BD4567454B}" dt="2023-01-26T13:35:26.819" v="7464" actId="1036"/>
          <ac:spMkLst>
            <pc:docMk/>
            <pc:sldMk cId="3405077761" sldId="2147469832"/>
            <ac:spMk id="7" creationId="{E6CA2F7B-269F-4CD4-A2BE-DE0E7902B462}"/>
          </ac:spMkLst>
        </pc:spChg>
        <pc:spChg chg="mod">
          <ac:chgData name="Dalil BENAOUDA" userId="6bc32e50-31cc-420e-af2c-c81feb754bf7" providerId="ADAL" clId="{2B1617D0-14B2-4879-AEBD-46BD4567454B}" dt="2023-01-26T13:35:26.819" v="7464" actId="1036"/>
          <ac:spMkLst>
            <pc:docMk/>
            <pc:sldMk cId="3405077761" sldId="2147469832"/>
            <ac:spMk id="8" creationId="{D8BADCE5-4985-4488-B097-095E619995F7}"/>
          </ac:spMkLst>
        </pc:spChg>
        <pc:spChg chg="mod">
          <ac:chgData name="Dalil BENAOUDA" userId="6bc32e50-31cc-420e-af2c-c81feb754bf7" providerId="ADAL" clId="{2B1617D0-14B2-4879-AEBD-46BD4567454B}" dt="2023-01-26T13:35:26.819" v="7464" actId="1036"/>
          <ac:spMkLst>
            <pc:docMk/>
            <pc:sldMk cId="3405077761" sldId="2147469832"/>
            <ac:spMk id="9" creationId="{E2894613-6823-4990-AAE1-01A4C3216607}"/>
          </ac:spMkLst>
        </pc:spChg>
        <pc:spChg chg="mod">
          <ac:chgData name="Dalil BENAOUDA" userId="6bc32e50-31cc-420e-af2c-c81feb754bf7" providerId="ADAL" clId="{2B1617D0-14B2-4879-AEBD-46BD4567454B}" dt="2023-01-26T13:35:26.819" v="7464" actId="1036"/>
          <ac:spMkLst>
            <pc:docMk/>
            <pc:sldMk cId="3405077761" sldId="2147469832"/>
            <ac:spMk id="10" creationId="{ABB5AB67-381A-437D-B638-9C67FAEA8134}"/>
          </ac:spMkLst>
        </pc:spChg>
        <pc:spChg chg="mod">
          <ac:chgData name="Dalil BENAOUDA" userId="6bc32e50-31cc-420e-af2c-c81feb754bf7" providerId="ADAL" clId="{2B1617D0-14B2-4879-AEBD-46BD4567454B}" dt="2023-01-26T13:35:26.819" v="7464" actId="1036"/>
          <ac:spMkLst>
            <pc:docMk/>
            <pc:sldMk cId="3405077761" sldId="2147469832"/>
            <ac:spMk id="11" creationId="{6C690B49-956F-4986-B2FE-8DADD934D493}"/>
          </ac:spMkLst>
        </pc:spChg>
        <pc:spChg chg="mod">
          <ac:chgData name="Dalil BENAOUDA" userId="6bc32e50-31cc-420e-af2c-c81feb754bf7" providerId="ADAL" clId="{2B1617D0-14B2-4879-AEBD-46BD4567454B}" dt="2023-01-26T13:35:26.819" v="7464" actId="1036"/>
          <ac:spMkLst>
            <pc:docMk/>
            <pc:sldMk cId="3405077761" sldId="2147469832"/>
            <ac:spMk id="12" creationId="{7D82899E-54A9-4A94-A1CC-8808C0A00FAB}"/>
          </ac:spMkLst>
        </pc:spChg>
        <pc:spChg chg="mod">
          <ac:chgData name="Dalil BENAOUDA" userId="6bc32e50-31cc-420e-af2c-c81feb754bf7" providerId="ADAL" clId="{2B1617D0-14B2-4879-AEBD-46BD4567454B}" dt="2023-01-26T13:35:26.819" v="7464" actId="1036"/>
          <ac:spMkLst>
            <pc:docMk/>
            <pc:sldMk cId="3405077761" sldId="2147469832"/>
            <ac:spMk id="13" creationId="{2DA3159F-53CD-4861-BDF2-ACA0C57F98BB}"/>
          </ac:spMkLst>
        </pc:spChg>
        <pc:spChg chg="mod">
          <ac:chgData name="Dalil BENAOUDA" userId="6bc32e50-31cc-420e-af2c-c81feb754bf7" providerId="ADAL" clId="{2B1617D0-14B2-4879-AEBD-46BD4567454B}" dt="2023-01-26T13:35:26.819" v="7464" actId="1036"/>
          <ac:spMkLst>
            <pc:docMk/>
            <pc:sldMk cId="3405077761" sldId="2147469832"/>
            <ac:spMk id="26" creationId="{DFD6F423-AED8-4A7F-B53A-D46E7631B302}"/>
          </ac:spMkLst>
        </pc:spChg>
        <pc:spChg chg="mod">
          <ac:chgData name="Dalil BENAOUDA" userId="6bc32e50-31cc-420e-af2c-c81feb754bf7" providerId="ADAL" clId="{2B1617D0-14B2-4879-AEBD-46BD4567454B}" dt="2023-01-26T13:35:26.819" v="7464" actId="1036"/>
          <ac:spMkLst>
            <pc:docMk/>
            <pc:sldMk cId="3405077761" sldId="2147469832"/>
            <ac:spMk id="27" creationId="{9758A226-4FFE-4283-8F11-04662839F350}"/>
          </ac:spMkLst>
        </pc:spChg>
        <pc:spChg chg="mod">
          <ac:chgData name="Dalil BENAOUDA" userId="6bc32e50-31cc-420e-af2c-c81feb754bf7" providerId="ADAL" clId="{2B1617D0-14B2-4879-AEBD-46BD4567454B}" dt="2023-01-26T13:35:26.819" v="7464" actId="1036"/>
          <ac:spMkLst>
            <pc:docMk/>
            <pc:sldMk cId="3405077761" sldId="2147469832"/>
            <ac:spMk id="28" creationId="{D4D83668-303A-4A3B-98B3-83B6E6E83BC8}"/>
          </ac:spMkLst>
        </pc:spChg>
        <pc:spChg chg="add del mod">
          <ac:chgData name="Dalil BENAOUDA" userId="6bc32e50-31cc-420e-af2c-c81feb754bf7" providerId="ADAL" clId="{2B1617D0-14B2-4879-AEBD-46BD4567454B}" dt="2023-01-26T13:33:44.004" v="7344" actId="478"/>
          <ac:spMkLst>
            <pc:docMk/>
            <pc:sldMk cId="3405077761" sldId="2147469832"/>
            <ac:spMk id="32" creationId="{9948D81B-73A0-4992-B8D9-FBB29ADE8859}"/>
          </ac:spMkLst>
        </pc:spChg>
        <pc:spChg chg="mod">
          <ac:chgData name="Dalil BENAOUDA" userId="6bc32e50-31cc-420e-af2c-c81feb754bf7" providerId="ADAL" clId="{2B1617D0-14B2-4879-AEBD-46BD4567454B}" dt="2023-01-26T13:33:39.808" v="7343"/>
          <ac:spMkLst>
            <pc:docMk/>
            <pc:sldMk cId="3405077761" sldId="2147469832"/>
            <ac:spMk id="34" creationId="{4668F018-F8BC-4BC7-B97C-F2342C57266D}"/>
          </ac:spMkLst>
        </pc:spChg>
        <pc:spChg chg="mod">
          <ac:chgData name="Dalil BENAOUDA" userId="6bc32e50-31cc-420e-af2c-c81feb754bf7" providerId="ADAL" clId="{2B1617D0-14B2-4879-AEBD-46BD4567454B}" dt="2023-01-26T13:33:39.808" v="7343"/>
          <ac:spMkLst>
            <pc:docMk/>
            <pc:sldMk cId="3405077761" sldId="2147469832"/>
            <ac:spMk id="35" creationId="{BABEA963-0F15-48C5-9DCB-6E3B01623A20}"/>
          </ac:spMkLst>
        </pc:spChg>
        <pc:spChg chg="mod">
          <ac:chgData name="Dalil BENAOUDA" userId="6bc32e50-31cc-420e-af2c-c81feb754bf7" providerId="ADAL" clId="{2B1617D0-14B2-4879-AEBD-46BD4567454B}" dt="2023-01-26T13:33:39.808" v="7343"/>
          <ac:spMkLst>
            <pc:docMk/>
            <pc:sldMk cId="3405077761" sldId="2147469832"/>
            <ac:spMk id="36" creationId="{CD42C2BF-2DBD-4B56-9E71-59A689756E5D}"/>
          </ac:spMkLst>
        </pc:spChg>
        <pc:spChg chg="mod">
          <ac:chgData name="Dalil BENAOUDA" userId="6bc32e50-31cc-420e-af2c-c81feb754bf7" providerId="ADAL" clId="{2B1617D0-14B2-4879-AEBD-46BD4567454B}" dt="2023-01-26T13:33:39.808" v="7343"/>
          <ac:spMkLst>
            <pc:docMk/>
            <pc:sldMk cId="3405077761" sldId="2147469832"/>
            <ac:spMk id="37" creationId="{ED967A39-06DA-4948-9AFF-F0690780F69C}"/>
          </ac:spMkLst>
        </pc:spChg>
        <pc:spChg chg="mod">
          <ac:chgData name="Dalil BENAOUDA" userId="6bc32e50-31cc-420e-af2c-c81feb754bf7" providerId="ADAL" clId="{2B1617D0-14B2-4879-AEBD-46BD4567454B}" dt="2023-01-26T13:33:39.808" v="7343"/>
          <ac:spMkLst>
            <pc:docMk/>
            <pc:sldMk cId="3405077761" sldId="2147469832"/>
            <ac:spMk id="38" creationId="{2B92C2C6-A864-46F3-B9CE-E11BDB4F76CB}"/>
          </ac:spMkLst>
        </pc:spChg>
        <pc:spChg chg="mod">
          <ac:chgData name="Dalil BENAOUDA" userId="6bc32e50-31cc-420e-af2c-c81feb754bf7" providerId="ADAL" clId="{2B1617D0-14B2-4879-AEBD-46BD4567454B}" dt="2023-01-26T13:33:39.808" v="7343"/>
          <ac:spMkLst>
            <pc:docMk/>
            <pc:sldMk cId="3405077761" sldId="2147469832"/>
            <ac:spMk id="39" creationId="{5B1B1240-01AE-4AD0-A193-075C24443A55}"/>
          </ac:spMkLst>
        </pc:spChg>
        <pc:spChg chg="mod">
          <ac:chgData name="Dalil BENAOUDA" userId="6bc32e50-31cc-420e-af2c-c81feb754bf7" providerId="ADAL" clId="{2B1617D0-14B2-4879-AEBD-46BD4567454B}" dt="2023-01-26T13:33:39.808" v="7343"/>
          <ac:spMkLst>
            <pc:docMk/>
            <pc:sldMk cId="3405077761" sldId="2147469832"/>
            <ac:spMk id="40" creationId="{B56CD4B5-AF6C-4F8B-A527-AE80E599E85C}"/>
          </ac:spMkLst>
        </pc:spChg>
        <pc:spChg chg="mod">
          <ac:chgData name="Dalil BENAOUDA" userId="6bc32e50-31cc-420e-af2c-c81feb754bf7" providerId="ADAL" clId="{2B1617D0-14B2-4879-AEBD-46BD4567454B}" dt="2023-01-26T13:33:39.808" v="7343"/>
          <ac:spMkLst>
            <pc:docMk/>
            <pc:sldMk cId="3405077761" sldId="2147469832"/>
            <ac:spMk id="44" creationId="{9DA38900-78AA-4C31-ADF6-682710ABA81E}"/>
          </ac:spMkLst>
        </pc:spChg>
        <pc:spChg chg="mod">
          <ac:chgData name="Dalil BENAOUDA" userId="6bc32e50-31cc-420e-af2c-c81feb754bf7" providerId="ADAL" clId="{2B1617D0-14B2-4879-AEBD-46BD4567454B}" dt="2023-01-26T13:33:39.808" v="7343"/>
          <ac:spMkLst>
            <pc:docMk/>
            <pc:sldMk cId="3405077761" sldId="2147469832"/>
            <ac:spMk id="45" creationId="{D90DFFDF-A9EC-4540-8DDD-B19EDCBE351B}"/>
          </ac:spMkLst>
        </pc:spChg>
        <pc:spChg chg="mod">
          <ac:chgData name="Dalil BENAOUDA" userId="6bc32e50-31cc-420e-af2c-c81feb754bf7" providerId="ADAL" clId="{2B1617D0-14B2-4879-AEBD-46BD4567454B}" dt="2023-01-26T13:33:39.808" v="7343"/>
          <ac:spMkLst>
            <pc:docMk/>
            <pc:sldMk cId="3405077761" sldId="2147469832"/>
            <ac:spMk id="46" creationId="{B69864F4-8467-4B1F-A35F-504711094058}"/>
          </ac:spMkLst>
        </pc:spChg>
        <pc:spChg chg="mod">
          <ac:chgData name="Dalil BENAOUDA" userId="6bc32e50-31cc-420e-af2c-c81feb754bf7" providerId="ADAL" clId="{2B1617D0-14B2-4879-AEBD-46BD4567454B}" dt="2023-01-26T13:33:39.808" v="7343"/>
          <ac:spMkLst>
            <pc:docMk/>
            <pc:sldMk cId="3405077761" sldId="2147469832"/>
            <ac:spMk id="47" creationId="{09FB4323-F9AB-4572-9832-8562B863D582}"/>
          </ac:spMkLst>
        </pc:spChg>
        <pc:spChg chg="mod">
          <ac:chgData name="Dalil BENAOUDA" userId="6bc32e50-31cc-420e-af2c-c81feb754bf7" providerId="ADAL" clId="{2B1617D0-14B2-4879-AEBD-46BD4567454B}" dt="2023-01-26T13:33:39.808" v="7343"/>
          <ac:spMkLst>
            <pc:docMk/>
            <pc:sldMk cId="3405077761" sldId="2147469832"/>
            <ac:spMk id="48" creationId="{D5ACEA87-2354-43E9-B5C3-4EFEA03D8F5B}"/>
          </ac:spMkLst>
        </pc:spChg>
        <pc:spChg chg="mod">
          <ac:chgData name="Dalil BENAOUDA" userId="6bc32e50-31cc-420e-af2c-c81feb754bf7" providerId="ADAL" clId="{2B1617D0-14B2-4879-AEBD-46BD4567454B}" dt="2023-01-26T13:33:39.808" v="7343"/>
          <ac:spMkLst>
            <pc:docMk/>
            <pc:sldMk cId="3405077761" sldId="2147469832"/>
            <ac:spMk id="49" creationId="{D7A24B18-3C24-43C5-AD99-E5F31A07608E}"/>
          </ac:spMkLst>
        </pc:spChg>
        <pc:spChg chg="mod">
          <ac:chgData name="Dalil BENAOUDA" userId="6bc32e50-31cc-420e-af2c-c81feb754bf7" providerId="ADAL" clId="{2B1617D0-14B2-4879-AEBD-46BD4567454B}" dt="2023-01-26T13:33:39.808" v="7343"/>
          <ac:spMkLst>
            <pc:docMk/>
            <pc:sldMk cId="3405077761" sldId="2147469832"/>
            <ac:spMk id="50" creationId="{4590AF80-E1FD-4F29-8316-30B723F0DFC6}"/>
          </ac:spMkLst>
        </pc:spChg>
        <pc:spChg chg="add del mod">
          <ac:chgData name="Dalil BENAOUDA" userId="6bc32e50-31cc-420e-af2c-c81feb754bf7" providerId="ADAL" clId="{2B1617D0-14B2-4879-AEBD-46BD4567454B}" dt="2023-01-26T13:33:44.004" v="7344" actId="478"/>
          <ac:spMkLst>
            <pc:docMk/>
            <pc:sldMk cId="3405077761" sldId="2147469832"/>
            <ac:spMk id="51" creationId="{4D33654C-A1DE-4220-92BA-7D7EC1582585}"/>
          </ac:spMkLst>
        </pc:spChg>
        <pc:spChg chg="add del mod">
          <ac:chgData name="Dalil BENAOUDA" userId="6bc32e50-31cc-420e-af2c-c81feb754bf7" providerId="ADAL" clId="{2B1617D0-14B2-4879-AEBD-46BD4567454B}" dt="2023-01-26T13:33:44.004" v="7344" actId="478"/>
          <ac:spMkLst>
            <pc:docMk/>
            <pc:sldMk cId="3405077761" sldId="2147469832"/>
            <ac:spMk id="52" creationId="{EE5A3CB3-DA6D-48FC-9C1F-F8CE8E18586F}"/>
          </ac:spMkLst>
        </pc:spChg>
        <pc:spChg chg="add del mod">
          <ac:chgData name="Dalil BENAOUDA" userId="6bc32e50-31cc-420e-af2c-c81feb754bf7" providerId="ADAL" clId="{2B1617D0-14B2-4879-AEBD-46BD4567454B}" dt="2023-01-26T13:33:44.004" v="7344" actId="478"/>
          <ac:spMkLst>
            <pc:docMk/>
            <pc:sldMk cId="3405077761" sldId="2147469832"/>
            <ac:spMk id="53" creationId="{473406A6-CE3B-4598-B5C4-46EE979CF68C}"/>
          </ac:spMkLst>
        </pc:spChg>
        <pc:grpChg chg="mod">
          <ac:chgData name="Dalil BENAOUDA" userId="6bc32e50-31cc-420e-af2c-c81feb754bf7" providerId="ADAL" clId="{2B1617D0-14B2-4879-AEBD-46BD4567454B}" dt="2023-01-26T13:35:26.819" v="7464" actId="1036"/>
          <ac:grpSpMkLst>
            <pc:docMk/>
            <pc:sldMk cId="3405077761" sldId="2147469832"/>
            <ac:grpSpMk id="14" creationId="{A9CB7BFA-1F74-4B07-94FC-2E4B2C1E738A}"/>
          </ac:grpSpMkLst>
        </pc:grpChg>
        <pc:grpChg chg="mod">
          <ac:chgData name="Dalil BENAOUDA" userId="6bc32e50-31cc-420e-af2c-c81feb754bf7" providerId="ADAL" clId="{2B1617D0-14B2-4879-AEBD-46BD4567454B}" dt="2023-01-26T13:35:26.819" v="7464" actId="1036"/>
          <ac:grpSpMkLst>
            <pc:docMk/>
            <pc:sldMk cId="3405077761" sldId="2147469832"/>
            <ac:grpSpMk id="17" creationId="{B7D12E65-A980-46C4-9252-D8C74B74FC50}"/>
          </ac:grpSpMkLst>
        </pc:grpChg>
        <pc:grpChg chg="mod">
          <ac:chgData name="Dalil BENAOUDA" userId="6bc32e50-31cc-420e-af2c-c81feb754bf7" providerId="ADAL" clId="{2B1617D0-14B2-4879-AEBD-46BD4567454B}" dt="2023-01-26T13:35:26.819" v="7464" actId="1036"/>
          <ac:grpSpMkLst>
            <pc:docMk/>
            <pc:sldMk cId="3405077761" sldId="2147469832"/>
            <ac:grpSpMk id="20" creationId="{B70BBC39-7D34-4E1F-8250-26C498FB778C}"/>
          </ac:grpSpMkLst>
        </pc:grpChg>
        <pc:grpChg chg="mod">
          <ac:chgData name="Dalil BENAOUDA" userId="6bc32e50-31cc-420e-af2c-c81feb754bf7" providerId="ADAL" clId="{2B1617D0-14B2-4879-AEBD-46BD4567454B}" dt="2023-01-26T13:35:26.819" v="7464" actId="1036"/>
          <ac:grpSpMkLst>
            <pc:docMk/>
            <pc:sldMk cId="3405077761" sldId="2147469832"/>
            <ac:grpSpMk id="23" creationId="{8AEA3C21-11A2-480C-994F-37FFA112C56E}"/>
          </ac:grpSpMkLst>
        </pc:grpChg>
        <pc:grpChg chg="mod">
          <ac:chgData name="Dalil BENAOUDA" userId="6bc32e50-31cc-420e-af2c-c81feb754bf7" providerId="ADAL" clId="{2B1617D0-14B2-4879-AEBD-46BD4567454B}" dt="2023-01-26T13:35:26.819" v="7464" actId="1036"/>
          <ac:grpSpMkLst>
            <pc:docMk/>
            <pc:sldMk cId="3405077761" sldId="2147469832"/>
            <ac:grpSpMk id="29" creationId="{9D55CEE6-9FEC-4CCC-A96C-A3505795750A}"/>
          </ac:grpSpMkLst>
        </pc:grpChg>
        <pc:grpChg chg="add del mod">
          <ac:chgData name="Dalil BENAOUDA" userId="6bc32e50-31cc-420e-af2c-c81feb754bf7" providerId="ADAL" clId="{2B1617D0-14B2-4879-AEBD-46BD4567454B}" dt="2023-01-26T13:33:44.004" v="7344" actId="478"/>
          <ac:grpSpMkLst>
            <pc:docMk/>
            <pc:sldMk cId="3405077761" sldId="2147469832"/>
            <ac:grpSpMk id="33" creationId="{7411A42E-C38A-496A-B9FC-986A29D6B54A}"/>
          </ac:grpSpMkLst>
        </pc:grpChg>
        <pc:grpChg chg="mod">
          <ac:chgData name="Dalil BENAOUDA" userId="6bc32e50-31cc-420e-af2c-c81feb754bf7" providerId="ADAL" clId="{2B1617D0-14B2-4879-AEBD-46BD4567454B}" dt="2023-01-26T13:33:39.808" v="7343"/>
          <ac:grpSpMkLst>
            <pc:docMk/>
            <pc:sldMk cId="3405077761" sldId="2147469832"/>
            <ac:grpSpMk id="41" creationId="{A8E92192-2419-4542-9F91-6E057064442E}"/>
          </ac:grpSpMkLst>
        </pc:grpChg>
        <pc:grpChg chg="mod">
          <ac:chgData name="Dalil BENAOUDA" userId="6bc32e50-31cc-420e-af2c-c81feb754bf7" providerId="ADAL" clId="{2B1617D0-14B2-4879-AEBD-46BD4567454B}" dt="2023-01-26T13:33:39.808" v="7343"/>
          <ac:grpSpMkLst>
            <pc:docMk/>
            <pc:sldMk cId="3405077761" sldId="2147469832"/>
            <ac:grpSpMk id="42" creationId="{4A3F6B29-B896-4B71-93BC-3B6804260274}"/>
          </ac:grpSpMkLst>
        </pc:grpChg>
        <pc:grpChg chg="mod">
          <ac:chgData name="Dalil BENAOUDA" userId="6bc32e50-31cc-420e-af2c-c81feb754bf7" providerId="ADAL" clId="{2B1617D0-14B2-4879-AEBD-46BD4567454B}" dt="2023-01-26T13:33:39.808" v="7343"/>
          <ac:grpSpMkLst>
            <pc:docMk/>
            <pc:sldMk cId="3405077761" sldId="2147469832"/>
            <ac:grpSpMk id="43" creationId="{71967B06-E5A3-4D6B-933E-3F3EC87FB0FD}"/>
          </ac:grpSpMkLst>
        </pc:grpChg>
        <pc:cxnChg chg="add del mod">
          <ac:chgData name="Dalil BENAOUDA" userId="6bc32e50-31cc-420e-af2c-c81feb754bf7" providerId="ADAL" clId="{2B1617D0-14B2-4879-AEBD-46BD4567454B}" dt="2023-01-26T13:33:44.004" v="7344" actId="478"/>
          <ac:cxnSpMkLst>
            <pc:docMk/>
            <pc:sldMk cId="3405077761" sldId="2147469832"/>
            <ac:cxnSpMk id="54" creationId="{EA559F4F-F6F4-4E8C-AC00-1BBEA60B5C02}"/>
          </ac:cxnSpMkLst>
        </pc:cxnChg>
        <pc:cxnChg chg="add del mod">
          <ac:chgData name="Dalil BENAOUDA" userId="6bc32e50-31cc-420e-af2c-c81feb754bf7" providerId="ADAL" clId="{2B1617D0-14B2-4879-AEBD-46BD4567454B}" dt="2023-01-26T13:33:44.004" v="7344" actId="478"/>
          <ac:cxnSpMkLst>
            <pc:docMk/>
            <pc:sldMk cId="3405077761" sldId="2147469832"/>
            <ac:cxnSpMk id="55" creationId="{058BBAED-6B8F-403C-B8B8-29FA4DA9FA7E}"/>
          </ac:cxnSpMkLst>
        </pc:cxnChg>
        <pc:cxnChg chg="add del mod">
          <ac:chgData name="Dalil BENAOUDA" userId="6bc32e50-31cc-420e-af2c-c81feb754bf7" providerId="ADAL" clId="{2B1617D0-14B2-4879-AEBD-46BD4567454B}" dt="2023-01-26T13:33:44.004" v="7344" actId="478"/>
          <ac:cxnSpMkLst>
            <pc:docMk/>
            <pc:sldMk cId="3405077761" sldId="2147469832"/>
            <ac:cxnSpMk id="56" creationId="{86A32FDB-3C55-48CB-A270-A2E26EE1F466}"/>
          </ac:cxnSpMkLst>
        </pc:cxnChg>
        <pc:cxnChg chg="add del mod">
          <ac:chgData name="Dalil BENAOUDA" userId="6bc32e50-31cc-420e-af2c-c81feb754bf7" providerId="ADAL" clId="{2B1617D0-14B2-4879-AEBD-46BD4567454B}" dt="2023-01-26T13:33:44.004" v="7344" actId="478"/>
          <ac:cxnSpMkLst>
            <pc:docMk/>
            <pc:sldMk cId="3405077761" sldId="2147469832"/>
            <ac:cxnSpMk id="57" creationId="{AB7AB197-BB75-4DC1-BE17-136D19065A4F}"/>
          </ac:cxnSpMkLst>
        </pc:cxnChg>
        <pc:cxnChg chg="add del mod">
          <ac:chgData name="Dalil BENAOUDA" userId="6bc32e50-31cc-420e-af2c-c81feb754bf7" providerId="ADAL" clId="{2B1617D0-14B2-4879-AEBD-46BD4567454B}" dt="2023-01-26T13:33:44.004" v="7344" actId="478"/>
          <ac:cxnSpMkLst>
            <pc:docMk/>
            <pc:sldMk cId="3405077761" sldId="2147469832"/>
            <ac:cxnSpMk id="58" creationId="{2DDDAB93-8DC9-4F6C-8B80-0F3C651D1DBE}"/>
          </ac:cxnSpMkLst>
        </pc:cxnChg>
        <pc:cxnChg chg="add del mod">
          <ac:chgData name="Dalil BENAOUDA" userId="6bc32e50-31cc-420e-af2c-c81feb754bf7" providerId="ADAL" clId="{2B1617D0-14B2-4879-AEBD-46BD4567454B}" dt="2023-01-26T13:33:44.004" v="7344" actId="478"/>
          <ac:cxnSpMkLst>
            <pc:docMk/>
            <pc:sldMk cId="3405077761" sldId="2147469832"/>
            <ac:cxnSpMk id="59" creationId="{4A220789-FA7F-4A9C-B431-1F812E1072A8}"/>
          </ac:cxnSpMkLst>
        </pc:cxnChg>
        <pc:cxnChg chg="add del mod">
          <ac:chgData name="Dalil BENAOUDA" userId="6bc32e50-31cc-420e-af2c-c81feb754bf7" providerId="ADAL" clId="{2B1617D0-14B2-4879-AEBD-46BD4567454B}" dt="2023-01-26T13:33:44.004" v="7344" actId="478"/>
          <ac:cxnSpMkLst>
            <pc:docMk/>
            <pc:sldMk cId="3405077761" sldId="2147469832"/>
            <ac:cxnSpMk id="60" creationId="{624E6F61-399A-42FE-8C2A-C8D4BB429D5A}"/>
          </ac:cxnSpMkLst>
        </pc:cxnChg>
        <pc:cxnChg chg="add del mod">
          <ac:chgData name="Dalil BENAOUDA" userId="6bc32e50-31cc-420e-af2c-c81feb754bf7" providerId="ADAL" clId="{2B1617D0-14B2-4879-AEBD-46BD4567454B}" dt="2023-01-26T13:33:44.004" v="7344" actId="478"/>
          <ac:cxnSpMkLst>
            <pc:docMk/>
            <pc:sldMk cId="3405077761" sldId="2147469832"/>
            <ac:cxnSpMk id="61" creationId="{CD4C3550-291D-43EA-966A-E4D4A42A5DF4}"/>
          </ac:cxnSpMkLst>
        </pc:cxnChg>
        <pc:cxnChg chg="add del mod">
          <ac:chgData name="Dalil BENAOUDA" userId="6bc32e50-31cc-420e-af2c-c81feb754bf7" providerId="ADAL" clId="{2B1617D0-14B2-4879-AEBD-46BD4567454B}" dt="2023-01-26T13:33:44.004" v="7344" actId="478"/>
          <ac:cxnSpMkLst>
            <pc:docMk/>
            <pc:sldMk cId="3405077761" sldId="2147469832"/>
            <ac:cxnSpMk id="62" creationId="{8C08E319-259B-494F-9A88-F57915CBAED0}"/>
          </ac:cxnSpMkLst>
        </pc:cxnChg>
      </pc:sldChg>
      <pc:sldChg chg="del">
        <pc:chgData name="Dalil BENAOUDA" userId="6bc32e50-31cc-420e-af2c-c81feb754bf7" providerId="ADAL" clId="{2B1617D0-14B2-4879-AEBD-46BD4567454B}" dt="2023-01-23T10:09:11.425" v="4045" actId="47"/>
        <pc:sldMkLst>
          <pc:docMk/>
          <pc:sldMk cId="2226750021" sldId="2147469833"/>
        </pc:sldMkLst>
      </pc:sldChg>
      <pc:sldChg chg="modSp mod ord modShow">
        <pc:chgData name="Dalil BENAOUDA" userId="6bc32e50-31cc-420e-af2c-c81feb754bf7" providerId="ADAL" clId="{2B1617D0-14B2-4879-AEBD-46BD4567454B}" dt="2023-01-26T10:15:46.084" v="6350" actId="729"/>
        <pc:sldMkLst>
          <pc:docMk/>
          <pc:sldMk cId="3958617290" sldId="2147469834"/>
        </pc:sldMkLst>
        <pc:spChg chg="mod">
          <ac:chgData name="Dalil BENAOUDA" userId="6bc32e50-31cc-420e-af2c-c81feb754bf7" providerId="ADAL" clId="{2B1617D0-14B2-4879-AEBD-46BD4567454B}" dt="2023-01-19T09:26:51.612" v="72" actId="14100"/>
          <ac:spMkLst>
            <pc:docMk/>
            <pc:sldMk cId="3958617290" sldId="2147469834"/>
            <ac:spMk id="5" creationId="{FB3FF2C0-EF0B-47FD-88D3-D36CBAF5C9D0}"/>
          </ac:spMkLst>
        </pc:spChg>
        <pc:spChg chg="mod">
          <ac:chgData name="Dalil BENAOUDA" userId="6bc32e50-31cc-420e-af2c-c81feb754bf7" providerId="ADAL" clId="{2B1617D0-14B2-4879-AEBD-46BD4567454B}" dt="2023-01-19T09:58:29.428" v="655" actId="20577"/>
          <ac:spMkLst>
            <pc:docMk/>
            <pc:sldMk cId="3958617290" sldId="2147469834"/>
            <ac:spMk id="6" creationId="{91BF4286-DF76-4878-8886-A3D2133831C4}"/>
          </ac:spMkLst>
        </pc:spChg>
        <pc:spChg chg="mod">
          <ac:chgData name="Dalil BENAOUDA" userId="6bc32e50-31cc-420e-af2c-c81feb754bf7" providerId="ADAL" clId="{2B1617D0-14B2-4879-AEBD-46BD4567454B}" dt="2023-01-19T09:50:55.497" v="113" actId="1076"/>
          <ac:spMkLst>
            <pc:docMk/>
            <pc:sldMk cId="3958617290" sldId="2147469834"/>
            <ac:spMk id="12" creationId="{F1085BAA-197C-4397-8FC8-330CD1101FCD}"/>
          </ac:spMkLst>
        </pc:spChg>
        <pc:spChg chg="mod">
          <ac:chgData name="Dalil BENAOUDA" userId="6bc32e50-31cc-420e-af2c-c81feb754bf7" providerId="ADAL" clId="{2B1617D0-14B2-4879-AEBD-46BD4567454B}" dt="2023-01-19T09:57:55.153" v="654" actId="20577"/>
          <ac:spMkLst>
            <pc:docMk/>
            <pc:sldMk cId="3958617290" sldId="2147469834"/>
            <ac:spMk id="15" creationId="{A8401D60-C228-485D-ABD1-CF965DBC5F7E}"/>
          </ac:spMkLst>
        </pc:spChg>
        <pc:spChg chg="mod">
          <ac:chgData name="Dalil BENAOUDA" userId="6bc32e50-31cc-420e-af2c-c81feb754bf7" providerId="ADAL" clId="{2B1617D0-14B2-4879-AEBD-46BD4567454B}" dt="2023-01-19T10:44:05.308" v="2280" actId="1035"/>
          <ac:spMkLst>
            <pc:docMk/>
            <pc:sldMk cId="3958617290" sldId="2147469834"/>
            <ac:spMk id="17" creationId="{C656E025-4588-42D8-AA51-EF0BB6B93C1A}"/>
          </ac:spMkLst>
        </pc:spChg>
        <pc:spChg chg="mod">
          <ac:chgData name="Dalil BENAOUDA" userId="6bc32e50-31cc-420e-af2c-c81feb754bf7" providerId="ADAL" clId="{2B1617D0-14B2-4879-AEBD-46BD4567454B}" dt="2023-01-19T10:45:35.216" v="2430" actId="20577"/>
          <ac:spMkLst>
            <pc:docMk/>
            <pc:sldMk cId="3958617290" sldId="2147469834"/>
            <ac:spMk id="19" creationId="{CB8A9802-2C70-4F30-9CA7-29786AF78DCE}"/>
          </ac:spMkLst>
        </pc:spChg>
        <pc:spChg chg="mod">
          <ac:chgData name="Dalil BENAOUDA" userId="6bc32e50-31cc-420e-af2c-c81feb754bf7" providerId="ADAL" clId="{2B1617D0-14B2-4879-AEBD-46BD4567454B}" dt="2023-01-19T10:40:53.482" v="1604"/>
          <ac:spMkLst>
            <pc:docMk/>
            <pc:sldMk cId="3958617290" sldId="2147469834"/>
            <ac:spMk id="33" creationId="{C42E5BBD-BE0A-477F-AE05-02F9C351A0C7}"/>
          </ac:spMkLst>
        </pc:spChg>
        <pc:spChg chg="mod">
          <ac:chgData name="Dalil BENAOUDA" userId="6bc32e50-31cc-420e-af2c-c81feb754bf7" providerId="ADAL" clId="{2B1617D0-14B2-4879-AEBD-46BD4567454B}" dt="2023-01-19T10:40:48.490" v="1603"/>
          <ac:spMkLst>
            <pc:docMk/>
            <pc:sldMk cId="3958617290" sldId="2147469834"/>
            <ac:spMk id="36" creationId="{CFA3FA81-0617-4EBF-88EA-78603A010534}"/>
          </ac:spMkLst>
        </pc:spChg>
        <pc:spChg chg="mod">
          <ac:chgData name="Dalil BENAOUDA" userId="6bc32e50-31cc-420e-af2c-c81feb754bf7" providerId="ADAL" clId="{2B1617D0-14B2-4879-AEBD-46BD4567454B}" dt="2023-01-20T14:08:01.626" v="3373" actId="313"/>
          <ac:spMkLst>
            <pc:docMk/>
            <pc:sldMk cId="3958617290" sldId="2147469834"/>
            <ac:spMk id="41" creationId="{25573386-397D-4236-AC94-CC2FA0F6E291}"/>
          </ac:spMkLst>
        </pc:spChg>
        <pc:spChg chg="mod">
          <ac:chgData name="Dalil BENAOUDA" userId="6bc32e50-31cc-420e-af2c-c81feb754bf7" providerId="ADAL" clId="{2B1617D0-14B2-4879-AEBD-46BD4567454B}" dt="2023-01-19T10:45:52.743" v="2432" actId="20577"/>
          <ac:spMkLst>
            <pc:docMk/>
            <pc:sldMk cId="3958617290" sldId="2147469834"/>
            <ac:spMk id="42" creationId="{F6E0AFCB-348E-400B-B884-54DE72ED0ED4}"/>
          </ac:spMkLst>
        </pc:spChg>
        <pc:spChg chg="mod">
          <ac:chgData name="Dalil BENAOUDA" userId="6bc32e50-31cc-420e-af2c-c81feb754bf7" providerId="ADAL" clId="{2B1617D0-14B2-4879-AEBD-46BD4567454B}" dt="2023-01-19T10:39:25.278" v="1396" actId="20577"/>
          <ac:spMkLst>
            <pc:docMk/>
            <pc:sldMk cId="3958617290" sldId="2147469834"/>
            <ac:spMk id="64" creationId="{E81B612B-1AD3-408E-9DEE-C975DAEC3C2C}"/>
          </ac:spMkLst>
        </pc:spChg>
        <pc:spChg chg="mod">
          <ac:chgData name="Dalil BENAOUDA" userId="6bc32e50-31cc-420e-af2c-c81feb754bf7" providerId="ADAL" clId="{2B1617D0-14B2-4879-AEBD-46BD4567454B}" dt="2023-01-19T10:39:48.364" v="1474" actId="20577"/>
          <ac:spMkLst>
            <pc:docMk/>
            <pc:sldMk cId="3958617290" sldId="2147469834"/>
            <ac:spMk id="68" creationId="{C03E0C56-82DA-459D-8FF7-4927AEF36680}"/>
          </ac:spMkLst>
        </pc:spChg>
        <pc:spChg chg="mod">
          <ac:chgData name="Dalil BENAOUDA" userId="6bc32e50-31cc-420e-af2c-c81feb754bf7" providerId="ADAL" clId="{2B1617D0-14B2-4879-AEBD-46BD4567454B}" dt="2023-01-19T10:40:19.492" v="1579" actId="20577"/>
          <ac:spMkLst>
            <pc:docMk/>
            <pc:sldMk cId="3958617290" sldId="2147469834"/>
            <ac:spMk id="72" creationId="{D1F4F826-4F54-4A14-87FD-FBF7A85546CC}"/>
          </ac:spMkLst>
        </pc:spChg>
        <pc:grpChg chg="mod">
          <ac:chgData name="Dalil BENAOUDA" userId="6bc32e50-31cc-420e-af2c-c81feb754bf7" providerId="ADAL" clId="{2B1617D0-14B2-4879-AEBD-46BD4567454B}" dt="2023-01-19T10:41:01.915" v="1606" actId="1076"/>
          <ac:grpSpMkLst>
            <pc:docMk/>
            <pc:sldMk cId="3958617290" sldId="2147469834"/>
            <ac:grpSpMk id="40" creationId="{E79DF9FB-B043-4002-B082-759D0AC65092}"/>
          </ac:grpSpMkLst>
        </pc:grpChg>
        <pc:picChg chg="mod">
          <ac:chgData name="Dalil BENAOUDA" userId="6bc32e50-31cc-420e-af2c-c81feb754bf7" providerId="ADAL" clId="{2B1617D0-14B2-4879-AEBD-46BD4567454B}" dt="2023-01-19T10:44:05.308" v="2280" actId="1035"/>
          <ac:picMkLst>
            <pc:docMk/>
            <pc:sldMk cId="3958617290" sldId="2147469834"/>
            <ac:picMk id="20" creationId="{136D2429-7CD0-4027-8B6A-3DEB887CBDB6}"/>
          </ac:picMkLst>
        </pc:picChg>
        <pc:cxnChg chg="mod">
          <ac:chgData name="Dalil BENAOUDA" userId="6bc32e50-31cc-420e-af2c-c81feb754bf7" providerId="ADAL" clId="{2B1617D0-14B2-4879-AEBD-46BD4567454B}" dt="2023-01-19T10:44:05.308" v="2280" actId="1035"/>
          <ac:cxnSpMkLst>
            <pc:docMk/>
            <pc:sldMk cId="3958617290" sldId="2147469834"/>
            <ac:cxnSpMk id="18" creationId="{04B94CFF-10B5-49D4-9D0E-AAF763665E37}"/>
          </ac:cxnSpMkLst>
        </pc:cxnChg>
      </pc:sldChg>
      <pc:sldChg chg="del mod modShow">
        <pc:chgData name="Dalil BENAOUDA" userId="6bc32e50-31cc-420e-af2c-c81feb754bf7" providerId="ADAL" clId="{2B1617D0-14B2-4879-AEBD-46BD4567454B}" dt="2023-01-23T10:09:11.425" v="4045" actId="47"/>
        <pc:sldMkLst>
          <pc:docMk/>
          <pc:sldMk cId="1844681245" sldId="2147469835"/>
        </pc:sldMkLst>
      </pc:sldChg>
      <pc:sldChg chg="del mod modShow">
        <pc:chgData name="Dalil BENAOUDA" userId="6bc32e50-31cc-420e-af2c-c81feb754bf7" providerId="ADAL" clId="{2B1617D0-14B2-4879-AEBD-46BD4567454B}" dt="2023-01-23T10:09:11.425" v="4045" actId="47"/>
        <pc:sldMkLst>
          <pc:docMk/>
          <pc:sldMk cId="3579041657" sldId="2147469836"/>
        </pc:sldMkLst>
      </pc:sldChg>
      <pc:sldChg chg="del mod modShow">
        <pc:chgData name="Dalil BENAOUDA" userId="6bc32e50-31cc-420e-af2c-c81feb754bf7" providerId="ADAL" clId="{2B1617D0-14B2-4879-AEBD-46BD4567454B}" dt="2023-01-23T10:09:11.425" v="4045" actId="47"/>
        <pc:sldMkLst>
          <pc:docMk/>
          <pc:sldMk cId="1412545971" sldId="2147469837"/>
        </pc:sldMkLst>
      </pc:sldChg>
      <pc:sldChg chg="del mod modShow">
        <pc:chgData name="Dalil BENAOUDA" userId="6bc32e50-31cc-420e-af2c-c81feb754bf7" providerId="ADAL" clId="{2B1617D0-14B2-4879-AEBD-46BD4567454B}" dt="2023-01-23T10:09:11.425" v="4045" actId="47"/>
        <pc:sldMkLst>
          <pc:docMk/>
          <pc:sldMk cId="1189239573" sldId="2147469838"/>
        </pc:sldMkLst>
      </pc:sldChg>
      <pc:sldChg chg="del mod modShow">
        <pc:chgData name="Dalil BENAOUDA" userId="6bc32e50-31cc-420e-af2c-c81feb754bf7" providerId="ADAL" clId="{2B1617D0-14B2-4879-AEBD-46BD4567454B}" dt="2023-01-23T10:09:11.425" v="4045" actId="47"/>
        <pc:sldMkLst>
          <pc:docMk/>
          <pc:sldMk cId="3617074622" sldId="2147469839"/>
        </pc:sldMkLst>
      </pc:sldChg>
      <pc:sldChg chg="del mod modShow">
        <pc:chgData name="Dalil BENAOUDA" userId="6bc32e50-31cc-420e-af2c-c81feb754bf7" providerId="ADAL" clId="{2B1617D0-14B2-4879-AEBD-46BD4567454B}" dt="2023-01-23T10:09:11.425" v="4045" actId="47"/>
        <pc:sldMkLst>
          <pc:docMk/>
          <pc:sldMk cId="3337495690" sldId="2147469840"/>
        </pc:sldMkLst>
      </pc:sldChg>
      <pc:sldChg chg="del mod modShow">
        <pc:chgData name="Dalil BENAOUDA" userId="6bc32e50-31cc-420e-af2c-c81feb754bf7" providerId="ADAL" clId="{2B1617D0-14B2-4879-AEBD-46BD4567454B}" dt="2023-01-23T10:09:11.425" v="4045" actId="47"/>
        <pc:sldMkLst>
          <pc:docMk/>
          <pc:sldMk cId="2808153295" sldId="2147469841"/>
        </pc:sldMkLst>
      </pc:sldChg>
      <pc:sldChg chg="modSp mod">
        <pc:chgData name="Dalil BENAOUDA" userId="6bc32e50-31cc-420e-af2c-c81feb754bf7" providerId="ADAL" clId="{2B1617D0-14B2-4879-AEBD-46BD4567454B}" dt="2023-01-23T16:53:07.874" v="5274" actId="20577"/>
        <pc:sldMkLst>
          <pc:docMk/>
          <pc:sldMk cId="256183737" sldId="2147469842"/>
        </pc:sldMkLst>
        <pc:graphicFrameChg chg="modGraphic">
          <ac:chgData name="Dalil BENAOUDA" userId="6bc32e50-31cc-420e-af2c-c81feb754bf7" providerId="ADAL" clId="{2B1617D0-14B2-4879-AEBD-46BD4567454B}" dt="2023-01-23T16:53:07.874" v="5274" actId="20577"/>
          <ac:graphicFrameMkLst>
            <pc:docMk/>
            <pc:sldMk cId="256183737" sldId="2147469842"/>
            <ac:graphicFrameMk id="4" creationId="{437AB2C6-1962-48D7-BBBD-E467214EDE31}"/>
          </ac:graphicFrameMkLst>
        </pc:graphicFrameChg>
      </pc:sldChg>
      <pc:sldChg chg="modSp mod">
        <pc:chgData name="Dalil BENAOUDA" userId="6bc32e50-31cc-420e-af2c-c81feb754bf7" providerId="ADAL" clId="{2B1617D0-14B2-4879-AEBD-46BD4567454B}" dt="2023-01-23T17:07:17.674" v="5842" actId="207"/>
        <pc:sldMkLst>
          <pc:docMk/>
          <pc:sldMk cId="1055855095" sldId="2147469843"/>
        </pc:sldMkLst>
        <pc:spChg chg="mod">
          <ac:chgData name="Dalil BENAOUDA" userId="6bc32e50-31cc-420e-af2c-c81feb754bf7" providerId="ADAL" clId="{2B1617D0-14B2-4879-AEBD-46BD4567454B}" dt="2023-01-23T17:06:49.591" v="5836" actId="14100"/>
          <ac:spMkLst>
            <pc:docMk/>
            <pc:sldMk cId="1055855095" sldId="2147469843"/>
            <ac:spMk id="6" creationId="{8A88337F-C6B5-43D7-BAFD-2A01BE57E6CF}"/>
          </ac:spMkLst>
        </pc:spChg>
        <pc:graphicFrameChg chg="mod modGraphic">
          <ac:chgData name="Dalil BENAOUDA" userId="6bc32e50-31cc-420e-af2c-c81feb754bf7" providerId="ADAL" clId="{2B1617D0-14B2-4879-AEBD-46BD4567454B}" dt="2023-01-23T17:07:17.674" v="5842" actId="207"/>
          <ac:graphicFrameMkLst>
            <pc:docMk/>
            <pc:sldMk cId="1055855095" sldId="2147469843"/>
            <ac:graphicFrameMk id="5" creationId="{E247BD5F-6119-4BE9-9391-766AF3CC0E43}"/>
          </ac:graphicFrameMkLst>
        </pc:graphicFrameChg>
      </pc:sldChg>
      <pc:sldChg chg="addSp modSp">
        <pc:chgData name="Dalil BENAOUDA" userId="6bc32e50-31cc-420e-af2c-c81feb754bf7" providerId="ADAL" clId="{2B1617D0-14B2-4879-AEBD-46BD4567454B}" dt="2023-01-26T14:56:22.255" v="8811"/>
        <pc:sldMkLst>
          <pc:docMk/>
          <pc:sldMk cId="3144378083" sldId="2147469858"/>
        </pc:sldMkLst>
        <pc:spChg chg="add mod">
          <ac:chgData name="Dalil BENAOUDA" userId="6bc32e50-31cc-420e-af2c-c81feb754bf7" providerId="ADAL" clId="{2B1617D0-14B2-4879-AEBD-46BD4567454B}" dt="2023-01-26T14:56:22.255" v="8811"/>
          <ac:spMkLst>
            <pc:docMk/>
            <pc:sldMk cId="3144378083" sldId="2147469858"/>
            <ac:spMk id="32" creationId="{259B7F59-29A3-4000-8CD7-155D337FE3AE}"/>
          </ac:spMkLst>
        </pc:spChg>
      </pc:sldChg>
      <pc:sldChg chg="addSp delSp modSp mod ord">
        <pc:chgData name="Dalil BENAOUDA" userId="6bc32e50-31cc-420e-af2c-c81feb754bf7" providerId="ADAL" clId="{2B1617D0-14B2-4879-AEBD-46BD4567454B}" dt="2023-01-23T16:59:44.300" v="5429"/>
        <pc:sldMkLst>
          <pc:docMk/>
          <pc:sldMk cId="2704744056" sldId="2147469863"/>
        </pc:sldMkLst>
        <pc:spChg chg="mod">
          <ac:chgData name="Dalil BENAOUDA" userId="6bc32e50-31cc-420e-af2c-c81feb754bf7" providerId="ADAL" clId="{2B1617D0-14B2-4879-AEBD-46BD4567454B}" dt="2023-01-23T16:59:38.506" v="5426" actId="20577"/>
          <ac:spMkLst>
            <pc:docMk/>
            <pc:sldMk cId="2704744056" sldId="2147469863"/>
            <ac:spMk id="2" creationId="{FAE777E8-3CDA-44F2-9E9D-2250CCA83A9E}"/>
          </ac:spMkLst>
        </pc:spChg>
        <pc:spChg chg="del">
          <ac:chgData name="Dalil BENAOUDA" userId="6bc32e50-31cc-420e-af2c-c81feb754bf7" providerId="ADAL" clId="{2B1617D0-14B2-4879-AEBD-46BD4567454B}" dt="2023-01-23T10:14:38.454" v="4047" actId="478"/>
          <ac:spMkLst>
            <pc:docMk/>
            <pc:sldMk cId="2704744056" sldId="2147469863"/>
            <ac:spMk id="3" creationId="{F977C99E-8F9A-4F7C-A192-45031BA91B11}"/>
          </ac:spMkLst>
        </pc:spChg>
        <pc:spChg chg="add mod">
          <ac:chgData name="Dalil BENAOUDA" userId="6bc32e50-31cc-420e-af2c-c81feb754bf7" providerId="ADAL" clId="{2B1617D0-14B2-4879-AEBD-46BD4567454B}" dt="2023-01-23T10:14:38.842" v="4048"/>
          <ac:spMkLst>
            <pc:docMk/>
            <pc:sldMk cId="2704744056" sldId="2147469863"/>
            <ac:spMk id="4" creationId="{508FB3BA-477F-4DF8-8D22-678DE8751B6C}"/>
          </ac:spMkLst>
        </pc:spChg>
        <pc:spChg chg="add mod">
          <ac:chgData name="Dalil BENAOUDA" userId="6bc32e50-31cc-420e-af2c-c81feb754bf7" providerId="ADAL" clId="{2B1617D0-14B2-4879-AEBD-46BD4567454B}" dt="2023-01-23T16:59:41.562" v="5427" actId="1076"/>
          <ac:spMkLst>
            <pc:docMk/>
            <pc:sldMk cId="2704744056" sldId="2147469863"/>
            <ac:spMk id="5" creationId="{98CE25CC-D700-4B56-8472-3BF350241ABB}"/>
          </ac:spMkLst>
        </pc:spChg>
        <pc:spChg chg="add mod">
          <ac:chgData name="Dalil BENAOUDA" userId="6bc32e50-31cc-420e-af2c-c81feb754bf7" providerId="ADAL" clId="{2B1617D0-14B2-4879-AEBD-46BD4567454B}" dt="2023-01-23T10:14:38.842" v="4048"/>
          <ac:spMkLst>
            <pc:docMk/>
            <pc:sldMk cId="2704744056" sldId="2147469863"/>
            <ac:spMk id="8" creationId="{DC488508-8F35-481B-A56F-708AA994B049}"/>
          </ac:spMkLst>
        </pc:spChg>
        <pc:spChg chg="add mod">
          <ac:chgData name="Dalil BENAOUDA" userId="6bc32e50-31cc-420e-af2c-c81feb754bf7" providerId="ADAL" clId="{2B1617D0-14B2-4879-AEBD-46BD4567454B}" dt="2023-01-23T10:14:38.842" v="4048"/>
          <ac:spMkLst>
            <pc:docMk/>
            <pc:sldMk cId="2704744056" sldId="2147469863"/>
            <ac:spMk id="9" creationId="{3EF6C34B-6447-4473-B7E1-C9DAC98E2EBD}"/>
          </ac:spMkLst>
        </pc:spChg>
        <pc:spChg chg="mod">
          <ac:chgData name="Dalil BENAOUDA" userId="6bc32e50-31cc-420e-af2c-c81feb754bf7" providerId="ADAL" clId="{2B1617D0-14B2-4879-AEBD-46BD4567454B}" dt="2023-01-23T10:14:38.842" v="4048"/>
          <ac:spMkLst>
            <pc:docMk/>
            <pc:sldMk cId="2704744056" sldId="2147469863"/>
            <ac:spMk id="11" creationId="{8781DB24-F2AC-4C8F-AE63-9CAEB3AD8057}"/>
          </ac:spMkLst>
        </pc:spChg>
        <pc:spChg chg="mod">
          <ac:chgData name="Dalil BENAOUDA" userId="6bc32e50-31cc-420e-af2c-c81feb754bf7" providerId="ADAL" clId="{2B1617D0-14B2-4879-AEBD-46BD4567454B}" dt="2023-01-23T10:14:38.842" v="4048"/>
          <ac:spMkLst>
            <pc:docMk/>
            <pc:sldMk cId="2704744056" sldId="2147469863"/>
            <ac:spMk id="12" creationId="{2E0357AD-9FF9-4514-8DFA-1966D6E88A5D}"/>
          </ac:spMkLst>
        </pc:spChg>
        <pc:spChg chg="add mod">
          <ac:chgData name="Dalil BENAOUDA" userId="6bc32e50-31cc-420e-af2c-c81feb754bf7" providerId="ADAL" clId="{2B1617D0-14B2-4879-AEBD-46BD4567454B}" dt="2023-01-23T10:14:38.842" v="4048"/>
          <ac:spMkLst>
            <pc:docMk/>
            <pc:sldMk cId="2704744056" sldId="2147469863"/>
            <ac:spMk id="13" creationId="{087D3CB4-1CEA-4131-A93E-90E018D5B4D0}"/>
          </ac:spMkLst>
        </pc:spChg>
        <pc:spChg chg="mod">
          <ac:chgData name="Dalil BENAOUDA" userId="6bc32e50-31cc-420e-af2c-c81feb754bf7" providerId="ADAL" clId="{2B1617D0-14B2-4879-AEBD-46BD4567454B}" dt="2023-01-23T10:14:38.842" v="4048"/>
          <ac:spMkLst>
            <pc:docMk/>
            <pc:sldMk cId="2704744056" sldId="2147469863"/>
            <ac:spMk id="15" creationId="{015E6D31-B1BB-44AC-ADD7-710C9E389734}"/>
          </ac:spMkLst>
        </pc:spChg>
        <pc:spChg chg="mod">
          <ac:chgData name="Dalil BENAOUDA" userId="6bc32e50-31cc-420e-af2c-c81feb754bf7" providerId="ADAL" clId="{2B1617D0-14B2-4879-AEBD-46BD4567454B}" dt="2023-01-23T10:14:38.842" v="4048"/>
          <ac:spMkLst>
            <pc:docMk/>
            <pc:sldMk cId="2704744056" sldId="2147469863"/>
            <ac:spMk id="16" creationId="{88A204D6-9AFD-4BF1-8399-4B1DAB3E4894}"/>
          </ac:spMkLst>
        </pc:spChg>
        <pc:spChg chg="add mod">
          <ac:chgData name="Dalil BENAOUDA" userId="6bc32e50-31cc-420e-af2c-c81feb754bf7" providerId="ADAL" clId="{2B1617D0-14B2-4879-AEBD-46BD4567454B}" dt="2023-01-23T10:14:38.842" v="4048"/>
          <ac:spMkLst>
            <pc:docMk/>
            <pc:sldMk cId="2704744056" sldId="2147469863"/>
            <ac:spMk id="17" creationId="{DF04AFA2-183F-4C25-BC44-BC42066E8EFC}"/>
          </ac:spMkLst>
        </pc:spChg>
        <pc:spChg chg="add mod">
          <ac:chgData name="Dalil BENAOUDA" userId="6bc32e50-31cc-420e-af2c-c81feb754bf7" providerId="ADAL" clId="{2B1617D0-14B2-4879-AEBD-46BD4567454B}" dt="2023-01-23T10:14:38.842" v="4048"/>
          <ac:spMkLst>
            <pc:docMk/>
            <pc:sldMk cId="2704744056" sldId="2147469863"/>
            <ac:spMk id="18" creationId="{8B1C4AAB-EF2C-44B6-9319-54A1BE62EC5E}"/>
          </ac:spMkLst>
        </pc:spChg>
        <pc:spChg chg="add mod">
          <ac:chgData name="Dalil BENAOUDA" userId="6bc32e50-31cc-420e-af2c-c81feb754bf7" providerId="ADAL" clId="{2B1617D0-14B2-4879-AEBD-46BD4567454B}" dt="2023-01-23T10:14:38.842" v="4048"/>
          <ac:spMkLst>
            <pc:docMk/>
            <pc:sldMk cId="2704744056" sldId="2147469863"/>
            <ac:spMk id="19" creationId="{98F06B91-D89A-4FA0-8DDB-270BE05A36FB}"/>
          </ac:spMkLst>
        </pc:spChg>
        <pc:spChg chg="add mod">
          <ac:chgData name="Dalil BENAOUDA" userId="6bc32e50-31cc-420e-af2c-c81feb754bf7" providerId="ADAL" clId="{2B1617D0-14B2-4879-AEBD-46BD4567454B}" dt="2023-01-23T10:14:38.842" v="4048"/>
          <ac:spMkLst>
            <pc:docMk/>
            <pc:sldMk cId="2704744056" sldId="2147469863"/>
            <ac:spMk id="20" creationId="{2DD0064D-CDBF-4E10-B1C8-DE3D97BEB023}"/>
          </ac:spMkLst>
        </pc:spChg>
        <pc:spChg chg="add mod">
          <ac:chgData name="Dalil BENAOUDA" userId="6bc32e50-31cc-420e-af2c-c81feb754bf7" providerId="ADAL" clId="{2B1617D0-14B2-4879-AEBD-46BD4567454B}" dt="2023-01-23T10:14:38.842" v="4048"/>
          <ac:spMkLst>
            <pc:docMk/>
            <pc:sldMk cId="2704744056" sldId="2147469863"/>
            <ac:spMk id="21" creationId="{F415E73B-A128-452B-B5B3-1FF8E3B6F2D1}"/>
          </ac:spMkLst>
        </pc:spChg>
        <pc:spChg chg="add mod">
          <ac:chgData name="Dalil BENAOUDA" userId="6bc32e50-31cc-420e-af2c-c81feb754bf7" providerId="ADAL" clId="{2B1617D0-14B2-4879-AEBD-46BD4567454B}" dt="2023-01-23T10:14:38.842" v="4048"/>
          <ac:spMkLst>
            <pc:docMk/>
            <pc:sldMk cId="2704744056" sldId="2147469863"/>
            <ac:spMk id="22" creationId="{62F72779-0EF9-4678-A9F9-AE097286FBF0}"/>
          </ac:spMkLst>
        </pc:spChg>
        <pc:spChg chg="add mod">
          <ac:chgData name="Dalil BENAOUDA" userId="6bc32e50-31cc-420e-af2c-c81feb754bf7" providerId="ADAL" clId="{2B1617D0-14B2-4879-AEBD-46BD4567454B}" dt="2023-01-23T10:14:38.842" v="4048"/>
          <ac:spMkLst>
            <pc:docMk/>
            <pc:sldMk cId="2704744056" sldId="2147469863"/>
            <ac:spMk id="23" creationId="{78FF6247-64FC-4D85-A788-7ABFF52E79D0}"/>
          </ac:spMkLst>
        </pc:spChg>
        <pc:spChg chg="add mod">
          <ac:chgData name="Dalil BENAOUDA" userId="6bc32e50-31cc-420e-af2c-c81feb754bf7" providerId="ADAL" clId="{2B1617D0-14B2-4879-AEBD-46BD4567454B}" dt="2023-01-23T10:14:38.842" v="4048"/>
          <ac:spMkLst>
            <pc:docMk/>
            <pc:sldMk cId="2704744056" sldId="2147469863"/>
            <ac:spMk id="24" creationId="{E5E8D57B-47D5-47B1-A454-F679B475C0F6}"/>
          </ac:spMkLst>
        </pc:spChg>
        <pc:spChg chg="add mod">
          <ac:chgData name="Dalil BENAOUDA" userId="6bc32e50-31cc-420e-af2c-c81feb754bf7" providerId="ADAL" clId="{2B1617D0-14B2-4879-AEBD-46BD4567454B}" dt="2023-01-23T10:14:38.842" v="4048"/>
          <ac:spMkLst>
            <pc:docMk/>
            <pc:sldMk cId="2704744056" sldId="2147469863"/>
            <ac:spMk id="25" creationId="{5BAE922F-C372-4D29-A9A0-E58165C62FA6}"/>
          </ac:spMkLst>
        </pc:spChg>
        <pc:spChg chg="add mod">
          <ac:chgData name="Dalil BENAOUDA" userId="6bc32e50-31cc-420e-af2c-c81feb754bf7" providerId="ADAL" clId="{2B1617D0-14B2-4879-AEBD-46BD4567454B}" dt="2023-01-23T10:14:38.842" v="4048"/>
          <ac:spMkLst>
            <pc:docMk/>
            <pc:sldMk cId="2704744056" sldId="2147469863"/>
            <ac:spMk id="26" creationId="{8FFDF99D-254A-460F-87C7-D3CE2ACFAB86}"/>
          </ac:spMkLst>
        </pc:spChg>
        <pc:spChg chg="add mod">
          <ac:chgData name="Dalil BENAOUDA" userId="6bc32e50-31cc-420e-af2c-c81feb754bf7" providerId="ADAL" clId="{2B1617D0-14B2-4879-AEBD-46BD4567454B}" dt="2023-01-23T10:14:38.842" v="4048"/>
          <ac:spMkLst>
            <pc:docMk/>
            <pc:sldMk cId="2704744056" sldId="2147469863"/>
            <ac:spMk id="27" creationId="{BC14B748-990C-4AF3-81EE-495B8A0FB9E9}"/>
          </ac:spMkLst>
        </pc:spChg>
        <pc:spChg chg="add mod">
          <ac:chgData name="Dalil BENAOUDA" userId="6bc32e50-31cc-420e-af2c-c81feb754bf7" providerId="ADAL" clId="{2B1617D0-14B2-4879-AEBD-46BD4567454B}" dt="2023-01-23T10:14:38.842" v="4048"/>
          <ac:spMkLst>
            <pc:docMk/>
            <pc:sldMk cId="2704744056" sldId="2147469863"/>
            <ac:spMk id="28" creationId="{5A80555F-FE94-453A-AC53-C828CEA45E34}"/>
          </ac:spMkLst>
        </pc:spChg>
        <pc:spChg chg="add mod">
          <ac:chgData name="Dalil BENAOUDA" userId="6bc32e50-31cc-420e-af2c-c81feb754bf7" providerId="ADAL" clId="{2B1617D0-14B2-4879-AEBD-46BD4567454B}" dt="2023-01-23T10:14:38.842" v="4048"/>
          <ac:spMkLst>
            <pc:docMk/>
            <pc:sldMk cId="2704744056" sldId="2147469863"/>
            <ac:spMk id="29" creationId="{4D1B0D35-1441-44A6-B05B-9950256E4001}"/>
          </ac:spMkLst>
        </pc:spChg>
        <pc:spChg chg="add mod">
          <ac:chgData name="Dalil BENAOUDA" userId="6bc32e50-31cc-420e-af2c-c81feb754bf7" providerId="ADAL" clId="{2B1617D0-14B2-4879-AEBD-46BD4567454B}" dt="2023-01-23T10:14:38.842" v="4048"/>
          <ac:spMkLst>
            <pc:docMk/>
            <pc:sldMk cId="2704744056" sldId="2147469863"/>
            <ac:spMk id="30" creationId="{9C5497C0-CD4C-4C94-8BF6-C515E1B3FB4B}"/>
          </ac:spMkLst>
        </pc:spChg>
        <pc:spChg chg="add mod">
          <ac:chgData name="Dalil BENAOUDA" userId="6bc32e50-31cc-420e-af2c-c81feb754bf7" providerId="ADAL" clId="{2B1617D0-14B2-4879-AEBD-46BD4567454B}" dt="2023-01-23T10:14:38.842" v="4048"/>
          <ac:spMkLst>
            <pc:docMk/>
            <pc:sldMk cId="2704744056" sldId="2147469863"/>
            <ac:spMk id="31" creationId="{DCF3DB1B-144A-4760-B7BC-A9DF01DA3C8D}"/>
          </ac:spMkLst>
        </pc:spChg>
        <pc:spChg chg="add mod">
          <ac:chgData name="Dalil BENAOUDA" userId="6bc32e50-31cc-420e-af2c-c81feb754bf7" providerId="ADAL" clId="{2B1617D0-14B2-4879-AEBD-46BD4567454B}" dt="2023-01-23T10:14:38.842" v="4048"/>
          <ac:spMkLst>
            <pc:docMk/>
            <pc:sldMk cId="2704744056" sldId="2147469863"/>
            <ac:spMk id="37" creationId="{91BBDEA0-C45B-494A-A817-D40554F8251B}"/>
          </ac:spMkLst>
        </pc:spChg>
        <pc:spChg chg="add mod">
          <ac:chgData name="Dalil BENAOUDA" userId="6bc32e50-31cc-420e-af2c-c81feb754bf7" providerId="ADAL" clId="{2B1617D0-14B2-4879-AEBD-46BD4567454B}" dt="2023-01-23T10:14:38.842" v="4048"/>
          <ac:spMkLst>
            <pc:docMk/>
            <pc:sldMk cId="2704744056" sldId="2147469863"/>
            <ac:spMk id="38" creationId="{CE4E2FFB-68C4-40D5-BB48-5431D132A6FD}"/>
          </ac:spMkLst>
        </pc:spChg>
        <pc:spChg chg="add mod">
          <ac:chgData name="Dalil BENAOUDA" userId="6bc32e50-31cc-420e-af2c-c81feb754bf7" providerId="ADAL" clId="{2B1617D0-14B2-4879-AEBD-46BD4567454B}" dt="2023-01-23T10:14:38.842" v="4048"/>
          <ac:spMkLst>
            <pc:docMk/>
            <pc:sldMk cId="2704744056" sldId="2147469863"/>
            <ac:spMk id="39" creationId="{6BADF977-494A-4EB6-B3E9-551E06EE0EDE}"/>
          </ac:spMkLst>
        </pc:spChg>
        <pc:spChg chg="add mod">
          <ac:chgData name="Dalil BENAOUDA" userId="6bc32e50-31cc-420e-af2c-c81feb754bf7" providerId="ADAL" clId="{2B1617D0-14B2-4879-AEBD-46BD4567454B}" dt="2023-01-23T10:14:38.842" v="4048"/>
          <ac:spMkLst>
            <pc:docMk/>
            <pc:sldMk cId="2704744056" sldId="2147469863"/>
            <ac:spMk id="40" creationId="{601309C1-72AC-4BC7-AC80-062DC86605BE}"/>
          </ac:spMkLst>
        </pc:spChg>
        <pc:spChg chg="mod">
          <ac:chgData name="Dalil BENAOUDA" userId="6bc32e50-31cc-420e-af2c-c81feb754bf7" providerId="ADAL" clId="{2B1617D0-14B2-4879-AEBD-46BD4567454B}" dt="2023-01-23T10:14:38.842" v="4048"/>
          <ac:spMkLst>
            <pc:docMk/>
            <pc:sldMk cId="2704744056" sldId="2147469863"/>
            <ac:spMk id="45" creationId="{E758502D-2784-4B7D-AD42-C5B8CE3229DE}"/>
          </ac:spMkLst>
        </pc:spChg>
        <pc:spChg chg="mod">
          <ac:chgData name="Dalil BENAOUDA" userId="6bc32e50-31cc-420e-af2c-c81feb754bf7" providerId="ADAL" clId="{2B1617D0-14B2-4879-AEBD-46BD4567454B}" dt="2023-01-23T10:14:38.842" v="4048"/>
          <ac:spMkLst>
            <pc:docMk/>
            <pc:sldMk cId="2704744056" sldId="2147469863"/>
            <ac:spMk id="48" creationId="{133A810D-4B27-466D-B339-272D51DF7DDD}"/>
          </ac:spMkLst>
        </pc:spChg>
        <pc:spChg chg="add mod">
          <ac:chgData name="Dalil BENAOUDA" userId="6bc32e50-31cc-420e-af2c-c81feb754bf7" providerId="ADAL" clId="{2B1617D0-14B2-4879-AEBD-46BD4567454B}" dt="2023-01-23T10:14:38.842" v="4048"/>
          <ac:spMkLst>
            <pc:docMk/>
            <pc:sldMk cId="2704744056" sldId="2147469863"/>
            <ac:spMk id="50" creationId="{750CF3AD-6369-48F6-9DA6-62318211FE16}"/>
          </ac:spMkLst>
        </pc:spChg>
        <pc:spChg chg="mod">
          <ac:chgData name="Dalil BENAOUDA" userId="6bc32e50-31cc-420e-af2c-c81feb754bf7" providerId="ADAL" clId="{2B1617D0-14B2-4879-AEBD-46BD4567454B}" dt="2023-01-23T10:14:38.842" v="4048"/>
          <ac:spMkLst>
            <pc:docMk/>
            <pc:sldMk cId="2704744056" sldId="2147469863"/>
            <ac:spMk id="52" creationId="{B7A20E53-255B-453D-AD6E-96643DE95DF3}"/>
          </ac:spMkLst>
        </pc:spChg>
        <pc:grpChg chg="add mod">
          <ac:chgData name="Dalil BENAOUDA" userId="6bc32e50-31cc-420e-af2c-c81feb754bf7" providerId="ADAL" clId="{2B1617D0-14B2-4879-AEBD-46BD4567454B}" dt="2023-01-23T10:14:38.842" v="4048"/>
          <ac:grpSpMkLst>
            <pc:docMk/>
            <pc:sldMk cId="2704744056" sldId="2147469863"/>
            <ac:grpSpMk id="10" creationId="{124F4E1A-EFC4-489B-BD5E-D166F11A974E}"/>
          </ac:grpSpMkLst>
        </pc:grpChg>
        <pc:grpChg chg="add mod">
          <ac:chgData name="Dalil BENAOUDA" userId="6bc32e50-31cc-420e-af2c-c81feb754bf7" providerId="ADAL" clId="{2B1617D0-14B2-4879-AEBD-46BD4567454B}" dt="2023-01-23T10:14:38.842" v="4048"/>
          <ac:grpSpMkLst>
            <pc:docMk/>
            <pc:sldMk cId="2704744056" sldId="2147469863"/>
            <ac:grpSpMk id="14" creationId="{B9BDC727-36B1-4276-B4C9-2D0D5D94B1C7}"/>
          </ac:grpSpMkLst>
        </pc:grpChg>
        <pc:grpChg chg="add mod">
          <ac:chgData name="Dalil BENAOUDA" userId="6bc32e50-31cc-420e-af2c-c81feb754bf7" providerId="ADAL" clId="{2B1617D0-14B2-4879-AEBD-46BD4567454B}" dt="2023-01-23T10:14:38.842" v="4048"/>
          <ac:grpSpMkLst>
            <pc:docMk/>
            <pc:sldMk cId="2704744056" sldId="2147469863"/>
            <ac:grpSpMk id="44" creationId="{5D191A8A-3C99-4A1B-A4BA-31217F31D271}"/>
          </ac:grpSpMkLst>
        </pc:grpChg>
        <pc:grpChg chg="add mod">
          <ac:chgData name="Dalil BENAOUDA" userId="6bc32e50-31cc-420e-af2c-c81feb754bf7" providerId="ADAL" clId="{2B1617D0-14B2-4879-AEBD-46BD4567454B}" dt="2023-01-23T10:14:38.842" v="4048"/>
          <ac:grpSpMkLst>
            <pc:docMk/>
            <pc:sldMk cId="2704744056" sldId="2147469863"/>
            <ac:grpSpMk id="47" creationId="{B38189FA-2DF1-4281-A6D8-D7FB38B21341}"/>
          </ac:grpSpMkLst>
        </pc:grpChg>
        <pc:grpChg chg="add mod">
          <ac:chgData name="Dalil BENAOUDA" userId="6bc32e50-31cc-420e-af2c-c81feb754bf7" providerId="ADAL" clId="{2B1617D0-14B2-4879-AEBD-46BD4567454B}" dt="2023-01-23T10:14:38.842" v="4048"/>
          <ac:grpSpMkLst>
            <pc:docMk/>
            <pc:sldMk cId="2704744056" sldId="2147469863"/>
            <ac:grpSpMk id="51" creationId="{4AA70673-9254-472B-A820-E4BB6873EABA}"/>
          </ac:grpSpMkLst>
        </pc:grpChg>
        <pc:picChg chg="add mod">
          <ac:chgData name="Dalil BENAOUDA" userId="6bc32e50-31cc-420e-af2c-c81feb754bf7" providerId="ADAL" clId="{2B1617D0-14B2-4879-AEBD-46BD4567454B}" dt="2023-01-23T10:14:38.842" v="4048"/>
          <ac:picMkLst>
            <pc:docMk/>
            <pc:sldMk cId="2704744056" sldId="2147469863"/>
            <ac:picMk id="32" creationId="{C30ED72F-66D2-4D4E-9797-0C5E5277D30A}"/>
          </ac:picMkLst>
        </pc:picChg>
        <pc:picChg chg="add mod">
          <ac:chgData name="Dalil BENAOUDA" userId="6bc32e50-31cc-420e-af2c-c81feb754bf7" providerId="ADAL" clId="{2B1617D0-14B2-4879-AEBD-46BD4567454B}" dt="2023-01-23T10:14:38.842" v="4048"/>
          <ac:picMkLst>
            <pc:docMk/>
            <pc:sldMk cId="2704744056" sldId="2147469863"/>
            <ac:picMk id="33" creationId="{5522E2B0-CA4D-44C0-8767-989266D0DDDD}"/>
          </ac:picMkLst>
        </pc:picChg>
        <pc:picChg chg="add mod">
          <ac:chgData name="Dalil BENAOUDA" userId="6bc32e50-31cc-420e-af2c-c81feb754bf7" providerId="ADAL" clId="{2B1617D0-14B2-4879-AEBD-46BD4567454B}" dt="2023-01-23T10:14:38.842" v="4048"/>
          <ac:picMkLst>
            <pc:docMk/>
            <pc:sldMk cId="2704744056" sldId="2147469863"/>
            <ac:picMk id="34" creationId="{35080607-E077-4393-8361-F439B6DA627E}"/>
          </ac:picMkLst>
        </pc:picChg>
        <pc:picChg chg="add mod">
          <ac:chgData name="Dalil BENAOUDA" userId="6bc32e50-31cc-420e-af2c-c81feb754bf7" providerId="ADAL" clId="{2B1617D0-14B2-4879-AEBD-46BD4567454B}" dt="2023-01-23T10:14:38.842" v="4048"/>
          <ac:picMkLst>
            <pc:docMk/>
            <pc:sldMk cId="2704744056" sldId="2147469863"/>
            <ac:picMk id="35" creationId="{959B9341-2985-4EC1-9212-BC740D331634}"/>
          </ac:picMkLst>
        </pc:picChg>
        <pc:picChg chg="add mod">
          <ac:chgData name="Dalil BENAOUDA" userId="6bc32e50-31cc-420e-af2c-c81feb754bf7" providerId="ADAL" clId="{2B1617D0-14B2-4879-AEBD-46BD4567454B}" dt="2023-01-23T10:14:38.842" v="4048"/>
          <ac:picMkLst>
            <pc:docMk/>
            <pc:sldMk cId="2704744056" sldId="2147469863"/>
            <ac:picMk id="36" creationId="{F375F41A-6431-4C02-9D74-7AEB353D7A09}"/>
          </ac:picMkLst>
        </pc:picChg>
        <pc:picChg chg="mod">
          <ac:chgData name="Dalil BENAOUDA" userId="6bc32e50-31cc-420e-af2c-c81feb754bf7" providerId="ADAL" clId="{2B1617D0-14B2-4879-AEBD-46BD4567454B}" dt="2023-01-23T10:14:38.842" v="4048"/>
          <ac:picMkLst>
            <pc:docMk/>
            <pc:sldMk cId="2704744056" sldId="2147469863"/>
            <ac:picMk id="46" creationId="{23953D9B-6F20-4205-B86E-9F5105C70408}"/>
          </ac:picMkLst>
        </pc:picChg>
        <pc:picChg chg="mod">
          <ac:chgData name="Dalil BENAOUDA" userId="6bc32e50-31cc-420e-af2c-c81feb754bf7" providerId="ADAL" clId="{2B1617D0-14B2-4879-AEBD-46BD4567454B}" dt="2023-01-23T10:14:38.842" v="4048"/>
          <ac:picMkLst>
            <pc:docMk/>
            <pc:sldMk cId="2704744056" sldId="2147469863"/>
            <ac:picMk id="49" creationId="{78D0A2FC-0BEB-4F29-9374-97C7BDAA5434}"/>
          </ac:picMkLst>
        </pc:picChg>
        <pc:picChg chg="mod">
          <ac:chgData name="Dalil BENAOUDA" userId="6bc32e50-31cc-420e-af2c-c81feb754bf7" providerId="ADAL" clId="{2B1617D0-14B2-4879-AEBD-46BD4567454B}" dt="2023-01-23T10:14:38.842" v="4048"/>
          <ac:picMkLst>
            <pc:docMk/>
            <pc:sldMk cId="2704744056" sldId="2147469863"/>
            <ac:picMk id="53" creationId="{3C90A94A-D45D-4212-B18F-3A165BB1571D}"/>
          </ac:picMkLst>
        </pc:picChg>
        <pc:picChg chg="add mod">
          <ac:chgData name="Dalil BENAOUDA" userId="6bc32e50-31cc-420e-af2c-c81feb754bf7" providerId="ADAL" clId="{2B1617D0-14B2-4879-AEBD-46BD4567454B}" dt="2023-01-23T10:14:38.842" v="4048"/>
          <ac:picMkLst>
            <pc:docMk/>
            <pc:sldMk cId="2704744056" sldId="2147469863"/>
            <ac:picMk id="54" creationId="{AF09F3BC-9601-48CA-9C04-06FCF3623C3C}"/>
          </ac:picMkLst>
        </pc:picChg>
        <pc:cxnChg chg="add mod">
          <ac:chgData name="Dalil BENAOUDA" userId="6bc32e50-31cc-420e-af2c-c81feb754bf7" providerId="ADAL" clId="{2B1617D0-14B2-4879-AEBD-46BD4567454B}" dt="2023-01-23T10:14:38.842" v="4048"/>
          <ac:cxnSpMkLst>
            <pc:docMk/>
            <pc:sldMk cId="2704744056" sldId="2147469863"/>
            <ac:cxnSpMk id="6" creationId="{2A80FA8E-1A24-407D-A0C4-8F3E9D8A46BD}"/>
          </ac:cxnSpMkLst>
        </pc:cxnChg>
        <pc:cxnChg chg="add mod">
          <ac:chgData name="Dalil BENAOUDA" userId="6bc32e50-31cc-420e-af2c-c81feb754bf7" providerId="ADAL" clId="{2B1617D0-14B2-4879-AEBD-46BD4567454B}" dt="2023-01-23T10:14:38.842" v="4048"/>
          <ac:cxnSpMkLst>
            <pc:docMk/>
            <pc:sldMk cId="2704744056" sldId="2147469863"/>
            <ac:cxnSpMk id="7" creationId="{9663F628-36E5-4043-B31F-3D04F7837C87}"/>
          </ac:cxnSpMkLst>
        </pc:cxnChg>
        <pc:cxnChg chg="add mod">
          <ac:chgData name="Dalil BENAOUDA" userId="6bc32e50-31cc-420e-af2c-c81feb754bf7" providerId="ADAL" clId="{2B1617D0-14B2-4879-AEBD-46BD4567454B}" dt="2023-01-23T10:14:38.842" v="4048"/>
          <ac:cxnSpMkLst>
            <pc:docMk/>
            <pc:sldMk cId="2704744056" sldId="2147469863"/>
            <ac:cxnSpMk id="41" creationId="{5B1C58BA-4C8C-4576-A92C-C570215EF5F0}"/>
          </ac:cxnSpMkLst>
        </pc:cxnChg>
        <pc:cxnChg chg="add mod">
          <ac:chgData name="Dalil BENAOUDA" userId="6bc32e50-31cc-420e-af2c-c81feb754bf7" providerId="ADAL" clId="{2B1617D0-14B2-4879-AEBD-46BD4567454B}" dt="2023-01-23T10:14:38.842" v="4048"/>
          <ac:cxnSpMkLst>
            <pc:docMk/>
            <pc:sldMk cId="2704744056" sldId="2147469863"/>
            <ac:cxnSpMk id="42" creationId="{3BACCF0E-178E-4C56-92B2-4287ABACF549}"/>
          </ac:cxnSpMkLst>
        </pc:cxnChg>
        <pc:cxnChg chg="add mod">
          <ac:chgData name="Dalil BENAOUDA" userId="6bc32e50-31cc-420e-af2c-c81feb754bf7" providerId="ADAL" clId="{2B1617D0-14B2-4879-AEBD-46BD4567454B}" dt="2023-01-23T10:14:38.842" v="4048"/>
          <ac:cxnSpMkLst>
            <pc:docMk/>
            <pc:sldMk cId="2704744056" sldId="2147469863"/>
            <ac:cxnSpMk id="43" creationId="{371052F3-EE53-42E1-B998-535CEE15719F}"/>
          </ac:cxnSpMkLst>
        </pc:cxnChg>
      </pc:sldChg>
      <pc:sldChg chg="addSp delSp modSp add del mod ord">
        <pc:chgData name="Dalil BENAOUDA" userId="6bc32e50-31cc-420e-af2c-c81feb754bf7" providerId="ADAL" clId="{2B1617D0-14B2-4879-AEBD-46BD4567454B}" dt="2023-01-23T16:59:49.938" v="5433"/>
        <pc:sldMkLst>
          <pc:docMk/>
          <pc:sldMk cId="814698274" sldId="2147469864"/>
        </pc:sldMkLst>
        <pc:spChg chg="del">
          <ac:chgData name="Dalil BENAOUDA" userId="6bc32e50-31cc-420e-af2c-c81feb754bf7" providerId="ADAL" clId="{2B1617D0-14B2-4879-AEBD-46BD4567454B}" dt="2023-01-23T10:15:40.020" v="4051" actId="478"/>
          <ac:spMkLst>
            <pc:docMk/>
            <pc:sldMk cId="814698274" sldId="2147469864"/>
            <ac:spMk id="3" creationId="{DDDC244A-BFCF-4A24-9412-CC8791DCB45B}"/>
          </ac:spMkLst>
        </pc:spChg>
        <pc:spChg chg="add del mod">
          <ac:chgData name="Dalil BENAOUDA" userId="6bc32e50-31cc-420e-af2c-c81feb754bf7" providerId="ADAL" clId="{2B1617D0-14B2-4879-AEBD-46BD4567454B}" dt="2023-01-23T10:23:26.435" v="4061" actId="478"/>
          <ac:spMkLst>
            <pc:docMk/>
            <pc:sldMk cId="814698274" sldId="2147469864"/>
            <ac:spMk id="4" creationId="{51FE9DF7-B50C-4474-834A-3F1F919E5726}"/>
          </ac:spMkLst>
        </pc:spChg>
        <pc:spChg chg="add del mod">
          <ac:chgData name="Dalil BENAOUDA" userId="6bc32e50-31cc-420e-af2c-c81feb754bf7" providerId="ADAL" clId="{2B1617D0-14B2-4879-AEBD-46BD4567454B}" dt="2023-01-23T10:23:26.435" v="4061" actId="478"/>
          <ac:spMkLst>
            <pc:docMk/>
            <pc:sldMk cId="814698274" sldId="2147469864"/>
            <ac:spMk id="5" creationId="{FAADE841-5C2E-40CA-94F7-2EC4442362A9}"/>
          </ac:spMkLst>
        </pc:spChg>
        <pc:spChg chg="add del mod">
          <ac:chgData name="Dalil BENAOUDA" userId="6bc32e50-31cc-420e-af2c-c81feb754bf7" providerId="ADAL" clId="{2B1617D0-14B2-4879-AEBD-46BD4567454B}" dt="2023-01-23T10:23:26.435" v="4061" actId="478"/>
          <ac:spMkLst>
            <pc:docMk/>
            <pc:sldMk cId="814698274" sldId="2147469864"/>
            <ac:spMk id="6" creationId="{6655B7DD-8A5E-48CB-AB4E-DCC89A384A22}"/>
          </ac:spMkLst>
        </pc:spChg>
        <pc:spChg chg="add del mod">
          <ac:chgData name="Dalil BENAOUDA" userId="6bc32e50-31cc-420e-af2c-c81feb754bf7" providerId="ADAL" clId="{2B1617D0-14B2-4879-AEBD-46BD4567454B}" dt="2023-01-23T10:23:26.435" v="4061" actId="478"/>
          <ac:spMkLst>
            <pc:docMk/>
            <pc:sldMk cId="814698274" sldId="2147469864"/>
            <ac:spMk id="7" creationId="{1F2B635C-6114-414A-B43E-C35BD7C0EE53}"/>
          </ac:spMkLst>
        </pc:spChg>
        <pc:spChg chg="add del mod">
          <ac:chgData name="Dalil BENAOUDA" userId="6bc32e50-31cc-420e-af2c-c81feb754bf7" providerId="ADAL" clId="{2B1617D0-14B2-4879-AEBD-46BD4567454B}" dt="2023-01-23T10:23:26.435" v="4061" actId="478"/>
          <ac:spMkLst>
            <pc:docMk/>
            <pc:sldMk cId="814698274" sldId="2147469864"/>
            <ac:spMk id="8" creationId="{54EF86AC-0C98-4DAA-8ABE-1372368875F8}"/>
          </ac:spMkLst>
        </pc:spChg>
        <pc:spChg chg="add del mod">
          <ac:chgData name="Dalil BENAOUDA" userId="6bc32e50-31cc-420e-af2c-c81feb754bf7" providerId="ADAL" clId="{2B1617D0-14B2-4879-AEBD-46BD4567454B}" dt="2023-01-23T10:23:26.435" v="4061" actId="478"/>
          <ac:spMkLst>
            <pc:docMk/>
            <pc:sldMk cId="814698274" sldId="2147469864"/>
            <ac:spMk id="9" creationId="{FE58FAED-E6B8-46B7-A34C-CF5213D945B5}"/>
          </ac:spMkLst>
        </pc:spChg>
        <pc:spChg chg="add del mod">
          <ac:chgData name="Dalil BENAOUDA" userId="6bc32e50-31cc-420e-af2c-c81feb754bf7" providerId="ADAL" clId="{2B1617D0-14B2-4879-AEBD-46BD4567454B}" dt="2023-01-23T10:23:26.435" v="4061" actId="478"/>
          <ac:spMkLst>
            <pc:docMk/>
            <pc:sldMk cId="814698274" sldId="2147469864"/>
            <ac:spMk id="10" creationId="{3F5D2311-B08A-4F0F-A7D6-5EE91E7E998C}"/>
          </ac:spMkLst>
        </pc:spChg>
        <pc:spChg chg="add del mod">
          <ac:chgData name="Dalil BENAOUDA" userId="6bc32e50-31cc-420e-af2c-c81feb754bf7" providerId="ADAL" clId="{2B1617D0-14B2-4879-AEBD-46BD4567454B}" dt="2023-01-23T10:23:26.435" v="4061" actId="478"/>
          <ac:spMkLst>
            <pc:docMk/>
            <pc:sldMk cId="814698274" sldId="2147469864"/>
            <ac:spMk id="11" creationId="{B88CD189-A9C2-49C2-8CF2-E0713ECA11A2}"/>
          </ac:spMkLst>
        </pc:spChg>
        <pc:spChg chg="add del mod">
          <ac:chgData name="Dalil BENAOUDA" userId="6bc32e50-31cc-420e-af2c-c81feb754bf7" providerId="ADAL" clId="{2B1617D0-14B2-4879-AEBD-46BD4567454B}" dt="2023-01-23T10:23:26.435" v="4061" actId="478"/>
          <ac:spMkLst>
            <pc:docMk/>
            <pc:sldMk cId="814698274" sldId="2147469864"/>
            <ac:spMk id="12" creationId="{5E544169-6BA9-4250-AF7D-34502E66A7BB}"/>
          </ac:spMkLst>
        </pc:spChg>
        <pc:spChg chg="add del mod">
          <ac:chgData name="Dalil BENAOUDA" userId="6bc32e50-31cc-420e-af2c-c81feb754bf7" providerId="ADAL" clId="{2B1617D0-14B2-4879-AEBD-46BD4567454B}" dt="2023-01-23T10:23:26.435" v="4061" actId="478"/>
          <ac:spMkLst>
            <pc:docMk/>
            <pc:sldMk cId="814698274" sldId="2147469864"/>
            <ac:spMk id="13" creationId="{76FB9A84-627F-4FAC-BE3C-9A5DE5F24FD0}"/>
          </ac:spMkLst>
        </pc:spChg>
        <pc:spChg chg="add del mod">
          <ac:chgData name="Dalil BENAOUDA" userId="6bc32e50-31cc-420e-af2c-c81feb754bf7" providerId="ADAL" clId="{2B1617D0-14B2-4879-AEBD-46BD4567454B}" dt="2023-01-23T10:23:26.435" v="4061" actId="478"/>
          <ac:spMkLst>
            <pc:docMk/>
            <pc:sldMk cId="814698274" sldId="2147469864"/>
            <ac:spMk id="23" creationId="{9513A3C1-770C-46DF-B9B2-DC416C6DCF93}"/>
          </ac:spMkLst>
        </pc:spChg>
        <pc:spChg chg="add del mod">
          <ac:chgData name="Dalil BENAOUDA" userId="6bc32e50-31cc-420e-af2c-c81feb754bf7" providerId="ADAL" clId="{2B1617D0-14B2-4879-AEBD-46BD4567454B}" dt="2023-01-23T10:23:26.435" v="4061" actId="478"/>
          <ac:spMkLst>
            <pc:docMk/>
            <pc:sldMk cId="814698274" sldId="2147469864"/>
            <ac:spMk id="25" creationId="{EA972345-2BF5-4766-982F-AA9800D05B5E}"/>
          </ac:spMkLst>
        </pc:spChg>
        <pc:spChg chg="add del mod">
          <ac:chgData name="Dalil BENAOUDA" userId="6bc32e50-31cc-420e-af2c-c81feb754bf7" providerId="ADAL" clId="{2B1617D0-14B2-4879-AEBD-46BD4567454B}" dt="2023-01-23T10:23:26.435" v="4061" actId="478"/>
          <ac:spMkLst>
            <pc:docMk/>
            <pc:sldMk cId="814698274" sldId="2147469864"/>
            <ac:spMk id="27" creationId="{86DE0E45-1FAA-4B23-87A9-B2866939D1C2}"/>
          </ac:spMkLst>
        </pc:spChg>
        <pc:spChg chg="add del mod">
          <ac:chgData name="Dalil BENAOUDA" userId="6bc32e50-31cc-420e-af2c-c81feb754bf7" providerId="ADAL" clId="{2B1617D0-14B2-4879-AEBD-46BD4567454B}" dt="2023-01-23T10:23:26.435" v="4061" actId="478"/>
          <ac:spMkLst>
            <pc:docMk/>
            <pc:sldMk cId="814698274" sldId="2147469864"/>
            <ac:spMk id="28" creationId="{F95DD31A-2B3B-46F2-B9DE-A8C812A96905}"/>
          </ac:spMkLst>
        </pc:spChg>
        <pc:spChg chg="add del mod">
          <ac:chgData name="Dalil BENAOUDA" userId="6bc32e50-31cc-420e-af2c-c81feb754bf7" providerId="ADAL" clId="{2B1617D0-14B2-4879-AEBD-46BD4567454B}" dt="2023-01-23T10:23:26.435" v="4061" actId="478"/>
          <ac:spMkLst>
            <pc:docMk/>
            <pc:sldMk cId="814698274" sldId="2147469864"/>
            <ac:spMk id="31" creationId="{B188F5E8-6734-42E2-A334-C0EB87F27ECD}"/>
          </ac:spMkLst>
        </pc:spChg>
        <pc:spChg chg="add del mod">
          <ac:chgData name="Dalil BENAOUDA" userId="6bc32e50-31cc-420e-af2c-c81feb754bf7" providerId="ADAL" clId="{2B1617D0-14B2-4879-AEBD-46BD4567454B}" dt="2023-01-23T10:23:26.435" v="4061" actId="478"/>
          <ac:spMkLst>
            <pc:docMk/>
            <pc:sldMk cId="814698274" sldId="2147469864"/>
            <ac:spMk id="32" creationId="{969F15D6-0DD6-4673-B81B-5A494E9B288F}"/>
          </ac:spMkLst>
        </pc:spChg>
        <pc:spChg chg="add del mod">
          <ac:chgData name="Dalil BENAOUDA" userId="6bc32e50-31cc-420e-af2c-c81feb754bf7" providerId="ADAL" clId="{2B1617D0-14B2-4879-AEBD-46BD4567454B}" dt="2023-01-23T10:23:26.435" v="4061" actId="478"/>
          <ac:spMkLst>
            <pc:docMk/>
            <pc:sldMk cId="814698274" sldId="2147469864"/>
            <ac:spMk id="33" creationId="{2CABCF89-EE26-4761-905F-00AC39D9D2F4}"/>
          </ac:spMkLst>
        </pc:spChg>
        <pc:spChg chg="add del mod">
          <ac:chgData name="Dalil BENAOUDA" userId="6bc32e50-31cc-420e-af2c-c81feb754bf7" providerId="ADAL" clId="{2B1617D0-14B2-4879-AEBD-46BD4567454B}" dt="2023-01-23T10:23:26.435" v="4061" actId="478"/>
          <ac:spMkLst>
            <pc:docMk/>
            <pc:sldMk cId="814698274" sldId="2147469864"/>
            <ac:spMk id="34" creationId="{BB18596D-66B9-4D5F-918D-7F2D2E7EB9C7}"/>
          </ac:spMkLst>
        </pc:spChg>
        <pc:spChg chg="add del mod">
          <ac:chgData name="Dalil BENAOUDA" userId="6bc32e50-31cc-420e-af2c-c81feb754bf7" providerId="ADAL" clId="{2B1617D0-14B2-4879-AEBD-46BD4567454B}" dt="2023-01-23T10:23:26.435" v="4061" actId="478"/>
          <ac:spMkLst>
            <pc:docMk/>
            <pc:sldMk cId="814698274" sldId="2147469864"/>
            <ac:spMk id="35" creationId="{379E8FA1-7861-44E6-B90E-93C3A53158AA}"/>
          </ac:spMkLst>
        </pc:spChg>
        <pc:spChg chg="add del mod">
          <ac:chgData name="Dalil BENAOUDA" userId="6bc32e50-31cc-420e-af2c-c81feb754bf7" providerId="ADAL" clId="{2B1617D0-14B2-4879-AEBD-46BD4567454B}" dt="2023-01-23T10:23:26.435" v="4061" actId="478"/>
          <ac:spMkLst>
            <pc:docMk/>
            <pc:sldMk cId="814698274" sldId="2147469864"/>
            <ac:spMk id="36" creationId="{C6CDD33E-BAF0-4910-939F-54D363CB44DF}"/>
          </ac:spMkLst>
        </pc:spChg>
        <pc:spChg chg="add del mod">
          <ac:chgData name="Dalil BENAOUDA" userId="6bc32e50-31cc-420e-af2c-c81feb754bf7" providerId="ADAL" clId="{2B1617D0-14B2-4879-AEBD-46BD4567454B}" dt="2023-01-23T10:23:26.435" v="4061" actId="478"/>
          <ac:spMkLst>
            <pc:docMk/>
            <pc:sldMk cId="814698274" sldId="2147469864"/>
            <ac:spMk id="37" creationId="{FD8DBCCD-4312-4154-895E-797349661012}"/>
          </ac:spMkLst>
        </pc:spChg>
        <pc:spChg chg="add del mod">
          <ac:chgData name="Dalil BENAOUDA" userId="6bc32e50-31cc-420e-af2c-c81feb754bf7" providerId="ADAL" clId="{2B1617D0-14B2-4879-AEBD-46BD4567454B}" dt="2023-01-23T10:23:26.435" v="4061" actId="478"/>
          <ac:spMkLst>
            <pc:docMk/>
            <pc:sldMk cId="814698274" sldId="2147469864"/>
            <ac:spMk id="38" creationId="{418F5859-AE0D-47B6-A2A1-EB6DEE3FD67E}"/>
          </ac:spMkLst>
        </pc:spChg>
        <pc:spChg chg="add del mod">
          <ac:chgData name="Dalil BENAOUDA" userId="6bc32e50-31cc-420e-af2c-c81feb754bf7" providerId="ADAL" clId="{2B1617D0-14B2-4879-AEBD-46BD4567454B}" dt="2023-01-23T10:23:26.435" v="4061" actId="478"/>
          <ac:spMkLst>
            <pc:docMk/>
            <pc:sldMk cId="814698274" sldId="2147469864"/>
            <ac:spMk id="39" creationId="{9B9CE296-B0AB-49DC-BF6F-A193574FE8D6}"/>
          </ac:spMkLst>
        </pc:spChg>
        <pc:spChg chg="add del mod">
          <ac:chgData name="Dalil BENAOUDA" userId="6bc32e50-31cc-420e-af2c-c81feb754bf7" providerId="ADAL" clId="{2B1617D0-14B2-4879-AEBD-46BD4567454B}" dt="2023-01-23T10:23:26.435" v="4061" actId="478"/>
          <ac:spMkLst>
            <pc:docMk/>
            <pc:sldMk cId="814698274" sldId="2147469864"/>
            <ac:spMk id="40" creationId="{1D98E78D-90BB-43DD-B8E8-F1C8515E3A4B}"/>
          </ac:spMkLst>
        </pc:spChg>
        <pc:spChg chg="add del mod">
          <ac:chgData name="Dalil BENAOUDA" userId="6bc32e50-31cc-420e-af2c-c81feb754bf7" providerId="ADAL" clId="{2B1617D0-14B2-4879-AEBD-46BD4567454B}" dt="2023-01-23T10:23:26.435" v="4061" actId="478"/>
          <ac:spMkLst>
            <pc:docMk/>
            <pc:sldMk cId="814698274" sldId="2147469864"/>
            <ac:spMk id="41" creationId="{AB3E6AC3-3F8B-41F5-AFD4-81E93600E84E}"/>
          </ac:spMkLst>
        </pc:spChg>
        <pc:spChg chg="add mod">
          <ac:chgData name="Dalil BENAOUDA" userId="6bc32e50-31cc-420e-af2c-c81feb754bf7" providerId="ADAL" clId="{2B1617D0-14B2-4879-AEBD-46BD4567454B}" dt="2023-01-23T10:15:40.487" v="4052"/>
          <ac:spMkLst>
            <pc:docMk/>
            <pc:sldMk cId="814698274" sldId="2147469864"/>
            <ac:spMk id="42" creationId="{DE75694F-4B5C-407B-A1CD-064713131879}"/>
          </ac:spMkLst>
        </pc:spChg>
        <pc:spChg chg="mod">
          <ac:chgData name="Dalil BENAOUDA" userId="6bc32e50-31cc-420e-af2c-c81feb754bf7" providerId="ADAL" clId="{2B1617D0-14B2-4879-AEBD-46BD4567454B}" dt="2023-01-23T10:23:40.340" v="4086" actId="1036"/>
          <ac:spMkLst>
            <pc:docMk/>
            <pc:sldMk cId="814698274" sldId="2147469864"/>
            <ac:spMk id="44" creationId="{0F4AB0AA-1BCD-4EAD-B7E1-9BE12B3FBDF0}"/>
          </ac:spMkLst>
        </pc:spChg>
        <pc:spChg chg="mod">
          <ac:chgData name="Dalil BENAOUDA" userId="6bc32e50-31cc-420e-af2c-c81feb754bf7" providerId="ADAL" clId="{2B1617D0-14B2-4879-AEBD-46BD4567454B}" dt="2023-01-23T10:23:40.340" v="4086" actId="1036"/>
          <ac:spMkLst>
            <pc:docMk/>
            <pc:sldMk cId="814698274" sldId="2147469864"/>
            <ac:spMk id="45" creationId="{C20E01C3-5931-49AA-AA9B-F97B82FAFF71}"/>
          </ac:spMkLst>
        </pc:spChg>
        <pc:spChg chg="mod">
          <ac:chgData name="Dalil BENAOUDA" userId="6bc32e50-31cc-420e-af2c-c81feb754bf7" providerId="ADAL" clId="{2B1617D0-14B2-4879-AEBD-46BD4567454B}" dt="2023-01-23T10:23:40.340" v="4086" actId="1036"/>
          <ac:spMkLst>
            <pc:docMk/>
            <pc:sldMk cId="814698274" sldId="2147469864"/>
            <ac:spMk id="55" creationId="{34118D06-49AB-4917-B2FC-93E9682CCFF4}"/>
          </ac:spMkLst>
        </pc:spChg>
        <pc:spChg chg="mod">
          <ac:chgData name="Dalil BENAOUDA" userId="6bc32e50-31cc-420e-af2c-c81feb754bf7" providerId="ADAL" clId="{2B1617D0-14B2-4879-AEBD-46BD4567454B}" dt="2023-01-23T10:23:40.340" v="4086" actId="1036"/>
          <ac:spMkLst>
            <pc:docMk/>
            <pc:sldMk cId="814698274" sldId="2147469864"/>
            <ac:spMk id="57" creationId="{A159AC0F-0537-4D50-8FCB-E11CE9E3E4AE}"/>
          </ac:spMkLst>
        </pc:spChg>
        <pc:spChg chg="mod">
          <ac:chgData name="Dalil BENAOUDA" userId="6bc32e50-31cc-420e-af2c-c81feb754bf7" providerId="ADAL" clId="{2B1617D0-14B2-4879-AEBD-46BD4567454B}" dt="2023-01-23T10:23:40.340" v="4086" actId="1036"/>
          <ac:spMkLst>
            <pc:docMk/>
            <pc:sldMk cId="814698274" sldId="2147469864"/>
            <ac:spMk id="58" creationId="{CB8D9129-7855-4CEE-A416-5629360E974B}"/>
          </ac:spMkLst>
        </pc:spChg>
        <pc:spChg chg="mod">
          <ac:chgData name="Dalil BENAOUDA" userId="6bc32e50-31cc-420e-af2c-c81feb754bf7" providerId="ADAL" clId="{2B1617D0-14B2-4879-AEBD-46BD4567454B}" dt="2023-01-23T10:23:40.340" v="4086" actId="1036"/>
          <ac:spMkLst>
            <pc:docMk/>
            <pc:sldMk cId="814698274" sldId="2147469864"/>
            <ac:spMk id="59" creationId="{35CF09A7-ECA1-435D-B7FC-9E1361BBE489}"/>
          </ac:spMkLst>
        </pc:spChg>
        <pc:spChg chg="mod">
          <ac:chgData name="Dalil BENAOUDA" userId="6bc32e50-31cc-420e-af2c-c81feb754bf7" providerId="ADAL" clId="{2B1617D0-14B2-4879-AEBD-46BD4567454B}" dt="2023-01-23T10:23:40.340" v="4086" actId="1036"/>
          <ac:spMkLst>
            <pc:docMk/>
            <pc:sldMk cId="814698274" sldId="2147469864"/>
            <ac:spMk id="61" creationId="{5F7020DD-1669-40AE-AD1A-BFB341F08572}"/>
          </ac:spMkLst>
        </pc:spChg>
        <pc:spChg chg="mod">
          <ac:chgData name="Dalil BENAOUDA" userId="6bc32e50-31cc-420e-af2c-c81feb754bf7" providerId="ADAL" clId="{2B1617D0-14B2-4879-AEBD-46BD4567454B}" dt="2023-01-23T10:23:40.340" v="4086" actId="1036"/>
          <ac:spMkLst>
            <pc:docMk/>
            <pc:sldMk cId="814698274" sldId="2147469864"/>
            <ac:spMk id="63" creationId="{DEA37F88-0B38-4E70-B743-BE1EF42C29DE}"/>
          </ac:spMkLst>
        </pc:spChg>
        <pc:spChg chg="mod">
          <ac:chgData name="Dalil BENAOUDA" userId="6bc32e50-31cc-420e-af2c-c81feb754bf7" providerId="ADAL" clId="{2B1617D0-14B2-4879-AEBD-46BD4567454B}" dt="2023-01-23T10:23:40.340" v="4086" actId="1036"/>
          <ac:spMkLst>
            <pc:docMk/>
            <pc:sldMk cId="814698274" sldId="2147469864"/>
            <ac:spMk id="65" creationId="{3F1BEFCE-510F-431D-B344-6F5DADCE9506}"/>
          </ac:spMkLst>
        </pc:spChg>
        <pc:spChg chg="mod">
          <ac:chgData name="Dalil BENAOUDA" userId="6bc32e50-31cc-420e-af2c-c81feb754bf7" providerId="ADAL" clId="{2B1617D0-14B2-4879-AEBD-46BD4567454B}" dt="2023-01-23T10:23:40.340" v="4086" actId="1036"/>
          <ac:spMkLst>
            <pc:docMk/>
            <pc:sldMk cId="814698274" sldId="2147469864"/>
            <ac:spMk id="66" creationId="{FFCD4789-7723-4DEF-9AF7-5C72EE2A1478}"/>
          </ac:spMkLst>
        </pc:spChg>
        <pc:spChg chg="mod">
          <ac:chgData name="Dalil BENAOUDA" userId="6bc32e50-31cc-420e-af2c-c81feb754bf7" providerId="ADAL" clId="{2B1617D0-14B2-4879-AEBD-46BD4567454B}" dt="2023-01-23T10:23:40.340" v="4086" actId="1036"/>
          <ac:spMkLst>
            <pc:docMk/>
            <pc:sldMk cId="814698274" sldId="2147469864"/>
            <ac:spMk id="69" creationId="{1FFF26CC-6C21-475A-8351-BBA53AE5C192}"/>
          </ac:spMkLst>
        </pc:spChg>
        <pc:spChg chg="mod">
          <ac:chgData name="Dalil BENAOUDA" userId="6bc32e50-31cc-420e-af2c-c81feb754bf7" providerId="ADAL" clId="{2B1617D0-14B2-4879-AEBD-46BD4567454B}" dt="2023-01-23T10:23:40.340" v="4086" actId="1036"/>
          <ac:spMkLst>
            <pc:docMk/>
            <pc:sldMk cId="814698274" sldId="2147469864"/>
            <ac:spMk id="70" creationId="{7EFC7859-67E0-4301-A72B-A6C94BEEC283}"/>
          </ac:spMkLst>
        </pc:spChg>
        <pc:spChg chg="mod">
          <ac:chgData name="Dalil BENAOUDA" userId="6bc32e50-31cc-420e-af2c-c81feb754bf7" providerId="ADAL" clId="{2B1617D0-14B2-4879-AEBD-46BD4567454B}" dt="2023-01-23T10:23:40.340" v="4086" actId="1036"/>
          <ac:spMkLst>
            <pc:docMk/>
            <pc:sldMk cId="814698274" sldId="2147469864"/>
            <ac:spMk id="71" creationId="{3E884519-3661-4C95-B420-E06FA85A6C41}"/>
          </ac:spMkLst>
        </pc:spChg>
        <pc:spChg chg="mod">
          <ac:chgData name="Dalil BENAOUDA" userId="6bc32e50-31cc-420e-af2c-c81feb754bf7" providerId="ADAL" clId="{2B1617D0-14B2-4879-AEBD-46BD4567454B}" dt="2023-01-23T10:23:40.340" v="4086" actId="1036"/>
          <ac:spMkLst>
            <pc:docMk/>
            <pc:sldMk cId="814698274" sldId="2147469864"/>
            <ac:spMk id="73" creationId="{D906C02E-D37F-4417-81F7-8B0618A1A93D}"/>
          </ac:spMkLst>
        </pc:spChg>
        <pc:spChg chg="mod">
          <ac:chgData name="Dalil BENAOUDA" userId="6bc32e50-31cc-420e-af2c-c81feb754bf7" providerId="ADAL" clId="{2B1617D0-14B2-4879-AEBD-46BD4567454B}" dt="2023-01-23T10:23:40.340" v="4086" actId="1036"/>
          <ac:spMkLst>
            <pc:docMk/>
            <pc:sldMk cId="814698274" sldId="2147469864"/>
            <ac:spMk id="74" creationId="{ED9286DE-3BD8-472A-B85E-0B8D1E5BBAA9}"/>
          </ac:spMkLst>
        </pc:spChg>
        <pc:spChg chg="mod">
          <ac:chgData name="Dalil BENAOUDA" userId="6bc32e50-31cc-420e-af2c-c81feb754bf7" providerId="ADAL" clId="{2B1617D0-14B2-4879-AEBD-46BD4567454B}" dt="2023-01-23T10:23:40.340" v="4086" actId="1036"/>
          <ac:spMkLst>
            <pc:docMk/>
            <pc:sldMk cId="814698274" sldId="2147469864"/>
            <ac:spMk id="75" creationId="{7ACA24C2-C423-4D2C-9F6E-A4A9530062D2}"/>
          </ac:spMkLst>
        </pc:spChg>
        <pc:spChg chg="mod">
          <ac:chgData name="Dalil BENAOUDA" userId="6bc32e50-31cc-420e-af2c-c81feb754bf7" providerId="ADAL" clId="{2B1617D0-14B2-4879-AEBD-46BD4567454B}" dt="2023-01-23T10:23:40.340" v="4086" actId="1036"/>
          <ac:spMkLst>
            <pc:docMk/>
            <pc:sldMk cId="814698274" sldId="2147469864"/>
            <ac:spMk id="76" creationId="{FE57D390-B8B4-4D1B-B135-58901936840D}"/>
          </ac:spMkLst>
        </pc:spChg>
        <pc:spChg chg="mod">
          <ac:chgData name="Dalil BENAOUDA" userId="6bc32e50-31cc-420e-af2c-c81feb754bf7" providerId="ADAL" clId="{2B1617D0-14B2-4879-AEBD-46BD4567454B}" dt="2023-01-23T10:23:40.340" v="4086" actId="1036"/>
          <ac:spMkLst>
            <pc:docMk/>
            <pc:sldMk cId="814698274" sldId="2147469864"/>
            <ac:spMk id="77" creationId="{00679E6F-5DA0-4F52-82A9-EE5197B0B715}"/>
          </ac:spMkLst>
        </pc:spChg>
        <pc:spChg chg="mod">
          <ac:chgData name="Dalil BENAOUDA" userId="6bc32e50-31cc-420e-af2c-c81feb754bf7" providerId="ADAL" clId="{2B1617D0-14B2-4879-AEBD-46BD4567454B}" dt="2023-01-23T10:23:40.340" v="4086" actId="1036"/>
          <ac:spMkLst>
            <pc:docMk/>
            <pc:sldMk cId="814698274" sldId="2147469864"/>
            <ac:spMk id="78" creationId="{823FF0C3-C713-4201-8B5D-1350AAE01623}"/>
          </ac:spMkLst>
        </pc:spChg>
        <pc:spChg chg="mod">
          <ac:chgData name="Dalil BENAOUDA" userId="6bc32e50-31cc-420e-af2c-c81feb754bf7" providerId="ADAL" clId="{2B1617D0-14B2-4879-AEBD-46BD4567454B}" dt="2023-01-23T10:23:40.340" v="4086" actId="1036"/>
          <ac:spMkLst>
            <pc:docMk/>
            <pc:sldMk cId="814698274" sldId="2147469864"/>
            <ac:spMk id="79" creationId="{2EC4F2F5-C48B-4546-B08B-BCC2A3A74599}"/>
          </ac:spMkLst>
        </pc:spChg>
        <pc:spChg chg="mod">
          <ac:chgData name="Dalil BENAOUDA" userId="6bc32e50-31cc-420e-af2c-c81feb754bf7" providerId="ADAL" clId="{2B1617D0-14B2-4879-AEBD-46BD4567454B}" dt="2023-01-23T10:23:40.340" v="4086" actId="1036"/>
          <ac:spMkLst>
            <pc:docMk/>
            <pc:sldMk cId="814698274" sldId="2147469864"/>
            <ac:spMk id="80" creationId="{E989B42F-06E3-4911-9FCD-1F45A6B16613}"/>
          </ac:spMkLst>
        </pc:spChg>
        <pc:spChg chg="mod">
          <ac:chgData name="Dalil BENAOUDA" userId="6bc32e50-31cc-420e-af2c-c81feb754bf7" providerId="ADAL" clId="{2B1617D0-14B2-4879-AEBD-46BD4567454B}" dt="2023-01-23T10:23:40.340" v="4086" actId="1036"/>
          <ac:spMkLst>
            <pc:docMk/>
            <pc:sldMk cId="814698274" sldId="2147469864"/>
            <ac:spMk id="81" creationId="{C485627B-818F-4703-B9AA-9A1565226247}"/>
          </ac:spMkLst>
        </pc:spChg>
        <pc:spChg chg="mod">
          <ac:chgData name="Dalil BENAOUDA" userId="6bc32e50-31cc-420e-af2c-c81feb754bf7" providerId="ADAL" clId="{2B1617D0-14B2-4879-AEBD-46BD4567454B}" dt="2023-01-23T10:23:40.340" v="4086" actId="1036"/>
          <ac:spMkLst>
            <pc:docMk/>
            <pc:sldMk cId="814698274" sldId="2147469864"/>
            <ac:spMk id="82" creationId="{4F5A04D8-19C1-463F-BD4C-B0AA12B1560B}"/>
          </ac:spMkLst>
        </pc:spChg>
        <pc:spChg chg="add mod">
          <ac:chgData name="Dalil BENAOUDA" userId="6bc32e50-31cc-420e-af2c-c81feb754bf7" providerId="ADAL" clId="{2B1617D0-14B2-4879-AEBD-46BD4567454B}" dt="2023-01-23T10:23:40.340" v="4086" actId="1036"/>
          <ac:spMkLst>
            <pc:docMk/>
            <pc:sldMk cId="814698274" sldId="2147469864"/>
            <ac:spMk id="83" creationId="{6A0FDEBE-126E-4723-84F1-C1942BC45F44}"/>
          </ac:spMkLst>
        </pc:spChg>
        <pc:grpChg chg="add mod">
          <ac:chgData name="Dalil BENAOUDA" userId="6bc32e50-31cc-420e-af2c-c81feb754bf7" providerId="ADAL" clId="{2B1617D0-14B2-4879-AEBD-46BD4567454B}" dt="2023-01-23T10:23:40.340" v="4086" actId="1036"/>
          <ac:grpSpMkLst>
            <pc:docMk/>
            <pc:sldMk cId="814698274" sldId="2147469864"/>
            <ac:grpSpMk id="43" creationId="{A51D478F-7420-4434-884E-3A1771B1DFDA}"/>
          </ac:grpSpMkLst>
        </pc:grpChg>
        <pc:grpChg chg="add mod">
          <ac:chgData name="Dalil BENAOUDA" userId="6bc32e50-31cc-420e-af2c-c81feb754bf7" providerId="ADAL" clId="{2B1617D0-14B2-4879-AEBD-46BD4567454B}" dt="2023-01-23T10:23:40.340" v="4086" actId="1036"/>
          <ac:grpSpMkLst>
            <pc:docMk/>
            <pc:sldMk cId="814698274" sldId="2147469864"/>
            <ac:grpSpMk id="56" creationId="{5864B3CF-D896-4B6A-AA3B-D8A1CCBBD1E2}"/>
          </ac:grpSpMkLst>
        </pc:grpChg>
        <pc:grpChg chg="add mod">
          <ac:chgData name="Dalil BENAOUDA" userId="6bc32e50-31cc-420e-af2c-c81feb754bf7" providerId="ADAL" clId="{2B1617D0-14B2-4879-AEBD-46BD4567454B}" dt="2023-01-23T10:23:40.340" v="4086" actId="1036"/>
          <ac:grpSpMkLst>
            <pc:docMk/>
            <pc:sldMk cId="814698274" sldId="2147469864"/>
            <ac:grpSpMk id="60" creationId="{0E666ED9-F0BA-4217-B594-01987B243F08}"/>
          </ac:grpSpMkLst>
        </pc:grpChg>
        <pc:grpChg chg="add mod">
          <ac:chgData name="Dalil BENAOUDA" userId="6bc32e50-31cc-420e-af2c-c81feb754bf7" providerId="ADAL" clId="{2B1617D0-14B2-4879-AEBD-46BD4567454B}" dt="2023-01-23T10:23:40.340" v="4086" actId="1036"/>
          <ac:grpSpMkLst>
            <pc:docMk/>
            <pc:sldMk cId="814698274" sldId="2147469864"/>
            <ac:grpSpMk id="72" creationId="{6C570A4C-A7A3-43E7-AB1E-B7A9056D00C9}"/>
          </ac:grpSpMkLst>
        </pc:grpChg>
        <pc:picChg chg="add del mod">
          <ac:chgData name="Dalil BENAOUDA" userId="6bc32e50-31cc-420e-af2c-c81feb754bf7" providerId="ADAL" clId="{2B1617D0-14B2-4879-AEBD-46BD4567454B}" dt="2023-01-23T10:23:26.435" v="4061" actId="478"/>
          <ac:picMkLst>
            <pc:docMk/>
            <pc:sldMk cId="814698274" sldId="2147469864"/>
            <ac:picMk id="14" creationId="{428C9D61-BCE1-425A-B889-0F123338E4E8}"/>
          </ac:picMkLst>
        </pc:picChg>
        <pc:picChg chg="add del mod">
          <ac:chgData name="Dalil BENAOUDA" userId="6bc32e50-31cc-420e-af2c-c81feb754bf7" providerId="ADAL" clId="{2B1617D0-14B2-4879-AEBD-46BD4567454B}" dt="2023-01-23T10:23:26.435" v="4061" actId="478"/>
          <ac:picMkLst>
            <pc:docMk/>
            <pc:sldMk cId="814698274" sldId="2147469864"/>
            <ac:picMk id="15" creationId="{E87166E9-1B73-44FC-B40A-EDC6018F857F}"/>
          </ac:picMkLst>
        </pc:picChg>
        <pc:picChg chg="add del mod">
          <ac:chgData name="Dalil BENAOUDA" userId="6bc32e50-31cc-420e-af2c-c81feb754bf7" providerId="ADAL" clId="{2B1617D0-14B2-4879-AEBD-46BD4567454B}" dt="2023-01-23T10:23:26.435" v="4061" actId="478"/>
          <ac:picMkLst>
            <pc:docMk/>
            <pc:sldMk cId="814698274" sldId="2147469864"/>
            <ac:picMk id="16" creationId="{F4CFAC6B-CAFB-4445-ACA7-7F3CC5C2E4F5}"/>
          </ac:picMkLst>
        </pc:picChg>
        <pc:picChg chg="add del mod">
          <ac:chgData name="Dalil BENAOUDA" userId="6bc32e50-31cc-420e-af2c-c81feb754bf7" providerId="ADAL" clId="{2B1617D0-14B2-4879-AEBD-46BD4567454B}" dt="2023-01-23T10:23:26.435" v="4061" actId="478"/>
          <ac:picMkLst>
            <pc:docMk/>
            <pc:sldMk cId="814698274" sldId="2147469864"/>
            <ac:picMk id="17" creationId="{D01506AF-2A31-45B4-B393-1E3425772368}"/>
          </ac:picMkLst>
        </pc:picChg>
        <pc:picChg chg="add del mod">
          <ac:chgData name="Dalil BENAOUDA" userId="6bc32e50-31cc-420e-af2c-c81feb754bf7" providerId="ADAL" clId="{2B1617D0-14B2-4879-AEBD-46BD4567454B}" dt="2023-01-23T10:23:26.435" v="4061" actId="478"/>
          <ac:picMkLst>
            <pc:docMk/>
            <pc:sldMk cId="814698274" sldId="2147469864"/>
            <ac:picMk id="18" creationId="{EDB4E151-C4D7-4603-828B-05F200E96F6A}"/>
          </ac:picMkLst>
        </pc:picChg>
        <pc:picChg chg="add del mod">
          <ac:chgData name="Dalil BENAOUDA" userId="6bc32e50-31cc-420e-af2c-c81feb754bf7" providerId="ADAL" clId="{2B1617D0-14B2-4879-AEBD-46BD4567454B}" dt="2023-01-23T10:23:26.435" v="4061" actId="478"/>
          <ac:picMkLst>
            <pc:docMk/>
            <pc:sldMk cId="814698274" sldId="2147469864"/>
            <ac:picMk id="19" creationId="{3D7920DB-920C-49C2-BC83-99F643DA196F}"/>
          </ac:picMkLst>
        </pc:picChg>
        <pc:picChg chg="add del mod">
          <ac:chgData name="Dalil BENAOUDA" userId="6bc32e50-31cc-420e-af2c-c81feb754bf7" providerId="ADAL" clId="{2B1617D0-14B2-4879-AEBD-46BD4567454B}" dt="2023-01-23T10:23:26.435" v="4061" actId="478"/>
          <ac:picMkLst>
            <pc:docMk/>
            <pc:sldMk cId="814698274" sldId="2147469864"/>
            <ac:picMk id="20" creationId="{B58BDB09-D6CE-457D-B0A0-31E66A2B91AE}"/>
          </ac:picMkLst>
        </pc:picChg>
        <pc:picChg chg="add del mod">
          <ac:chgData name="Dalil BENAOUDA" userId="6bc32e50-31cc-420e-af2c-c81feb754bf7" providerId="ADAL" clId="{2B1617D0-14B2-4879-AEBD-46BD4567454B}" dt="2023-01-23T10:23:26.435" v="4061" actId="478"/>
          <ac:picMkLst>
            <pc:docMk/>
            <pc:sldMk cId="814698274" sldId="2147469864"/>
            <ac:picMk id="24" creationId="{0AA4E0A1-9FBB-453D-9C96-F8B14A3C5B24}"/>
          </ac:picMkLst>
        </pc:picChg>
        <pc:picChg chg="add del mod">
          <ac:chgData name="Dalil BENAOUDA" userId="6bc32e50-31cc-420e-af2c-c81feb754bf7" providerId="ADAL" clId="{2B1617D0-14B2-4879-AEBD-46BD4567454B}" dt="2023-01-23T10:23:26.435" v="4061" actId="478"/>
          <ac:picMkLst>
            <pc:docMk/>
            <pc:sldMk cId="814698274" sldId="2147469864"/>
            <ac:picMk id="29" creationId="{276C157D-7DC0-4806-9B9D-2BEE24A0C294}"/>
          </ac:picMkLst>
        </pc:picChg>
        <pc:picChg chg="add del mod">
          <ac:chgData name="Dalil BENAOUDA" userId="6bc32e50-31cc-420e-af2c-c81feb754bf7" providerId="ADAL" clId="{2B1617D0-14B2-4879-AEBD-46BD4567454B}" dt="2023-01-23T10:23:26.435" v="4061" actId="478"/>
          <ac:picMkLst>
            <pc:docMk/>
            <pc:sldMk cId="814698274" sldId="2147469864"/>
            <ac:picMk id="30" creationId="{CDA1C2D0-CC53-4DFF-BCCF-88A746601B31}"/>
          </ac:picMkLst>
        </pc:picChg>
        <pc:picChg chg="mod">
          <ac:chgData name="Dalil BENAOUDA" userId="6bc32e50-31cc-420e-af2c-c81feb754bf7" providerId="ADAL" clId="{2B1617D0-14B2-4879-AEBD-46BD4567454B}" dt="2023-01-23T10:23:40.340" v="4086" actId="1036"/>
          <ac:picMkLst>
            <pc:docMk/>
            <pc:sldMk cId="814698274" sldId="2147469864"/>
            <ac:picMk id="46" creationId="{FC1593D0-9AA3-4E8D-BAB8-0ED6D7FF7BC3}"/>
          </ac:picMkLst>
        </pc:picChg>
        <pc:picChg chg="mod">
          <ac:chgData name="Dalil BENAOUDA" userId="6bc32e50-31cc-420e-af2c-c81feb754bf7" providerId="ADAL" clId="{2B1617D0-14B2-4879-AEBD-46BD4567454B}" dt="2023-01-23T10:23:40.340" v="4086" actId="1036"/>
          <ac:picMkLst>
            <pc:docMk/>
            <pc:sldMk cId="814698274" sldId="2147469864"/>
            <ac:picMk id="47" creationId="{AE530A8D-EBFF-458F-9733-A219B005606B}"/>
          </ac:picMkLst>
        </pc:picChg>
        <pc:picChg chg="mod">
          <ac:chgData name="Dalil BENAOUDA" userId="6bc32e50-31cc-420e-af2c-c81feb754bf7" providerId="ADAL" clId="{2B1617D0-14B2-4879-AEBD-46BD4567454B}" dt="2023-01-23T10:23:40.340" v="4086" actId="1036"/>
          <ac:picMkLst>
            <pc:docMk/>
            <pc:sldMk cId="814698274" sldId="2147469864"/>
            <ac:picMk id="48" creationId="{DFA5711D-030B-4394-A042-915D38C57D22}"/>
          </ac:picMkLst>
        </pc:picChg>
        <pc:picChg chg="mod">
          <ac:chgData name="Dalil BENAOUDA" userId="6bc32e50-31cc-420e-af2c-c81feb754bf7" providerId="ADAL" clId="{2B1617D0-14B2-4879-AEBD-46BD4567454B}" dt="2023-01-23T10:23:40.340" v="4086" actId="1036"/>
          <ac:picMkLst>
            <pc:docMk/>
            <pc:sldMk cId="814698274" sldId="2147469864"/>
            <ac:picMk id="49" creationId="{746268B1-6010-4F70-83A2-F58DC4F10274}"/>
          </ac:picMkLst>
        </pc:picChg>
        <pc:picChg chg="mod">
          <ac:chgData name="Dalil BENAOUDA" userId="6bc32e50-31cc-420e-af2c-c81feb754bf7" providerId="ADAL" clId="{2B1617D0-14B2-4879-AEBD-46BD4567454B}" dt="2023-01-23T10:23:40.340" v="4086" actId="1036"/>
          <ac:picMkLst>
            <pc:docMk/>
            <pc:sldMk cId="814698274" sldId="2147469864"/>
            <ac:picMk id="50" creationId="{BD7521EC-F3AE-417B-BE56-E211082CEE7C}"/>
          </ac:picMkLst>
        </pc:picChg>
        <pc:picChg chg="mod">
          <ac:chgData name="Dalil BENAOUDA" userId="6bc32e50-31cc-420e-af2c-c81feb754bf7" providerId="ADAL" clId="{2B1617D0-14B2-4879-AEBD-46BD4567454B}" dt="2023-01-23T10:23:40.340" v="4086" actId="1036"/>
          <ac:picMkLst>
            <pc:docMk/>
            <pc:sldMk cId="814698274" sldId="2147469864"/>
            <ac:picMk id="51" creationId="{D94534EE-0E88-4A76-852C-D36B077AFA92}"/>
          </ac:picMkLst>
        </pc:picChg>
        <pc:picChg chg="mod">
          <ac:chgData name="Dalil BENAOUDA" userId="6bc32e50-31cc-420e-af2c-c81feb754bf7" providerId="ADAL" clId="{2B1617D0-14B2-4879-AEBD-46BD4567454B}" dt="2023-01-23T10:23:40.340" v="4086" actId="1036"/>
          <ac:picMkLst>
            <pc:docMk/>
            <pc:sldMk cId="814698274" sldId="2147469864"/>
            <ac:picMk id="52" creationId="{8B9AE518-B3D0-4A9A-BAA8-D0AC51E1FCB1}"/>
          </ac:picMkLst>
        </pc:picChg>
        <pc:picChg chg="mod">
          <ac:chgData name="Dalil BENAOUDA" userId="6bc32e50-31cc-420e-af2c-c81feb754bf7" providerId="ADAL" clId="{2B1617D0-14B2-4879-AEBD-46BD4567454B}" dt="2023-01-23T10:23:40.340" v="4086" actId="1036"/>
          <ac:picMkLst>
            <pc:docMk/>
            <pc:sldMk cId="814698274" sldId="2147469864"/>
            <ac:picMk id="62" creationId="{A12A46CB-DE24-401E-87F9-98E932C90697}"/>
          </ac:picMkLst>
        </pc:picChg>
        <pc:picChg chg="mod">
          <ac:chgData name="Dalil BENAOUDA" userId="6bc32e50-31cc-420e-af2c-c81feb754bf7" providerId="ADAL" clId="{2B1617D0-14B2-4879-AEBD-46BD4567454B}" dt="2023-01-23T10:23:40.340" v="4086" actId="1036"/>
          <ac:picMkLst>
            <pc:docMk/>
            <pc:sldMk cId="814698274" sldId="2147469864"/>
            <ac:picMk id="67" creationId="{37416855-1CE6-4F54-B9D9-85219639CAEB}"/>
          </ac:picMkLst>
        </pc:picChg>
        <pc:picChg chg="mod">
          <ac:chgData name="Dalil BENAOUDA" userId="6bc32e50-31cc-420e-af2c-c81feb754bf7" providerId="ADAL" clId="{2B1617D0-14B2-4879-AEBD-46BD4567454B}" dt="2023-01-23T10:23:40.340" v="4086" actId="1036"/>
          <ac:picMkLst>
            <pc:docMk/>
            <pc:sldMk cId="814698274" sldId="2147469864"/>
            <ac:picMk id="68" creationId="{9473C432-2BD0-4DAB-9B01-1B6DA43A097D}"/>
          </ac:picMkLst>
        </pc:picChg>
        <pc:cxnChg chg="add del mod">
          <ac:chgData name="Dalil BENAOUDA" userId="6bc32e50-31cc-420e-af2c-c81feb754bf7" providerId="ADAL" clId="{2B1617D0-14B2-4879-AEBD-46BD4567454B}" dt="2023-01-23T10:23:26.435" v="4061" actId="478"/>
          <ac:cxnSpMkLst>
            <pc:docMk/>
            <pc:sldMk cId="814698274" sldId="2147469864"/>
            <ac:cxnSpMk id="21" creationId="{17BB3C09-014E-4308-9F3B-4332A0563F37}"/>
          </ac:cxnSpMkLst>
        </pc:cxnChg>
        <pc:cxnChg chg="add del mod">
          <ac:chgData name="Dalil BENAOUDA" userId="6bc32e50-31cc-420e-af2c-c81feb754bf7" providerId="ADAL" clId="{2B1617D0-14B2-4879-AEBD-46BD4567454B}" dt="2023-01-23T10:23:26.435" v="4061" actId="478"/>
          <ac:cxnSpMkLst>
            <pc:docMk/>
            <pc:sldMk cId="814698274" sldId="2147469864"/>
            <ac:cxnSpMk id="22" creationId="{A6CB2E9A-7BF6-4115-949F-3F84771521DB}"/>
          </ac:cxnSpMkLst>
        </pc:cxnChg>
        <pc:cxnChg chg="add del mod">
          <ac:chgData name="Dalil BENAOUDA" userId="6bc32e50-31cc-420e-af2c-c81feb754bf7" providerId="ADAL" clId="{2B1617D0-14B2-4879-AEBD-46BD4567454B}" dt="2023-01-23T10:23:26.435" v="4061" actId="478"/>
          <ac:cxnSpMkLst>
            <pc:docMk/>
            <pc:sldMk cId="814698274" sldId="2147469864"/>
            <ac:cxnSpMk id="26" creationId="{DA140A83-BBAC-4EB7-94BC-330CE85BADD1}"/>
          </ac:cxnSpMkLst>
        </pc:cxnChg>
        <pc:cxnChg chg="mod">
          <ac:chgData name="Dalil BENAOUDA" userId="6bc32e50-31cc-420e-af2c-c81feb754bf7" providerId="ADAL" clId="{2B1617D0-14B2-4879-AEBD-46BD4567454B}" dt="2023-01-23T10:23:40.340" v="4086" actId="1036"/>
          <ac:cxnSpMkLst>
            <pc:docMk/>
            <pc:sldMk cId="814698274" sldId="2147469864"/>
            <ac:cxnSpMk id="53" creationId="{535599A8-905A-45B8-A069-BDA709A5621F}"/>
          </ac:cxnSpMkLst>
        </pc:cxnChg>
        <pc:cxnChg chg="mod">
          <ac:chgData name="Dalil BENAOUDA" userId="6bc32e50-31cc-420e-af2c-c81feb754bf7" providerId="ADAL" clId="{2B1617D0-14B2-4879-AEBD-46BD4567454B}" dt="2023-01-23T10:23:40.340" v="4086" actId="1036"/>
          <ac:cxnSpMkLst>
            <pc:docMk/>
            <pc:sldMk cId="814698274" sldId="2147469864"/>
            <ac:cxnSpMk id="54" creationId="{0490D364-C2EB-4FAC-A1AD-0092E10AA137}"/>
          </ac:cxnSpMkLst>
        </pc:cxnChg>
        <pc:cxnChg chg="mod">
          <ac:chgData name="Dalil BENAOUDA" userId="6bc32e50-31cc-420e-af2c-c81feb754bf7" providerId="ADAL" clId="{2B1617D0-14B2-4879-AEBD-46BD4567454B}" dt="2023-01-23T10:23:40.340" v="4086" actId="1036"/>
          <ac:cxnSpMkLst>
            <pc:docMk/>
            <pc:sldMk cId="814698274" sldId="2147469864"/>
            <ac:cxnSpMk id="64" creationId="{821689A7-BA57-4B06-9ACA-E71800D6A393}"/>
          </ac:cxnSpMkLst>
        </pc:cxnChg>
      </pc:sldChg>
      <pc:sldChg chg="del">
        <pc:chgData name="Dalil BENAOUDA" userId="6bc32e50-31cc-420e-af2c-c81feb754bf7" providerId="ADAL" clId="{2B1617D0-14B2-4879-AEBD-46BD4567454B}" dt="2023-01-23T10:16:16.231" v="4055" actId="47"/>
        <pc:sldMkLst>
          <pc:docMk/>
          <pc:sldMk cId="1373749814" sldId="2147469865"/>
        </pc:sldMkLst>
      </pc:sldChg>
      <pc:sldChg chg="addSp delSp modSp del mod ord">
        <pc:chgData name="Dalil BENAOUDA" userId="6bc32e50-31cc-420e-af2c-c81feb754bf7" providerId="ADAL" clId="{2B1617D0-14B2-4879-AEBD-46BD4567454B}" dt="2023-01-23T17:00:35.115" v="5436" actId="2696"/>
        <pc:sldMkLst>
          <pc:docMk/>
          <pc:sldMk cId="1920039256" sldId="2147469866"/>
        </pc:sldMkLst>
        <pc:spChg chg="mod">
          <ac:chgData name="Dalil BENAOUDA" userId="6bc32e50-31cc-420e-af2c-c81feb754bf7" providerId="ADAL" clId="{2B1617D0-14B2-4879-AEBD-46BD4567454B}" dt="2023-01-23T10:46:49.523" v="4643"/>
          <ac:spMkLst>
            <pc:docMk/>
            <pc:sldMk cId="1920039256" sldId="2147469866"/>
            <ac:spMk id="2" creationId="{93C14F37-31FA-4011-9EC7-1612362C1173}"/>
          </ac:spMkLst>
        </pc:spChg>
        <pc:spChg chg="del">
          <ac:chgData name="Dalil BENAOUDA" userId="6bc32e50-31cc-420e-af2c-c81feb754bf7" providerId="ADAL" clId="{2B1617D0-14B2-4879-AEBD-46BD4567454B}" dt="2023-01-23T10:46:31.727" v="4598" actId="478"/>
          <ac:spMkLst>
            <pc:docMk/>
            <pc:sldMk cId="1920039256" sldId="2147469866"/>
            <ac:spMk id="3" creationId="{DED9392C-B713-454A-B7F4-3F2D3910A383}"/>
          </ac:spMkLst>
        </pc:spChg>
        <pc:spChg chg="add del mod">
          <ac:chgData name="Dalil BENAOUDA" userId="6bc32e50-31cc-420e-af2c-c81feb754bf7" providerId="ADAL" clId="{2B1617D0-14B2-4879-AEBD-46BD4567454B}" dt="2023-01-23T10:46:52.223" v="4644" actId="478"/>
          <ac:spMkLst>
            <pc:docMk/>
            <pc:sldMk cId="1920039256" sldId="2147469866"/>
            <ac:spMk id="5" creationId="{25732647-08AE-4558-893C-BD276BD28FC3}"/>
          </ac:spMkLst>
        </pc:spChg>
        <pc:spChg chg="add mod">
          <ac:chgData name="Dalil BENAOUDA" userId="6bc32e50-31cc-420e-af2c-c81feb754bf7" providerId="ADAL" clId="{2B1617D0-14B2-4879-AEBD-46BD4567454B}" dt="2023-01-23T10:48:54.905" v="4824" actId="20577"/>
          <ac:spMkLst>
            <pc:docMk/>
            <pc:sldMk cId="1920039256" sldId="2147469866"/>
            <ac:spMk id="6" creationId="{D0DA22DB-59A5-4D9D-8C17-A266EAA60737}"/>
          </ac:spMkLst>
        </pc:spChg>
        <pc:spChg chg="add mod">
          <ac:chgData name="Dalil BENAOUDA" userId="6bc32e50-31cc-420e-af2c-c81feb754bf7" providerId="ADAL" clId="{2B1617D0-14B2-4879-AEBD-46BD4567454B}" dt="2023-01-23T10:48:05.532" v="4768" actId="20577"/>
          <ac:spMkLst>
            <pc:docMk/>
            <pc:sldMk cId="1920039256" sldId="2147469866"/>
            <ac:spMk id="7" creationId="{555BCD5E-5845-41D6-9A36-9BDBF69FA916}"/>
          </ac:spMkLst>
        </pc:spChg>
        <pc:spChg chg="add mod">
          <ac:chgData name="Dalil BENAOUDA" userId="6bc32e50-31cc-420e-af2c-c81feb754bf7" providerId="ADAL" clId="{2B1617D0-14B2-4879-AEBD-46BD4567454B}" dt="2023-01-23T10:46:32.037" v="4599"/>
          <ac:spMkLst>
            <pc:docMk/>
            <pc:sldMk cId="1920039256" sldId="2147469866"/>
            <ac:spMk id="8" creationId="{01294190-4451-488E-B4A2-5BFDA82C914C}"/>
          </ac:spMkLst>
        </pc:spChg>
        <pc:spChg chg="add mod">
          <ac:chgData name="Dalil BENAOUDA" userId="6bc32e50-31cc-420e-af2c-c81feb754bf7" providerId="ADAL" clId="{2B1617D0-14B2-4879-AEBD-46BD4567454B}" dt="2023-01-23T10:46:32.037" v="4599"/>
          <ac:spMkLst>
            <pc:docMk/>
            <pc:sldMk cId="1920039256" sldId="2147469866"/>
            <ac:spMk id="9" creationId="{A5DF1AB5-E7BE-4F9D-8CBF-9058545C172D}"/>
          </ac:spMkLst>
        </pc:spChg>
        <pc:spChg chg="add mod">
          <ac:chgData name="Dalil BENAOUDA" userId="6bc32e50-31cc-420e-af2c-c81feb754bf7" providerId="ADAL" clId="{2B1617D0-14B2-4879-AEBD-46BD4567454B}" dt="2023-01-23T10:54:43.667" v="5036" actId="5793"/>
          <ac:spMkLst>
            <pc:docMk/>
            <pc:sldMk cId="1920039256" sldId="2147469866"/>
            <ac:spMk id="10" creationId="{D65C22C2-5F25-4094-9F2B-FEBD050E7605}"/>
          </ac:spMkLst>
        </pc:spChg>
        <pc:spChg chg="add del mod">
          <ac:chgData name="Dalil BENAOUDA" userId="6bc32e50-31cc-420e-af2c-c81feb754bf7" providerId="ADAL" clId="{2B1617D0-14B2-4879-AEBD-46BD4567454B}" dt="2023-01-23T10:48:16.192" v="4772" actId="478"/>
          <ac:spMkLst>
            <pc:docMk/>
            <pc:sldMk cId="1920039256" sldId="2147469866"/>
            <ac:spMk id="12" creationId="{EFE9524C-E91F-4BFA-B5E2-BB028ADFE415}"/>
          </ac:spMkLst>
        </pc:spChg>
        <pc:spChg chg="add mod">
          <ac:chgData name="Dalil BENAOUDA" userId="6bc32e50-31cc-420e-af2c-c81feb754bf7" providerId="ADAL" clId="{2B1617D0-14B2-4879-AEBD-46BD4567454B}" dt="2023-01-23T10:49:18.868" v="4844" actId="20577"/>
          <ac:spMkLst>
            <pc:docMk/>
            <pc:sldMk cId="1920039256" sldId="2147469866"/>
            <ac:spMk id="13" creationId="{59FD95F2-953E-4F5D-A54B-5ED0ECD6ACBB}"/>
          </ac:spMkLst>
        </pc:spChg>
        <pc:spChg chg="add del mod">
          <ac:chgData name="Dalil BENAOUDA" userId="6bc32e50-31cc-420e-af2c-c81feb754bf7" providerId="ADAL" clId="{2B1617D0-14B2-4879-AEBD-46BD4567454B}" dt="2023-01-23T10:48:17.925" v="4774" actId="478"/>
          <ac:spMkLst>
            <pc:docMk/>
            <pc:sldMk cId="1920039256" sldId="2147469866"/>
            <ac:spMk id="15" creationId="{D8687EB8-6A69-4534-8DBC-2FF2373733B4}"/>
          </ac:spMkLst>
        </pc:spChg>
        <pc:spChg chg="add del mod">
          <ac:chgData name="Dalil BENAOUDA" userId="6bc32e50-31cc-420e-af2c-c81feb754bf7" providerId="ADAL" clId="{2B1617D0-14B2-4879-AEBD-46BD4567454B}" dt="2023-01-23T10:48:10.059" v="4770" actId="478"/>
          <ac:spMkLst>
            <pc:docMk/>
            <pc:sldMk cId="1920039256" sldId="2147469866"/>
            <ac:spMk id="16" creationId="{17D4BD61-CB96-42D8-B0DF-5F592A458435}"/>
          </ac:spMkLst>
        </pc:spChg>
        <pc:spChg chg="add del mod">
          <ac:chgData name="Dalil BENAOUDA" userId="6bc32e50-31cc-420e-af2c-c81feb754bf7" providerId="ADAL" clId="{2B1617D0-14B2-4879-AEBD-46BD4567454B}" dt="2023-01-23T10:48:17.105" v="4773" actId="478"/>
          <ac:spMkLst>
            <pc:docMk/>
            <pc:sldMk cId="1920039256" sldId="2147469866"/>
            <ac:spMk id="20" creationId="{253C9F3C-BA61-4351-9FE5-A50664D57930}"/>
          </ac:spMkLst>
        </pc:spChg>
        <pc:spChg chg="add del mod">
          <ac:chgData name="Dalil BENAOUDA" userId="6bc32e50-31cc-420e-af2c-c81feb754bf7" providerId="ADAL" clId="{2B1617D0-14B2-4879-AEBD-46BD4567454B}" dt="2023-01-23T10:48:15.163" v="4771" actId="478"/>
          <ac:spMkLst>
            <pc:docMk/>
            <pc:sldMk cId="1920039256" sldId="2147469866"/>
            <ac:spMk id="21" creationId="{71A8F8C0-47ED-41CF-AAB2-4031A076C353}"/>
          </ac:spMkLst>
        </pc:spChg>
        <pc:spChg chg="add del mod">
          <ac:chgData name="Dalil BENAOUDA" userId="6bc32e50-31cc-420e-af2c-c81feb754bf7" providerId="ADAL" clId="{2B1617D0-14B2-4879-AEBD-46BD4567454B}" dt="2023-01-23T10:48:30.173" v="4814" actId="478"/>
          <ac:spMkLst>
            <pc:docMk/>
            <pc:sldMk cId="1920039256" sldId="2147469866"/>
            <ac:spMk id="22" creationId="{FAAD50F4-296A-40E7-9135-9B43967362C2}"/>
          </ac:spMkLst>
        </pc:spChg>
        <pc:picChg chg="add del mod">
          <ac:chgData name="Dalil BENAOUDA" userId="6bc32e50-31cc-420e-af2c-c81feb754bf7" providerId="ADAL" clId="{2B1617D0-14B2-4879-AEBD-46BD4567454B}" dt="2023-01-23T10:48:15.163" v="4771" actId="478"/>
          <ac:picMkLst>
            <pc:docMk/>
            <pc:sldMk cId="1920039256" sldId="2147469866"/>
            <ac:picMk id="11" creationId="{700616B2-7AE9-4079-A269-030CA73012D2}"/>
          </ac:picMkLst>
        </pc:picChg>
        <pc:picChg chg="add del mod">
          <ac:chgData name="Dalil BENAOUDA" userId="6bc32e50-31cc-420e-af2c-c81feb754bf7" providerId="ADAL" clId="{2B1617D0-14B2-4879-AEBD-46BD4567454B}" dt="2023-01-23T10:48:15.163" v="4771" actId="478"/>
          <ac:picMkLst>
            <pc:docMk/>
            <pc:sldMk cId="1920039256" sldId="2147469866"/>
            <ac:picMk id="14" creationId="{B49D07F9-44F2-48AC-AD01-683808F703D8}"/>
          </ac:picMkLst>
        </pc:picChg>
        <pc:picChg chg="add mod">
          <ac:chgData name="Dalil BENAOUDA" userId="6bc32e50-31cc-420e-af2c-c81feb754bf7" providerId="ADAL" clId="{2B1617D0-14B2-4879-AEBD-46BD4567454B}" dt="2023-01-23T10:49:00.599" v="4825" actId="1076"/>
          <ac:picMkLst>
            <pc:docMk/>
            <pc:sldMk cId="1920039256" sldId="2147469866"/>
            <ac:picMk id="17" creationId="{EB87DDD8-E9A5-4DB1-A42C-405DDE8B6508}"/>
          </ac:picMkLst>
        </pc:picChg>
        <pc:picChg chg="add del mod">
          <ac:chgData name="Dalil BENAOUDA" userId="6bc32e50-31cc-420e-af2c-c81feb754bf7" providerId="ADAL" clId="{2B1617D0-14B2-4879-AEBD-46BD4567454B}" dt="2023-01-23T10:48:08.800" v="4769" actId="478"/>
          <ac:picMkLst>
            <pc:docMk/>
            <pc:sldMk cId="1920039256" sldId="2147469866"/>
            <ac:picMk id="18" creationId="{E4C7CFBB-A99E-4028-B8DA-34173D53A9F6}"/>
          </ac:picMkLst>
        </pc:picChg>
        <pc:picChg chg="add del mod">
          <ac:chgData name="Dalil BENAOUDA" userId="6bc32e50-31cc-420e-af2c-c81feb754bf7" providerId="ADAL" clId="{2B1617D0-14B2-4879-AEBD-46BD4567454B}" dt="2023-01-23T10:48:15.163" v="4771" actId="478"/>
          <ac:picMkLst>
            <pc:docMk/>
            <pc:sldMk cId="1920039256" sldId="2147469866"/>
            <ac:picMk id="19" creationId="{4951FEB4-001B-40F9-98C3-3E6960B0FC27}"/>
          </ac:picMkLst>
        </pc:picChg>
        <pc:picChg chg="add del mod">
          <ac:chgData name="Dalil BENAOUDA" userId="6bc32e50-31cc-420e-af2c-c81feb754bf7" providerId="ADAL" clId="{2B1617D0-14B2-4879-AEBD-46BD4567454B}" dt="2023-01-23T10:48:30.743" v="4815" actId="478"/>
          <ac:picMkLst>
            <pc:docMk/>
            <pc:sldMk cId="1920039256" sldId="2147469866"/>
            <ac:picMk id="23" creationId="{88123697-7B17-4ACC-9474-4FD2504FBB6A}"/>
          </ac:picMkLst>
        </pc:picChg>
      </pc:sldChg>
      <pc:sldChg chg="addSp delSp modSp mod">
        <pc:chgData name="Dalil BENAOUDA" userId="6bc32e50-31cc-420e-af2c-c81feb754bf7" providerId="ADAL" clId="{2B1617D0-14B2-4879-AEBD-46BD4567454B}" dt="2023-01-26T14:56:05.480" v="8807" actId="1076"/>
        <pc:sldMkLst>
          <pc:docMk/>
          <pc:sldMk cId="3764256714" sldId="2147469867"/>
        </pc:sldMkLst>
        <pc:spChg chg="mod">
          <ac:chgData name="Dalil BENAOUDA" userId="6bc32e50-31cc-420e-af2c-c81feb754bf7" providerId="ADAL" clId="{2B1617D0-14B2-4879-AEBD-46BD4567454B}" dt="2023-01-26T14:52:05.093" v="8377"/>
          <ac:spMkLst>
            <pc:docMk/>
            <pc:sldMk cId="3764256714" sldId="2147469867"/>
            <ac:spMk id="2" creationId="{9D08F257-FAF1-4C5B-B639-8861F68A7A30}"/>
          </ac:spMkLst>
        </pc:spChg>
        <pc:spChg chg="del">
          <ac:chgData name="Dalil BENAOUDA" userId="6bc32e50-31cc-420e-af2c-c81feb754bf7" providerId="ADAL" clId="{2B1617D0-14B2-4879-AEBD-46BD4567454B}" dt="2023-01-26T14:51:50.725" v="8358" actId="478"/>
          <ac:spMkLst>
            <pc:docMk/>
            <pc:sldMk cId="3764256714" sldId="2147469867"/>
            <ac:spMk id="3" creationId="{9B1EE467-0676-4301-823D-07CCBB60E295}"/>
          </ac:spMkLst>
        </pc:spChg>
        <pc:spChg chg="add del mod">
          <ac:chgData name="Dalil BENAOUDA" userId="6bc32e50-31cc-420e-af2c-c81feb754bf7" providerId="ADAL" clId="{2B1617D0-14B2-4879-AEBD-46BD4567454B}" dt="2023-01-26T14:51:52.927" v="8359" actId="478"/>
          <ac:spMkLst>
            <pc:docMk/>
            <pc:sldMk cId="3764256714" sldId="2147469867"/>
            <ac:spMk id="5" creationId="{9CF99CAE-C8B8-425E-9CEC-BF0839B008FC}"/>
          </ac:spMkLst>
        </pc:spChg>
        <pc:spChg chg="add mod">
          <ac:chgData name="Dalil BENAOUDA" userId="6bc32e50-31cc-420e-af2c-c81feb754bf7" providerId="ADAL" clId="{2B1617D0-14B2-4879-AEBD-46BD4567454B}" dt="2023-01-26T14:55:57.774" v="8804" actId="6549"/>
          <ac:spMkLst>
            <pc:docMk/>
            <pc:sldMk cId="3764256714" sldId="2147469867"/>
            <ac:spMk id="6" creationId="{0E5A970F-B3DF-482E-A31E-BBA821AA3E7C}"/>
          </ac:spMkLst>
        </pc:spChg>
        <pc:spChg chg="add mod">
          <ac:chgData name="Dalil BENAOUDA" userId="6bc32e50-31cc-420e-af2c-c81feb754bf7" providerId="ADAL" clId="{2B1617D0-14B2-4879-AEBD-46BD4567454B}" dt="2023-01-26T14:51:53.330" v="8360"/>
          <ac:spMkLst>
            <pc:docMk/>
            <pc:sldMk cId="3764256714" sldId="2147469867"/>
            <ac:spMk id="7" creationId="{4152E2C2-B735-4A47-82D8-E88086612BA8}"/>
          </ac:spMkLst>
        </pc:spChg>
        <pc:spChg chg="add mod">
          <ac:chgData name="Dalil BENAOUDA" userId="6bc32e50-31cc-420e-af2c-c81feb754bf7" providerId="ADAL" clId="{2B1617D0-14B2-4879-AEBD-46BD4567454B}" dt="2023-01-26T14:51:53.330" v="8360"/>
          <ac:spMkLst>
            <pc:docMk/>
            <pc:sldMk cId="3764256714" sldId="2147469867"/>
            <ac:spMk id="8" creationId="{5F42A7C9-468D-4EE8-9AA9-80D72A8CC222}"/>
          </ac:spMkLst>
        </pc:spChg>
        <pc:spChg chg="add mod">
          <ac:chgData name="Dalil BENAOUDA" userId="6bc32e50-31cc-420e-af2c-c81feb754bf7" providerId="ADAL" clId="{2B1617D0-14B2-4879-AEBD-46BD4567454B}" dt="2023-01-26T14:51:53.330" v="8360"/>
          <ac:spMkLst>
            <pc:docMk/>
            <pc:sldMk cId="3764256714" sldId="2147469867"/>
            <ac:spMk id="10" creationId="{0DF2B05D-B0A7-4557-8629-F0044179AD55}"/>
          </ac:spMkLst>
        </pc:spChg>
        <pc:spChg chg="add mod">
          <ac:chgData name="Dalil BENAOUDA" userId="6bc32e50-31cc-420e-af2c-c81feb754bf7" providerId="ADAL" clId="{2B1617D0-14B2-4879-AEBD-46BD4567454B}" dt="2023-01-26T14:51:53.330" v="8360"/>
          <ac:spMkLst>
            <pc:docMk/>
            <pc:sldMk cId="3764256714" sldId="2147469867"/>
            <ac:spMk id="12" creationId="{955D36E6-0A4E-4B91-A149-4FE4020BAA65}"/>
          </ac:spMkLst>
        </pc:spChg>
        <pc:spChg chg="add mod">
          <ac:chgData name="Dalil BENAOUDA" userId="6bc32e50-31cc-420e-af2c-c81feb754bf7" providerId="ADAL" clId="{2B1617D0-14B2-4879-AEBD-46BD4567454B}" dt="2023-01-26T14:51:53.330" v="8360"/>
          <ac:spMkLst>
            <pc:docMk/>
            <pc:sldMk cId="3764256714" sldId="2147469867"/>
            <ac:spMk id="14" creationId="{9EEF3F72-7FC9-44B3-BA93-C3BCC00005C7}"/>
          </ac:spMkLst>
        </pc:spChg>
        <pc:spChg chg="add mod">
          <ac:chgData name="Dalil BENAOUDA" userId="6bc32e50-31cc-420e-af2c-c81feb754bf7" providerId="ADAL" clId="{2B1617D0-14B2-4879-AEBD-46BD4567454B}" dt="2023-01-26T14:51:53.330" v="8360"/>
          <ac:spMkLst>
            <pc:docMk/>
            <pc:sldMk cId="3764256714" sldId="2147469867"/>
            <ac:spMk id="15" creationId="{5161AE68-52F9-4390-B627-0A40F6538530}"/>
          </ac:spMkLst>
        </pc:spChg>
        <pc:spChg chg="add mod">
          <ac:chgData name="Dalil BENAOUDA" userId="6bc32e50-31cc-420e-af2c-c81feb754bf7" providerId="ADAL" clId="{2B1617D0-14B2-4879-AEBD-46BD4567454B}" dt="2023-01-26T14:51:53.330" v="8360"/>
          <ac:spMkLst>
            <pc:docMk/>
            <pc:sldMk cId="3764256714" sldId="2147469867"/>
            <ac:spMk id="16" creationId="{D9C42AAC-1433-486D-B4F4-09AFB83432D9}"/>
          </ac:spMkLst>
        </pc:spChg>
        <pc:spChg chg="add mod">
          <ac:chgData name="Dalil BENAOUDA" userId="6bc32e50-31cc-420e-af2c-c81feb754bf7" providerId="ADAL" clId="{2B1617D0-14B2-4879-AEBD-46BD4567454B}" dt="2023-01-26T14:51:53.330" v="8360"/>
          <ac:spMkLst>
            <pc:docMk/>
            <pc:sldMk cId="3764256714" sldId="2147469867"/>
            <ac:spMk id="19" creationId="{BFC29EB1-07EE-409E-B6E3-EEB1F2021D67}"/>
          </ac:spMkLst>
        </pc:spChg>
        <pc:spChg chg="add mod">
          <ac:chgData name="Dalil BENAOUDA" userId="6bc32e50-31cc-420e-af2c-c81feb754bf7" providerId="ADAL" clId="{2B1617D0-14B2-4879-AEBD-46BD4567454B}" dt="2023-01-26T14:51:53.330" v="8360"/>
          <ac:spMkLst>
            <pc:docMk/>
            <pc:sldMk cId="3764256714" sldId="2147469867"/>
            <ac:spMk id="26" creationId="{1E64083F-E1B4-47FB-9B10-88501C10BA48}"/>
          </ac:spMkLst>
        </pc:spChg>
        <pc:spChg chg="add mod">
          <ac:chgData name="Dalil BENAOUDA" userId="6bc32e50-31cc-420e-af2c-c81feb754bf7" providerId="ADAL" clId="{2B1617D0-14B2-4879-AEBD-46BD4567454B}" dt="2023-01-26T14:56:05.480" v="8807" actId="1076"/>
          <ac:spMkLst>
            <pc:docMk/>
            <pc:sldMk cId="3764256714" sldId="2147469867"/>
            <ac:spMk id="27" creationId="{240EBE9B-772E-4AEB-B579-64B25A62B673}"/>
          </ac:spMkLst>
        </pc:spChg>
        <pc:grpChg chg="add mod">
          <ac:chgData name="Dalil BENAOUDA" userId="6bc32e50-31cc-420e-af2c-c81feb754bf7" providerId="ADAL" clId="{2B1617D0-14B2-4879-AEBD-46BD4567454B}" dt="2023-01-26T14:51:53.330" v="8360"/>
          <ac:grpSpMkLst>
            <pc:docMk/>
            <pc:sldMk cId="3764256714" sldId="2147469867"/>
            <ac:grpSpMk id="20" creationId="{183937ED-0CC5-4029-B25D-91C4D32E725F}"/>
          </ac:grpSpMkLst>
        </pc:grpChg>
        <pc:picChg chg="add mod">
          <ac:chgData name="Dalil BENAOUDA" userId="6bc32e50-31cc-420e-af2c-c81feb754bf7" providerId="ADAL" clId="{2B1617D0-14B2-4879-AEBD-46BD4567454B}" dt="2023-01-26T14:51:53.330" v="8360"/>
          <ac:picMkLst>
            <pc:docMk/>
            <pc:sldMk cId="3764256714" sldId="2147469867"/>
            <ac:picMk id="17" creationId="{29AE0B2A-BD10-45AF-B43D-8718E69513BF}"/>
          </ac:picMkLst>
        </pc:picChg>
        <pc:picChg chg="add mod">
          <ac:chgData name="Dalil BENAOUDA" userId="6bc32e50-31cc-420e-af2c-c81feb754bf7" providerId="ADAL" clId="{2B1617D0-14B2-4879-AEBD-46BD4567454B}" dt="2023-01-26T14:51:53.330" v="8360"/>
          <ac:picMkLst>
            <pc:docMk/>
            <pc:sldMk cId="3764256714" sldId="2147469867"/>
            <ac:picMk id="18" creationId="{B060831F-0B69-4DF6-AB9A-505CF11D2EA3}"/>
          </ac:picMkLst>
        </pc:picChg>
        <pc:picChg chg="mod">
          <ac:chgData name="Dalil BENAOUDA" userId="6bc32e50-31cc-420e-af2c-c81feb754bf7" providerId="ADAL" clId="{2B1617D0-14B2-4879-AEBD-46BD4567454B}" dt="2023-01-26T14:51:53.330" v="8360"/>
          <ac:picMkLst>
            <pc:docMk/>
            <pc:sldMk cId="3764256714" sldId="2147469867"/>
            <ac:picMk id="21" creationId="{6A4133BA-87F4-4AB3-B6B9-4C5A0BFADF63}"/>
          </ac:picMkLst>
        </pc:picChg>
        <pc:picChg chg="mod">
          <ac:chgData name="Dalil BENAOUDA" userId="6bc32e50-31cc-420e-af2c-c81feb754bf7" providerId="ADAL" clId="{2B1617D0-14B2-4879-AEBD-46BD4567454B}" dt="2023-01-26T14:51:53.330" v="8360"/>
          <ac:picMkLst>
            <pc:docMk/>
            <pc:sldMk cId="3764256714" sldId="2147469867"/>
            <ac:picMk id="22" creationId="{A8D9AE8A-3972-433E-8092-BB483DE19F75}"/>
          </ac:picMkLst>
        </pc:picChg>
        <pc:picChg chg="mod">
          <ac:chgData name="Dalil BENAOUDA" userId="6bc32e50-31cc-420e-af2c-c81feb754bf7" providerId="ADAL" clId="{2B1617D0-14B2-4879-AEBD-46BD4567454B}" dt="2023-01-26T14:51:53.330" v="8360"/>
          <ac:picMkLst>
            <pc:docMk/>
            <pc:sldMk cId="3764256714" sldId="2147469867"/>
            <ac:picMk id="23" creationId="{02641E7C-BD06-4EED-A034-340B27454A72}"/>
          </ac:picMkLst>
        </pc:picChg>
        <pc:picChg chg="mod">
          <ac:chgData name="Dalil BENAOUDA" userId="6bc32e50-31cc-420e-af2c-c81feb754bf7" providerId="ADAL" clId="{2B1617D0-14B2-4879-AEBD-46BD4567454B}" dt="2023-01-26T14:51:53.330" v="8360"/>
          <ac:picMkLst>
            <pc:docMk/>
            <pc:sldMk cId="3764256714" sldId="2147469867"/>
            <ac:picMk id="24" creationId="{0ED8F8C7-EAD4-4EBB-A808-EE705DEC353D}"/>
          </ac:picMkLst>
        </pc:picChg>
        <pc:picChg chg="mod">
          <ac:chgData name="Dalil BENAOUDA" userId="6bc32e50-31cc-420e-af2c-c81feb754bf7" providerId="ADAL" clId="{2B1617D0-14B2-4879-AEBD-46BD4567454B}" dt="2023-01-26T14:51:53.330" v="8360"/>
          <ac:picMkLst>
            <pc:docMk/>
            <pc:sldMk cId="3764256714" sldId="2147469867"/>
            <ac:picMk id="25" creationId="{20363711-EA7F-4D48-8B0C-DDD2F9CBB0E5}"/>
          </ac:picMkLst>
        </pc:picChg>
        <pc:cxnChg chg="add mod">
          <ac:chgData name="Dalil BENAOUDA" userId="6bc32e50-31cc-420e-af2c-c81feb754bf7" providerId="ADAL" clId="{2B1617D0-14B2-4879-AEBD-46BD4567454B}" dt="2023-01-26T14:51:53.330" v="8360"/>
          <ac:cxnSpMkLst>
            <pc:docMk/>
            <pc:sldMk cId="3764256714" sldId="2147469867"/>
            <ac:cxnSpMk id="9" creationId="{B6155D2B-9FE0-480D-9428-F86914ABBBD8}"/>
          </ac:cxnSpMkLst>
        </pc:cxnChg>
        <pc:cxnChg chg="add mod">
          <ac:chgData name="Dalil BENAOUDA" userId="6bc32e50-31cc-420e-af2c-c81feb754bf7" providerId="ADAL" clId="{2B1617D0-14B2-4879-AEBD-46BD4567454B}" dt="2023-01-26T14:51:53.330" v="8360"/>
          <ac:cxnSpMkLst>
            <pc:docMk/>
            <pc:sldMk cId="3764256714" sldId="2147469867"/>
            <ac:cxnSpMk id="11" creationId="{C6B48F6D-C651-40EF-8A2A-0F76A5B24C20}"/>
          </ac:cxnSpMkLst>
        </pc:cxnChg>
        <pc:cxnChg chg="add mod">
          <ac:chgData name="Dalil BENAOUDA" userId="6bc32e50-31cc-420e-af2c-c81feb754bf7" providerId="ADAL" clId="{2B1617D0-14B2-4879-AEBD-46BD4567454B}" dt="2023-01-26T14:51:53.330" v="8360"/>
          <ac:cxnSpMkLst>
            <pc:docMk/>
            <pc:sldMk cId="3764256714" sldId="2147469867"/>
            <ac:cxnSpMk id="13" creationId="{0AD61CCF-BD10-4F9A-A160-2DAF55FB182A}"/>
          </ac:cxnSpMkLst>
        </pc:cxnChg>
      </pc:sldChg>
      <pc:sldChg chg="addSp delSp modSp new mod ord">
        <pc:chgData name="Dalil BENAOUDA" userId="6bc32e50-31cc-420e-af2c-c81feb754bf7" providerId="ADAL" clId="{2B1617D0-14B2-4879-AEBD-46BD4567454B}" dt="2023-01-26T13:37:33.128" v="7467"/>
        <pc:sldMkLst>
          <pc:docMk/>
          <pc:sldMk cId="3013144948" sldId="2147469870"/>
        </pc:sldMkLst>
        <pc:spChg chg="mod">
          <ac:chgData name="Dalil BENAOUDA" userId="6bc32e50-31cc-420e-af2c-c81feb754bf7" providerId="ADAL" clId="{2B1617D0-14B2-4879-AEBD-46BD4567454B}" dt="2023-01-19T11:00:24.999" v="2988" actId="20577"/>
          <ac:spMkLst>
            <pc:docMk/>
            <pc:sldMk cId="3013144948" sldId="2147469870"/>
            <ac:spMk id="2" creationId="{512EA552-D720-46E5-AA91-DE133C411CC0}"/>
          </ac:spMkLst>
        </pc:spChg>
        <pc:spChg chg="del">
          <ac:chgData name="Dalil BENAOUDA" userId="6bc32e50-31cc-420e-af2c-c81feb754bf7" providerId="ADAL" clId="{2B1617D0-14B2-4879-AEBD-46BD4567454B}" dt="2023-01-19T10:57:04.277" v="2841" actId="478"/>
          <ac:spMkLst>
            <pc:docMk/>
            <pc:sldMk cId="3013144948" sldId="2147469870"/>
            <ac:spMk id="3" creationId="{B45559D0-E6D1-4D77-9F96-227B963C42FD}"/>
          </ac:spMkLst>
        </pc:spChg>
        <pc:spChg chg="mod">
          <ac:chgData name="Dalil BENAOUDA" userId="6bc32e50-31cc-420e-af2c-c81feb754bf7" providerId="ADAL" clId="{2B1617D0-14B2-4879-AEBD-46BD4567454B}" dt="2023-01-19T10:59:18.309" v="2865" actId="207"/>
          <ac:spMkLst>
            <pc:docMk/>
            <pc:sldMk cId="3013144948" sldId="2147469870"/>
            <ac:spMk id="8" creationId="{42DC8DC8-AC6A-43BF-8203-A6EF73ADF675}"/>
          </ac:spMkLst>
        </pc:spChg>
        <pc:spChg chg="mod">
          <ac:chgData name="Dalil BENAOUDA" userId="6bc32e50-31cc-420e-af2c-c81feb754bf7" providerId="ADAL" clId="{2B1617D0-14B2-4879-AEBD-46BD4567454B}" dt="2023-01-19T10:57:24.514" v="2845"/>
          <ac:spMkLst>
            <pc:docMk/>
            <pc:sldMk cId="3013144948" sldId="2147469870"/>
            <ac:spMk id="11" creationId="{D9827FEA-064A-4916-9C14-53BBE7A69D68}"/>
          </ac:spMkLst>
        </pc:spChg>
        <pc:spChg chg="mod">
          <ac:chgData name="Dalil BENAOUDA" userId="6bc32e50-31cc-420e-af2c-c81feb754bf7" providerId="ADAL" clId="{2B1617D0-14B2-4879-AEBD-46BD4567454B}" dt="2023-01-19T10:57:24.514" v="2845"/>
          <ac:spMkLst>
            <pc:docMk/>
            <pc:sldMk cId="3013144948" sldId="2147469870"/>
            <ac:spMk id="14" creationId="{103884A8-C2D7-4711-884D-8C6B9EC36378}"/>
          </ac:spMkLst>
        </pc:spChg>
        <pc:spChg chg="mod">
          <ac:chgData name="Dalil BENAOUDA" userId="6bc32e50-31cc-420e-af2c-c81feb754bf7" providerId="ADAL" clId="{2B1617D0-14B2-4879-AEBD-46BD4567454B}" dt="2023-01-19T10:57:24.514" v="2845"/>
          <ac:spMkLst>
            <pc:docMk/>
            <pc:sldMk cId="3013144948" sldId="2147469870"/>
            <ac:spMk id="17" creationId="{DAD53478-DEC0-4E46-8254-647FD4C9E7FA}"/>
          </ac:spMkLst>
        </pc:spChg>
        <pc:grpChg chg="add mod">
          <ac:chgData name="Dalil BENAOUDA" userId="6bc32e50-31cc-420e-af2c-c81feb754bf7" providerId="ADAL" clId="{2B1617D0-14B2-4879-AEBD-46BD4567454B}" dt="2023-01-19T11:00:38.275" v="2989" actId="1076"/>
          <ac:grpSpMkLst>
            <pc:docMk/>
            <pc:sldMk cId="3013144948" sldId="2147469870"/>
            <ac:grpSpMk id="6" creationId="{F72F3F5A-C176-4DC3-B1C4-1F745CD9DC07}"/>
          </ac:grpSpMkLst>
        </pc:grpChg>
        <pc:grpChg chg="add mod">
          <ac:chgData name="Dalil BENAOUDA" userId="6bc32e50-31cc-420e-af2c-c81feb754bf7" providerId="ADAL" clId="{2B1617D0-14B2-4879-AEBD-46BD4567454B}" dt="2023-01-19T11:00:38.275" v="2989" actId="1076"/>
          <ac:grpSpMkLst>
            <pc:docMk/>
            <pc:sldMk cId="3013144948" sldId="2147469870"/>
            <ac:grpSpMk id="9" creationId="{49DCB1FB-1C62-4D10-AF5D-E1ED1407703C}"/>
          </ac:grpSpMkLst>
        </pc:grpChg>
        <pc:grpChg chg="add mod">
          <ac:chgData name="Dalil BENAOUDA" userId="6bc32e50-31cc-420e-af2c-c81feb754bf7" providerId="ADAL" clId="{2B1617D0-14B2-4879-AEBD-46BD4567454B}" dt="2023-01-19T11:00:38.275" v="2989" actId="1076"/>
          <ac:grpSpMkLst>
            <pc:docMk/>
            <pc:sldMk cId="3013144948" sldId="2147469870"/>
            <ac:grpSpMk id="12" creationId="{44FD5C58-B401-4ED2-A74C-1AAD62E4A954}"/>
          </ac:grpSpMkLst>
        </pc:grpChg>
        <pc:grpChg chg="add mod">
          <ac:chgData name="Dalil BENAOUDA" userId="6bc32e50-31cc-420e-af2c-c81feb754bf7" providerId="ADAL" clId="{2B1617D0-14B2-4879-AEBD-46BD4567454B}" dt="2023-01-19T11:00:38.275" v="2989" actId="1076"/>
          <ac:grpSpMkLst>
            <pc:docMk/>
            <pc:sldMk cId="3013144948" sldId="2147469870"/>
            <ac:grpSpMk id="15" creationId="{E2CD6A55-518B-4DEA-8443-7B8210DE1DF9}"/>
          </ac:grpSpMkLst>
        </pc:grpChg>
        <pc:graphicFrameChg chg="add del mod modGraphic">
          <ac:chgData name="Dalil BENAOUDA" userId="6bc32e50-31cc-420e-af2c-c81feb754bf7" providerId="ADAL" clId="{2B1617D0-14B2-4879-AEBD-46BD4567454B}" dt="2023-01-19T10:57:23.908" v="2844" actId="478"/>
          <ac:graphicFrameMkLst>
            <pc:docMk/>
            <pc:sldMk cId="3013144948" sldId="2147469870"/>
            <ac:graphicFrameMk id="4" creationId="{B69F5FAE-6031-4BB4-B6CF-D82F5048F230}"/>
          </ac:graphicFrameMkLst>
        </pc:graphicFrameChg>
        <pc:graphicFrameChg chg="add mod modGraphic">
          <ac:chgData name="Dalil BENAOUDA" userId="6bc32e50-31cc-420e-af2c-c81feb754bf7" providerId="ADAL" clId="{2B1617D0-14B2-4879-AEBD-46BD4567454B}" dt="2023-01-20T14:08:11.190" v="3374" actId="313"/>
          <ac:graphicFrameMkLst>
            <pc:docMk/>
            <pc:sldMk cId="3013144948" sldId="2147469870"/>
            <ac:graphicFrameMk id="5" creationId="{404A56CB-BEC8-40A7-BE54-3CDF8CFFA74C}"/>
          </ac:graphicFrameMkLst>
        </pc:graphicFrameChg>
        <pc:picChg chg="mod">
          <ac:chgData name="Dalil BENAOUDA" userId="6bc32e50-31cc-420e-af2c-c81feb754bf7" providerId="ADAL" clId="{2B1617D0-14B2-4879-AEBD-46BD4567454B}" dt="2023-01-19T10:57:24.514" v="2845"/>
          <ac:picMkLst>
            <pc:docMk/>
            <pc:sldMk cId="3013144948" sldId="2147469870"/>
            <ac:picMk id="7" creationId="{1B44AC3B-C8D7-4D21-BC3D-D2872A3210CF}"/>
          </ac:picMkLst>
        </pc:picChg>
        <pc:picChg chg="mod">
          <ac:chgData name="Dalil BENAOUDA" userId="6bc32e50-31cc-420e-af2c-c81feb754bf7" providerId="ADAL" clId="{2B1617D0-14B2-4879-AEBD-46BD4567454B}" dt="2023-01-19T10:57:24.514" v="2845"/>
          <ac:picMkLst>
            <pc:docMk/>
            <pc:sldMk cId="3013144948" sldId="2147469870"/>
            <ac:picMk id="10" creationId="{01594796-4A58-4961-BF4E-6B95B12F2854}"/>
          </ac:picMkLst>
        </pc:picChg>
        <pc:picChg chg="mod">
          <ac:chgData name="Dalil BENAOUDA" userId="6bc32e50-31cc-420e-af2c-c81feb754bf7" providerId="ADAL" clId="{2B1617D0-14B2-4879-AEBD-46BD4567454B}" dt="2023-01-19T10:57:24.514" v="2845"/>
          <ac:picMkLst>
            <pc:docMk/>
            <pc:sldMk cId="3013144948" sldId="2147469870"/>
            <ac:picMk id="13" creationId="{8B8D693A-8F4A-4793-8F30-DE1DC66B8D93}"/>
          </ac:picMkLst>
        </pc:picChg>
        <pc:picChg chg="mod">
          <ac:chgData name="Dalil BENAOUDA" userId="6bc32e50-31cc-420e-af2c-c81feb754bf7" providerId="ADAL" clId="{2B1617D0-14B2-4879-AEBD-46BD4567454B}" dt="2023-01-19T10:57:24.514" v="2845"/>
          <ac:picMkLst>
            <pc:docMk/>
            <pc:sldMk cId="3013144948" sldId="2147469870"/>
            <ac:picMk id="16" creationId="{A8E1C61C-E26D-4EBD-9FE7-32D4B6A3932A}"/>
          </ac:picMkLst>
        </pc:picChg>
      </pc:sldChg>
      <pc:sldChg chg="addSp delSp modSp new mod ord">
        <pc:chgData name="Dalil BENAOUDA" userId="6bc32e50-31cc-420e-af2c-c81feb754bf7" providerId="ADAL" clId="{2B1617D0-14B2-4879-AEBD-46BD4567454B}" dt="2023-01-23T16:49:40.946" v="5251" actId="20577"/>
        <pc:sldMkLst>
          <pc:docMk/>
          <pc:sldMk cId="1631352921" sldId="2147469871"/>
        </pc:sldMkLst>
        <pc:spChg chg="del mod">
          <ac:chgData name="Dalil BENAOUDA" userId="6bc32e50-31cc-420e-af2c-c81feb754bf7" providerId="ADAL" clId="{2B1617D0-14B2-4879-AEBD-46BD4567454B}" dt="2023-01-23T10:01:13.833" v="3633" actId="478"/>
          <ac:spMkLst>
            <pc:docMk/>
            <pc:sldMk cId="1631352921" sldId="2147469871"/>
            <ac:spMk id="2" creationId="{D076F361-C92B-43B8-93EF-E35257B2A6AB}"/>
          </ac:spMkLst>
        </pc:spChg>
        <pc:spChg chg="del">
          <ac:chgData name="Dalil BENAOUDA" userId="6bc32e50-31cc-420e-af2c-c81feb754bf7" providerId="ADAL" clId="{2B1617D0-14B2-4879-AEBD-46BD4567454B}" dt="2023-01-19T11:02:54.536" v="2996" actId="478"/>
          <ac:spMkLst>
            <pc:docMk/>
            <pc:sldMk cId="1631352921" sldId="2147469871"/>
            <ac:spMk id="3" creationId="{57879C94-892F-49D6-B3C3-EDA365572057}"/>
          </ac:spMkLst>
        </pc:spChg>
        <pc:spChg chg="add mod">
          <ac:chgData name="Dalil BENAOUDA" userId="6bc32e50-31cc-420e-af2c-c81feb754bf7" providerId="ADAL" clId="{2B1617D0-14B2-4879-AEBD-46BD4567454B}" dt="2023-01-23T09:58:45.921" v="3570" actId="20577"/>
          <ac:spMkLst>
            <pc:docMk/>
            <pc:sldMk cId="1631352921" sldId="2147469871"/>
            <ac:spMk id="4" creationId="{98D98004-2804-44FC-83E0-2C1E33497A2E}"/>
          </ac:spMkLst>
        </pc:spChg>
        <pc:spChg chg="add mod">
          <ac:chgData name="Dalil BENAOUDA" userId="6bc32e50-31cc-420e-af2c-c81feb754bf7" providerId="ADAL" clId="{2B1617D0-14B2-4879-AEBD-46BD4567454B}" dt="2023-01-19T11:03:48.981" v="3152" actId="1036"/>
          <ac:spMkLst>
            <pc:docMk/>
            <pc:sldMk cId="1631352921" sldId="2147469871"/>
            <ac:spMk id="5" creationId="{AB2FD637-F104-4220-AA2A-7B103DF86F7F}"/>
          </ac:spMkLst>
        </pc:spChg>
        <pc:spChg chg="add mod">
          <ac:chgData name="Dalil BENAOUDA" userId="6bc32e50-31cc-420e-af2c-c81feb754bf7" providerId="ADAL" clId="{2B1617D0-14B2-4879-AEBD-46BD4567454B}" dt="2023-01-19T11:03:48.981" v="3152" actId="1036"/>
          <ac:spMkLst>
            <pc:docMk/>
            <pc:sldMk cId="1631352921" sldId="2147469871"/>
            <ac:spMk id="7" creationId="{62C1C328-5850-49FF-8D45-7969ABDB4B98}"/>
          </ac:spMkLst>
        </pc:spChg>
        <pc:spChg chg="add mod">
          <ac:chgData name="Dalil BENAOUDA" userId="6bc32e50-31cc-420e-af2c-c81feb754bf7" providerId="ADAL" clId="{2B1617D0-14B2-4879-AEBD-46BD4567454B}" dt="2023-01-23T10:01:54.690" v="3643"/>
          <ac:spMkLst>
            <pc:docMk/>
            <pc:sldMk cId="1631352921" sldId="2147469871"/>
            <ac:spMk id="8" creationId="{48AF4983-F6B2-4E05-9727-3332DD3E7B91}"/>
          </ac:spMkLst>
        </pc:spChg>
        <pc:spChg chg="add mod">
          <ac:chgData name="Dalil BENAOUDA" userId="6bc32e50-31cc-420e-af2c-c81feb754bf7" providerId="ADAL" clId="{2B1617D0-14B2-4879-AEBD-46BD4567454B}" dt="2023-01-19T11:03:48.981" v="3152" actId="1036"/>
          <ac:spMkLst>
            <pc:docMk/>
            <pc:sldMk cId="1631352921" sldId="2147469871"/>
            <ac:spMk id="9" creationId="{6CA0E1D6-8120-4E71-A1CC-BA8F6BE4CB34}"/>
          </ac:spMkLst>
        </pc:spChg>
        <pc:spChg chg="add del mod">
          <ac:chgData name="Dalil BENAOUDA" userId="6bc32e50-31cc-420e-af2c-c81feb754bf7" providerId="ADAL" clId="{2B1617D0-14B2-4879-AEBD-46BD4567454B}" dt="2023-01-23T10:01:40.938" v="3640" actId="478"/>
          <ac:spMkLst>
            <pc:docMk/>
            <pc:sldMk cId="1631352921" sldId="2147469871"/>
            <ac:spMk id="10" creationId="{D0463B4B-4045-42AE-A18E-4E809120F6E1}"/>
          </ac:spMkLst>
        </pc:spChg>
        <pc:spChg chg="add del mod">
          <ac:chgData name="Dalil BENAOUDA" userId="6bc32e50-31cc-420e-af2c-c81feb754bf7" providerId="ADAL" clId="{2B1617D0-14B2-4879-AEBD-46BD4567454B}" dt="2023-01-23T10:01:40.938" v="3640" actId="478"/>
          <ac:spMkLst>
            <pc:docMk/>
            <pc:sldMk cId="1631352921" sldId="2147469871"/>
            <ac:spMk id="11" creationId="{00353F42-5550-4370-B473-46683D6C6BF4}"/>
          </ac:spMkLst>
        </pc:spChg>
        <pc:spChg chg="add mod">
          <ac:chgData name="Dalil BENAOUDA" userId="6bc32e50-31cc-420e-af2c-c81feb754bf7" providerId="ADAL" clId="{2B1617D0-14B2-4879-AEBD-46BD4567454B}" dt="2023-01-23T10:00:46.564" v="3603" actId="20577"/>
          <ac:spMkLst>
            <pc:docMk/>
            <pc:sldMk cId="1631352921" sldId="2147469871"/>
            <ac:spMk id="12" creationId="{353208FB-86F6-4750-A658-F877FADE252E}"/>
          </ac:spMkLst>
        </pc:spChg>
        <pc:spChg chg="add mod">
          <ac:chgData name="Dalil BENAOUDA" userId="6bc32e50-31cc-420e-af2c-c81feb754bf7" providerId="ADAL" clId="{2B1617D0-14B2-4879-AEBD-46BD4567454B}" dt="2023-01-23T10:00:46.918" v="3604" actId="20577"/>
          <ac:spMkLst>
            <pc:docMk/>
            <pc:sldMk cId="1631352921" sldId="2147469871"/>
            <ac:spMk id="13" creationId="{8474D455-ADAD-44F0-B54A-B1ED3673AB44}"/>
          </ac:spMkLst>
        </pc:spChg>
        <pc:spChg chg="add mod">
          <ac:chgData name="Dalil BENAOUDA" userId="6bc32e50-31cc-420e-af2c-c81feb754bf7" providerId="ADAL" clId="{2B1617D0-14B2-4879-AEBD-46BD4567454B}" dt="2023-01-23T10:00:47.530" v="3606" actId="12"/>
          <ac:spMkLst>
            <pc:docMk/>
            <pc:sldMk cId="1631352921" sldId="2147469871"/>
            <ac:spMk id="14" creationId="{8684B625-CED9-46CF-909C-2E9689933C13}"/>
          </ac:spMkLst>
        </pc:spChg>
        <pc:spChg chg="add mod">
          <ac:chgData name="Dalil BENAOUDA" userId="6bc32e50-31cc-420e-af2c-c81feb754bf7" providerId="ADAL" clId="{2B1617D0-14B2-4879-AEBD-46BD4567454B}" dt="2023-01-23T10:00:55.939" v="3608" actId="12"/>
          <ac:spMkLst>
            <pc:docMk/>
            <pc:sldMk cId="1631352921" sldId="2147469871"/>
            <ac:spMk id="15" creationId="{45795BF4-ADF2-45C1-9143-92A60A074524}"/>
          </ac:spMkLst>
        </pc:spChg>
        <pc:spChg chg="add mod">
          <ac:chgData name="Dalil BENAOUDA" userId="6bc32e50-31cc-420e-af2c-c81feb754bf7" providerId="ADAL" clId="{2B1617D0-14B2-4879-AEBD-46BD4567454B}" dt="2023-01-19T11:03:48.981" v="3152" actId="1036"/>
          <ac:spMkLst>
            <pc:docMk/>
            <pc:sldMk cId="1631352921" sldId="2147469871"/>
            <ac:spMk id="16" creationId="{BDEFC76C-31F6-48EA-A729-F16BDB81BBFB}"/>
          </ac:spMkLst>
        </pc:spChg>
        <pc:spChg chg="add mod">
          <ac:chgData name="Dalil BENAOUDA" userId="6bc32e50-31cc-420e-af2c-c81feb754bf7" providerId="ADAL" clId="{2B1617D0-14B2-4879-AEBD-46BD4567454B}" dt="2023-01-23T10:08:55.980" v="4043" actId="207"/>
          <ac:spMkLst>
            <pc:docMk/>
            <pc:sldMk cId="1631352921" sldId="2147469871"/>
            <ac:spMk id="17" creationId="{32ADF82E-F107-43C6-A703-D44600F55F3B}"/>
          </ac:spMkLst>
        </pc:spChg>
        <pc:spChg chg="add mod">
          <ac:chgData name="Dalil BENAOUDA" userId="6bc32e50-31cc-420e-af2c-c81feb754bf7" providerId="ADAL" clId="{2B1617D0-14B2-4879-AEBD-46BD4567454B}" dt="2023-01-19T11:03:48.981" v="3152" actId="1036"/>
          <ac:spMkLst>
            <pc:docMk/>
            <pc:sldMk cId="1631352921" sldId="2147469871"/>
            <ac:spMk id="18" creationId="{47276926-E81E-4319-8E11-8990C1CBFEB5}"/>
          </ac:spMkLst>
        </pc:spChg>
        <pc:spChg chg="add mod">
          <ac:chgData name="Dalil BENAOUDA" userId="6bc32e50-31cc-420e-af2c-c81feb754bf7" providerId="ADAL" clId="{2B1617D0-14B2-4879-AEBD-46BD4567454B}" dt="2023-01-19T11:03:48.981" v="3152" actId="1036"/>
          <ac:spMkLst>
            <pc:docMk/>
            <pc:sldMk cId="1631352921" sldId="2147469871"/>
            <ac:spMk id="19" creationId="{C1508986-187B-45B5-9376-EE5C1F096501}"/>
          </ac:spMkLst>
        </pc:spChg>
        <pc:spChg chg="add del mod">
          <ac:chgData name="Dalil BENAOUDA" userId="6bc32e50-31cc-420e-af2c-c81feb754bf7" providerId="ADAL" clId="{2B1617D0-14B2-4879-AEBD-46BD4567454B}" dt="2023-01-23T10:01:40.938" v="3640" actId="478"/>
          <ac:spMkLst>
            <pc:docMk/>
            <pc:sldMk cId="1631352921" sldId="2147469871"/>
            <ac:spMk id="20" creationId="{B7AE1C56-455F-4241-B731-A3F62BA9929F}"/>
          </ac:spMkLst>
        </pc:spChg>
        <pc:spChg chg="add del mod">
          <ac:chgData name="Dalil BENAOUDA" userId="6bc32e50-31cc-420e-af2c-c81feb754bf7" providerId="ADAL" clId="{2B1617D0-14B2-4879-AEBD-46BD4567454B}" dt="2023-01-19T11:03:52.291" v="3153" actId="478"/>
          <ac:spMkLst>
            <pc:docMk/>
            <pc:sldMk cId="1631352921" sldId="2147469871"/>
            <ac:spMk id="21" creationId="{7B4A8000-6BB8-449B-BC6E-F5FCCD469E0E}"/>
          </ac:spMkLst>
        </pc:spChg>
        <pc:spChg chg="add del mod">
          <ac:chgData name="Dalil BENAOUDA" userId="6bc32e50-31cc-420e-af2c-c81feb754bf7" providerId="ADAL" clId="{2B1617D0-14B2-4879-AEBD-46BD4567454B}" dt="2023-01-23T10:01:17.451" v="3636" actId="478"/>
          <ac:spMkLst>
            <pc:docMk/>
            <pc:sldMk cId="1631352921" sldId="2147469871"/>
            <ac:spMk id="21" creationId="{F2ABD307-BA36-4E37-AA2B-9F310E4B6215}"/>
          </ac:spMkLst>
        </pc:spChg>
        <pc:spChg chg="add del mod">
          <ac:chgData name="Dalil BENAOUDA" userId="6bc32e50-31cc-420e-af2c-c81feb754bf7" providerId="ADAL" clId="{2B1617D0-14B2-4879-AEBD-46BD4567454B}" dt="2023-01-19T11:05:54.307" v="3368" actId="478"/>
          <ac:spMkLst>
            <pc:docMk/>
            <pc:sldMk cId="1631352921" sldId="2147469871"/>
            <ac:spMk id="25" creationId="{EEE051C3-B806-467B-9EEE-B43CC906119A}"/>
          </ac:spMkLst>
        </pc:spChg>
        <pc:spChg chg="add del mod">
          <ac:chgData name="Dalil BENAOUDA" userId="6bc32e50-31cc-420e-af2c-c81feb754bf7" providerId="ADAL" clId="{2B1617D0-14B2-4879-AEBD-46BD4567454B}" dt="2023-01-23T09:50:11.020" v="3375" actId="478"/>
          <ac:spMkLst>
            <pc:docMk/>
            <pc:sldMk cId="1631352921" sldId="2147469871"/>
            <ac:spMk id="26" creationId="{E3B247B5-FA99-42B4-9065-2F37EA45ABEC}"/>
          </ac:spMkLst>
        </pc:spChg>
        <pc:spChg chg="add del mod">
          <ac:chgData name="Dalil BENAOUDA" userId="6bc32e50-31cc-420e-af2c-c81feb754bf7" providerId="ADAL" clId="{2B1617D0-14B2-4879-AEBD-46BD4567454B}" dt="2023-01-23T10:01:15.759" v="3635"/>
          <ac:spMkLst>
            <pc:docMk/>
            <pc:sldMk cId="1631352921" sldId="2147469871"/>
            <ac:spMk id="27" creationId="{C5E17A8A-7C5A-4531-B4F1-B8A181768CAF}"/>
          </ac:spMkLst>
        </pc:spChg>
        <pc:spChg chg="add mod">
          <ac:chgData name="Dalil BENAOUDA" userId="6bc32e50-31cc-420e-af2c-c81feb754bf7" providerId="ADAL" clId="{2B1617D0-14B2-4879-AEBD-46BD4567454B}" dt="2023-01-23T16:49:40.946" v="5251" actId="20577"/>
          <ac:spMkLst>
            <pc:docMk/>
            <pc:sldMk cId="1631352921" sldId="2147469871"/>
            <ac:spMk id="28" creationId="{44F04B75-2C83-4694-A10D-BEF1BAAA5F0F}"/>
          </ac:spMkLst>
        </pc:spChg>
        <pc:spChg chg="add mod">
          <ac:chgData name="Dalil BENAOUDA" userId="6bc32e50-31cc-420e-af2c-c81feb754bf7" providerId="ADAL" clId="{2B1617D0-14B2-4879-AEBD-46BD4567454B}" dt="2023-01-23T10:01:45.611" v="3642" actId="1076"/>
          <ac:spMkLst>
            <pc:docMk/>
            <pc:sldMk cId="1631352921" sldId="2147469871"/>
            <ac:spMk id="29" creationId="{BAF2471A-A92B-48A4-A96E-828989343F3B}"/>
          </ac:spMkLst>
        </pc:spChg>
        <pc:spChg chg="add mod">
          <ac:chgData name="Dalil BENAOUDA" userId="6bc32e50-31cc-420e-af2c-c81feb754bf7" providerId="ADAL" clId="{2B1617D0-14B2-4879-AEBD-46BD4567454B}" dt="2023-01-23T10:01:45.611" v="3642" actId="1076"/>
          <ac:spMkLst>
            <pc:docMk/>
            <pc:sldMk cId="1631352921" sldId="2147469871"/>
            <ac:spMk id="30" creationId="{DFB8E33A-6E0D-4F76-908A-138BC5569814}"/>
          </ac:spMkLst>
        </pc:spChg>
        <pc:spChg chg="add mod">
          <ac:chgData name="Dalil BENAOUDA" userId="6bc32e50-31cc-420e-af2c-c81feb754bf7" providerId="ADAL" clId="{2B1617D0-14B2-4879-AEBD-46BD4567454B}" dt="2023-01-23T10:01:45.611" v="3642" actId="1076"/>
          <ac:spMkLst>
            <pc:docMk/>
            <pc:sldMk cId="1631352921" sldId="2147469871"/>
            <ac:spMk id="33" creationId="{DFE33E6F-710F-422F-87D7-A6BF3E913311}"/>
          </ac:spMkLst>
        </pc:spChg>
        <pc:picChg chg="add del mod">
          <ac:chgData name="Dalil BENAOUDA" userId="6bc32e50-31cc-420e-af2c-c81feb754bf7" providerId="ADAL" clId="{2B1617D0-14B2-4879-AEBD-46BD4567454B}" dt="2023-01-23T10:01:40.938" v="3640" actId="478"/>
          <ac:picMkLst>
            <pc:docMk/>
            <pc:sldMk cId="1631352921" sldId="2147469871"/>
            <ac:picMk id="22" creationId="{DF79A5D9-29DD-4DD4-81D7-490D1AF59D99}"/>
          </ac:picMkLst>
        </pc:picChg>
        <pc:picChg chg="add del mod">
          <ac:chgData name="Dalil BENAOUDA" userId="6bc32e50-31cc-420e-af2c-c81feb754bf7" providerId="ADAL" clId="{2B1617D0-14B2-4879-AEBD-46BD4567454B}" dt="2023-01-23T10:01:40.938" v="3640" actId="478"/>
          <ac:picMkLst>
            <pc:docMk/>
            <pc:sldMk cId="1631352921" sldId="2147469871"/>
            <ac:picMk id="23" creationId="{121310AB-AE87-46B2-9D34-1D955FBAB1D9}"/>
          </ac:picMkLst>
        </pc:picChg>
        <pc:picChg chg="add del mod">
          <ac:chgData name="Dalil BENAOUDA" userId="6bc32e50-31cc-420e-af2c-c81feb754bf7" providerId="ADAL" clId="{2B1617D0-14B2-4879-AEBD-46BD4567454B}" dt="2023-01-23T10:01:40.938" v="3640" actId="478"/>
          <ac:picMkLst>
            <pc:docMk/>
            <pc:sldMk cId="1631352921" sldId="2147469871"/>
            <ac:picMk id="24" creationId="{C9DA46E5-D87B-4FC3-A4BF-E89E8B8944F1}"/>
          </ac:picMkLst>
        </pc:picChg>
        <pc:picChg chg="add mod">
          <ac:chgData name="Dalil BENAOUDA" userId="6bc32e50-31cc-420e-af2c-c81feb754bf7" providerId="ADAL" clId="{2B1617D0-14B2-4879-AEBD-46BD4567454B}" dt="2023-01-23T10:01:45.611" v="3642" actId="1076"/>
          <ac:picMkLst>
            <pc:docMk/>
            <pc:sldMk cId="1631352921" sldId="2147469871"/>
            <ac:picMk id="31" creationId="{805A1660-704C-4ABD-A9D1-89FE5AE0BF5D}"/>
          </ac:picMkLst>
        </pc:picChg>
        <pc:picChg chg="add mod">
          <ac:chgData name="Dalil BENAOUDA" userId="6bc32e50-31cc-420e-af2c-c81feb754bf7" providerId="ADAL" clId="{2B1617D0-14B2-4879-AEBD-46BD4567454B}" dt="2023-01-23T10:01:45.611" v="3642" actId="1076"/>
          <ac:picMkLst>
            <pc:docMk/>
            <pc:sldMk cId="1631352921" sldId="2147469871"/>
            <ac:picMk id="32" creationId="{FAF475A5-5C3A-402D-9841-B1775C67E859}"/>
          </ac:picMkLst>
        </pc:picChg>
        <pc:picChg chg="add mod">
          <ac:chgData name="Dalil BENAOUDA" userId="6bc32e50-31cc-420e-af2c-c81feb754bf7" providerId="ADAL" clId="{2B1617D0-14B2-4879-AEBD-46BD4567454B}" dt="2023-01-23T10:01:45.611" v="3642" actId="1076"/>
          <ac:picMkLst>
            <pc:docMk/>
            <pc:sldMk cId="1631352921" sldId="2147469871"/>
            <ac:picMk id="34" creationId="{82ECACCF-AACA-4AF8-8527-A366096532D4}"/>
          </ac:picMkLst>
        </pc:picChg>
        <pc:cxnChg chg="add mod">
          <ac:chgData name="Dalil BENAOUDA" userId="6bc32e50-31cc-420e-af2c-c81feb754bf7" providerId="ADAL" clId="{2B1617D0-14B2-4879-AEBD-46BD4567454B}" dt="2023-01-19T11:03:48.981" v="3152" actId="1036"/>
          <ac:cxnSpMkLst>
            <pc:docMk/>
            <pc:sldMk cId="1631352921" sldId="2147469871"/>
            <ac:cxnSpMk id="6" creationId="{DC5BBA3F-0533-494A-838B-8A2753CF557E}"/>
          </ac:cxnSpMkLst>
        </pc:cxnChg>
      </pc:sldChg>
      <pc:sldChg chg="addSp delSp modSp add mod ord">
        <pc:chgData name="Dalil BENAOUDA" userId="6bc32e50-31cc-420e-af2c-c81feb754bf7" providerId="ADAL" clId="{2B1617D0-14B2-4879-AEBD-46BD4567454B}" dt="2023-01-26T13:38:17.694" v="7471"/>
        <pc:sldMkLst>
          <pc:docMk/>
          <pc:sldMk cId="1670697989" sldId="2147469872"/>
        </pc:sldMkLst>
        <pc:spChg chg="mod">
          <ac:chgData name="Dalil BENAOUDA" userId="6bc32e50-31cc-420e-af2c-c81feb754bf7" providerId="ADAL" clId="{2B1617D0-14B2-4879-AEBD-46BD4567454B}" dt="2023-01-23T16:49:28.123" v="5219" actId="20577"/>
          <ac:spMkLst>
            <pc:docMk/>
            <pc:sldMk cId="1670697989" sldId="2147469872"/>
            <ac:spMk id="2" creationId="{D076F361-C92B-43B8-93EF-E35257B2A6AB}"/>
          </ac:spMkLst>
        </pc:spChg>
        <pc:spChg chg="mod">
          <ac:chgData name="Dalil BENAOUDA" userId="6bc32e50-31cc-420e-af2c-c81feb754bf7" providerId="ADAL" clId="{2B1617D0-14B2-4879-AEBD-46BD4567454B}" dt="2023-01-23T09:57:59.753" v="3560"/>
          <ac:spMkLst>
            <pc:docMk/>
            <pc:sldMk cId="1670697989" sldId="2147469872"/>
            <ac:spMk id="4" creationId="{98D98004-2804-44FC-83E0-2C1E33497A2E}"/>
          </ac:spMkLst>
        </pc:spChg>
        <pc:spChg chg="mod">
          <ac:chgData name="Dalil BENAOUDA" userId="6bc32e50-31cc-420e-af2c-c81feb754bf7" providerId="ADAL" clId="{2B1617D0-14B2-4879-AEBD-46BD4567454B}" dt="2023-01-23T10:08:50.833" v="4042" actId="207"/>
          <ac:spMkLst>
            <pc:docMk/>
            <pc:sldMk cId="1670697989" sldId="2147469872"/>
            <ac:spMk id="17" creationId="{32ADF82E-F107-43C6-A703-D44600F55F3B}"/>
          </ac:spMkLst>
        </pc:spChg>
        <pc:spChg chg="del mod">
          <ac:chgData name="Dalil BENAOUDA" userId="6bc32e50-31cc-420e-af2c-c81feb754bf7" providerId="ADAL" clId="{2B1617D0-14B2-4879-AEBD-46BD4567454B}" dt="2023-01-19T11:05:49.895" v="3366" actId="478"/>
          <ac:spMkLst>
            <pc:docMk/>
            <pc:sldMk cId="1670697989" sldId="2147469872"/>
            <ac:spMk id="25" creationId="{EEE051C3-B806-467B-9EEE-B43CC906119A}"/>
          </ac:spMkLst>
        </pc:spChg>
        <pc:spChg chg="add del mod">
          <ac:chgData name="Dalil BENAOUDA" userId="6bc32e50-31cc-420e-af2c-c81feb754bf7" providerId="ADAL" clId="{2B1617D0-14B2-4879-AEBD-46BD4567454B}" dt="2023-01-23T09:57:10.942" v="3516" actId="478"/>
          <ac:spMkLst>
            <pc:docMk/>
            <pc:sldMk cId="1670697989" sldId="2147469872"/>
            <ac:spMk id="26" creationId="{CB037667-C799-4762-9629-1A6DA3413CD9}"/>
          </ac:spMkLst>
        </pc:spChg>
      </pc:sldChg>
      <pc:sldChg chg="addSp delSp modSp add mod">
        <pc:chgData name="Dalil BENAOUDA" userId="6bc32e50-31cc-420e-af2c-c81feb754bf7" providerId="ADAL" clId="{2B1617D0-14B2-4879-AEBD-46BD4567454B}" dt="2023-01-26T09:15:15.445" v="6347" actId="20577"/>
        <pc:sldMkLst>
          <pc:docMk/>
          <pc:sldMk cId="1174100690" sldId="2147469873"/>
        </pc:sldMkLst>
        <pc:spChg chg="mod">
          <ac:chgData name="Dalil BENAOUDA" userId="6bc32e50-31cc-420e-af2c-c81feb754bf7" providerId="ADAL" clId="{2B1617D0-14B2-4879-AEBD-46BD4567454B}" dt="2023-01-26T09:15:15.445" v="6347" actId="20577"/>
          <ac:spMkLst>
            <pc:docMk/>
            <pc:sldMk cId="1174100690" sldId="2147469873"/>
            <ac:spMk id="2" creationId="{D076F361-C92B-43B8-93EF-E35257B2A6AB}"/>
          </ac:spMkLst>
        </pc:spChg>
        <pc:spChg chg="del mod">
          <ac:chgData name="Dalil BENAOUDA" userId="6bc32e50-31cc-420e-af2c-c81feb754bf7" providerId="ADAL" clId="{2B1617D0-14B2-4879-AEBD-46BD4567454B}" dt="2023-01-24T08:29:01.183" v="6244" actId="478"/>
          <ac:spMkLst>
            <pc:docMk/>
            <pc:sldMk cId="1174100690" sldId="2147469873"/>
            <ac:spMk id="4" creationId="{98D98004-2804-44FC-83E0-2C1E33497A2E}"/>
          </ac:spMkLst>
        </pc:spChg>
        <pc:spChg chg="del">
          <ac:chgData name="Dalil BENAOUDA" userId="6bc32e50-31cc-420e-af2c-c81feb754bf7" providerId="ADAL" clId="{2B1617D0-14B2-4879-AEBD-46BD4567454B}" dt="2023-01-24T08:29:01.183" v="6244" actId="478"/>
          <ac:spMkLst>
            <pc:docMk/>
            <pc:sldMk cId="1174100690" sldId="2147469873"/>
            <ac:spMk id="5" creationId="{AB2FD637-F104-4220-AA2A-7B103DF86F7F}"/>
          </ac:spMkLst>
        </pc:spChg>
        <pc:spChg chg="del">
          <ac:chgData name="Dalil BENAOUDA" userId="6bc32e50-31cc-420e-af2c-c81feb754bf7" providerId="ADAL" clId="{2B1617D0-14B2-4879-AEBD-46BD4567454B}" dt="2023-01-24T08:29:01.183" v="6244" actId="478"/>
          <ac:spMkLst>
            <pc:docMk/>
            <pc:sldMk cId="1174100690" sldId="2147469873"/>
            <ac:spMk id="7" creationId="{62C1C328-5850-49FF-8D45-7969ABDB4B98}"/>
          </ac:spMkLst>
        </pc:spChg>
        <pc:spChg chg="del mod">
          <ac:chgData name="Dalil BENAOUDA" userId="6bc32e50-31cc-420e-af2c-c81feb754bf7" providerId="ADAL" clId="{2B1617D0-14B2-4879-AEBD-46BD4567454B}" dt="2023-01-24T08:29:01.183" v="6244" actId="478"/>
          <ac:spMkLst>
            <pc:docMk/>
            <pc:sldMk cId="1174100690" sldId="2147469873"/>
            <ac:spMk id="8" creationId="{48AF4983-F6B2-4E05-9727-3332DD3E7B91}"/>
          </ac:spMkLst>
        </pc:spChg>
        <pc:spChg chg="del">
          <ac:chgData name="Dalil BENAOUDA" userId="6bc32e50-31cc-420e-af2c-c81feb754bf7" providerId="ADAL" clId="{2B1617D0-14B2-4879-AEBD-46BD4567454B}" dt="2023-01-24T08:29:01.183" v="6244" actId="478"/>
          <ac:spMkLst>
            <pc:docMk/>
            <pc:sldMk cId="1174100690" sldId="2147469873"/>
            <ac:spMk id="9" creationId="{6CA0E1D6-8120-4E71-A1CC-BA8F6BE4CB34}"/>
          </ac:spMkLst>
        </pc:spChg>
        <pc:spChg chg="del">
          <ac:chgData name="Dalil BENAOUDA" userId="6bc32e50-31cc-420e-af2c-c81feb754bf7" providerId="ADAL" clId="{2B1617D0-14B2-4879-AEBD-46BD4567454B}" dt="2023-01-23T10:07:13.542" v="4038" actId="478"/>
          <ac:spMkLst>
            <pc:docMk/>
            <pc:sldMk cId="1174100690" sldId="2147469873"/>
            <ac:spMk id="10" creationId="{D0463B4B-4045-42AE-A18E-4E809120F6E1}"/>
          </ac:spMkLst>
        </pc:spChg>
        <pc:spChg chg="del">
          <ac:chgData name="Dalil BENAOUDA" userId="6bc32e50-31cc-420e-af2c-c81feb754bf7" providerId="ADAL" clId="{2B1617D0-14B2-4879-AEBD-46BD4567454B}" dt="2023-01-23T10:07:13.542" v="4038" actId="478"/>
          <ac:spMkLst>
            <pc:docMk/>
            <pc:sldMk cId="1174100690" sldId="2147469873"/>
            <ac:spMk id="11" creationId="{00353F42-5550-4370-B473-46683D6C6BF4}"/>
          </ac:spMkLst>
        </pc:spChg>
        <pc:spChg chg="del mod">
          <ac:chgData name="Dalil BENAOUDA" userId="6bc32e50-31cc-420e-af2c-c81feb754bf7" providerId="ADAL" clId="{2B1617D0-14B2-4879-AEBD-46BD4567454B}" dt="2023-01-24T08:29:01.183" v="6244" actId="478"/>
          <ac:spMkLst>
            <pc:docMk/>
            <pc:sldMk cId="1174100690" sldId="2147469873"/>
            <ac:spMk id="12" creationId="{353208FB-86F6-4750-A658-F877FADE252E}"/>
          </ac:spMkLst>
        </pc:spChg>
        <pc:spChg chg="del mod">
          <ac:chgData name="Dalil BENAOUDA" userId="6bc32e50-31cc-420e-af2c-c81feb754bf7" providerId="ADAL" clId="{2B1617D0-14B2-4879-AEBD-46BD4567454B}" dt="2023-01-24T08:29:01.183" v="6244" actId="478"/>
          <ac:spMkLst>
            <pc:docMk/>
            <pc:sldMk cId="1174100690" sldId="2147469873"/>
            <ac:spMk id="13" creationId="{8474D455-ADAD-44F0-B54A-B1ED3673AB44}"/>
          </ac:spMkLst>
        </pc:spChg>
        <pc:spChg chg="del mod">
          <ac:chgData name="Dalil BENAOUDA" userId="6bc32e50-31cc-420e-af2c-c81feb754bf7" providerId="ADAL" clId="{2B1617D0-14B2-4879-AEBD-46BD4567454B}" dt="2023-01-24T08:29:01.183" v="6244" actId="478"/>
          <ac:spMkLst>
            <pc:docMk/>
            <pc:sldMk cId="1174100690" sldId="2147469873"/>
            <ac:spMk id="14" creationId="{8684B625-CED9-46CF-909C-2E9689933C13}"/>
          </ac:spMkLst>
        </pc:spChg>
        <pc:spChg chg="del mod">
          <ac:chgData name="Dalil BENAOUDA" userId="6bc32e50-31cc-420e-af2c-c81feb754bf7" providerId="ADAL" clId="{2B1617D0-14B2-4879-AEBD-46BD4567454B}" dt="2023-01-24T08:29:01.183" v="6244" actId="478"/>
          <ac:spMkLst>
            <pc:docMk/>
            <pc:sldMk cId="1174100690" sldId="2147469873"/>
            <ac:spMk id="15" creationId="{45795BF4-ADF2-45C1-9143-92A60A074524}"/>
          </ac:spMkLst>
        </pc:spChg>
        <pc:spChg chg="del">
          <ac:chgData name="Dalil BENAOUDA" userId="6bc32e50-31cc-420e-af2c-c81feb754bf7" providerId="ADAL" clId="{2B1617D0-14B2-4879-AEBD-46BD4567454B}" dt="2023-01-24T08:29:01.183" v="6244" actId="478"/>
          <ac:spMkLst>
            <pc:docMk/>
            <pc:sldMk cId="1174100690" sldId="2147469873"/>
            <ac:spMk id="16" creationId="{BDEFC76C-31F6-48EA-A729-F16BDB81BBFB}"/>
          </ac:spMkLst>
        </pc:spChg>
        <pc:spChg chg="del mod">
          <ac:chgData name="Dalil BENAOUDA" userId="6bc32e50-31cc-420e-af2c-c81feb754bf7" providerId="ADAL" clId="{2B1617D0-14B2-4879-AEBD-46BD4567454B}" dt="2023-01-24T08:29:01.183" v="6244" actId="478"/>
          <ac:spMkLst>
            <pc:docMk/>
            <pc:sldMk cId="1174100690" sldId="2147469873"/>
            <ac:spMk id="17" creationId="{32ADF82E-F107-43C6-A703-D44600F55F3B}"/>
          </ac:spMkLst>
        </pc:spChg>
        <pc:spChg chg="del">
          <ac:chgData name="Dalil BENAOUDA" userId="6bc32e50-31cc-420e-af2c-c81feb754bf7" providerId="ADAL" clId="{2B1617D0-14B2-4879-AEBD-46BD4567454B}" dt="2023-01-24T08:29:01.183" v="6244" actId="478"/>
          <ac:spMkLst>
            <pc:docMk/>
            <pc:sldMk cId="1174100690" sldId="2147469873"/>
            <ac:spMk id="18" creationId="{47276926-E81E-4319-8E11-8990C1CBFEB5}"/>
          </ac:spMkLst>
        </pc:spChg>
        <pc:spChg chg="del">
          <ac:chgData name="Dalil BENAOUDA" userId="6bc32e50-31cc-420e-af2c-c81feb754bf7" providerId="ADAL" clId="{2B1617D0-14B2-4879-AEBD-46BD4567454B}" dt="2023-01-24T08:29:01.183" v="6244" actId="478"/>
          <ac:spMkLst>
            <pc:docMk/>
            <pc:sldMk cId="1174100690" sldId="2147469873"/>
            <ac:spMk id="19" creationId="{C1508986-187B-45B5-9376-EE5C1F096501}"/>
          </ac:spMkLst>
        </pc:spChg>
        <pc:spChg chg="del">
          <ac:chgData name="Dalil BENAOUDA" userId="6bc32e50-31cc-420e-af2c-c81feb754bf7" providerId="ADAL" clId="{2B1617D0-14B2-4879-AEBD-46BD4567454B}" dt="2023-01-23T10:07:13.542" v="4038" actId="478"/>
          <ac:spMkLst>
            <pc:docMk/>
            <pc:sldMk cId="1174100690" sldId="2147469873"/>
            <ac:spMk id="20" creationId="{B7AE1C56-455F-4241-B731-A3F62BA9929F}"/>
          </ac:spMkLst>
        </pc:spChg>
        <pc:spChg chg="add mod">
          <ac:chgData name="Dalil BENAOUDA" userId="6bc32e50-31cc-420e-af2c-c81feb754bf7" providerId="ADAL" clId="{2B1617D0-14B2-4879-AEBD-46BD4567454B}" dt="2023-01-24T08:31:07.217" v="6343" actId="1036"/>
          <ac:spMkLst>
            <pc:docMk/>
            <pc:sldMk cId="1174100690" sldId="2147469873"/>
            <ac:spMk id="23" creationId="{7AB37C95-8ABA-4AC5-B715-4EBC778D99DB}"/>
          </ac:spMkLst>
        </pc:spChg>
        <pc:spChg chg="add mod">
          <ac:chgData name="Dalil BENAOUDA" userId="6bc32e50-31cc-420e-af2c-c81feb754bf7" providerId="ADAL" clId="{2B1617D0-14B2-4879-AEBD-46BD4567454B}" dt="2023-01-24T08:31:07.217" v="6343" actId="1036"/>
          <ac:spMkLst>
            <pc:docMk/>
            <pc:sldMk cId="1174100690" sldId="2147469873"/>
            <ac:spMk id="24" creationId="{B418A528-DD2E-413A-B480-73871520A2D0}"/>
          </ac:spMkLst>
        </pc:spChg>
        <pc:spChg chg="del mod">
          <ac:chgData name="Dalil BENAOUDA" userId="6bc32e50-31cc-420e-af2c-c81feb754bf7" providerId="ADAL" clId="{2B1617D0-14B2-4879-AEBD-46BD4567454B}" dt="2023-01-23T10:03:19.110" v="3755" actId="478"/>
          <ac:spMkLst>
            <pc:docMk/>
            <pc:sldMk cId="1174100690" sldId="2147469873"/>
            <ac:spMk id="25" creationId="{EEE051C3-B806-467B-9EEE-B43CC906119A}"/>
          </ac:spMkLst>
        </pc:spChg>
        <pc:spChg chg="add del mod">
          <ac:chgData name="Dalil BENAOUDA" userId="6bc32e50-31cc-420e-af2c-c81feb754bf7" providerId="ADAL" clId="{2B1617D0-14B2-4879-AEBD-46BD4567454B}" dt="2023-01-24T08:29:01.183" v="6244" actId="478"/>
          <ac:spMkLst>
            <pc:docMk/>
            <pc:sldMk cId="1174100690" sldId="2147469873"/>
            <ac:spMk id="26" creationId="{6027B607-DABA-45C6-BC98-F8CD6798E27C}"/>
          </ac:spMkLst>
        </pc:spChg>
        <pc:spChg chg="add del mod">
          <ac:chgData name="Dalil BENAOUDA" userId="6bc32e50-31cc-420e-af2c-c81feb754bf7" providerId="ADAL" clId="{2B1617D0-14B2-4879-AEBD-46BD4567454B}" dt="2023-01-24T08:29:01.183" v="6244" actId="478"/>
          <ac:spMkLst>
            <pc:docMk/>
            <pc:sldMk cId="1174100690" sldId="2147469873"/>
            <ac:spMk id="27" creationId="{6E1C1B4B-8DD3-4BB6-BB21-D598E1E4E65D}"/>
          </ac:spMkLst>
        </pc:spChg>
        <pc:spChg chg="add del mod">
          <ac:chgData name="Dalil BENAOUDA" userId="6bc32e50-31cc-420e-af2c-c81feb754bf7" providerId="ADAL" clId="{2B1617D0-14B2-4879-AEBD-46BD4567454B}" dt="2023-01-24T08:29:01.183" v="6244" actId="478"/>
          <ac:spMkLst>
            <pc:docMk/>
            <pc:sldMk cId="1174100690" sldId="2147469873"/>
            <ac:spMk id="28" creationId="{1CBE9975-81B4-4E46-82DA-04DBFCDF4162}"/>
          </ac:spMkLst>
        </pc:spChg>
        <pc:spChg chg="mod">
          <ac:chgData name="Dalil BENAOUDA" userId="6bc32e50-31cc-420e-af2c-c81feb754bf7" providerId="ADAL" clId="{2B1617D0-14B2-4879-AEBD-46BD4567454B}" dt="2023-01-24T08:29:02.200" v="6245"/>
          <ac:spMkLst>
            <pc:docMk/>
            <pc:sldMk cId="1174100690" sldId="2147469873"/>
            <ac:spMk id="33" creationId="{D0762089-6D51-407E-A135-B79386E7C1E0}"/>
          </ac:spMkLst>
        </pc:spChg>
        <pc:spChg chg="add mod">
          <ac:chgData name="Dalil BENAOUDA" userId="6bc32e50-31cc-420e-af2c-c81feb754bf7" providerId="ADAL" clId="{2B1617D0-14B2-4879-AEBD-46BD4567454B}" dt="2023-01-24T08:31:07.217" v="6343" actId="1036"/>
          <ac:spMkLst>
            <pc:docMk/>
            <pc:sldMk cId="1174100690" sldId="2147469873"/>
            <ac:spMk id="34" creationId="{3C7195FA-7BDB-4C62-98A4-DA4A11A82886}"/>
          </ac:spMkLst>
        </pc:spChg>
        <pc:spChg chg="add mod">
          <ac:chgData name="Dalil BENAOUDA" userId="6bc32e50-31cc-420e-af2c-c81feb754bf7" providerId="ADAL" clId="{2B1617D0-14B2-4879-AEBD-46BD4567454B}" dt="2023-01-24T08:31:07.217" v="6343" actId="1036"/>
          <ac:spMkLst>
            <pc:docMk/>
            <pc:sldMk cId="1174100690" sldId="2147469873"/>
            <ac:spMk id="35" creationId="{EFAD2000-C71B-43CC-A4AB-75FE5EB6A5B2}"/>
          </ac:spMkLst>
        </pc:spChg>
        <pc:spChg chg="add mod">
          <ac:chgData name="Dalil BENAOUDA" userId="6bc32e50-31cc-420e-af2c-c81feb754bf7" providerId="ADAL" clId="{2B1617D0-14B2-4879-AEBD-46BD4567454B}" dt="2023-01-24T08:31:07.217" v="6343" actId="1036"/>
          <ac:spMkLst>
            <pc:docMk/>
            <pc:sldMk cId="1174100690" sldId="2147469873"/>
            <ac:spMk id="36" creationId="{5FE48E70-1ECC-4A77-A22C-AC9C002A624B}"/>
          </ac:spMkLst>
        </pc:spChg>
        <pc:spChg chg="add mod">
          <ac:chgData name="Dalil BENAOUDA" userId="6bc32e50-31cc-420e-af2c-c81feb754bf7" providerId="ADAL" clId="{2B1617D0-14B2-4879-AEBD-46BD4567454B}" dt="2023-01-24T08:31:07.217" v="6343" actId="1036"/>
          <ac:spMkLst>
            <pc:docMk/>
            <pc:sldMk cId="1174100690" sldId="2147469873"/>
            <ac:spMk id="38" creationId="{A37550EE-D310-4D57-887C-A97A724CEC8E}"/>
          </ac:spMkLst>
        </pc:spChg>
        <pc:spChg chg="add mod">
          <ac:chgData name="Dalil BENAOUDA" userId="6bc32e50-31cc-420e-af2c-c81feb754bf7" providerId="ADAL" clId="{2B1617D0-14B2-4879-AEBD-46BD4567454B}" dt="2023-01-24T08:31:07.217" v="6343" actId="1036"/>
          <ac:spMkLst>
            <pc:docMk/>
            <pc:sldMk cId="1174100690" sldId="2147469873"/>
            <ac:spMk id="40" creationId="{4E87ADF5-3F35-4343-A5BB-AC5D1D17BD78}"/>
          </ac:spMkLst>
        </pc:spChg>
        <pc:spChg chg="add mod">
          <ac:chgData name="Dalil BENAOUDA" userId="6bc32e50-31cc-420e-af2c-c81feb754bf7" providerId="ADAL" clId="{2B1617D0-14B2-4879-AEBD-46BD4567454B}" dt="2023-01-24T08:31:07.217" v="6343" actId="1036"/>
          <ac:spMkLst>
            <pc:docMk/>
            <pc:sldMk cId="1174100690" sldId="2147469873"/>
            <ac:spMk id="42" creationId="{39059FF8-7064-4610-9C98-E4456E39E007}"/>
          </ac:spMkLst>
        </pc:spChg>
        <pc:spChg chg="add mod">
          <ac:chgData name="Dalil BENAOUDA" userId="6bc32e50-31cc-420e-af2c-c81feb754bf7" providerId="ADAL" clId="{2B1617D0-14B2-4879-AEBD-46BD4567454B}" dt="2023-01-24T08:31:07.217" v="6343" actId="1036"/>
          <ac:spMkLst>
            <pc:docMk/>
            <pc:sldMk cId="1174100690" sldId="2147469873"/>
            <ac:spMk id="44" creationId="{74B1ECA2-9231-41C0-8144-FD6605C7C1CF}"/>
          </ac:spMkLst>
        </pc:spChg>
        <pc:spChg chg="add mod">
          <ac:chgData name="Dalil BENAOUDA" userId="6bc32e50-31cc-420e-af2c-c81feb754bf7" providerId="ADAL" clId="{2B1617D0-14B2-4879-AEBD-46BD4567454B}" dt="2023-01-24T08:31:07.217" v="6343" actId="1036"/>
          <ac:spMkLst>
            <pc:docMk/>
            <pc:sldMk cId="1174100690" sldId="2147469873"/>
            <ac:spMk id="45" creationId="{AAACEFFC-B8FF-4911-90CF-32D51DE1209E}"/>
          </ac:spMkLst>
        </pc:spChg>
        <pc:spChg chg="add mod">
          <ac:chgData name="Dalil BENAOUDA" userId="6bc32e50-31cc-420e-af2c-c81feb754bf7" providerId="ADAL" clId="{2B1617D0-14B2-4879-AEBD-46BD4567454B}" dt="2023-01-24T08:31:07.217" v="6343" actId="1036"/>
          <ac:spMkLst>
            <pc:docMk/>
            <pc:sldMk cId="1174100690" sldId="2147469873"/>
            <ac:spMk id="46" creationId="{015C86CA-EF79-4EC1-9915-19BDFA06C428}"/>
          </ac:spMkLst>
        </pc:spChg>
        <pc:spChg chg="add mod">
          <ac:chgData name="Dalil BENAOUDA" userId="6bc32e50-31cc-420e-af2c-c81feb754bf7" providerId="ADAL" clId="{2B1617D0-14B2-4879-AEBD-46BD4567454B}" dt="2023-01-24T08:31:07.217" v="6343" actId="1036"/>
          <ac:spMkLst>
            <pc:docMk/>
            <pc:sldMk cId="1174100690" sldId="2147469873"/>
            <ac:spMk id="47" creationId="{77A77303-50E0-4E63-B0DE-7D3255F36FAA}"/>
          </ac:spMkLst>
        </pc:spChg>
        <pc:spChg chg="mod">
          <ac:chgData name="Dalil BENAOUDA" userId="6bc32e50-31cc-420e-af2c-c81feb754bf7" providerId="ADAL" clId="{2B1617D0-14B2-4879-AEBD-46BD4567454B}" dt="2023-01-24T08:29:02.200" v="6245"/>
          <ac:spMkLst>
            <pc:docMk/>
            <pc:sldMk cId="1174100690" sldId="2147469873"/>
            <ac:spMk id="51" creationId="{64F076A3-8E2B-4199-BAA5-9297AEA1EA47}"/>
          </ac:spMkLst>
        </pc:spChg>
        <pc:spChg chg="mod">
          <ac:chgData name="Dalil BENAOUDA" userId="6bc32e50-31cc-420e-af2c-c81feb754bf7" providerId="ADAL" clId="{2B1617D0-14B2-4879-AEBD-46BD4567454B}" dt="2023-01-24T08:29:02.200" v="6245"/>
          <ac:spMkLst>
            <pc:docMk/>
            <pc:sldMk cId="1174100690" sldId="2147469873"/>
            <ac:spMk id="52" creationId="{BE047D1B-2C7F-4DC3-9F27-4CB964461430}"/>
          </ac:spMkLst>
        </pc:spChg>
        <pc:spChg chg="mod">
          <ac:chgData name="Dalil BENAOUDA" userId="6bc32e50-31cc-420e-af2c-c81feb754bf7" providerId="ADAL" clId="{2B1617D0-14B2-4879-AEBD-46BD4567454B}" dt="2023-01-24T08:29:02.200" v="6245"/>
          <ac:spMkLst>
            <pc:docMk/>
            <pc:sldMk cId="1174100690" sldId="2147469873"/>
            <ac:spMk id="53" creationId="{A3A02351-11F3-4B2B-AB4D-F892357A22C8}"/>
          </ac:spMkLst>
        </pc:spChg>
        <pc:spChg chg="mod">
          <ac:chgData name="Dalil BENAOUDA" userId="6bc32e50-31cc-420e-af2c-c81feb754bf7" providerId="ADAL" clId="{2B1617D0-14B2-4879-AEBD-46BD4567454B}" dt="2023-01-24T08:29:02.200" v="6245"/>
          <ac:spMkLst>
            <pc:docMk/>
            <pc:sldMk cId="1174100690" sldId="2147469873"/>
            <ac:spMk id="54" creationId="{6BF9F1B0-06B1-4728-BAE5-656B1E8A3B21}"/>
          </ac:spMkLst>
        </pc:spChg>
        <pc:spChg chg="mod">
          <ac:chgData name="Dalil BENAOUDA" userId="6bc32e50-31cc-420e-af2c-c81feb754bf7" providerId="ADAL" clId="{2B1617D0-14B2-4879-AEBD-46BD4567454B}" dt="2023-01-24T08:29:02.200" v="6245"/>
          <ac:spMkLst>
            <pc:docMk/>
            <pc:sldMk cId="1174100690" sldId="2147469873"/>
            <ac:spMk id="55" creationId="{B15A8CFE-4247-4536-B60D-6471375C8F34}"/>
          </ac:spMkLst>
        </pc:spChg>
        <pc:spChg chg="mod">
          <ac:chgData name="Dalil BENAOUDA" userId="6bc32e50-31cc-420e-af2c-c81feb754bf7" providerId="ADAL" clId="{2B1617D0-14B2-4879-AEBD-46BD4567454B}" dt="2023-01-24T08:29:02.200" v="6245"/>
          <ac:spMkLst>
            <pc:docMk/>
            <pc:sldMk cId="1174100690" sldId="2147469873"/>
            <ac:spMk id="56" creationId="{AD79F30E-DD55-4D00-9B46-8DF9856D3050}"/>
          </ac:spMkLst>
        </pc:spChg>
        <pc:spChg chg="mod">
          <ac:chgData name="Dalil BENAOUDA" userId="6bc32e50-31cc-420e-af2c-c81feb754bf7" providerId="ADAL" clId="{2B1617D0-14B2-4879-AEBD-46BD4567454B}" dt="2023-01-24T08:29:02.200" v="6245"/>
          <ac:spMkLst>
            <pc:docMk/>
            <pc:sldMk cId="1174100690" sldId="2147469873"/>
            <ac:spMk id="59" creationId="{5511989B-9CCF-44D2-BA60-7FF907B211DF}"/>
          </ac:spMkLst>
        </pc:spChg>
        <pc:spChg chg="mod">
          <ac:chgData name="Dalil BENAOUDA" userId="6bc32e50-31cc-420e-af2c-c81feb754bf7" providerId="ADAL" clId="{2B1617D0-14B2-4879-AEBD-46BD4567454B}" dt="2023-01-24T08:29:02.200" v="6245"/>
          <ac:spMkLst>
            <pc:docMk/>
            <pc:sldMk cId="1174100690" sldId="2147469873"/>
            <ac:spMk id="60" creationId="{64033110-61BD-46CD-83ED-BCB93ACFEEF7}"/>
          </ac:spMkLst>
        </pc:spChg>
        <pc:spChg chg="mod">
          <ac:chgData name="Dalil BENAOUDA" userId="6bc32e50-31cc-420e-af2c-c81feb754bf7" providerId="ADAL" clId="{2B1617D0-14B2-4879-AEBD-46BD4567454B}" dt="2023-01-24T08:29:02.200" v="6245"/>
          <ac:spMkLst>
            <pc:docMk/>
            <pc:sldMk cId="1174100690" sldId="2147469873"/>
            <ac:spMk id="61" creationId="{7E52C84B-847D-455F-86AF-DD7F927CACEE}"/>
          </ac:spMkLst>
        </pc:spChg>
        <pc:spChg chg="mod">
          <ac:chgData name="Dalil BENAOUDA" userId="6bc32e50-31cc-420e-af2c-c81feb754bf7" providerId="ADAL" clId="{2B1617D0-14B2-4879-AEBD-46BD4567454B}" dt="2023-01-24T08:29:02.200" v="6245"/>
          <ac:spMkLst>
            <pc:docMk/>
            <pc:sldMk cId="1174100690" sldId="2147469873"/>
            <ac:spMk id="62" creationId="{51896A98-DD70-4EE6-899C-11A7B537ADAE}"/>
          </ac:spMkLst>
        </pc:spChg>
        <pc:spChg chg="mod">
          <ac:chgData name="Dalil BENAOUDA" userId="6bc32e50-31cc-420e-af2c-c81feb754bf7" providerId="ADAL" clId="{2B1617D0-14B2-4879-AEBD-46BD4567454B}" dt="2023-01-24T08:29:02.200" v="6245"/>
          <ac:spMkLst>
            <pc:docMk/>
            <pc:sldMk cId="1174100690" sldId="2147469873"/>
            <ac:spMk id="65" creationId="{0044A3E8-6571-40E7-8676-647EC88062D6}"/>
          </ac:spMkLst>
        </pc:spChg>
        <pc:spChg chg="mod">
          <ac:chgData name="Dalil BENAOUDA" userId="6bc32e50-31cc-420e-af2c-c81feb754bf7" providerId="ADAL" clId="{2B1617D0-14B2-4879-AEBD-46BD4567454B}" dt="2023-01-24T08:29:02.200" v="6245"/>
          <ac:spMkLst>
            <pc:docMk/>
            <pc:sldMk cId="1174100690" sldId="2147469873"/>
            <ac:spMk id="66" creationId="{48DBA138-4F48-42A1-8E95-75AD34E35E63}"/>
          </ac:spMkLst>
        </pc:spChg>
        <pc:spChg chg="mod">
          <ac:chgData name="Dalil BENAOUDA" userId="6bc32e50-31cc-420e-af2c-c81feb754bf7" providerId="ADAL" clId="{2B1617D0-14B2-4879-AEBD-46BD4567454B}" dt="2023-01-24T08:29:02.200" v="6245"/>
          <ac:spMkLst>
            <pc:docMk/>
            <pc:sldMk cId="1174100690" sldId="2147469873"/>
            <ac:spMk id="67" creationId="{50CF6F83-EE58-42E0-AA14-E3299F96251B}"/>
          </ac:spMkLst>
        </pc:spChg>
        <pc:spChg chg="mod">
          <ac:chgData name="Dalil BENAOUDA" userId="6bc32e50-31cc-420e-af2c-c81feb754bf7" providerId="ADAL" clId="{2B1617D0-14B2-4879-AEBD-46BD4567454B}" dt="2023-01-24T08:29:02.200" v="6245"/>
          <ac:spMkLst>
            <pc:docMk/>
            <pc:sldMk cId="1174100690" sldId="2147469873"/>
            <ac:spMk id="68" creationId="{776970E6-0ABB-462B-A149-AE7799747707}"/>
          </ac:spMkLst>
        </pc:spChg>
        <pc:spChg chg="mod">
          <ac:chgData name="Dalil BENAOUDA" userId="6bc32e50-31cc-420e-af2c-c81feb754bf7" providerId="ADAL" clId="{2B1617D0-14B2-4879-AEBD-46BD4567454B}" dt="2023-01-24T08:29:02.200" v="6245"/>
          <ac:spMkLst>
            <pc:docMk/>
            <pc:sldMk cId="1174100690" sldId="2147469873"/>
            <ac:spMk id="69" creationId="{52B07B94-DBAB-43A7-9257-85128ADD4FB1}"/>
          </ac:spMkLst>
        </pc:spChg>
        <pc:spChg chg="mod">
          <ac:chgData name="Dalil BENAOUDA" userId="6bc32e50-31cc-420e-af2c-c81feb754bf7" providerId="ADAL" clId="{2B1617D0-14B2-4879-AEBD-46BD4567454B}" dt="2023-01-24T08:29:02.200" v="6245"/>
          <ac:spMkLst>
            <pc:docMk/>
            <pc:sldMk cId="1174100690" sldId="2147469873"/>
            <ac:spMk id="71" creationId="{397D8621-AE15-439E-8CE9-440DF55EBBF3}"/>
          </ac:spMkLst>
        </pc:spChg>
        <pc:spChg chg="mod">
          <ac:chgData name="Dalil BENAOUDA" userId="6bc32e50-31cc-420e-af2c-c81feb754bf7" providerId="ADAL" clId="{2B1617D0-14B2-4879-AEBD-46BD4567454B}" dt="2023-01-24T08:29:02.200" v="6245"/>
          <ac:spMkLst>
            <pc:docMk/>
            <pc:sldMk cId="1174100690" sldId="2147469873"/>
            <ac:spMk id="72" creationId="{8446AA51-9975-4CB6-B9B7-04474A5AF5F8}"/>
          </ac:spMkLst>
        </pc:spChg>
        <pc:spChg chg="mod">
          <ac:chgData name="Dalil BENAOUDA" userId="6bc32e50-31cc-420e-af2c-c81feb754bf7" providerId="ADAL" clId="{2B1617D0-14B2-4879-AEBD-46BD4567454B}" dt="2023-01-24T08:29:02.200" v="6245"/>
          <ac:spMkLst>
            <pc:docMk/>
            <pc:sldMk cId="1174100690" sldId="2147469873"/>
            <ac:spMk id="74" creationId="{E008935B-52FD-4CED-A0E1-B15E44A2BE98}"/>
          </ac:spMkLst>
        </pc:spChg>
        <pc:grpChg chg="add mod">
          <ac:chgData name="Dalil BENAOUDA" userId="6bc32e50-31cc-420e-af2c-c81feb754bf7" providerId="ADAL" clId="{2B1617D0-14B2-4879-AEBD-46BD4567454B}" dt="2023-01-24T08:31:07.217" v="6343" actId="1036"/>
          <ac:grpSpMkLst>
            <pc:docMk/>
            <pc:sldMk cId="1174100690" sldId="2147469873"/>
            <ac:grpSpMk id="25" creationId="{90400048-1F0F-44B3-953B-41E8F8F2AD1A}"/>
          </ac:grpSpMkLst>
        </pc:grpChg>
        <pc:grpChg chg="add mod">
          <ac:chgData name="Dalil BENAOUDA" userId="6bc32e50-31cc-420e-af2c-c81feb754bf7" providerId="ADAL" clId="{2B1617D0-14B2-4879-AEBD-46BD4567454B}" dt="2023-01-24T08:31:07.217" v="6343" actId="1036"/>
          <ac:grpSpMkLst>
            <pc:docMk/>
            <pc:sldMk cId="1174100690" sldId="2147469873"/>
            <ac:grpSpMk id="48" creationId="{9E5AA5E5-045D-45BE-804F-606F13FA8136}"/>
          </ac:grpSpMkLst>
        </pc:grpChg>
        <pc:grpChg chg="mod">
          <ac:chgData name="Dalil BENAOUDA" userId="6bc32e50-31cc-420e-af2c-c81feb754bf7" providerId="ADAL" clId="{2B1617D0-14B2-4879-AEBD-46BD4567454B}" dt="2023-01-24T08:29:02.200" v="6245"/>
          <ac:grpSpMkLst>
            <pc:docMk/>
            <pc:sldMk cId="1174100690" sldId="2147469873"/>
            <ac:grpSpMk id="49" creationId="{242419DE-2D55-4A11-8177-C0A36A5A4703}"/>
          </ac:grpSpMkLst>
        </pc:grpChg>
        <pc:grpChg chg="mod">
          <ac:chgData name="Dalil BENAOUDA" userId="6bc32e50-31cc-420e-af2c-c81feb754bf7" providerId="ADAL" clId="{2B1617D0-14B2-4879-AEBD-46BD4567454B}" dt="2023-01-24T08:29:02.200" v="6245"/>
          <ac:grpSpMkLst>
            <pc:docMk/>
            <pc:sldMk cId="1174100690" sldId="2147469873"/>
            <ac:grpSpMk id="50" creationId="{02BA5A99-5000-449F-AC89-FB147A24CC77}"/>
          </ac:grpSpMkLst>
        </pc:grpChg>
        <pc:grpChg chg="add mod">
          <ac:chgData name="Dalil BENAOUDA" userId="6bc32e50-31cc-420e-af2c-c81feb754bf7" providerId="ADAL" clId="{2B1617D0-14B2-4879-AEBD-46BD4567454B}" dt="2023-01-24T08:31:07.217" v="6343" actId="1036"/>
          <ac:grpSpMkLst>
            <pc:docMk/>
            <pc:sldMk cId="1174100690" sldId="2147469873"/>
            <ac:grpSpMk id="57" creationId="{FE74F89E-C44D-4403-81A6-F5E60E3F1603}"/>
          </ac:grpSpMkLst>
        </pc:grpChg>
        <pc:grpChg chg="mod">
          <ac:chgData name="Dalil BENAOUDA" userId="6bc32e50-31cc-420e-af2c-c81feb754bf7" providerId="ADAL" clId="{2B1617D0-14B2-4879-AEBD-46BD4567454B}" dt="2023-01-24T08:29:02.200" v="6245"/>
          <ac:grpSpMkLst>
            <pc:docMk/>
            <pc:sldMk cId="1174100690" sldId="2147469873"/>
            <ac:grpSpMk id="58" creationId="{4FE0C8C8-4F84-43A1-9BE7-1AC142B68ACE}"/>
          </ac:grpSpMkLst>
        </pc:grpChg>
        <pc:grpChg chg="add mod">
          <ac:chgData name="Dalil BENAOUDA" userId="6bc32e50-31cc-420e-af2c-c81feb754bf7" providerId="ADAL" clId="{2B1617D0-14B2-4879-AEBD-46BD4567454B}" dt="2023-01-24T08:31:07.217" v="6343" actId="1036"/>
          <ac:grpSpMkLst>
            <pc:docMk/>
            <pc:sldMk cId="1174100690" sldId="2147469873"/>
            <ac:grpSpMk id="63" creationId="{488B4733-7F32-4089-8BFD-D906D6EF9799}"/>
          </ac:grpSpMkLst>
        </pc:grpChg>
        <pc:grpChg chg="mod">
          <ac:chgData name="Dalil BENAOUDA" userId="6bc32e50-31cc-420e-af2c-c81feb754bf7" providerId="ADAL" clId="{2B1617D0-14B2-4879-AEBD-46BD4567454B}" dt="2023-01-24T08:29:02.200" v="6245"/>
          <ac:grpSpMkLst>
            <pc:docMk/>
            <pc:sldMk cId="1174100690" sldId="2147469873"/>
            <ac:grpSpMk id="64" creationId="{12698243-A2C7-4F74-A8A0-FA20A61DC1B5}"/>
          </ac:grpSpMkLst>
        </pc:grpChg>
        <pc:grpChg chg="add mod">
          <ac:chgData name="Dalil BENAOUDA" userId="6bc32e50-31cc-420e-af2c-c81feb754bf7" providerId="ADAL" clId="{2B1617D0-14B2-4879-AEBD-46BD4567454B}" dt="2023-01-24T08:31:07.217" v="6343" actId="1036"/>
          <ac:grpSpMkLst>
            <pc:docMk/>
            <pc:sldMk cId="1174100690" sldId="2147469873"/>
            <ac:grpSpMk id="70" creationId="{DAD8EBD3-ABEF-451C-ACD3-EE314C96A718}"/>
          </ac:grpSpMkLst>
        </pc:grpChg>
        <pc:grpChg chg="add mod">
          <ac:chgData name="Dalil BENAOUDA" userId="6bc32e50-31cc-420e-af2c-c81feb754bf7" providerId="ADAL" clId="{2B1617D0-14B2-4879-AEBD-46BD4567454B}" dt="2023-01-24T08:31:07.217" v="6343" actId="1036"/>
          <ac:grpSpMkLst>
            <pc:docMk/>
            <pc:sldMk cId="1174100690" sldId="2147469873"/>
            <ac:grpSpMk id="73" creationId="{B3B043E1-1CDE-4E5E-9F94-53A85A058667}"/>
          </ac:grpSpMkLst>
        </pc:grpChg>
        <pc:picChg chg="del">
          <ac:chgData name="Dalil BENAOUDA" userId="6bc32e50-31cc-420e-af2c-c81feb754bf7" providerId="ADAL" clId="{2B1617D0-14B2-4879-AEBD-46BD4567454B}" dt="2023-01-23T10:07:13.542" v="4038" actId="478"/>
          <ac:picMkLst>
            <pc:docMk/>
            <pc:sldMk cId="1174100690" sldId="2147469873"/>
            <ac:picMk id="22" creationId="{DF79A5D9-29DD-4DD4-81D7-490D1AF59D99}"/>
          </ac:picMkLst>
        </pc:picChg>
        <pc:picChg chg="del">
          <ac:chgData name="Dalil BENAOUDA" userId="6bc32e50-31cc-420e-af2c-c81feb754bf7" providerId="ADAL" clId="{2B1617D0-14B2-4879-AEBD-46BD4567454B}" dt="2023-01-23T10:07:13.542" v="4038" actId="478"/>
          <ac:picMkLst>
            <pc:docMk/>
            <pc:sldMk cId="1174100690" sldId="2147469873"/>
            <ac:picMk id="23" creationId="{121310AB-AE87-46B2-9D34-1D955FBAB1D9}"/>
          </ac:picMkLst>
        </pc:picChg>
        <pc:picChg chg="del">
          <ac:chgData name="Dalil BENAOUDA" userId="6bc32e50-31cc-420e-af2c-c81feb754bf7" providerId="ADAL" clId="{2B1617D0-14B2-4879-AEBD-46BD4567454B}" dt="2023-01-23T10:07:13.542" v="4038" actId="478"/>
          <ac:picMkLst>
            <pc:docMk/>
            <pc:sldMk cId="1174100690" sldId="2147469873"/>
            <ac:picMk id="24" creationId="{C9DA46E5-D87B-4FC3-A4BF-E89E8B8944F1}"/>
          </ac:picMkLst>
        </pc:picChg>
        <pc:picChg chg="add del mod">
          <ac:chgData name="Dalil BENAOUDA" userId="6bc32e50-31cc-420e-af2c-c81feb754bf7" providerId="ADAL" clId="{2B1617D0-14B2-4879-AEBD-46BD4567454B}" dt="2023-01-24T08:29:01.183" v="6244" actId="478"/>
          <ac:picMkLst>
            <pc:docMk/>
            <pc:sldMk cId="1174100690" sldId="2147469873"/>
            <ac:picMk id="29" creationId="{B0DA64EF-6A1D-4EA9-AA20-43368A69B9CB}"/>
          </ac:picMkLst>
        </pc:picChg>
        <pc:picChg chg="add del mod">
          <ac:chgData name="Dalil BENAOUDA" userId="6bc32e50-31cc-420e-af2c-c81feb754bf7" providerId="ADAL" clId="{2B1617D0-14B2-4879-AEBD-46BD4567454B}" dt="2023-01-24T08:29:01.183" v="6244" actId="478"/>
          <ac:picMkLst>
            <pc:docMk/>
            <pc:sldMk cId="1174100690" sldId="2147469873"/>
            <ac:picMk id="30" creationId="{F518ECF7-89E4-4E88-A546-135D98820133}"/>
          </ac:picMkLst>
        </pc:picChg>
        <pc:picChg chg="add del mod">
          <ac:chgData name="Dalil BENAOUDA" userId="6bc32e50-31cc-420e-af2c-c81feb754bf7" providerId="ADAL" clId="{2B1617D0-14B2-4879-AEBD-46BD4567454B}" dt="2023-01-24T08:29:01.183" v="6244" actId="478"/>
          <ac:picMkLst>
            <pc:docMk/>
            <pc:sldMk cId="1174100690" sldId="2147469873"/>
            <ac:picMk id="31" creationId="{76D96001-03A8-4764-9639-63D211A0E37E}"/>
          </ac:picMkLst>
        </pc:picChg>
        <pc:picChg chg="add mod">
          <ac:chgData name="Dalil BENAOUDA" userId="6bc32e50-31cc-420e-af2c-c81feb754bf7" providerId="ADAL" clId="{2B1617D0-14B2-4879-AEBD-46BD4567454B}" dt="2023-01-24T08:31:07.217" v="6343" actId="1036"/>
          <ac:picMkLst>
            <pc:docMk/>
            <pc:sldMk cId="1174100690" sldId="2147469873"/>
            <ac:picMk id="37" creationId="{1C0F327B-D142-47A0-B4E1-304D471CBC6C}"/>
          </ac:picMkLst>
        </pc:picChg>
        <pc:picChg chg="add mod">
          <ac:chgData name="Dalil BENAOUDA" userId="6bc32e50-31cc-420e-af2c-c81feb754bf7" providerId="ADAL" clId="{2B1617D0-14B2-4879-AEBD-46BD4567454B}" dt="2023-01-24T08:31:07.217" v="6343" actId="1036"/>
          <ac:picMkLst>
            <pc:docMk/>
            <pc:sldMk cId="1174100690" sldId="2147469873"/>
            <ac:picMk id="39" creationId="{644AF400-13BA-4FE5-BD58-7A23F44D6EB4}"/>
          </ac:picMkLst>
        </pc:picChg>
        <pc:picChg chg="add mod">
          <ac:chgData name="Dalil BENAOUDA" userId="6bc32e50-31cc-420e-af2c-c81feb754bf7" providerId="ADAL" clId="{2B1617D0-14B2-4879-AEBD-46BD4567454B}" dt="2023-01-24T08:31:07.217" v="6343" actId="1036"/>
          <ac:picMkLst>
            <pc:docMk/>
            <pc:sldMk cId="1174100690" sldId="2147469873"/>
            <ac:picMk id="41" creationId="{D08D21CF-0325-49EE-9D26-0653690F5573}"/>
          </ac:picMkLst>
        </pc:picChg>
        <pc:picChg chg="add mod">
          <ac:chgData name="Dalil BENAOUDA" userId="6bc32e50-31cc-420e-af2c-c81feb754bf7" providerId="ADAL" clId="{2B1617D0-14B2-4879-AEBD-46BD4567454B}" dt="2023-01-24T08:31:07.217" v="6343" actId="1036"/>
          <ac:picMkLst>
            <pc:docMk/>
            <pc:sldMk cId="1174100690" sldId="2147469873"/>
            <ac:picMk id="43" creationId="{DF8CA17C-BD88-4040-AAC5-86E879D1401D}"/>
          </ac:picMkLst>
        </pc:picChg>
        <pc:picChg chg="mod">
          <ac:chgData name="Dalil BENAOUDA" userId="6bc32e50-31cc-420e-af2c-c81feb754bf7" providerId="ADAL" clId="{2B1617D0-14B2-4879-AEBD-46BD4567454B}" dt="2023-01-24T08:29:02.200" v="6245"/>
          <ac:picMkLst>
            <pc:docMk/>
            <pc:sldMk cId="1174100690" sldId="2147469873"/>
            <ac:picMk id="75" creationId="{E2661498-FD05-4CBE-A7EE-DC7E93A28C94}"/>
          </ac:picMkLst>
        </pc:picChg>
        <pc:cxnChg chg="del">
          <ac:chgData name="Dalil BENAOUDA" userId="6bc32e50-31cc-420e-af2c-c81feb754bf7" providerId="ADAL" clId="{2B1617D0-14B2-4879-AEBD-46BD4567454B}" dt="2023-01-24T08:29:01.183" v="6244" actId="478"/>
          <ac:cxnSpMkLst>
            <pc:docMk/>
            <pc:sldMk cId="1174100690" sldId="2147469873"/>
            <ac:cxnSpMk id="6" creationId="{DC5BBA3F-0533-494A-838B-8A2753CF557E}"/>
          </ac:cxnSpMkLst>
        </pc:cxnChg>
        <pc:cxnChg chg="mod">
          <ac:chgData name="Dalil BENAOUDA" userId="6bc32e50-31cc-420e-af2c-c81feb754bf7" providerId="ADAL" clId="{2B1617D0-14B2-4879-AEBD-46BD4567454B}" dt="2023-01-24T08:29:02.200" v="6245"/>
          <ac:cxnSpMkLst>
            <pc:docMk/>
            <pc:sldMk cId="1174100690" sldId="2147469873"/>
            <ac:cxnSpMk id="32" creationId="{17BF3034-960F-49EC-826F-B5E874F97AD5}"/>
          </ac:cxnSpMkLst>
        </pc:cxnChg>
      </pc:sldChg>
      <pc:sldChg chg="addSp delSp modSp new del mod">
        <pc:chgData name="Dalil BENAOUDA" userId="6bc32e50-31cc-420e-af2c-c81feb754bf7" providerId="ADAL" clId="{2B1617D0-14B2-4879-AEBD-46BD4567454B}" dt="2023-01-23T17:04:21.993" v="5782" actId="2696"/>
        <pc:sldMkLst>
          <pc:docMk/>
          <pc:sldMk cId="28712695" sldId="2147469874"/>
        </pc:sldMkLst>
        <pc:spChg chg="mod">
          <ac:chgData name="Dalil BENAOUDA" userId="6bc32e50-31cc-420e-af2c-c81feb754bf7" providerId="ADAL" clId="{2B1617D0-14B2-4879-AEBD-46BD4567454B}" dt="2023-01-23T10:26:39.539" v="4173" actId="404"/>
          <ac:spMkLst>
            <pc:docMk/>
            <pc:sldMk cId="28712695" sldId="2147469874"/>
            <ac:spMk id="2" creationId="{FBA5F6FB-3178-4827-A25F-2B3820C43911}"/>
          </ac:spMkLst>
        </pc:spChg>
        <pc:spChg chg="add del">
          <ac:chgData name="Dalil BENAOUDA" userId="6bc32e50-31cc-420e-af2c-c81feb754bf7" providerId="ADAL" clId="{2B1617D0-14B2-4879-AEBD-46BD4567454B}" dt="2023-01-23T10:25:37.180" v="4123" actId="478"/>
          <ac:spMkLst>
            <pc:docMk/>
            <pc:sldMk cId="28712695" sldId="2147469874"/>
            <ac:spMk id="3" creationId="{457D731B-E408-49EC-88E9-0DFB31F9D734}"/>
          </ac:spMkLst>
        </pc:spChg>
        <pc:spChg chg="add mod">
          <ac:chgData name="Dalil BENAOUDA" userId="6bc32e50-31cc-420e-af2c-c81feb754bf7" providerId="ADAL" clId="{2B1617D0-14B2-4879-AEBD-46BD4567454B}" dt="2023-01-23T10:26:49.121" v="4194" actId="1036"/>
          <ac:spMkLst>
            <pc:docMk/>
            <pc:sldMk cId="28712695" sldId="2147469874"/>
            <ac:spMk id="4" creationId="{A3D4C1B1-2C1E-4F2D-B0FA-C114E4D5E8EA}"/>
          </ac:spMkLst>
        </pc:spChg>
        <pc:spChg chg="add mod">
          <ac:chgData name="Dalil BENAOUDA" userId="6bc32e50-31cc-420e-af2c-c81feb754bf7" providerId="ADAL" clId="{2B1617D0-14B2-4879-AEBD-46BD4567454B}" dt="2023-01-23T10:26:49.121" v="4194" actId="1036"/>
          <ac:spMkLst>
            <pc:docMk/>
            <pc:sldMk cId="28712695" sldId="2147469874"/>
            <ac:spMk id="5" creationId="{5829D377-B280-4FDF-941C-FBC9D62ABF1D}"/>
          </ac:spMkLst>
        </pc:spChg>
        <pc:spChg chg="add mod">
          <ac:chgData name="Dalil BENAOUDA" userId="6bc32e50-31cc-420e-af2c-c81feb754bf7" providerId="ADAL" clId="{2B1617D0-14B2-4879-AEBD-46BD4567454B}" dt="2023-01-23T10:26:49.121" v="4194" actId="1036"/>
          <ac:spMkLst>
            <pc:docMk/>
            <pc:sldMk cId="28712695" sldId="2147469874"/>
            <ac:spMk id="7" creationId="{1A823FB3-5264-478B-A5EE-F85D02F5BE3D}"/>
          </ac:spMkLst>
        </pc:spChg>
        <pc:spChg chg="mod">
          <ac:chgData name="Dalil BENAOUDA" userId="6bc32e50-31cc-420e-af2c-c81feb754bf7" providerId="ADAL" clId="{2B1617D0-14B2-4879-AEBD-46BD4567454B}" dt="2023-01-23T10:25:45.855" v="4124"/>
          <ac:spMkLst>
            <pc:docMk/>
            <pc:sldMk cId="28712695" sldId="2147469874"/>
            <ac:spMk id="10" creationId="{49CDAD45-E970-4A5F-9391-C6A9AF5E3BCE}"/>
          </ac:spMkLst>
        </pc:spChg>
        <pc:spChg chg="mod">
          <ac:chgData name="Dalil BENAOUDA" userId="6bc32e50-31cc-420e-af2c-c81feb754bf7" providerId="ADAL" clId="{2B1617D0-14B2-4879-AEBD-46BD4567454B}" dt="2023-01-23T10:25:45.855" v="4124"/>
          <ac:spMkLst>
            <pc:docMk/>
            <pc:sldMk cId="28712695" sldId="2147469874"/>
            <ac:spMk id="11" creationId="{ABB5872B-D52F-45C2-A304-53A783BF7863}"/>
          </ac:spMkLst>
        </pc:spChg>
        <pc:spChg chg="mod">
          <ac:chgData name="Dalil BENAOUDA" userId="6bc32e50-31cc-420e-af2c-c81feb754bf7" providerId="ADAL" clId="{2B1617D0-14B2-4879-AEBD-46BD4567454B}" dt="2023-01-23T10:25:45.855" v="4124"/>
          <ac:spMkLst>
            <pc:docMk/>
            <pc:sldMk cId="28712695" sldId="2147469874"/>
            <ac:spMk id="12" creationId="{DA7DD7B8-06F4-44EB-94D1-D857335E7BFE}"/>
          </ac:spMkLst>
        </pc:spChg>
        <pc:spChg chg="mod">
          <ac:chgData name="Dalil BENAOUDA" userId="6bc32e50-31cc-420e-af2c-c81feb754bf7" providerId="ADAL" clId="{2B1617D0-14B2-4879-AEBD-46BD4567454B}" dt="2023-01-23T10:25:45.855" v="4124"/>
          <ac:spMkLst>
            <pc:docMk/>
            <pc:sldMk cId="28712695" sldId="2147469874"/>
            <ac:spMk id="13" creationId="{FD8A4958-5725-4006-B8BC-19D2A1DA3607}"/>
          </ac:spMkLst>
        </pc:spChg>
        <pc:spChg chg="mod">
          <ac:chgData name="Dalil BENAOUDA" userId="6bc32e50-31cc-420e-af2c-c81feb754bf7" providerId="ADAL" clId="{2B1617D0-14B2-4879-AEBD-46BD4567454B}" dt="2023-01-23T10:25:45.855" v="4124"/>
          <ac:spMkLst>
            <pc:docMk/>
            <pc:sldMk cId="28712695" sldId="2147469874"/>
            <ac:spMk id="14" creationId="{5DD1B8ED-9538-4090-A9B5-C1742A225E1B}"/>
          </ac:spMkLst>
        </pc:spChg>
        <pc:spChg chg="mod">
          <ac:chgData name="Dalil BENAOUDA" userId="6bc32e50-31cc-420e-af2c-c81feb754bf7" providerId="ADAL" clId="{2B1617D0-14B2-4879-AEBD-46BD4567454B}" dt="2023-01-23T10:25:45.855" v="4124"/>
          <ac:spMkLst>
            <pc:docMk/>
            <pc:sldMk cId="28712695" sldId="2147469874"/>
            <ac:spMk id="15" creationId="{6BCFD47C-A2E0-4061-82A6-0FC01B386822}"/>
          </ac:spMkLst>
        </pc:spChg>
        <pc:spChg chg="mod">
          <ac:chgData name="Dalil BENAOUDA" userId="6bc32e50-31cc-420e-af2c-c81feb754bf7" providerId="ADAL" clId="{2B1617D0-14B2-4879-AEBD-46BD4567454B}" dt="2023-01-23T10:25:45.855" v="4124"/>
          <ac:spMkLst>
            <pc:docMk/>
            <pc:sldMk cId="28712695" sldId="2147469874"/>
            <ac:spMk id="16" creationId="{07F2805D-5C62-4A58-A462-335ED5B46134}"/>
          </ac:spMkLst>
        </pc:spChg>
        <pc:spChg chg="add mod">
          <ac:chgData name="Dalil BENAOUDA" userId="6bc32e50-31cc-420e-af2c-c81feb754bf7" providerId="ADAL" clId="{2B1617D0-14B2-4879-AEBD-46BD4567454B}" dt="2023-01-23T10:27:14.368" v="4196" actId="207"/>
          <ac:spMkLst>
            <pc:docMk/>
            <pc:sldMk cId="28712695" sldId="2147469874"/>
            <ac:spMk id="17" creationId="{DF081BE2-2B1F-4964-9DCB-5A1BCB463AFE}"/>
          </ac:spMkLst>
        </pc:spChg>
        <pc:spChg chg="add mod">
          <ac:chgData name="Dalil BENAOUDA" userId="6bc32e50-31cc-420e-af2c-c81feb754bf7" providerId="ADAL" clId="{2B1617D0-14B2-4879-AEBD-46BD4567454B}" dt="2023-01-23T10:26:49.121" v="4194" actId="1036"/>
          <ac:spMkLst>
            <pc:docMk/>
            <pc:sldMk cId="28712695" sldId="2147469874"/>
            <ac:spMk id="18" creationId="{DD5405E4-1520-4A74-989B-29F6D8126EEB}"/>
          </ac:spMkLst>
        </pc:spChg>
        <pc:spChg chg="add mod">
          <ac:chgData name="Dalil BENAOUDA" userId="6bc32e50-31cc-420e-af2c-c81feb754bf7" providerId="ADAL" clId="{2B1617D0-14B2-4879-AEBD-46BD4567454B}" dt="2023-01-23T10:26:49.121" v="4194" actId="1036"/>
          <ac:spMkLst>
            <pc:docMk/>
            <pc:sldMk cId="28712695" sldId="2147469874"/>
            <ac:spMk id="19" creationId="{4311661B-C439-4721-9987-6E378AC976E0}"/>
          </ac:spMkLst>
        </pc:spChg>
        <pc:spChg chg="add mod">
          <ac:chgData name="Dalil BENAOUDA" userId="6bc32e50-31cc-420e-af2c-c81feb754bf7" providerId="ADAL" clId="{2B1617D0-14B2-4879-AEBD-46BD4567454B}" dt="2023-01-23T10:26:49.121" v="4194" actId="1036"/>
          <ac:spMkLst>
            <pc:docMk/>
            <pc:sldMk cId="28712695" sldId="2147469874"/>
            <ac:spMk id="21" creationId="{F24CFB2F-F6AB-41C6-8E6E-E0EC831C0974}"/>
          </ac:spMkLst>
        </pc:spChg>
        <pc:spChg chg="mod">
          <ac:chgData name="Dalil BENAOUDA" userId="6bc32e50-31cc-420e-af2c-c81feb754bf7" providerId="ADAL" clId="{2B1617D0-14B2-4879-AEBD-46BD4567454B}" dt="2023-01-23T10:25:45.855" v="4124"/>
          <ac:spMkLst>
            <pc:docMk/>
            <pc:sldMk cId="28712695" sldId="2147469874"/>
            <ac:spMk id="23" creationId="{4B1933FC-DBB3-4CB1-9A8C-2939103E0683}"/>
          </ac:spMkLst>
        </pc:spChg>
        <pc:spChg chg="mod">
          <ac:chgData name="Dalil BENAOUDA" userId="6bc32e50-31cc-420e-af2c-c81feb754bf7" providerId="ADAL" clId="{2B1617D0-14B2-4879-AEBD-46BD4567454B}" dt="2023-01-23T10:25:45.855" v="4124"/>
          <ac:spMkLst>
            <pc:docMk/>
            <pc:sldMk cId="28712695" sldId="2147469874"/>
            <ac:spMk id="24" creationId="{A185773C-6B2C-49CE-BE98-3348E3D26A40}"/>
          </ac:spMkLst>
        </pc:spChg>
        <pc:spChg chg="mod">
          <ac:chgData name="Dalil BENAOUDA" userId="6bc32e50-31cc-420e-af2c-c81feb754bf7" providerId="ADAL" clId="{2B1617D0-14B2-4879-AEBD-46BD4567454B}" dt="2023-01-23T10:25:45.855" v="4124"/>
          <ac:spMkLst>
            <pc:docMk/>
            <pc:sldMk cId="28712695" sldId="2147469874"/>
            <ac:spMk id="25" creationId="{B6A1FA5C-CCA1-40EA-8075-92E363878BDA}"/>
          </ac:spMkLst>
        </pc:spChg>
        <pc:spChg chg="mod">
          <ac:chgData name="Dalil BENAOUDA" userId="6bc32e50-31cc-420e-af2c-c81feb754bf7" providerId="ADAL" clId="{2B1617D0-14B2-4879-AEBD-46BD4567454B}" dt="2023-01-23T10:25:45.855" v="4124"/>
          <ac:spMkLst>
            <pc:docMk/>
            <pc:sldMk cId="28712695" sldId="2147469874"/>
            <ac:spMk id="26" creationId="{9529BB08-8A84-442A-B3CA-7A7324B8A361}"/>
          </ac:spMkLst>
        </pc:spChg>
        <pc:spChg chg="mod">
          <ac:chgData name="Dalil BENAOUDA" userId="6bc32e50-31cc-420e-af2c-c81feb754bf7" providerId="ADAL" clId="{2B1617D0-14B2-4879-AEBD-46BD4567454B}" dt="2023-01-23T10:25:45.855" v="4124"/>
          <ac:spMkLst>
            <pc:docMk/>
            <pc:sldMk cId="28712695" sldId="2147469874"/>
            <ac:spMk id="27" creationId="{2541DC38-94D1-40FD-AFA2-829DA8583429}"/>
          </ac:spMkLst>
        </pc:spChg>
        <pc:spChg chg="add mod">
          <ac:chgData name="Dalil BENAOUDA" userId="6bc32e50-31cc-420e-af2c-c81feb754bf7" providerId="ADAL" clId="{2B1617D0-14B2-4879-AEBD-46BD4567454B}" dt="2023-01-23T10:26:49.121" v="4194" actId="1036"/>
          <ac:spMkLst>
            <pc:docMk/>
            <pc:sldMk cId="28712695" sldId="2147469874"/>
            <ac:spMk id="28" creationId="{75007BAF-6034-4A34-A174-AA36B804D1F5}"/>
          </ac:spMkLst>
        </pc:spChg>
        <pc:spChg chg="mod">
          <ac:chgData name="Dalil BENAOUDA" userId="6bc32e50-31cc-420e-af2c-c81feb754bf7" providerId="ADAL" clId="{2B1617D0-14B2-4879-AEBD-46BD4567454B}" dt="2023-01-23T10:25:45.855" v="4124"/>
          <ac:spMkLst>
            <pc:docMk/>
            <pc:sldMk cId="28712695" sldId="2147469874"/>
            <ac:spMk id="30" creationId="{70152921-31BE-4802-952C-8040F4D3A2C2}"/>
          </ac:spMkLst>
        </pc:spChg>
        <pc:spChg chg="mod">
          <ac:chgData name="Dalil BENAOUDA" userId="6bc32e50-31cc-420e-af2c-c81feb754bf7" providerId="ADAL" clId="{2B1617D0-14B2-4879-AEBD-46BD4567454B}" dt="2023-01-23T10:25:45.855" v="4124"/>
          <ac:spMkLst>
            <pc:docMk/>
            <pc:sldMk cId="28712695" sldId="2147469874"/>
            <ac:spMk id="31" creationId="{8179136A-76B7-44DA-AA79-D4562F801020}"/>
          </ac:spMkLst>
        </pc:spChg>
        <pc:spChg chg="mod">
          <ac:chgData name="Dalil BENAOUDA" userId="6bc32e50-31cc-420e-af2c-c81feb754bf7" providerId="ADAL" clId="{2B1617D0-14B2-4879-AEBD-46BD4567454B}" dt="2023-01-23T10:25:45.855" v="4124"/>
          <ac:spMkLst>
            <pc:docMk/>
            <pc:sldMk cId="28712695" sldId="2147469874"/>
            <ac:spMk id="32" creationId="{0BEACCE0-43EC-429D-92D3-67A7D698D9F3}"/>
          </ac:spMkLst>
        </pc:spChg>
        <pc:spChg chg="mod">
          <ac:chgData name="Dalil BENAOUDA" userId="6bc32e50-31cc-420e-af2c-c81feb754bf7" providerId="ADAL" clId="{2B1617D0-14B2-4879-AEBD-46BD4567454B}" dt="2023-01-23T10:25:45.855" v="4124"/>
          <ac:spMkLst>
            <pc:docMk/>
            <pc:sldMk cId="28712695" sldId="2147469874"/>
            <ac:spMk id="33" creationId="{CD3ABFF8-662B-4915-95DA-CD5622EEC19F}"/>
          </ac:spMkLst>
        </pc:spChg>
        <pc:spChg chg="mod">
          <ac:chgData name="Dalil BENAOUDA" userId="6bc32e50-31cc-420e-af2c-c81feb754bf7" providerId="ADAL" clId="{2B1617D0-14B2-4879-AEBD-46BD4567454B}" dt="2023-01-23T10:25:45.855" v="4124"/>
          <ac:spMkLst>
            <pc:docMk/>
            <pc:sldMk cId="28712695" sldId="2147469874"/>
            <ac:spMk id="34" creationId="{8CF1D1A4-FD0D-449B-9288-9E818B3BE8ED}"/>
          </ac:spMkLst>
        </pc:spChg>
        <pc:spChg chg="mod">
          <ac:chgData name="Dalil BENAOUDA" userId="6bc32e50-31cc-420e-af2c-c81feb754bf7" providerId="ADAL" clId="{2B1617D0-14B2-4879-AEBD-46BD4567454B}" dt="2023-01-23T10:25:45.855" v="4124"/>
          <ac:spMkLst>
            <pc:docMk/>
            <pc:sldMk cId="28712695" sldId="2147469874"/>
            <ac:spMk id="35" creationId="{951065EC-7F92-41FB-9A45-1C234FC1B88C}"/>
          </ac:spMkLst>
        </pc:spChg>
        <pc:spChg chg="mod">
          <ac:chgData name="Dalil BENAOUDA" userId="6bc32e50-31cc-420e-af2c-c81feb754bf7" providerId="ADAL" clId="{2B1617D0-14B2-4879-AEBD-46BD4567454B}" dt="2023-01-23T10:25:45.855" v="4124"/>
          <ac:spMkLst>
            <pc:docMk/>
            <pc:sldMk cId="28712695" sldId="2147469874"/>
            <ac:spMk id="36" creationId="{E69F048D-D971-4D77-AF72-4544BF070DC9}"/>
          </ac:spMkLst>
        </pc:spChg>
        <pc:spChg chg="add mod">
          <ac:chgData name="Dalil BENAOUDA" userId="6bc32e50-31cc-420e-af2c-c81feb754bf7" providerId="ADAL" clId="{2B1617D0-14B2-4879-AEBD-46BD4567454B}" dt="2023-01-23T10:26:49.121" v="4194" actId="1036"/>
          <ac:spMkLst>
            <pc:docMk/>
            <pc:sldMk cId="28712695" sldId="2147469874"/>
            <ac:spMk id="37" creationId="{0FB2ECDD-4DC3-4C0E-A426-671458174DB9}"/>
          </ac:spMkLst>
        </pc:spChg>
        <pc:spChg chg="add mod">
          <ac:chgData name="Dalil BENAOUDA" userId="6bc32e50-31cc-420e-af2c-c81feb754bf7" providerId="ADAL" clId="{2B1617D0-14B2-4879-AEBD-46BD4567454B}" dt="2023-01-23T10:26:49.121" v="4194" actId="1036"/>
          <ac:spMkLst>
            <pc:docMk/>
            <pc:sldMk cId="28712695" sldId="2147469874"/>
            <ac:spMk id="38" creationId="{B50BEAF5-EE55-4230-A525-8576A92B0EED}"/>
          </ac:spMkLst>
        </pc:spChg>
        <pc:spChg chg="mod">
          <ac:chgData name="Dalil BENAOUDA" userId="6bc32e50-31cc-420e-af2c-c81feb754bf7" providerId="ADAL" clId="{2B1617D0-14B2-4879-AEBD-46BD4567454B}" dt="2023-01-23T10:25:45.855" v="4124"/>
          <ac:spMkLst>
            <pc:docMk/>
            <pc:sldMk cId="28712695" sldId="2147469874"/>
            <ac:spMk id="41" creationId="{97B2042F-A3AC-4C7B-A8F2-491B87CDD282}"/>
          </ac:spMkLst>
        </pc:spChg>
        <pc:spChg chg="mod">
          <ac:chgData name="Dalil BENAOUDA" userId="6bc32e50-31cc-420e-af2c-c81feb754bf7" providerId="ADAL" clId="{2B1617D0-14B2-4879-AEBD-46BD4567454B}" dt="2023-01-23T10:25:45.855" v="4124"/>
          <ac:spMkLst>
            <pc:docMk/>
            <pc:sldMk cId="28712695" sldId="2147469874"/>
            <ac:spMk id="42" creationId="{A9F93F3E-F442-4A82-8814-DF74D88222FF}"/>
          </ac:spMkLst>
        </pc:spChg>
        <pc:spChg chg="mod">
          <ac:chgData name="Dalil BENAOUDA" userId="6bc32e50-31cc-420e-af2c-c81feb754bf7" providerId="ADAL" clId="{2B1617D0-14B2-4879-AEBD-46BD4567454B}" dt="2023-01-23T10:25:45.855" v="4124"/>
          <ac:spMkLst>
            <pc:docMk/>
            <pc:sldMk cId="28712695" sldId="2147469874"/>
            <ac:spMk id="43" creationId="{649191A9-5640-45BF-9291-24704C462D90}"/>
          </ac:spMkLst>
        </pc:spChg>
        <pc:spChg chg="mod">
          <ac:chgData name="Dalil BENAOUDA" userId="6bc32e50-31cc-420e-af2c-c81feb754bf7" providerId="ADAL" clId="{2B1617D0-14B2-4879-AEBD-46BD4567454B}" dt="2023-01-23T10:25:45.855" v="4124"/>
          <ac:spMkLst>
            <pc:docMk/>
            <pc:sldMk cId="28712695" sldId="2147469874"/>
            <ac:spMk id="44" creationId="{9AEABD7A-DDCC-4570-9CB4-E6C6C4836C48}"/>
          </ac:spMkLst>
        </pc:spChg>
        <pc:spChg chg="add mod">
          <ac:chgData name="Dalil BENAOUDA" userId="6bc32e50-31cc-420e-af2c-c81feb754bf7" providerId="ADAL" clId="{2B1617D0-14B2-4879-AEBD-46BD4567454B}" dt="2023-01-23T10:26:49.121" v="4194" actId="1036"/>
          <ac:spMkLst>
            <pc:docMk/>
            <pc:sldMk cId="28712695" sldId="2147469874"/>
            <ac:spMk id="45" creationId="{54BBCA66-EE1A-4C15-8DFA-10505B92B3AA}"/>
          </ac:spMkLst>
        </pc:spChg>
        <pc:grpChg chg="add mod">
          <ac:chgData name="Dalil BENAOUDA" userId="6bc32e50-31cc-420e-af2c-c81feb754bf7" providerId="ADAL" clId="{2B1617D0-14B2-4879-AEBD-46BD4567454B}" dt="2023-01-23T10:26:49.121" v="4194" actId="1036"/>
          <ac:grpSpMkLst>
            <pc:docMk/>
            <pc:sldMk cId="28712695" sldId="2147469874"/>
            <ac:grpSpMk id="9" creationId="{A45DF9E0-3974-45F9-946A-9539269F1654}"/>
          </ac:grpSpMkLst>
        </pc:grpChg>
        <pc:grpChg chg="add mod">
          <ac:chgData name="Dalil BENAOUDA" userId="6bc32e50-31cc-420e-af2c-c81feb754bf7" providerId="ADAL" clId="{2B1617D0-14B2-4879-AEBD-46BD4567454B}" dt="2023-01-23T10:26:49.121" v="4194" actId="1036"/>
          <ac:grpSpMkLst>
            <pc:docMk/>
            <pc:sldMk cId="28712695" sldId="2147469874"/>
            <ac:grpSpMk id="22" creationId="{DE5D52E2-848B-4993-8081-2835186BB122}"/>
          </ac:grpSpMkLst>
        </pc:grpChg>
        <pc:grpChg chg="add mod">
          <ac:chgData name="Dalil BENAOUDA" userId="6bc32e50-31cc-420e-af2c-c81feb754bf7" providerId="ADAL" clId="{2B1617D0-14B2-4879-AEBD-46BD4567454B}" dt="2023-01-23T10:26:49.121" v="4194" actId="1036"/>
          <ac:grpSpMkLst>
            <pc:docMk/>
            <pc:sldMk cId="28712695" sldId="2147469874"/>
            <ac:grpSpMk id="29" creationId="{5693BB67-574E-4049-B4E2-0E8DC1718511}"/>
          </ac:grpSpMkLst>
        </pc:grpChg>
        <pc:grpChg chg="add mod">
          <ac:chgData name="Dalil BENAOUDA" userId="6bc32e50-31cc-420e-af2c-c81feb754bf7" providerId="ADAL" clId="{2B1617D0-14B2-4879-AEBD-46BD4567454B}" dt="2023-01-23T10:26:49.121" v="4194" actId="1036"/>
          <ac:grpSpMkLst>
            <pc:docMk/>
            <pc:sldMk cId="28712695" sldId="2147469874"/>
            <ac:grpSpMk id="40" creationId="{C97E7329-6C5D-4FD2-8306-04BEC8ED325E}"/>
          </ac:grpSpMkLst>
        </pc:grpChg>
        <pc:cxnChg chg="add mod">
          <ac:chgData name="Dalil BENAOUDA" userId="6bc32e50-31cc-420e-af2c-c81feb754bf7" providerId="ADAL" clId="{2B1617D0-14B2-4879-AEBD-46BD4567454B}" dt="2023-01-23T10:26:49.121" v="4194" actId="1036"/>
          <ac:cxnSpMkLst>
            <pc:docMk/>
            <pc:sldMk cId="28712695" sldId="2147469874"/>
            <ac:cxnSpMk id="6" creationId="{D675286C-A5C8-46F7-A933-57EFFE081895}"/>
          </ac:cxnSpMkLst>
        </pc:cxnChg>
        <pc:cxnChg chg="add mod">
          <ac:chgData name="Dalil BENAOUDA" userId="6bc32e50-31cc-420e-af2c-c81feb754bf7" providerId="ADAL" clId="{2B1617D0-14B2-4879-AEBD-46BD4567454B}" dt="2023-01-23T10:26:49.121" v="4194" actId="1036"/>
          <ac:cxnSpMkLst>
            <pc:docMk/>
            <pc:sldMk cId="28712695" sldId="2147469874"/>
            <ac:cxnSpMk id="8" creationId="{3689FC00-085A-4197-B4E6-B0BF58965A30}"/>
          </ac:cxnSpMkLst>
        </pc:cxnChg>
        <pc:cxnChg chg="add mod">
          <ac:chgData name="Dalil BENAOUDA" userId="6bc32e50-31cc-420e-af2c-c81feb754bf7" providerId="ADAL" clId="{2B1617D0-14B2-4879-AEBD-46BD4567454B}" dt="2023-01-23T10:26:49.121" v="4194" actId="1036"/>
          <ac:cxnSpMkLst>
            <pc:docMk/>
            <pc:sldMk cId="28712695" sldId="2147469874"/>
            <ac:cxnSpMk id="20" creationId="{3F093971-D7EA-48BA-BD30-065E9887E6E1}"/>
          </ac:cxnSpMkLst>
        </pc:cxnChg>
        <pc:cxnChg chg="add mod">
          <ac:chgData name="Dalil BENAOUDA" userId="6bc32e50-31cc-420e-af2c-c81feb754bf7" providerId="ADAL" clId="{2B1617D0-14B2-4879-AEBD-46BD4567454B}" dt="2023-01-23T10:26:49.121" v="4194" actId="1036"/>
          <ac:cxnSpMkLst>
            <pc:docMk/>
            <pc:sldMk cId="28712695" sldId="2147469874"/>
            <ac:cxnSpMk id="39" creationId="{EDF23209-206C-44FE-96C3-BF9F47CAD0BC}"/>
          </ac:cxnSpMkLst>
        </pc:cxnChg>
        <pc:cxnChg chg="add mod">
          <ac:chgData name="Dalil BENAOUDA" userId="6bc32e50-31cc-420e-af2c-c81feb754bf7" providerId="ADAL" clId="{2B1617D0-14B2-4879-AEBD-46BD4567454B}" dt="2023-01-23T10:26:49.121" v="4194" actId="1036"/>
          <ac:cxnSpMkLst>
            <pc:docMk/>
            <pc:sldMk cId="28712695" sldId="2147469874"/>
            <ac:cxnSpMk id="46" creationId="{80A69078-0E88-44EB-B84B-809A22CBEEEF}"/>
          </ac:cxnSpMkLst>
        </pc:cxnChg>
      </pc:sldChg>
      <pc:sldChg chg="addSp delSp modSp new mod ord">
        <pc:chgData name="Dalil BENAOUDA" userId="6bc32e50-31cc-420e-af2c-c81feb754bf7" providerId="ADAL" clId="{2B1617D0-14B2-4879-AEBD-46BD4567454B}" dt="2023-01-26T13:56:37.955" v="8357" actId="20577"/>
        <pc:sldMkLst>
          <pc:docMk/>
          <pc:sldMk cId="3260995176" sldId="2147469875"/>
        </pc:sldMkLst>
        <pc:spChg chg="mod">
          <ac:chgData name="Dalil BENAOUDA" userId="6bc32e50-31cc-420e-af2c-c81feb754bf7" providerId="ADAL" clId="{2B1617D0-14B2-4879-AEBD-46BD4567454B}" dt="2023-01-23T16:58:32.103" v="5314" actId="20577"/>
          <ac:spMkLst>
            <pc:docMk/>
            <pc:sldMk cId="3260995176" sldId="2147469875"/>
            <ac:spMk id="2" creationId="{815C57AF-169F-4314-AC66-D8269E11F446}"/>
          </ac:spMkLst>
        </pc:spChg>
        <pc:spChg chg="del">
          <ac:chgData name="Dalil BENAOUDA" userId="6bc32e50-31cc-420e-af2c-c81feb754bf7" providerId="ADAL" clId="{2B1617D0-14B2-4879-AEBD-46BD4567454B}" dt="2023-01-23T16:58:22.537" v="5277" actId="478"/>
          <ac:spMkLst>
            <pc:docMk/>
            <pc:sldMk cId="3260995176" sldId="2147469875"/>
            <ac:spMk id="3" creationId="{50E0E416-5965-4371-A9C3-B9EEFD925566}"/>
          </ac:spMkLst>
        </pc:spChg>
        <pc:spChg chg="add mod">
          <ac:chgData name="Dalil BENAOUDA" userId="6bc32e50-31cc-420e-af2c-c81feb754bf7" providerId="ADAL" clId="{2B1617D0-14B2-4879-AEBD-46BD4567454B}" dt="2023-01-23T16:58:22.994" v="5278"/>
          <ac:spMkLst>
            <pc:docMk/>
            <pc:sldMk cId="3260995176" sldId="2147469875"/>
            <ac:spMk id="4" creationId="{6882A59F-6EE2-4407-8E74-F5413BFA6577}"/>
          </ac:spMkLst>
        </pc:spChg>
        <pc:spChg chg="add mod">
          <ac:chgData name="Dalil BENAOUDA" userId="6bc32e50-31cc-420e-af2c-c81feb754bf7" providerId="ADAL" clId="{2B1617D0-14B2-4879-AEBD-46BD4567454B}" dt="2023-01-26T13:54:01.364" v="8223" actId="208"/>
          <ac:spMkLst>
            <pc:docMk/>
            <pc:sldMk cId="3260995176" sldId="2147469875"/>
            <ac:spMk id="6" creationId="{A7C41E1C-1D4E-46DA-8A03-D8A990CD8622}"/>
          </ac:spMkLst>
        </pc:spChg>
        <pc:spChg chg="add mod">
          <ac:chgData name="Dalil BENAOUDA" userId="6bc32e50-31cc-420e-af2c-c81feb754bf7" providerId="ADAL" clId="{2B1617D0-14B2-4879-AEBD-46BD4567454B}" dt="2023-01-26T13:55:04.352" v="8239" actId="20577"/>
          <ac:spMkLst>
            <pc:docMk/>
            <pc:sldMk cId="3260995176" sldId="2147469875"/>
            <ac:spMk id="7" creationId="{E9A7B7B9-F356-474D-A147-16E0531A1B84}"/>
          </ac:spMkLst>
        </pc:spChg>
        <pc:spChg chg="add mod">
          <ac:chgData name="Dalil BENAOUDA" userId="6bc32e50-31cc-420e-af2c-c81feb754bf7" providerId="ADAL" clId="{2B1617D0-14B2-4879-AEBD-46BD4567454B}" dt="2023-01-26T13:54:16.881" v="8229" actId="1038"/>
          <ac:spMkLst>
            <pc:docMk/>
            <pc:sldMk cId="3260995176" sldId="2147469875"/>
            <ac:spMk id="8" creationId="{1EF462B9-7576-442E-96A8-3F544DAF1738}"/>
          </ac:spMkLst>
        </pc:spChg>
        <pc:spChg chg="add mod">
          <ac:chgData name="Dalil BENAOUDA" userId="6bc32e50-31cc-420e-af2c-c81feb754bf7" providerId="ADAL" clId="{2B1617D0-14B2-4879-AEBD-46BD4567454B}" dt="2023-01-23T16:58:22.994" v="5278"/>
          <ac:spMkLst>
            <pc:docMk/>
            <pc:sldMk cId="3260995176" sldId="2147469875"/>
            <ac:spMk id="9" creationId="{AD5B82E5-C91F-4D2B-84D2-A24EDBD19DD7}"/>
          </ac:spMkLst>
        </pc:spChg>
        <pc:spChg chg="add mod">
          <ac:chgData name="Dalil BENAOUDA" userId="6bc32e50-31cc-420e-af2c-c81feb754bf7" providerId="ADAL" clId="{2B1617D0-14B2-4879-AEBD-46BD4567454B}" dt="2023-01-26T13:54:01.364" v="8223" actId="208"/>
          <ac:spMkLst>
            <pc:docMk/>
            <pc:sldMk cId="3260995176" sldId="2147469875"/>
            <ac:spMk id="11" creationId="{69D07BC0-A717-46AA-9AA0-DCD6625874A6}"/>
          </ac:spMkLst>
        </pc:spChg>
        <pc:spChg chg="add mod">
          <ac:chgData name="Dalil BENAOUDA" userId="6bc32e50-31cc-420e-af2c-c81feb754bf7" providerId="ADAL" clId="{2B1617D0-14B2-4879-AEBD-46BD4567454B}" dt="2023-01-26T13:54:13.605" v="8227" actId="1038"/>
          <ac:spMkLst>
            <pc:docMk/>
            <pc:sldMk cId="3260995176" sldId="2147469875"/>
            <ac:spMk id="12" creationId="{96565144-A0FF-4E2B-9AB6-534C906FE573}"/>
          </ac:spMkLst>
        </pc:spChg>
        <pc:spChg chg="add mod">
          <ac:chgData name="Dalil BENAOUDA" userId="6bc32e50-31cc-420e-af2c-c81feb754bf7" providerId="ADAL" clId="{2B1617D0-14B2-4879-AEBD-46BD4567454B}" dt="2023-01-26T13:56:37.955" v="8357" actId="20577"/>
          <ac:spMkLst>
            <pc:docMk/>
            <pc:sldMk cId="3260995176" sldId="2147469875"/>
            <ac:spMk id="13" creationId="{B653E91B-2C40-46C7-8B38-D5374430EE79}"/>
          </ac:spMkLst>
        </pc:spChg>
        <pc:spChg chg="add mod">
          <ac:chgData name="Dalil BENAOUDA" userId="6bc32e50-31cc-420e-af2c-c81feb754bf7" providerId="ADAL" clId="{2B1617D0-14B2-4879-AEBD-46BD4567454B}" dt="2023-01-26T13:54:01.364" v="8223" actId="208"/>
          <ac:spMkLst>
            <pc:docMk/>
            <pc:sldMk cId="3260995176" sldId="2147469875"/>
            <ac:spMk id="14" creationId="{E6F48E1B-7190-4770-825C-EC9615FD7111}"/>
          </ac:spMkLst>
        </pc:spChg>
        <pc:spChg chg="add mod">
          <ac:chgData name="Dalil BENAOUDA" userId="6bc32e50-31cc-420e-af2c-c81feb754bf7" providerId="ADAL" clId="{2B1617D0-14B2-4879-AEBD-46BD4567454B}" dt="2023-01-26T13:56:16.648" v="8299" actId="1037"/>
          <ac:spMkLst>
            <pc:docMk/>
            <pc:sldMk cId="3260995176" sldId="2147469875"/>
            <ac:spMk id="16" creationId="{CABD472D-CB84-4F38-9A63-95B830C9FC08}"/>
          </ac:spMkLst>
        </pc:spChg>
        <pc:spChg chg="add del mod">
          <ac:chgData name="Dalil BENAOUDA" userId="6bc32e50-31cc-420e-af2c-c81feb754bf7" providerId="ADAL" clId="{2B1617D0-14B2-4879-AEBD-46BD4567454B}" dt="2023-01-26T13:53:43.104" v="8220" actId="478"/>
          <ac:spMkLst>
            <pc:docMk/>
            <pc:sldMk cId="3260995176" sldId="2147469875"/>
            <ac:spMk id="17" creationId="{8F420D88-55CB-4220-BCC5-A8B0C3A8CA6E}"/>
          </ac:spMkLst>
        </pc:spChg>
        <pc:spChg chg="add mod">
          <ac:chgData name="Dalil BENAOUDA" userId="6bc32e50-31cc-420e-af2c-c81feb754bf7" providerId="ADAL" clId="{2B1617D0-14B2-4879-AEBD-46BD4567454B}" dt="2023-01-23T17:00:28.912" v="5435" actId="1076"/>
          <ac:spMkLst>
            <pc:docMk/>
            <pc:sldMk cId="3260995176" sldId="2147469875"/>
            <ac:spMk id="18" creationId="{1F1CE0EC-4414-4C65-9132-8CC2B63BCCC3}"/>
          </ac:spMkLst>
        </pc:spChg>
        <pc:spChg chg="add mod">
          <ac:chgData name="Dalil BENAOUDA" userId="6bc32e50-31cc-420e-af2c-c81feb754bf7" providerId="ADAL" clId="{2B1617D0-14B2-4879-AEBD-46BD4567454B}" dt="2023-01-26T13:55:34.415" v="8242" actId="400"/>
          <ac:spMkLst>
            <pc:docMk/>
            <pc:sldMk cId="3260995176" sldId="2147469875"/>
            <ac:spMk id="19" creationId="{B11C80B8-31B7-4D82-BA03-9CADB69832C5}"/>
          </ac:spMkLst>
        </pc:spChg>
        <pc:cxnChg chg="add mod">
          <ac:chgData name="Dalil BENAOUDA" userId="6bc32e50-31cc-420e-af2c-c81feb754bf7" providerId="ADAL" clId="{2B1617D0-14B2-4879-AEBD-46BD4567454B}" dt="2023-01-26T13:54:01.364" v="8223" actId="208"/>
          <ac:cxnSpMkLst>
            <pc:docMk/>
            <pc:sldMk cId="3260995176" sldId="2147469875"/>
            <ac:cxnSpMk id="5" creationId="{D5440537-F8D0-415F-B53C-238CF2307EF1}"/>
          </ac:cxnSpMkLst>
        </pc:cxnChg>
        <pc:cxnChg chg="add mod">
          <ac:chgData name="Dalil BENAOUDA" userId="6bc32e50-31cc-420e-af2c-c81feb754bf7" providerId="ADAL" clId="{2B1617D0-14B2-4879-AEBD-46BD4567454B}" dt="2023-01-26T13:54:01.364" v="8223" actId="208"/>
          <ac:cxnSpMkLst>
            <pc:docMk/>
            <pc:sldMk cId="3260995176" sldId="2147469875"/>
            <ac:cxnSpMk id="10" creationId="{A749757F-0EEE-4C19-85A9-0BDE1754E6AE}"/>
          </ac:cxnSpMkLst>
        </pc:cxnChg>
        <pc:cxnChg chg="add mod">
          <ac:chgData name="Dalil BENAOUDA" userId="6bc32e50-31cc-420e-af2c-c81feb754bf7" providerId="ADAL" clId="{2B1617D0-14B2-4879-AEBD-46BD4567454B}" dt="2023-01-26T13:54:01.364" v="8223" actId="208"/>
          <ac:cxnSpMkLst>
            <pc:docMk/>
            <pc:sldMk cId="3260995176" sldId="2147469875"/>
            <ac:cxnSpMk id="15" creationId="{924E8BF6-41F8-41B1-B857-2653CBFE5918}"/>
          </ac:cxnSpMkLst>
        </pc:cxnChg>
      </pc:sldChg>
      <pc:sldChg chg="modSp new mod">
        <pc:chgData name="Dalil BENAOUDA" userId="6bc32e50-31cc-420e-af2c-c81feb754bf7" providerId="ADAL" clId="{2B1617D0-14B2-4879-AEBD-46BD4567454B}" dt="2023-01-23T17:04:16.387" v="5781" actId="20577"/>
        <pc:sldMkLst>
          <pc:docMk/>
          <pc:sldMk cId="3178871765" sldId="2147469876"/>
        </pc:sldMkLst>
        <pc:spChg chg="mod">
          <ac:chgData name="Dalil BENAOUDA" userId="6bc32e50-31cc-420e-af2c-c81feb754bf7" providerId="ADAL" clId="{2B1617D0-14B2-4879-AEBD-46BD4567454B}" dt="2023-01-23T17:04:16.387" v="5781" actId="20577"/>
          <ac:spMkLst>
            <pc:docMk/>
            <pc:sldMk cId="3178871765" sldId="2147469876"/>
            <ac:spMk id="2" creationId="{66F60AC8-4904-498E-A157-BD53AEB6C7CF}"/>
          </ac:spMkLst>
        </pc:spChg>
      </pc:sldChg>
      <pc:sldChg chg="addSp delSp modSp new mod ord">
        <pc:chgData name="Dalil BENAOUDA" userId="6bc32e50-31cc-420e-af2c-c81feb754bf7" providerId="ADAL" clId="{2B1617D0-14B2-4879-AEBD-46BD4567454B}" dt="2023-01-26T14:59:54.289" v="9065" actId="1076"/>
        <pc:sldMkLst>
          <pc:docMk/>
          <pc:sldMk cId="697415066" sldId="2147469877"/>
        </pc:sldMkLst>
        <pc:spChg chg="mod">
          <ac:chgData name="Dalil BENAOUDA" userId="6bc32e50-31cc-420e-af2c-c81feb754bf7" providerId="ADAL" clId="{2B1617D0-14B2-4879-AEBD-46BD4567454B}" dt="2023-01-24T08:16:17.236" v="5913"/>
          <ac:spMkLst>
            <pc:docMk/>
            <pc:sldMk cId="697415066" sldId="2147469877"/>
            <ac:spMk id="2" creationId="{48DB4B56-0894-4E5B-B098-1F354300E21B}"/>
          </ac:spMkLst>
        </pc:spChg>
        <pc:spChg chg="add mod">
          <ac:chgData name="Dalil BENAOUDA" userId="6bc32e50-31cc-420e-af2c-c81feb754bf7" providerId="ADAL" clId="{2B1617D0-14B2-4879-AEBD-46BD4567454B}" dt="2023-01-26T10:59:04.061" v="6460" actId="20577"/>
          <ac:spMkLst>
            <pc:docMk/>
            <pc:sldMk cId="697415066" sldId="2147469877"/>
            <ac:spMk id="3" creationId="{2AD49378-0FDE-49D7-B8F7-9A71E654619D}"/>
          </ac:spMkLst>
        </pc:spChg>
        <pc:spChg chg="del">
          <ac:chgData name="Dalil BENAOUDA" userId="6bc32e50-31cc-420e-af2c-c81feb754bf7" providerId="ADAL" clId="{2B1617D0-14B2-4879-AEBD-46BD4567454B}" dt="2023-01-24T08:15:51.890" v="5849" actId="478"/>
          <ac:spMkLst>
            <pc:docMk/>
            <pc:sldMk cId="697415066" sldId="2147469877"/>
            <ac:spMk id="3" creationId="{5DA8689D-1D77-493F-ABF6-0E1548C5E86C}"/>
          </ac:spMkLst>
        </pc:spChg>
        <pc:spChg chg="add mod">
          <ac:chgData name="Dalil BENAOUDA" userId="6bc32e50-31cc-420e-af2c-c81feb754bf7" providerId="ADAL" clId="{2B1617D0-14B2-4879-AEBD-46BD4567454B}" dt="2023-01-26T11:05:41.839" v="6658" actId="1076"/>
          <ac:spMkLst>
            <pc:docMk/>
            <pc:sldMk cId="697415066" sldId="2147469877"/>
            <ac:spMk id="4" creationId="{C3360914-888F-4B4E-8289-037CF9A468AE}"/>
          </ac:spMkLst>
        </pc:spChg>
        <pc:spChg chg="add mod">
          <ac:chgData name="Dalil BENAOUDA" userId="6bc32e50-31cc-420e-af2c-c81feb754bf7" providerId="ADAL" clId="{2B1617D0-14B2-4879-AEBD-46BD4567454B}" dt="2023-01-26T11:00:20.302" v="6497" actId="1035"/>
          <ac:spMkLst>
            <pc:docMk/>
            <pc:sldMk cId="697415066" sldId="2147469877"/>
            <ac:spMk id="5" creationId="{F2D2DC74-BB2C-4450-9D59-E2FE06BDAA3A}"/>
          </ac:spMkLst>
        </pc:spChg>
        <pc:spChg chg="add mod">
          <ac:chgData name="Dalil BENAOUDA" userId="6bc32e50-31cc-420e-af2c-c81feb754bf7" providerId="ADAL" clId="{2B1617D0-14B2-4879-AEBD-46BD4567454B}" dt="2023-01-24T08:23:31.549" v="6233" actId="207"/>
          <ac:spMkLst>
            <pc:docMk/>
            <pc:sldMk cId="697415066" sldId="2147469877"/>
            <ac:spMk id="6" creationId="{6D146384-3147-4EAC-BBA3-7E9397C2F3AF}"/>
          </ac:spMkLst>
        </pc:spChg>
        <pc:spChg chg="add del mod">
          <ac:chgData name="Dalil BENAOUDA" userId="6bc32e50-31cc-420e-af2c-c81feb754bf7" providerId="ADAL" clId="{2B1617D0-14B2-4879-AEBD-46BD4567454B}" dt="2023-01-26T10:36:33.983" v="6352" actId="478"/>
          <ac:spMkLst>
            <pc:docMk/>
            <pc:sldMk cId="697415066" sldId="2147469877"/>
            <ac:spMk id="7" creationId="{25C78C67-F45E-4022-815D-7E7926073476}"/>
          </ac:spMkLst>
        </pc:spChg>
        <pc:spChg chg="add mod">
          <ac:chgData name="Dalil BENAOUDA" userId="6bc32e50-31cc-420e-af2c-c81feb754bf7" providerId="ADAL" clId="{2B1617D0-14B2-4879-AEBD-46BD4567454B}" dt="2023-01-24T08:23:31.549" v="6233" actId="207"/>
          <ac:spMkLst>
            <pc:docMk/>
            <pc:sldMk cId="697415066" sldId="2147469877"/>
            <ac:spMk id="8" creationId="{9CF189FE-387F-42CC-8892-5A0C55C3DD94}"/>
          </ac:spMkLst>
        </pc:spChg>
        <pc:spChg chg="add mod">
          <ac:chgData name="Dalil BENAOUDA" userId="6bc32e50-31cc-420e-af2c-c81feb754bf7" providerId="ADAL" clId="{2B1617D0-14B2-4879-AEBD-46BD4567454B}" dt="2023-01-24T08:18:02.902" v="6061" actId="20577"/>
          <ac:spMkLst>
            <pc:docMk/>
            <pc:sldMk cId="697415066" sldId="2147469877"/>
            <ac:spMk id="9" creationId="{4CFEFC9D-7FD9-4632-998D-19528D9740AA}"/>
          </ac:spMkLst>
        </pc:spChg>
        <pc:spChg chg="add mod ord">
          <ac:chgData name="Dalil BENAOUDA" userId="6bc32e50-31cc-420e-af2c-c81feb754bf7" providerId="ADAL" clId="{2B1617D0-14B2-4879-AEBD-46BD4567454B}" dt="2023-01-26T11:05:10.303" v="6653" actId="14100"/>
          <ac:spMkLst>
            <pc:docMk/>
            <pc:sldMk cId="697415066" sldId="2147469877"/>
            <ac:spMk id="10" creationId="{88414BFC-8B9E-438A-BF5D-28B608CA5129}"/>
          </ac:spMkLst>
        </pc:spChg>
        <pc:spChg chg="add del mod">
          <ac:chgData name="Dalil BENAOUDA" userId="6bc32e50-31cc-420e-af2c-c81feb754bf7" providerId="ADAL" clId="{2B1617D0-14B2-4879-AEBD-46BD4567454B}" dt="2023-01-26T10:52:04.928" v="6360" actId="478"/>
          <ac:spMkLst>
            <pc:docMk/>
            <pc:sldMk cId="697415066" sldId="2147469877"/>
            <ac:spMk id="11" creationId="{120BE3C6-32C3-4C7B-8DA7-8CAE2BE6D334}"/>
          </ac:spMkLst>
        </pc:spChg>
        <pc:spChg chg="mod">
          <ac:chgData name="Dalil BENAOUDA" userId="6bc32e50-31cc-420e-af2c-c81feb754bf7" providerId="ADAL" clId="{2B1617D0-14B2-4879-AEBD-46BD4567454B}" dt="2023-01-26T10:36:51.217" v="6356" actId="1076"/>
          <ac:spMkLst>
            <pc:docMk/>
            <pc:sldMk cId="697415066" sldId="2147469877"/>
            <ac:spMk id="12" creationId="{9E9FC33F-5310-CF2C-C1D2-6B0D41F4D282}"/>
          </ac:spMkLst>
        </pc:spChg>
        <pc:spChg chg="add del mod">
          <ac:chgData name="Dalil BENAOUDA" userId="6bc32e50-31cc-420e-af2c-c81feb754bf7" providerId="ADAL" clId="{2B1617D0-14B2-4879-AEBD-46BD4567454B}" dt="2023-01-24T08:18:36.068" v="6062" actId="478"/>
          <ac:spMkLst>
            <pc:docMk/>
            <pc:sldMk cId="697415066" sldId="2147469877"/>
            <ac:spMk id="12" creationId="{C3733875-BE2C-4E0E-9788-BDE09683F429}"/>
          </ac:spMkLst>
        </pc:spChg>
        <pc:spChg chg="mod">
          <ac:chgData name="Dalil BENAOUDA" userId="6bc32e50-31cc-420e-af2c-c81feb754bf7" providerId="ADAL" clId="{2B1617D0-14B2-4879-AEBD-46BD4567454B}" dt="2023-01-24T08:15:52.752" v="5850"/>
          <ac:spMkLst>
            <pc:docMk/>
            <pc:sldMk cId="697415066" sldId="2147469877"/>
            <ac:spMk id="15" creationId="{65444609-9217-430D-9BFC-C133D0E8CAD2}"/>
          </ac:spMkLst>
        </pc:spChg>
        <pc:spChg chg="add mod">
          <ac:chgData name="Dalil BENAOUDA" userId="6bc32e50-31cc-420e-af2c-c81feb754bf7" providerId="ADAL" clId="{2B1617D0-14B2-4879-AEBD-46BD4567454B}" dt="2023-01-26T11:03:01.364" v="6595" actId="1076"/>
          <ac:spMkLst>
            <pc:docMk/>
            <pc:sldMk cId="697415066" sldId="2147469877"/>
            <ac:spMk id="16" creationId="{B36437D6-51E8-4436-A440-732FDD660C60}"/>
          </ac:spMkLst>
        </pc:spChg>
        <pc:spChg chg="add del mod">
          <ac:chgData name="Dalil BENAOUDA" userId="6bc32e50-31cc-420e-af2c-c81feb754bf7" providerId="ADAL" clId="{2B1617D0-14B2-4879-AEBD-46BD4567454B}" dt="2023-01-24T08:18:36.694" v="6063" actId="478"/>
          <ac:spMkLst>
            <pc:docMk/>
            <pc:sldMk cId="697415066" sldId="2147469877"/>
            <ac:spMk id="16" creationId="{C94F2164-0330-4DFA-890D-782F88F9FBDF}"/>
          </ac:spMkLst>
        </pc:spChg>
        <pc:spChg chg="add del mod">
          <ac:chgData name="Dalil BENAOUDA" userId="6bc32e50-31cc-420e-af2c-c81feb754bf7" providerId="ADAL" clId="{2B1617D0-14B2-4879-AEBD-46BD4567454B}" dt="2023-01-24T08:18:37.309" v="6064" actId="478"/>
          <ac:spMkLst>
            <pc:docMk/>
            <pc:sldMk cId="697415066" sldId="2147469877"/>
            <ac:spMk id="17" creationId="{F990B9F4-B4FC-4F6B-9BB8-C4081EB28AFD}"/>
          </ac:spMkLst>
        </pc:spChg>
        <pc:spChg chg="add del mod">
          <ac:chgData name="Dalil BENAOUDA" userId="6bc32e50-31cc-420e-af2c-c81feb754bf7" providerId="ADAL" clId="{2B1617D0-14B2-4879-AEBD-46BD4567454B}" dt="2023-01-24T08:18:39.565" v="6065" actId="478"/>
          <ac:spMkLst>
            <pc:docMk/>
            <pc:sldMk cId="697415066" sldId="2147469877"/>
            <ac:spMk id="18" creationId="{B75BC6D3-4B52-453E-807D-3AE2B1179EF9}"/>
          </ac:spMkLst>
        </pc:spChg>
        <pc:spChg chg="add del mod">
          <ac:chgData name="Dalil BENAOUDA" userId="6bc32e50-31cc-420e-af2c-c81feb754bf7" providerId="ADAL" clId="{2B1617D0-14B2-4879-AEBD-46BD4567454B}" dt="2023-01-26T10:52:11.033" v="6362" actId="478"/>
          <ac:spMkLst>
            <pc:docMk/>
            <pc:sldMk cId="697415066" sldId="2147469877"/>
            <ac:spMk id="19" creationId="{A42E8956-75BF-4E57-80DB-1EDE44DDF519}"/>
          </ac:spMkLst>
        </pc:spChg>
        <pc:spChg chg="add del mod">
          <ac:chgData name="Dalil BENAOUDA" userId="6bc32e50-31cc-420e-af2c-c81feb754bf7" providerId="ADAL" clId="{2B1617D0-14B2-4879-AEBD-46BD4567454B}" dt="2023-01-24T08:18:41.454" v="6067" actId="478"/>
          <ac:spMkLst>
            <pc:docMk/>
            <pc:sldMk cId="697415066" sldId="2147469877"/>
            <ac:spMk id="20" creationId="{E12A9ACC-A79D-4C6A-807E-405F503B0197}"/>
          </ac:spMkLst>
        </pc:spChg>
        <pc:spChg chg="add del mod">
          <ac:chgData name="Dalil BENAOUDA" userId="6bc32e50-31cc-420e-af2c-c81feb754bf7" providerId="ADAL" clId="{2B1617D0-14B2-4879-AEBD-46BD4567454B}" dt="2023-01-24T08:18:42.581" v="6068" actId="478"/>
          <ac:spMkLst>
            <pc:docMk/>
            <pc:sldMk cId="697415066" sldId="2147469877"/>
            <ac:spMk id="21" creationId="{E0561286-B854-46B0-A3EC-B16163F7E574}"/>
          </ac:spMkLst>
        </pc:spChg>
        <pc:spChg chg="add del mod">
          <ac:chgData name="Dalil BENAOUDA" userId="6bc32e50-31cc-420e-af2c-c81feb754bf7" providerId="ADAL" clId="{2B1617D0-14B2-4879-AEBD-46BD4567454B}" dt="2023-01-24T08:18:43.958" v="6069" actId="478"/>
          <ac:spMkLst>
            <pc:docMk/>
            <pc:sldMk cId="697415066" sldId="2147469877"/>
            <ac:spMk id="22" creationId="{5F6A59B6-DFE9-4689-B2D7-EA8B810BFD4F}"/>
          </ac:spMkLst>
        </pc:spChg>
        <pc:spChg chg="add del mod">
          <ac:chgData name="Dalil BENAOUDA" userId="6bc32e50-31cc-420e-af2c-c81feb754bf7" providerId="ADAL" clId="{2B1617D0-14B2-4879-AEBD-46BD4567454B}" dt="2023-01-24T08:19:05.448" v="6076" actId="478"/>
          <ac:spMkLst>
            <pc:docMk/>
            <pc:sldMk cId="697415066" sldId="2147469877"/>
            <ac:spMk id="23" creationId="{D7E5D150-81FC-4929-B89E-087E42A06826}"/>
          </ac:spMkLst>
        </pc:spChg>
        <pc:spChg chg="add del mod">
          <ac:chgData name="Dalil BENAOUDA" userId="6bc32e50-31cc-420e-af2c-c81feb754bf7" providerId="ADAL" clId="{2B1617D0-14B2-4879-AEBD-46BD4567454B}" dt="2023-01-24T08:18:55.028" v="6072" actId="478"/>
          <ac:spMkLst>
            <pc:docMk/>
            <pc:sldMk cId="697415066" sldId="2147469877"/>
            <ac:spMk id="24" creationId="{A895677B-F1BF-4F52-8FA8-3D080041896D}"/>
          </ac:spMkLst>
        </pc:spChg>
        <pc:spChg chg="mod">
          <ac:chgData name="Dalil BENAOUDA" userId="6bc32e50-31cc-420e-af2c-c81feb754bf7" providerId="ADAL" clId="{2B1617D0-14B2-4879-AEBD-46BD4567454B}" dt="2023-01-24T08:15:52.752" v="5850"/>
          <ac:spMkLst>
            <pc:docMk/>
            <pc:sldMk cId="697415066" sldId="2147469877"/>
            <ac:spMk id="27" creationId="{B02D9600-7B2E-4D81-B18B-4F38E2D60CF2}"/>
          </ac:spMkLst>
        </pc:spChg>
        <pc:spChg chg="add mod ord">
          <ac:chgData name="Dalil BENAOUDA" userId="6bc32e50-31cc-420e-af2c-c81feb754bf7" providerId="ADAL" clId="{2B1617D0-14B2-4879-AEBD-46BD4567454B}" dt="2023-01-26T14:59:37.232" v="9062" actId="20577"/>
          <ac:spMkLst>
            <pc:docMk/>
            <pc:sldMk cId="697415066" sldId="2147469877"/>
            <ac:spMk id="28" creationId="{FF7C4491-4892-4141-9CF1-C0CAC9DC0E9E}"/>
          </ac:spMkLst>
        </pc:spChg>
        <pc:spChg chg="add del mod">
          <ac:chgData name="Dalil BENAOUDA" userId="6bc32e50-31cc-420e-af2c-c81feb754bf7" providerId="ADAL" clId="{2B1617D0-14B2-4879-AEBD-46BD4567454B}" dt="2023-01-26T11:03:54.503" v="6603" actId="478"/>
          <ac:spMkLst>
            <pc:docMk/>
            <pc:sldMk cId="697415066" sldId="2147469877"/>
            <ac:spMk id="29" creationId="{F9C0D71E-E4E7-42A4-82CC-714593C9C476}"/>
          </ac:spMkLst>
        </pc:spChg>
        <pc:spChg chg="add mod ord">
          <ac:chgData name="Dalil BENAOUDA" userId="6bc32e50-31cc-420e-af2c-c81feb754bf7" providerId="ADAL" clId="{2B1617D0-14B2-4879-AEBD-46BD4567454B}" dt="2023-01-26T11:09:11.148" v="6847" actId="242"/>
          <ac:spMkLst>
            <pc:docMk/>
            <pc:sldMk cId="697415066" sldId="2147469877"/>
            <ac:spMk id="34" creationId="{4995EC49-76E0-4E17-83E2-B985C5E42566}"/>
          </ac:spMkLst>
        </pc:spChg>
        <pc:spChg chg="add mod ord">
          <ac:chgData name="Dalil BENAOUDA" userId="6bc32e50-31cc-420e-af2c-c81feb754bf7" providerId="ADAL" clId="{2B1617D0-14B2-4879-AEBD-46BD4567454B}" dt="2023-01-26T14:59:54.289" v="9065" actId="1076"/>
          <ac:spMkLst>
            <pc:docMk/>
            <pc:sldMk cId="697415066" sldId="2147469877"/>
            <ac:spMk id="35" creationId="{8570F1A1-5B86-47CE-A960-3ED11EA083F2}"/>
          </ac:spMkLst>
        </pc:spChg>
        <pc:spChg chg="add del mod">
          <ac:chgData name="Dalil BENAOUDA" userId="6bc32e50-31cc-420e-af2c-c81feb754bf7" providerId="ADAL" clId="{2B1617D0-14B2-4879-AEBD-46BD4567454B}" dt="2023-01-26T11:03:54.503" v="6603" actId="478"/>
          <ac:spMkLst>
            <pc:docMk/>
            <pc:sldMk cId="697415066" sldId="2147469877"/>
            <ac:spMk id="36" creationId="{C9D01B52-6E94-4F54-8842-BE98E0207143}"/>
          </ac:spMkLst>
        </pc:spChg>
        <pc:spChg chg="add del mod">
          <ac:chgData name="Dalil BENAOUDA" userId="6bc32e50-31cc-420e-af2c-c81feb754bf7" providerId="ADAL" clId="{2B1617D0-14B2-4879-AEBD-46BD4567454B}" dt="2023-01-26T10:36:55.013" v="6357" actId="478"/>
          <ac:spMkLst>
            <pc:docMk/>
            <pc:sldMk cId="697415066" sldId="2147469877"/>
            <ac:spMk id="38" creationId="{8F5E9BA7-0A94-4B8C-9DDC-8232A55729AB}"/>
          </ac:spMkLst>
        </pc:spChg>
        <pc:spChg chg="add del mod">
          <ac:chgData name="Dalil BENAOUDA" userId="6bc32e50-31cc-420e-af2c-c81feb754bf7" providerId="ADAL" clId="{2B1617D0-14B2-4879-AEBD-46BD4567454B}" dt="2023-01-26T10:36:47.174" v="6355" actId="478"/>
          <ac:spMkLst>
            <pc:docMk/>
            <pc:sldMk cId="697415066" sldId="2147469877"/>
            <ac:spMk id="39" creationId="{5E0EC53F-3B34-43D5-A657-DB9011C56CF3}"/>
          </ac:spMkLst>
        </pc:spChg>
        <pc:spChg chg="add del mod">
          <ac:chgData name="Dalil BENAOUDA" userId="6bc32e50-31cc-420e-af2c-c81feb754bf7" providerId="ADAL" clId="{2B1617D0-14B2-4879-AEBD-46BD4567454B}" dt="2023-01-26T10:59:07.339" v="6461" actId="478"/>
          <ac:spMkLst>
            <pc:docMk/>
            <pc:sldMk cId="697415066" sldId="2147469877"/>
            <ac:spMk id="40" creationId="{FBC47500-A36A-419D-8713-700F0E4D7861}"/>
          </ac:spMkLst>
        </pc:spChg>
        <pc:spChg chg="add mod">
          <ac:chgData name="Dalil BENAOUDA" userId="6bc32e50-31cc-420e-af2c-c81feb754bf7" providerId="ADAL" clId="{2B1617D0-14B2-4879-AEBD-46BD4567454B}" dt="2023-01-26T11:02:32.175" v="6590" actId="1582"/>
          <ac:spMkLst>
            <pc:docMk/>
            <pc:sldMk cId="697415066" sldId="2147469877"/>
            <ac:spMk id="41" creationId="{98ECEED8-216E-405E-BAB8-A13CE57A8839}"/>
          </ac:spMkLst>
        </pc:spChg>
        <pc:spChg chg="add del mod">
          <ac:chgData name="Dalil BENAOUDA" userId="6bc32e50-31cc-420e-af2c-c81feb754bf7" providerId="ADAL" clId="{2B1617D0-14B2-4879-AEBD-46BD4567454B}" dt="2023-01-26T14:56:34.397" v="8814" actId="478"/>
          <ac:spMkLst>
            <pc:docMk/>
            <pc:sldMk cId="697415066" sldId="2147469877"/>
            <ac:spMk id="42" creationId="{C0B724E7-D85B-48D7-90C9-9AC995DF3D60}"/>
          </ac:spMkLst>
        </pc:spChg>
        <pc:grpChg chg="add del mod">
          <ac:chgData name="Dalil BENAOUDA" userId="6bc32e50-31cc-420e-af2c-c81feb754bf7" providerId="ADAL" clId="{2B1617D0-14B2-4879-AEBD-46BD4567454B}" dt="2023-01-26T10:36:32.796" v="6351" actId="478"/>
          <ac:grpSpMkLst>
            <pc:docMk/>
            <pc:sldMk cId="697415066" sldId="2147469877"/>
            <ac:grpSpMk id="13" creationId="{6ABCC6DD-C49D-405E-A012-A2BB2D0EAC69}"/>
          </ac:grpSpMkLst>
        </pc:grpChg>
        <pc:grpChg chg="add del mod">
          <ac:chgData name="Dalil BENAOUDA" userId="6bc32e50-31cc-420e-af2c-c81feb754bf7" providerId="ADAL" clId="{2B1617D0-14B2-4879-AEBD-46BD4567454B}" dt="2023-01-26T10:36:35.786" v="6353" actId="478"/>
          <ac:grpSpMkLst>
            <pc:docMk/>
            <pc:sldMk cId="697415066" sldId="2147469877"/>
            <ac:grpSpMk id="25" creationId="{BA010AF8-B02D-4C44-A327-5DC5751BEB8A}"/>
          </ac:grpSpMkLst>
        </pc:grpChg>
        <pc:picChg chg="add del mod">
          <ac:chgData name="Dalil BENAOUDA" userId="6bc32e50-31cc-420e-af2c-c81feb754bf7" providerId="ADAL" clId="{2B1617D0-14B2-4879-AEBD-46BD4567454B}" dt="2023-01-26T10:52:15.708" v="6364" actId="478"/>
          <ac:picMkLst>
            <pc:docMk/>
            <pc:sldMk cId="697415066" sldId="2147469877"/>
            <ac:picMk id="1026" creationId="{1EB58091-26E1-48CE-8FE7-4B979D54C1FA}"/>
          </ac:picMkLst>
        </pc:picChg>
        <pc:picChg chg="add del mod">
          <ac:chgData name="Dalil BENAOUDA" userId="6bc32e50-31cc-420e-af2c-c81feb754bf7" providerId="ADAL" clId="{2B1617D0-14B2-4879-AEBD-46BD4567454B}" dt="2023-01-26T10:52:11.760" v="6363" actId="478"/>
          <ac:picMkLst>
            <pc:docMk/>
            <pc:sldMk cId="697415066" sldId="2147469877"/>
            <ac:picMk id="1028" creationId="{DA6777E3-F915-4B47-8287-0136D1A2E361}"/>
          </ac:picMkLst>
        </pc:picChg>
        <pc:picChg chg="add del mod">
          <ac:chgData name="Dalil BENAOUDA" userId="6bc32e50-31cc-420e-af2c-c81feb754bf7" providerId="ADAL" clId="{2B1617D0-14B2-4879-AEBD-46BD4567454B}" dt="2023-01-26T10:52:09.963" v="6361" actId="478"/>
          <ac:picMkLst>
            <pc:docMk/>
            <pc:sldMk cId="697415066" sldId="2147469877"/>
            <ac:picMk id="1030" creationId="{B48E59DB-3FAA-480F-9946-3AA37ED7F65C}"/>
          </ac:picMkLst>
        </pc:picChg>
        <pc:picChg chg="add mod">
          <ac:chgData name="Dalil BENAOUDA" userId="6bc32e50-31cc-420e-af2c-c81feb754bf7" providerId="ADAL" clId="{2B1617D0-14B2-4879-AEBD-46BD4567454B}" dt="2023-01-26T11:03:12.951" v="6597"/>
          <ac:picMkLst>
            <pc:docMk/>
            <pc:sldMk cId="697415066" sldId="2147469877"/>
            <ac:picMk id="2050" creationId="{5976F3C3-2AF4-4FEE-B05B-655698DAFB89}"/>
          </ac:picMkLst>
        </pc:picChg>
        <pc:picChg chg="add mod">
          <ac:chgData name="Dalil BENAOUDA" userId="6bc32e50-31cc-420e-af2c-c81feb754bf7" providerId="ADAL" clId="{2B1617D0-14B2-4879-AEBD-46BD4567454B}" dt="2023-01-26T11:03:46.925" v="6602"/>
          <ac:picMkLst>
            <pc:docMk/>
            <pc:sldMk cId="697415066" sldId="2147469877"/>
            <ac:picMk id="2052" creationId="{318AF74F-F7EE-4E79-BB52-F66653A8DC8D}"/>
          </ac:picMkLst>
        </pc:picChg>
        <pc:cxnChg chg="mod">
          <ac:chgData name="Dalil BENAOUDA" userId="6bc32e50-31cc-420e-af2c-c81feb754bf7" providerId="ADAL" clId="{2B1617D0-14B2-4879-AEBD-46BD4567454B}" dt="2023-01-24T08:15:52.752" v="5850"/>
          <ac:cxnSpMkLst>
            <pc:docMk/>
            <pc:sldMk cId="697415066" sldId="2147469877"/>
            <ac:cxnSpMk id="14" creationId="{DEB7B5B0-FD6C-46AB-B494-9BD4535CDE17}"/>
          </ac:cxnSpMkLst>
        </pc:cxnChg>
        <pc:cxnChg chg="mod">
          <ac:chgData name="Dalil BENAOUDA" userId="6bc32e50-31cc-420e-af2c-c81feb754bf7" providerId="ADAL" clId="{2B1617D0-14B2-4879-AEBD-46BD4567454B}" dt="2023-01-24T08:15:52.752" v="5850"/>
          <ac:cxnSpMkLst>
            <pc:docMk/>
            <pc:sldMk cId="697415066" sldId="2147469877"/>
            <ac:cxnSpMk id="26" creationId="{03F4F579-B72A-474D-9578-69A87D76D9DA}"/>
          </ac:cxnSpMkLst>
        </pc:cxnChg>
        <pc:cxnChg chg="add mod ord">
          <ac:chgData name="Dalil BENAOUDA" userId="6bc32e50-31cc-420e-af2c-c81feb754bf7" providerId="ADAL" clId="{2B1617D0-14B2-4879-AEBD-46BD4567454B}" dt="2023-01-26T11:05:05.875" v="6652" actId="1036"/>
          <ac:cxnSpMkLst>
            <pc:docMk/>
            <pc:sldMk cId="697415066" sldId="2147469877"/>
            <ac:cxnSpMk id="30" creationId="{386579D3-8901-40BF-9E07-E7E66A56C7E3}"/>
          </ac:cxnSpMkLst>
        </pc:cxnChg>
        <pc:cxnChg chg="add del mod">
          <ac:chgData name="Dalil BENAOUDA" userId="6bc32e50-31cc-420e-af2c-c81feb754bf7" providerId="ADAL" clId="{2B1617D0-14B2-4879-AEBD-46BD4567454B}" dt="2023-01-26T11:03:57.089" v="6605" actId="478"/>
          <ac:cxnSpMkLst>
            <pc:docMk/>
            <pc:sldMk cId="697415066" sldId="2147469877"/>
            <ac:cxnSpMk id="31" creationId="{695866D8-2649-4AB0-B242-E996EAF49B58}"/>
          </ac:cxnSpMkLst>
        </pc:cxnChg>
        <pc:cxnChg chg="add mod ord">
          <ac:chgData name="Dalil BENAOUDA" userId="6bc32e50-31cc-420e-af2c-c81feb754bf7" providerId="ADAL" clId="{2B1617D0-14B2-4879-AEBD-46BD4567454B}" dt="2023-01-26T11:05:05.875" v="6652" actId="1036"/>
          <ac:cxnSpMkLst>
            <pc:docMk/>
            <pc:sldMk cId="697415066" sldId="2147469877"/>
            <ac:cxnSpMk id="32" creationId="{B5D18D65-5DEE-4656-B0D3-12F2A89EF1E8}"/>
          </ac:cxnSpMkLst>
        </pc:cxnChg>
        <pc:cxnChg chg="add del mod">
          <ac:chgData name="Dalil BENAOUDA" userId="6bc32e50-31cc-420e-af2c-c81feb754bf7" providerId="ADAL" clId="{2B1617D0-14B2-4879-AEBD-46BD4567454B}" dt="2023-01-26T11:03:55.897" v="6604" actId="478"/>
          <ac:cxnSpMkLst>
            <pc:docMk/>
            <pc:sldMk cId="697415066" sldId="2147469877"/>
            <ac:cxnSpMk id="33" creationId="{4FAA5586-126C-4A57-A2BD-7AC6FF0DD726}"/>
          </ac:cxnSpMkLst>
        </pc:cxnChg>
        <pc:cxnChg chg="add mod ord">
          <ac:chgData name="Dalil BENAOUDA" userId="6bc32e50-31cc-420e-af2c-c81feb754bf7" providerId="ADAL" clId="{2B1617D0-14B2-4879-AEBD-46BD4567454B}" dt="2023-01-26T11:04:51.915" v="6614" actId="408"/>
          <ac:cxnSpMkLst>
            <pc:docMk/>
            <pc:sldMk cId="697415066" sldId="2147469877"/>
            <ac:cxnSpMk id="37" creationId="{8609825B-34FE-4242-8C47-9BACED356A51}"/>
          </ac:cxnSpMkLst>
        </pc:cxnChg>
      </pc:sldChg>
      <pc:sldChg chg="addSp delSp modSp add mod ord">
        <pc:chgData name="Dalil BENAOUDA" userId="6bc32e50-31cc-420e-af2c-c81feb754bf7" providerId="ADAL" clId="{2B1617D0-14B2-4879-AEBD-46BD4567454B}" dt="2023-01-26T13:42:31.045" v="7601" actId="20577"/>
        <pc:sldMkLst>
          <pc:docMk/>
          <pc:sldMk cId="427708274" sldId="2147469881"/>
        </pc:sldMkLst>
        <pc:spChg chg="del">
          <ac:chgData name="Dalil BENAOUDA" userId="6bc32e50-31cc-420e-af2c-c81feb754bf7" providerId="ADAL" clId="{2B1617D0-14B2-4879-AEBD-46BD4567454B}" dt="2023-01-26T11:15:07.539" v="6908" actId="478"/>
          <ac:spMkLst>
            <pc:docMk/>
            <pc:sldMk cId="427708274" sldId="2147469881"/>
            <ac:spMk id="3" creationId="{80D52342-C2B0-428C-8805-971DE696581C}"/>
          </ac:spMkLst>
        </pc:spChg>
        <pc:spChg chg="del">
          <ac:chgData name="Dalil BENAOUDA" userId="6bc32e50-31cc-420e-af2c-c81feb754bf7" providerId="ADAL" clId="{2B1617D0-14B2-4879-AEBD-46BD4567454B}" dt="2023-01-26T11:15:12.185" v="6910" actId="478"/>
          <ac:spMkLst>
            <pc:docMk/>
            <pc:sldMk cId="427708274" sldId="2147469881"/>
            <ac:spMk id="4" creationId="{27936E2C-7B10-460C-A343-299054D7E440}"/>
          </ac:spMkLst>
        </pc:spChg>
        <pc:spChg chg="del">
          <ac:chgData name="Dalil BENAOUDA" userId="6bc32e50-31cc-420e-af2c-c81feb754bf7" providerId="ADAL" clId="{2B1617D0-14B2-4879-AEBD-46BD4567454B}" dt="2023-01-26T11:15:12.185" v="6910" actId="478"/>
          <ac:spMkLst>
            <pc:docMk/>
            <pc:sldMk cId="427708274" sldId="2147469881"/>
            <ac:spMk id="6" creationId="{D25A3A40-DA67-48AA-A40D-DD64C5E42C62}"/>
          </ac:spMkLst>
        </pc:spChg>
        <pc:spChg chg="add del mod">
          <ac:chgData name="Dalil BENAOUDA" userId="6bc32e50-31cc-420e-af2c-c81feb754bf7" providerId="ADAL" clId="{2B1617D0-14B2-4879-AEBD-46BD4567454B}" dt="2023-01-26T11:15:10.040" v="6909" actId="478"/>
          <ac:spMkLst>
            <pc:docMk/>
            <pc:sldMk cId="427708274" sldId="2147469881"/>
            <ac:spMk id="7" creationId="{9A607176-C119-4212-8992-758AA1C8BF7F}"/>
          </ac:spMkLst>
        </pc:spChg>
        <pc:spChg chg="del">
          <ac:chgData name="Dalil BENAOUDA" userId="6bc32e50-31cc-420e-af2c-c81feb754bf7" providerId="ADAL" clId="{2B1617D0-14B2-4879-AEBD-46BD4567454B}" dt="2023-01-26T11:15:12.185" v="6910" actId="478"/>
          <ac:spMkLst>
            <pc:docMk/>
            <pc:sldMk cId="427708274" sldId="2147469881"/>
            <ac:spMk id="10" creationId="{0F6AAC6D-E29F-4B70-A13E-546C6FF1BCAC}"/>
          </ac:spMkLst>
        </pc:spChg>
        <pc:spChg chg="add mod">
          <ac:chgData name="Dalil BENAOUDA" userId="6bc32e50-31cc-420e-af2c-c81feb754bf7" providerId="ADAL" clId="{2B1617D0-14B2-4879-AEBD-46BD4567454B}" dt="2023-01-26T11:21:54.121" v="7340" actId="20577"/>
          <ac:spMkLst>
            <pc:docMk/>
            <pc:sldMk cId="427708274" sldId="2147469881"/>
            <ac:spMk id="12" creationId="{510CCDCD-7B38-4027-B4C8-5DC9E1E9E3BB}"/>
          </ac:spMkLst>
        </pc:spChg>
        <pc:spChg chg="mod">
          <ac:chgData name="Dalil BENAOUDA" userId="6bc32e50-31cc-420e-af2c-c81feb754bf7" providerId="ADAL" clId="{2B1617D0-14B2-4879-AEBD-46BD4567454B}" dt="2023-01-26T11:15:13.204" v="6911"/>
          <ac:spMkLst>
            <pc:docMk/>
            <pc:sldMk cId="427708274" sldId="2147469881"/>
            <ac:spMk id="14" creationId="{1380BD55-67CB-43F7-9550-E83F0BC309E7}"/>
          </ac:spMkLst>
        </pc:spChg>
        <pc:spChg chg="mod">
          <ac:chgData name="Dalil BENAOUDA" userId="6bc32e50-31cc-420e-af2c-c81feb754bf7" providerId="ADAL" clId="{2B1617D0-14B2-4879-AEBD-46BD4567454B}" dt="2023-01-26T11:15:13.204" v="6911"/>
          <ac:spMkLst>
            <pc:docMk/>
            <pc:sldMk cId="427708274" sldId="2147469881"/>
            <ac:spMk id="15" creationId="{51D183EB-3FCF-48DD-8FE7-90A187C9B417}"/>
          </ac:spMkLst>
        </pc:spChg>
        <pc:spChg chg="del mod">
          <ac:chgData name="Dalil BENAOUDA" userId="6bc32e50-31cc-420e-af2c-c81feb754bf7" providerId="ADAL" clId="{2B1617D0-14B2-4879-AEBD-46BD4567454B}" dt="2023-01-26T11:16:16.493" v="6946" actId="478"/>
          <ac:spMkLst>
            <pc:docMk/>
            <pc:sldMk cId="427708274" sldId="2147469881"/>
            <ac:spMk id="16" creationId="{A9CBCBF7-9FC7-4EFC-9BCF-4E10D8180FE0}"/>
          </ac:spMkLst>
        </pc:spChg>
        <pc:spChg chg="mod">
          <ac:chgData name="Dalil BENAOUDA" userId="6bc32e50-31cc-420e-af2c-c81feb754bf7" providerId="ADAL" clId="{2B1617D0-14B2-4879-AEBD-46BD4567454B}" dt="2023-01-26T11:16:06.997" v="6938" actId="14100"/>
          <ac:spMkLst>
            <pc:docMk/>
            <pc:sldMk cId="427708274" sldId="2147469881"/>
            <ac:spMk id="17" creationId="{BD19B060-9877-423D-BF42-DBFEF97B91E5}"/>
          </ac:spMkLst>
        </pc:spChg>
        <pc:spChg chg="mod">
          <ac:chgData name="Dalil BENAOUDA" userId="6bc32e50-31cc-420e-af2c-c81feb754bf7" providerId="ADAL" clId="{2B1617D0-14B2-4879-AEBD-46BD4567454B}" dt="2023-01-26T13:38:47.375" v="7476" actId="120"/>
          <ac:spMkLst>
            <pc:docMk/>
            <pc:sldMk cId="427708274" sldId="2147469881"/>
            <ac:spMk id="18" creationId="{19AA9F39-162D-4274-A8A9-B5FF91103DD8}"/>
          </ac:spMkLst>
        </pc:spChg>
        <pc:spChg chg="mod">
          <ac:chgData name="Dalil BENAOUDA" userId="6bc32e50-31cc-420e-af2c-c81feb754bf7" providerId="ADAL" clId="{2B1617D0-14B2-4879-AEBD-46BD4567454B}" dt="2023-01-26T11:16:13.169" v="6945" actId="20577"/>
          <ac:spMkLst>
            <pc:docMk/>
            <pc:sldMk cId="427708274" sldId="2147469881"/>
            <ac:spMk id="19" creationId="{FD71756E-2C85-448F-94E1-32F7216FC422}"/>
          </ac:spMkLst>
        </pc:spChg>
        <pc:spChg chg="del mod">
          <ac:chgData name="Dalil BENAOUDA" userId="6bc32e50-31cc-420e-af2c-c81feb754bf7" providerId="ADAL" clId="{2B1617D0-14B2-4879-AEBD-46BD4567454B}" dt="2023-01-26T11:16:26.089" v="6947" actId="478"/>
          <ac:spMkLst>
            <pc:docMk/>
            <pc:sldMk cId="427708274" sldId="2147469881"/>
            <ac:spMk id="20" creationId="{1E9CF940-7B90-4817-A1C2-764F2B39980A}"/>
          </ac:spMkLst>
        </pc:spChg>
        <pc:spChg chg="del">
          <ac:chgData name="Dalil BENAOUDA" userId="6bc32e50-31cc-420e-af2c-c81feb754bf7" providerId="ADAL" clId="{2B1617D0-14B2-4879-AEBD-46BD4567454B}" dt="2023-01-26T11:15:12.185" v="6910" actId="478"/>
          <ac:spMkLst>
            <pc:docMk/>
            <pc:sldMk cId="427708274" sldId="2147469881"/>
            <ac:spMk id="23" creationId="{8A21ECE2-66F9-47D0-B75D-D8A050BCD7DC}"/>
          </ac:spMkLst>
        </pc:spChg>
        <pc:spChg chg="del">
          <ac:chgData name="Dalil BENAOUDA" userId="6bc32e50-31cc-420e-af2c-c81feb754bf7" providerId="ADAL" clId="{2B1617D0-14B2-4879-AEBD-46BD4567454B}" dt="2023-01-26T11:15:12.185" v="6910" actId="478"/>
          <ac:spMkLst>
            <pc:docMk/>
            <pc:sldMk cId="427708274" sldId="2147469881"/>
            <ac:spMk id="24" creationId="{59490B75-23A8-44AF-B0A4-ACA73D055108}"/>
          </ac:spMkLst>
        </pc:spChg>
        <pc:spChg chg="mod">
          <ac:chgData name="Dalil BENAOUDA" userId="6bc32e50-31cc-420e-af2c-c81feb754bf7" providerId="ADAL" clId="{2B1617D0-14B2-4879-AEBD-46BD4567454B}" dt="2023-01-26T13:38:27.447" v="7475" actId="20577"/>
          <ac:spMkLst>
            <pc:docMk/>
            <pc:sldMk cId="427708274" sldId="2147469881"/>
            <ac:spMk id="26" creationId="{22B13A1C-8072-409E-A945-ADAD8E2F734F}"/>
          </ac:spMkLst>
        </pc:spChg>
        <pc:spChg chg="mod">
          <ac:chgData name="Dalil BENAOUDA" userId="6bc32e50-31cc-420e-af2c-c81feb754bf7" providerId="ADAL" clId="{2B1617D0-14B2-4879-AEBD-46BD4567454B}" dt="2023-01-26T11:17:32.133" v="6950" actId="207"/>
          <ac:spMkLst>
            <pc:docMk/>
            <pc:sldMk cId="427708274" sldId="2147469881"/>
            <ac:spMk id="27" creationId="{49680A9E-FE4E-4A93-9637-DEAF3B7E8977}"/>
          </ac:spMkLst>
        </pc:spChg>
        <pc:spChg chg="mod">
          <ac:chgData name="Dalil BENAOUDA" userId="6bc32e50-31cc-420e-af2c-c81feb754bf7" providerId="ADAL" clId="{2B1617D0-14B2-4879-AEBD-46BD4567454B}" dt="2023-01-26T11:19:25.869" v="7083" actId="20577"/>
          <ac:spMkLst>
            <pc:docMk/>
            <pc:sldMk cId="427708274" sldId="2147469881"/>
            <ac:spMk id="28" creationId="{C00693BE-8C42-465B-9D09-22D9AB642D24}"/>
          </ac:spMkLst>
        </pc:spChg>
        <pc:spChg chg="mod">
          <ac:chgData name="Dalil BENAOUDA" userId="6bc32e50-31cc-420e-af2c-c81feb754bf7" providerId="ADAL" clId="{2B1617D0-14B2-4879-AEBD-46BD4567454B}" dt="2023-01-26T11:17:42.194" v="6952" actId="207"/>
          <ac:spMkLst>
            <pc:docMk/>
            <pc:sldMk cId="427708274" sldId="2147469881"/>
            <ac:spMk id="29" creationId="{D0EBCBF0-7021-4ED5-8629-E386563A298B}"/>
          </ac:spMkLst>
        </pc:spChg>
        <pc:spChg chg="mod">
          <ac:chgData name="Dalil BENAOUDA" userId="6bc32e50-31cc-420e-af2c-c81feb754bf7" providerId="ADAL" clId="{2B1617D0-14B2-4879-AEBD-46BD4567454B}" dt="2023-01-26T11:21:18.382" v="7220" actId="1035"/>
          <ac:spMkLst>
            <pc:docMk/>
            <pc:sldMk cId="427708274" sldId="2147469881"/>
            <ac:spMk id="30" creationId="{F2F6DCA6-9D0C-4831-AAEA-B665247C9666}"/>
          </ac:spMkLst>
        </pc:spChg>
        <pc:spChg chg="del">
          <ac:chgData name="Dalil BENAOUDA" userId="6bc32e50-31cc-420e-af2c-c81feb754bf7" providerId="ADAL" clId="{2B1617D0-14B2-4879-AEBD-46BD4567454B}" dt="2023-01-26T11:15:12.185" v="6910" actId="478"/>
          <ac:spMkLst>
            <pc:docMk/>
            <pc:sldMk cId="427708274" sldId="2147469881"/>
            <ac:spMk id="31" creationId="{D1C0288C-B01D-4CA4-AFA6-500A98EB0885}"/>
          </ac:spMkLst>
        </pc:spChg>
        <pc:spChg chg="mod">
          <ac:chgData name="Dalil BENAOUDA" userId="6bc32e50-31cc-420e-af2c-c81feb754bf7" providerId="ADAL" clId="{2B1617D0-14B2-4879-AEBD-46BD4567454B}" dt="2023-01-26T11:17:48.991" v="6953" actId="207"/>
          <ac:spMkLst>
            <pc:docMk/>
            <pc:sldMk cId="427708274" sldId="2147469881"/>
            <ac:spMk id="32" creationId="{5F1579DD-3281-4A48-9312-F4438EDCE465}"/>
          </ac:spMkLst>
        </pc:spChg>
        <pc:spChg chg="mod">
          <ac:chgData name="Dalil BENAOUDA" userId="6bc32e50-31cc-420e-af2c-c81feb754bf7" providerId="ADAL" clId="{2B1617D0-14B2-4879-AEBD-46BD4567454B}" dt="2023-01-26T11:20:48.075" v="7154" actId="20577"/>
          <ac:spMkLst>
            <pc:docMk/>
            <pc:sldMk cId="427708274" sldId="2147469881"/>
            <ac:spMk id="33" creationId="{5F003B2F-8E29-44F5-952C-8040A1C3DB9A}"/>
          </ac:spMkLst>
        </pc:spChg>
        <pc:spChg chg="add mod">
          <ac:chgData name="Dalil BENAOUDA" userId="6bc32e50-31cc-420e-af2c-c81feb754bf7" providerId="ADAL" clId="{2B1617D0-14B2-4879-AEBD-46BD4567454B}" dt="2023-01-26T13:42:31.045" v="7601" actId="20577"/>
          <ac:spMkLst>
            <pc:docMk/>
            <pc:sldMk cId="427708274" sldId="2147469881"/>
            <ac:spMk id="34" creationId="{F47DEBDA-4B90-4AA2-8B6C-55575C6B7830}"/>
          </ac:spMkLst>
        </pc:spChg>
        <pc:spChg chg="add mod">
          <ac:chgData name="Dalil BENAOUDA" userId="6bc32e50-31cc-420e-af2c-c81feb754bf7" providerId="ADAL" clId="{2B1617D0-14B2-4879-AEBD-46BD4567454B}" dt="2023-01-26T13:39:53.268" v="7493" actId="1076"/>
          <ac:spMkLst>
            <pc:docMk/>
            <pc:sldMk cId="427708274" sldId="2147469881"/>
            <ac:spMk id="35" creationId="{16B2DD53-6267-40EE-B27E-4A4C8FC7406E}"/>
          </ac:spMkLst>
        </pc:spChg>
        <pc:spChg chg="add mod">
          <ac:chgData name="Dalil BENAOUDA" userId="6bc32e50-31cc-420e-af2c-c81feb754bf7" providerId="ADAL" clId="{2B1617D0-14B2-4879-AEBD-46BD4567454B}" dt="2023-01-26T13:40:16.694" v="7498" actId="20577"/>
          <ac:spMkLst>
            <pc:docMk/>
            <pc:sldMk cId="427708274" sldId="2147469881"/>
            <ac:spMk id="36" creationId="{017D199A-00EA-4CEE-9C69-06D99501E888}"/>
          </ac:spMkLst>
        </pc:spChg>
        <pc:grpChg chg="add mod">
          <ac:chgData name="Dalil BENAOUDA" userId="6bc32e50-31cc-420e-af2c-c81feb754bf7" providerId="ADAL" clId="{2B1617D0-14B2-4879-AEBD-46BD4567454B}" dt="2023-01-26T11:15:18.273" v="6912" actId="1076"/>
          <ac:grpSpMkLst>
            <pc:docMk/>
            <pc:sldMk cId="427708274" sldId="2147469881"/>
            <ac:grpSpMk id="13" creationId="{830CD639-4729-46AB-99D7-0F6EFA245D8F}"/>
          </ac:grpSpMkLst>
        </pc:grpChg>
        <pc:grpChg chg="mod">
          <ac:chgData name="Dalil BENAOUDA" userId="6bc32e50-31cc-420e-af2c-c81feb754bf7" providerId="ADAL" clId="{2B1617D0-14B2-4879-AEBD-46BD4567454B}" dt="2023-01-26T11:15:13.204" v="6911"/>
          <ac:grpSpMkLst>
            <pc:docMk/>
            <pc:sldMk cId="427708274" sldId="2147469881"/>
            <ac:grpSpMk id="21" creationId="{D12C0359-2D89-4AF5-AAB0-C4A01A62D10B}"/>
          </ac:grpSpMkLst>
        </pc:grpChg>
        <pc:grpChg chg="mod">
          <ac:chgData name="Dalil BENAOUDA" userId="6bc32e50-31cc-420e-af2c-c81feb754bf7" providerId="ADAL" clId="{2B1617D0-14B2-4879-AEBD-46BD4567454B}" dt="2023-01-26T11:15:13.204" v="6911"/>
          <ac:grpSpMkLst>
            <pc:docMk/>
            <pc:sldMk cId="427708274" sldId="2147469881"/>
            <ac:grpSpMk id="22" creationId="{1469FBF3-2BBD-4DD7-A8D7-2E0650366A91}"/>
          </ac:grpSpMkLst>
        </pc:grpChg>
        <pc:grpChg chg="mod">
          <ac:chgData name="Dalil BENAOUDA" userId="6bc32e50-31cc-420e-af2c-c81feb754bf7" providerId="ADAL" clId="{2B1617D0-14B2-4879-AEBD-46BD4567454B}" dt="2023-01-26T11:15:13.204" v="6911"/>
          <ac:grpSpMkLst>
            <pc:docMk/>
            <pc:sldMk cId="427708274" sldId="2147469881"/>
            <ac:grpSpMk id="25" creationId="{F23E75BF-C42D-4171-B5F6-71D9C5713BD0}"/>
          </ac:grpSpMkLst>
        </pc:grpChg>
        <pc:cxnChg chg="add mod">
          <ac:chgData name="Dalil BENAOUDA" userId="6bc32e50-31cc-420e-af2c-c81feb754bf7" providerId="ADAL" clId="{2B1617D0-14B2-4879-AEBD-46BD4567454B}" dt="2023-01-26T11:15:18.273" v="6912" actId="1076"/>
          <ac:cxnSpMkLst>
            <pc:docMk/>
            <pc:sldMk cId="427708274" sldId="2147469881"/>
            <ac:cxnSpMk id="37" creationId="{DCE770E1-B1F3-44CA-A49B-05E67B93AB51}"/>
          </ac:cxnSpMkLst>
        </pc:cxnChg>
        <pc:cxnChg chg="add mod">
          <ac:chgData name="Dalil BENAOUDA" userId="6bc32e50-31cc-420e-af2c-c81feb754bf7" providerId="ADAL" clId="{2B1617D0-14B2-4879-AEBD-46BD4567454B}" dt="2023-01-26T11:15:18.273" v="6912" actId="1076"/>
          <ac:cxnSpMkLst>
            <pc:docMk/>
            <pc:sldMk cId="427708274" sldId="2147469881"/>
            <ac:cxnSpMk id="38" creationId="{012AA8D5-347D-41FC-BC2E-E125988F8E08}"/>
          </ac:cxnSpMkLst>
        </pc:cxnChg>
        <pc:cxnChg chg="add mod">
          <ac:chgData name="Dalil BENAOUDA" userId="6bc32e50-31cc-420e-af2c-c81feb754bf7" providerId="ADAL" clId="{2B1617D0-14B2-4879-AEBD-46BD4567454B}" dt="2023-01-26T11:15:18.273" v="6912" actId="1076"/>
          <ac:cxnSpMkLst>
            <pc:docMk/>
            <pc:sldMk cId="427708274" sldId="2147469881"/>
            <ac:cxnSpMk id="39" creationId="{6C7D12A4-5B90-433A-BD69-38CEE2385BE1}"/>
          </ac:cxnSpMkLst>
        </pc:cxnChg>
        <pc:cxnChg chg="add mod">
          <ac:chgData name="Dalil BENAOUDA" userId="6bc32e50-31cc-420e-af2c-c81feb754bf7" providerId="ADAL" clId="{2B1617D0-14B2-4879-AEBD-46BD4567454B}" dt="2023-01-26T11:15:18.273" v="6912" actId="1076"/>
          <ac:cxnSpMkLst>
            <pc:docMk/>
            <pc:sldMk cId="427708274" sldId="2147469881"/>
            <ac:cxnSpMk id="40" creationId="{49449EFC-3FE9-460C-BD08-CE3B24AB0043}"/>
          </ac:cxnSpMkLst>
        </pc:cxnChg>
        <pc:cxnChg chg="add mod">
          <ac:chgData name="Dalil BENAOUDA" userId="6bc32e50-31cc-420e-af2c-c81feb754bf7" providerId="ADAL" clId="{2B1617D0-14B2-4879-AEBD-46BD4567454B}" dt="2023-01-26T11:15:18.273" v="6912" actId="1076"/>
          <ac:cxnSpMkLst>
            <pc:docMk/>
            <pc:sldMk cId="427708274" sldId="2147469881"/>
            <ac:cxnSpMk id="41" creationId="{61F81A4D-B265-4BCD-B7B8-2BF55BADDA0F}"/>
          </ac:cxnSpMkLst>
        </pc:cxnChg>
        <pc:cxnChg chg="add mod">
          <ac:chgData name="Dalil BENAOUDA" userId="6bc32e50-31cc-420e-af2c-c81feb754bf7" providerId="ADAL" clId="{2B1617D0-14B2-4879-AEBD-46BD4567454B}" dt="2023-01-26T11:15:18.273" v="6912" actId="1076"/>
          <ac:cxnSpMkLst>
            <pc:docMk/>
            <pc:sldMk cId="427708274" sldId="2147469881"/>
            <ac:cxnSpMk id="42" creationId="{194DAA64-51C0-4691-95A4-0B051BB9D3B3}"/>
          </ac:cxnSpMkLst>
        </pc:cxnChg>
        <pc:cxnChg chg="add mod">
          <ac:chgData name="Dalil BENAOUDA" userId="6bc32e50-31cc-420e-af2c-c81feb754bf7" providerId="ADAL" clId="{2B1617D0-14B2-4879-AEBD-46BD4567454B}" dt="2023-01-26T11:15:18.273" v="6912" actId="1076"/>
          <ac:cxnSpMkLst>
            <pc:docMk/>
            <pc:sldMk cId="427708274" sldId="2147469881"/>
            <ac:cxnSpMk id="43" creationId="{AC5CBF20-3366-4CB9-92A4-468595A6D5F2}"/>
          </ac:cxnSpMkLst>
        </pc:cxnChg>
        <pc:cxnChg chg="add mod">
          <ac:chgData name="Dalil BENAOUDA" userId="6bc32e50-31cc-420e-af2c-c81feb754bf7" providerId="ADAL" clId="{2B1617D0-14B2-4879-AEBD-46BD4567454B}" dt="2023-01-26T11:15:18.273" v="6912" actId="1076"/>
          <ac:cxnSpMkLst>
            <pc:docMk/>
            <pc:sldMk cId="427708274" sldId="2147469881"/>
            <ac:cxnSpMk id="44" creationId="{055FB18F-4371-4C69-8417-66941C05A870}"/>
          </ac:cxnSpMkLst>
        </pc:cxnChg>
        <pc:cxnChg chg="add mod">
          <ac:chgData name="Dalil BENAOUDA" userId="6bc32e50-31cc-420e-af2c-c81feb754bf7" providerId="ADAL" clId="{2B1617D0-14B2-4879-AEBD-46BD4567454B}" dt="2023-01-26T11:15:18.273" v="6912" actId="1076"/>
          <ac:cxnSpMkLst>
            <pc:docMk/>
            <pc:sldMk cId="427708274" sldId="2147469881"/>
            <ac:cxnSpMk id="45" creationId="{36AA235D-09F4-4A71-86F0-A56255AE1DB7}"/>
          </ac:cxnSpMkLst>
        </pc:cxnChg>
      </pc:sldChg>
      <pc:sldChg chg="new del">
        <pc:chgData name="Dalil BENAOUDA" userId="6bc32e50-31cc-420e-af2c-c81feb754bf7" providerId="ADAL" clId="{2B1617D0-14B2-4879-AEBD-46BD4567454B}" dt="2023-01-26T13:33:20.559" v="7342" actId="47"/>
        <pc:sldMkLst>
          <pc:docMk/>
          <pc:sldMk cId="938239708" sldId="2147469883"/>
        </pc:sldMkLst>
      </pc:sldChg>
      <pc:sldMasterChg chg="modSldLayout">
        <pc:chgData name="Dalil BENAOUDA" userId="6bc32e50-31cc-420e-af2c-c81feb754bf7" providerId="ADAL" clId="{2B1617D0-14B2-4879-AEBD-46BD4567454B}" dt="2023-01-19T10:46:46.622" v="2513" actId="20577"/>
        <pc:sldMasterMkLst>
          <pc:docMk/>
          <pc:sldMasterMk cId="0" sldId="2147483648"/>
        </pc:sldMasterMkLst>
        <pc:sldLayoutChg chg="modSp mod">
          <pc:chgData name="Dalil BENAOUDA" userId="6bc32e50-31cc-420e-af2c-c81feb754bf7" providerId="ADAL" clId="{2B1617D0-14B2-4879-AEBD-46BD4567454B}" dt="2023-01-19T10:46:17.202" v="2485" actId="20577"/>
          <pc:sldLayoutMkLst>
            <pc:docMk/>
            <pc:sldMasterMk cId="0" sldId="2147483648"/>
            <pc:sldLayoutMk cId="1647409443" sldId="2147483709"/>
          </pc:sldLayoutMkLst>
          <pc:spChg chg="mod">
            <ac:chgData name="Dalil BENAOUDA" userId="6bc32e50-31cc-420e-af2c-c81feb754bf7" providerId="ADAL" clId="{2B1617D0-14B2-4879-AEBD-46BD4567454B}" dt="2023-01-19T10:46:17.202" v="2485" actId="20577"/>
            <ac:spMkLst>
              <pc:docMk/>
              <pc:sldMasterMk cId="0" sldId="2147483648"/>
              <pc:sldLayoutMk cId="1647409443" sldId="2147483709"/>
              <ac:spMk id="20" creationId="{89836314-192C-2C46-9D6B-0859522374E6}"/>
            </ac:spMkLst>
          </pc:spChg>
        </pc:sldLayoutChg>
        <pc:sldLayoutChg chg="modSp mod">
          <pc:chgData name="Dalil BENAOUDA" userId="6bc32e50-31cc-420e-af2c-c81feb754bf7" providerId="ADAL" clId="{2B1617D0-14B2-4879-AEBD-46BD4567454B}" dt="2023-01-19T10:46:46.622" v="2513" actId="20577"/>
          <pc:sldLayoutMkLst>
            <pc:docMk/>
            <pc:sldMasterMk cId="0" sldId="2147483648"/>
            <pc:sldLayoutMk cId="3332995177" sldId="2147483711"/>
          </pc:sldLayoutMkLst>
          <pc:spChg chg="mod">
            <ac:chgData name="Dalil BENAOUDA" userId="6bc32e50-31cc-420e-af2c-c81feb754bf7" providerId="ADAL" clId="{2B1617D0-14B2-4879-AEBD-46BD4567454B}" dt="2023-01-19T10:46:38.110" v="2489" actId="14100"/>
            <ac:spMkLst>
              <pc:docMk/>
              <pc:sldMasterMk cId="0" sldId="2147483648"/>
              <pc:sldLayoutMk cId="3332995177" sldId="2147483711"/>
              <ac:spMk id="10" creationId="{3C12B4A1-2342-BB49-89C9-6BAE61C2CD71}"/>
            </ac:spMkLst>
          </pc:spChg>
          <pc:spChg chg="mod">
            <ac:chgData name="Dalil BENAOUDA" userId="6bc32e50-31cc-420e-af2c-c81feb754bf7" providerId="ADAL" clId="{2B1617D0-14B2-4879-AEBD-46BD4567454B}" dt="2023-01-19T10:46:46.622" v="2513" actId="20577"/>
            <ac:spMkLst>
              <pc:docMk/>
              <pc:sldMasterMk cId="0" sldId="2147483648"/>
              <pc:sldLayoutMk cId="3332995177" sldId="2147483711"/>
              <ac:spMk id="13" creationId="{0E7AEF66-C84B-B6C5-8D34-B6EBA35D3519}"/>
            </ac:spMkLst>
          </pc:spChg>
        </pc:sldLayoutChg>
      </pc:sldMasterChg>
    </pc:docChg>
  </pc:docChgLst>
  <pc:docChgLst>
    <pc:chgData name="Oriane LE GAVRIAN" userId="1ee00f59-07ab-493e-ac89-27a9fad1a751" providerId="ADAL" clId="{2A42C980-F24C-404E-9967-53B448FC4B31}"/>
    <pc:docChg chg="undo redo custSel addSld delSld modSld sldOrd modSection">
      <pc:chgData name="Oriane LE GAVRIAN" userId="1ee00f59-07ab-493e-ac89-27a9fad1a751" providerId="ADAL" clId="{2A42C980-F24C-404E-9967-53B448FC4B31}" dt="2023-03-07T13:18:27.810" v="6966" actId="1037"/>
      <pc:docMkLst>
        <pc:docMk/>
      </pc:docMkLst>
      <pc:sldChg chg="addSp modSp add mod modShow">
        <pc:chgData name="Oriane LE GAVRIAN" userId="1ee00f59-07ab-493e-ac89-27a9fad1a751" providerId="ADAL" clId="{2A42C980-F24C-404E-9967-53B448FC4B31}" dt="2023-02-27T16:42:39.025" v="12" actId="20577"/>
        <pc:sldMkLst>
          <pc:docMk/>
          <pc:sldMk cId="3026091508" sldId="333"/>
        </pc:sldMkLst>
        <pc:spChg chg="add mod">
          <ac:chgData name="Oriane LE GAVRIAN" userId="1ee00f59-07ab-493e-ac89-27a9fad1a751" providerId="ADAL" clId="{2A42C980-F24C-404E-9967-53B448FC4B31}" dt="2023-02-27T16:42:39.025" v="12" actId="20577"/>
          <ac:spMkLst>
            <pc:docMk/>
            <pc:sldMk cId="3026091508" sldId="333"/>
            <ac:spMk id="2" creationId="{5EDDD494-AC60-19EE-7132-70FEDDEC974C}"/>
          </ac:spMkLst>
        </pc:spChg>
      </pc:sldChg>
      <pc:sldChg chg="addSp modSp add mod modShow">
        <pc:chgData name="Oriane LE GAVRIAN" userId="1ee00f59-07ab-493e-ac89-27a9fad1a751" providerId="ADAL" clId="{2A42C980-F24C-404E-9967-53B448FC4B31}" dt="2023-02-27T16:42:43.200" v="13"/>
        <pc:sldMkLst>
          <pc:docMk/>
          <pc:sldMk cId="4253203289" sldId="335"/>
        </pc:sldMkLst>
        <pc:spChg chg="add mod">
          <ac:chgData name="Oriane LE GAVRIAN" userId="1ee00f59-07ab-493e-ac89-27a9fad1a751" providerId="ADAL" clId="{2A42C980-F24C-404E-9967-53B448FC4B31}" dt="2023-02-27T16:42:43.200" v="13"/>
          <ac:spMkLst>
            <pc:docMk/>
            <pc:sldMk cId="4253203289" sldId="335"/>
            <ac:spMk id="2" creationId="{D5F61CFE-F270-41EB-2683-230F70F0D7BD}"/>
          </ac:spMkLst>
        </pc:spChg>
      </pc:sldChg>
      <pc:sldChg chg="modSp add del mod modShow">
        <pc:chgData name="Oriane LE GAVRIAN" userId="1ee00f59-07ab-493e-ac89-27a9fad1a751" providerId="ADAL" clId="{2A42C980-F24C-404E-9967-53B448FC4B31}" dt="2023-03-02T16:48:29.693" v="4869" actId="47"/>
        <pc:sldMkLst>
          <pc:docMk/>
          <pc:sldMk cId="0" sldId="3047"/>
        </pc:sldMkLst>
        <pc:spChg chg="mod">
          <ac:chgData name="Oriane LE GAVRIAN" userId="1ee00f59-07ab-493e-ac89-27a9fad1a751" providerId="ADAL" clId="{2A42C980-F24C-404E-9967-53B448FC4B31}" dt="2023-03-02T15:44:39.223" v="4588" actId="14100"/>
          <ac:spMkLst>
            <pc:docMk/>
            <pc:sldMk cId="0" sldId="3047"/>
            <ac:spMk id="358" creationId="{00000000-0000-0000-0000-000000000000}"/>
          </ac:spMkLst>
        </pc:spChg>
        <pc:spChg chg="mod">
          <ac:chgData name="Oriane LE GAVRIAN" userId="1ee00f59-07ab-493e-ac89-27a9fad1a751" providerId="ADAL" clId="{2A42C980-F24C-404E-9967-53B448FC4B31}" dt="2023-03-02T15:28:59.424" v="4438"/>
          <ac:spMkLst>
            <pc:docMk/>
            <pc:sldMk cId="0" sldId="3047"/>
            <ac:spMk id="360" creationId="{00000000-0000-0000-0000-000000000000}"/>
          </ac:spMkLst>
        </pc:spChg>
        <pc:picChg chg="mod">
          <ac:chgData name="Oriane LE GAVRIAN" userId="1ee00f59-07ab-493e-ac89-27a9fad1a751" providerId="ADAL" clId="{2A42C980-F24C-404E-9967-53B448FC4B31}" dt="2023-03-02T15:47:02.961" v="4590" actId="1076"/>
          <ac:picMkLst>
            <pc:docMk/>
            <pc:sldMk cId="0" sldId="3047"/>
            <ac:picMk id="354" creationId="{00000000-0000-0000-0000-000000000000}"/>
          </ac:picMkLst>
        </pc:picChg>
      </pc:sldChg>
      <pc:sldChg chg="add del mod modShow">
        <pc:chgData name="Oriane LE GAVRIAN" userId="1ee00f59-07ab-493e-ac89-27a9fad1a751" providerId="ADAL" clId="{2A42C980-F24C-404E-9967-53B448FC4B31}" dt="2023-03-02T16:48:45.088" v="4902" actId="47"/>
        <pc:sldMkLst>
          <pc:docMk/>
          <pc:sldMk cId="2805214720" sldId="5008"/>
        </pc:sldMkLst>
      </pc:sldChg>
      <pc:sldChg chg="addSp modSp add mod modShow modCm">
        <pc:chgData name="Oriane LE GAVRIAN" userId="1ee00f59-07ab-493e-ac89-27a9fad1a751" providerId="ADAL" clId="{2A42C980-F24C-404E-9967-53B448FC4B31}" dt="2023-03-03T08:19:25.133" v="5084" actId="2056"/>
        <pc:sldMkLst>
          <pc:docMk/>
          <pc:sldMk cId="1905401398" sldId="8792"/>
        </pc:sldMkLst>
        <pc:spChg chg="add mod">
          <ac:chgData name="Oriane LE GAVRIAN" userId="1ee00f59-07ab-493e-ac89-27a9fad1a751" providerId="ADAL" clId="{2A42C980-F24C-404E-9967-53B448FC4B31}" dt="2023-03-02T17:21:30.973" v="5083" actId="20577"/>
          <ac:spMkLst>
            <pc:docMk/>
            <pc:sldMk cId="1905401398" sldId="8792"/>
            <ac:spMk id="14" creationId="{3F9A9D68-7306-1F08-5889-C04E9FE32663}"/>
          </ac:spMkLst>
        </pc:spChg>
        <pc:extLst>
          <p:ext xmlns:p="http://schemas.openxmlformats.org/presentationml/2006/main" uri="{D6D511B9-2390-475A-947B-AFAB55BFBCF1}">
            <pc226:cmChg xmlns:pc226="http://schemas.microsoft.com/office/powerpoint/2022/06/main/command" chg="mod">
              <pc226:chgData name="Oriane LE GAVRIAN" userId="1ee00f59-07ab-493e-ac89-27a9fad1a751" providerId="ADAL" clId="{2A42C980-F24C-404E-9967-53B448FC4B31}" dt="2023-03-03T08:19:25.133" v="5084" actId="2056"/>
              <pc2:cmMkLst xmlns:pc2="http://schemas.microsoft.com/office/powerpoint/2019/9/main/command">
                <pc:docMk/>
                <pc:sldMk cId="1905401398" sldId="8792"/>
                <pc2:cmMk id="{4694D34D-45C9-4C15-B20B-14060FFA343F}"/>
              </pc2:cmMkLst>
            </pc226:cmChg>
          </p:ext>
        </pc:extLst>
      </pc:sldChg>
      <pc:sldChg chg="add">
        <pc:chgData name="Oriane LE GAVRIAN" userId="1ee00f59-07ab-493e-ac89-27a9fad1a751" providerId="ADAL" clId="{2A42C980-F24C-404E-9967-53B448FC4B31}" dt="2023-03-02T10:28:07.247" v="3551"/>
        <pc:sldMkLst>
          <pc:docMk/>
          <pc:sldMk cId="696799349" sldId="2145706869"/>
        </pc:sldMkLst>
      </pc:sldChg>
      <pc:sldChg chg="del modNotesTx">
        <pc:chgData name="Oriane LE GAVRIAN" userId="1ee00f59-07ab-493e-ac89-27a9fad1a751" providerId="ADAL" clId="{2A42C980-F24C-404E-9967-53B448FC4B31}" dt="2023-03-02T10:28:02.278" v="3550" actId="2696"/>
        <pc:sldMkLst>
          <pc:docMk/>
          <pc:sldMk cId="3275401772" sldId="2145706869"/>
        </pc:sldMkLst>
      </pc:sldChg>
      <pc:sldChg chg="add mod modShow">
        <pc:chgData name="Oriane LE GAVRIAN" userId="1ee00f59-07ab-493e-ac89-27a9fad1a751" providerId="ADAL" clId="{2A42C980-F24C-404E-9967-53B448FC4B31}" dt="2023-02-28T13:18:56.390" v="15" actId="729"/>
        <pc:sldMkLst>
          <pc:docMk/>
          <pc:sldMk cId="2460948628" sldId="2145706870"/>
        </pc:sldMkLst>
      </pc:sldChg>
      <pc:sldChg chg="addSp modSp">
        <pc:chgData name="Oriane LE GAVRIAN" userId="1ee00f59-07ab-493e-ac89-27a9fad1a751" providerId="ADAL" clId="{2A42C980-F24C-404E-9967-53B448FC4B31}" dt="2023-02-28T15:11:16.918" v="807"/>
        <pc:sldMkLst>
          <pc:docMk/>
          <pc:sldMk cId="1458308701" sldId="2147469776"/>
        </pc:sldMkLst>
        <pc:spChg chg="add mod">
          <ac:chgData name="Oriane LE GAVRIAN" userId="1ee00f59-07ab-493e-ac89-27a9fad1a751" providerId="ADAL" clId="{2A42C980-F24C-404E-9967-53B448FC4B31}" dt="2023-02-28T15:11:16.918" v="807"/>
          <ac:spMkLst>
            <pc:docMk/>
            <pc:sldMk cId="1458308701" sldId="2147469776"/>
            <ac:spMk id="94" creationId="{FC56846C-04BD-4F50-1C9E-3E3106BDE231}"/>
          </ac:spMkLst>
        </pc:spChg>
      </pc:sldChg>
      <pc:sldChg chg="addSp modSp mod ord">
        <pc:chgData name="Oriane LE GAVRIAN" userId="1ee00f59-07ab-493e-ac89-27a9fad1a751" providerId="ADAL" clId="{2A42C980-F24C-404E-9967-53B448FC4B31}" dt="2023-03-03T09:29:51.811" v="5588" actId="20578"/>
        <pc:sldMkLst>
          <pc:docMk/>
          <pc:sldMk cId="1946307945" sldId="2147469814"/>
        </pc:sldMkLst>
        <pc:spChg chg="add mod">
          <ac:chgData name="Oriane LE GAVRIAN" userId="1ee00f59-07ab-493e-ac89-27a9fad1a751" providerId="ADAL" clId="{2A42C980-F24C-404E-9967-53B448FC4B31}" dt="2023-03-02T10:32:58.179" v="3986" actId="20577"/>
          <ac:spMkLst>
            <pc:docMk/>
            <pc:sldMk cId="1946307945" sldId="2147469814"/>
            <ac:spMk id="13" creationId="{E4B846B2-6F0F-0F4F-3ABA-3A0AE56C9200}"/>
          </ac:spMkLst>
        </pc:spChg>
      </pc:sldChg>
      <pc:sldChg chg="modSp mod">
        <pc:chgData name="Oriane LE GAVRIAN" userId="1ee00f59-07ab-493e-ac89-27a9fad1a751" providerId="ADAL" clId="{2A42C980-F24C-404E-9967-53B448FC4B31}" dt="2023-02-28T14:12:01.443" v="748" actId="20577"/>
        <pc:sldMkLst>
          <pc:docMk/>
          <pc:sldMk cId="1493195702" sldId="2147469852"/>
        </pc:sldMkLst>
        <pc:spChg chg="mod">
          <ac:chgData name="Oriane LE GAVRIAN" userId="1ee00f59-07ab-493e-ac89-27a9fad1a751" providerId="ADAL" clId="{2A42C980-F24C-404E-9967-53B448FC4B31}" dt="2023-02-28T14:12:01.443" v="748" actId="20577"/>
          <ac:spMkLst>
            <pc:docMk/>
            <pc:sldMk cId="1493195702" sldId="2147469852"/>
            <ac:spMk id="2" creationId="{70056A8C-CCF4-4D35-9A21-FB77BD6A6015}"/>
          </ac:spMkLst>
        </pc:spChg>
      </pc:sldChg>
      <pc:sldChg chg="modCm">
        <pc:chgData name="Oriane LE GAVRIAN" userId="1ee00f59-07ab-493e-ac89-27a9fad1a751" providerId="ADAL" clId="{2A42C980-F24C-404E-9967-53B448FC4B31}" dt="2023-03-02T16:36:02.280" v="4632" actId="2056"/>
        <pc:sldMkLst>
          <pc:docMk/>
          <pc:sldMk cId="3013144948" sldId="2147469870"/>
        </pc:sldMkLst>
        <pc:extLst>
          <p:ext xmlns:p="http://schemas.openxmlformats.org/presentationml/2006/main" uri="{D6D511B9-2390-475A-947B-AFAB55BFBCF1}">
            <pc226:cmChg xmlns:pc226="http://schemas.microsoft.com/office/powerpoint/2022/06/main/command" chg="mod">
              <pc226:chgData name="Oriane LE GAVRIAN" userId="1ee00f59-07ab-493e-ac89-27a9fad1a751" providerId="ADAL" clId="{2A42C980-F24C-404E-9967-53B448FC4B31}" dt="2023-03-02T16:36:02.280" v="4632" actId="2056"/>
              <pc2:cmMkLst xmlns:pc2="http://schemas.microsoft.com/office/powerpoint/2019/9/main/command">
                <pc:docMk/>
                <pc:sldMk cId="3013144948" sldId="2147469870"/>
                <pc2:cmMk id="{0D6613F1-4AAD-40E7-8595-92203191D326}"/>
              </pc2:cmMkLst>
            </pc226:cmChg>
          </p:ext>
        </pc:extLst>
      </pc:sldChg>
      <pc:sldChg chg="addSp modSp">
        <pc:chgData name="Oriane LE GAVRIAN" userId="1ee00f59-07ab-493e-ac89-27a9fad1a751" providerId="ADAL" clId="{2A42C980-F24C-404E-9967-53B448FC4B31}" dt="2023-02-28T15:11:13.986" v="806"/>
        <pc:sldMkLst>
          <pc:docMk/>
          <pc:sldMk cId="1045340878" sldId="2147469879"/>
        </pc:sldMkLst>
        <pc:spChg chg="add mod">
          <ac:chgData name="Oriane LE GAVRIAN" userId="1ee00f59-07ab-493e-ac89-27a9fad1a751" providerId="ADAL" clId="{2A42C980-F24C-404E-9967-53B448FC4B31}" dt="2023-02-28T15:11:13.986" v="806"/>
          <ac:spMkLst>
            <pc:docMk/>
            <pc:sldMk cId="1045340878" sldId="2147469879"/>
            <ac:spMk id="5" creationId="{4189EB30-09EB-A9C2-FC8F-34215A0EF86B}"/>
          </ac:spMkLst>
        </pc:spChg>
      </pc:sldChg>
      <pc:sldChg chg="addSp modSp">
        <pc:chgData name="Oriane LE GAVRIAN" userId="1ee00f59-07ab-493e-ac89-27a9fad1a751" providerId="ADAL" clId="{2A42C980-F24C-404E-9967-53B448FC4B31}" dt="2023-02-28T15:11:11.388" v="805"/>
        <pc:sldMkLst>
          <pc:docMk/>
          <pc:sldMk cId="3936089025" sldId="2147469880"/>
        </pc:sldMkLst>
        <pc:spChg chg="add mod">
          <ac:chgData name="Oriane LE GAVRIAN" userId="1ee00f59-07ab-493e-ac89-27a9fad1a751" providerId="ADAL" clId="{2A42C980-F24C-404E-9967-53B448FC4B31}" dt="2023-02-28T15:11:11.388" v="805"/>
          <ac:spMkLst>
            <pc:docMk/>
            <pc:sldMk cId="3936089025" sldId="2147469880"/>
            <ac:spMk id="3" creationId="{FD782CE4-EB47-3432-E329-7B6467283A65}"/>
          </ac:spMkLst>
        </pc:spChg>
      </pc:sldChg>
      <pc:sldChg chg="addSp modSp">
        <pc:chgData name="Oriane LE GAVRIAN" userId="1ee00f59-07ab-493e-ac89-27a9fad1a751" providerId="ADAL" clId="{2A42C980-F24C-404E-9967-53B448FC4B31}" dt="2023-02-28T15:11:08.701" v="804"/>
        <pc:sldMkLst>
          <pc:docMk/>
          <pc:sldMk cId="2287963091" sldId="2147469882"/>
        </pc:sldMkLst>
        <pc:spChg chg="add mod">
          <ac:chgData name="Oriane LE GAVRIAN" userId="1ee00f59-07ab-493e-ac89-27a9fad1a751" providerId="ADAL" clId="{2A42C980-F24C-404E-9967-53B448FC4B31}" dt="2023-02-28T15:11:08.701" v="804"/>
          <ac:spMkLst>
            <pc:docMk/>
            <pc:sldMk cId="2287963091" sldId="2147469882"/>
            <ac:spMk id="3" creationId="{B6A3501C-8E4C-8AE8-F27F-4A6A263905D1}"/>
          </ac:spMkLst>
        </pc:spChg>
      </pc:sldChg>
      <pc:sldChg chg="addSp modSp">
        <pc:chgData name="Oriane LE GAVRIAN" userId="1ee00f59-07ab-493e-ac89-27a9fad1a751" providerId="ADAL" clId="{2A42C980-F24C-404E-9967-53B448FC4B31}" dt="2023-02-28T15:11:20.914" v="808"/>
        <pc:sldMkLst>
          <pc:docMk/>
          <pc:sldMk cId="2809162801" sldId="2147469883"/>
        </pc:sldMkLst>
        <pc:spChg chg="add mod">
          <ac:chgData name="Oriane LE GAVRIAN" userId="1ee00f59-07ab-493e-ac89-27a9fad1a751" providerId="ADAL" clId="{2A42C980-F24C-404E-9967-53B448FC4B31}" dt="2023-02-28T15:11:20.914" v="808"/>
          <ac:spMkLst>
            <pc:docMk/>
            <pc:sldMk cId="2809162801" sldId="2147469883"/>
            <ac:spMk id="6" creationId="{814B7C98-105D-A9E6-DCB7-1F3D78FE625D}"/>
          </ac:spMkLst>
        </pc:spChg>
      </pc:sldChg>
      <pc:sldChg chg="addSp delSp modSp new mod modShow modNotesTx">
        <pc:chgData name="Oriane LE GAVRIAN" userId="1ee00f59-07ab-493e-ac89-27a9fad1a751" providerId="ADAL" clId="{2A42C980-F24C-404E-9967-53B448FC4B31}" dt="2023-02-28T14:50:13.317" v="803" actId="20577"/>
        <pc:sldMkLst>
          <pc:docMk/>
          <pc:sldMk cId="969046141" sldId="2147469928"/>
        </pc:sldMkLst>
        <pc:spChg chg="del">
          <ac:chgData name="Oriane LE GAVRIAN" userId="1ee00f59-07ab-493e-ac89-27a9fad1a751" providerId="ADAL" clId="{2A42C980-F24C-404E-9967-53B448FC4B31}" dt="2023-02-28T13:27:41.770" v="17" actId="478"/>
          <ac:spMkLst>
            <pc:docMk/>
            <pc:sldMk cId="969046141" sldId="2147469928"/>
            <ac:spMk id="3" creationId="{842E2380-A7F2-5DEF-2D85-A5EEA675AB67}"/>
          </ac:spMkLst>
        </pc:spChg>
        <pc:spChg chg="add del mod">
          <ac:chgData name="Oriane LE GAVRIAN" userId="1ee00f59-07ab-493e-ac89-27a9fad1a751" providerId="ADAL" clId="{2A42C980-F24C-404E-9967-53B448FC4B31}" dt="2023-02-28T13:40:45.008" v="170" actId="478"/>
          <ac:spMkLst>
            <pc:docMk/>
            <pc:sldMk cId="969046141" sldId="2147469928"/>
            <ac:spMk id="5" creationId="{A0C5B03A-55F0-97A0-E88D-1ABEB7C1244A}"/>
          </ac:spMkLst>
        </pc:spChg>
        <pc:spChg chg="add mod">
          <ac:chgData name="Oriane LE GAVRIAN" userId="1ee00f59-07ab-493e-ac89-27a9fad1a751" providerId="ADAL" clId="{2A42C980-F24C-404E-9967-53B448FC4B31}" dt="2023-02-28T13:39:22.964" v="166" actId="14100"/>
          <ac:spMkLst>
            <pc:docMk/>
            <pc:sldMk cId="969046141" sldId="2147469928"/>
            <ac:spMk id="6" creationId="{E2D43322-F81D-59A6-107F-1EF80DD58EDF}"/>
          </ac:spMkLst>
        </pc:spChg>
        <pc:spChg chg="add mod">
          <ac:chgData name="Oriane LE GAVRIAN" userId="1ee00f59-07ab-493e-ac89-27a9fad1a751" providerId="ADAL" clId="{2A42C980-F24C-404E-9967-53B448FC4B31}" dt="2023-02-28T14:14:38.170" v="749" actId="14100"/>
          <ac:spMkLst>
            <pc:docMk/>
            <pc:sldMk cId="969046141" sldId="2147469928"/>
            <ac:spMk id="8" creationId="{E12D9020-D820-4B75-1FDC-3075E80DDFBE}"/>
          </ac:spMkLst>
        </pc:spChg>
        <pc:spChg chg="add del mod">
          <ac:chgData name="Oriane LE GAVRIAN" userId="1ee00f59-07ab-493e-ac89-27a9fad1a751" providerId="ADAL" clId="{2A42C980-F24C-404E-9967-53B448FC4B31}" dt="2023-02-28T13:39:23.148" v="168"/>
          <ac:spMkLst>
            <pc:docMk/>
            <pc:sldMk cId="969046141" sldId="2147469928"/>
            <ac:spMk id="10" creationId="{18A77FD6-E506-20D3-210F-890382A4E72D}"/>
          </ac:spMkLst>
        </pc:spChg>
        <pc:spChg chg="add mod">
          <ac:chgData name="Oriane LE GAVRIAN" userId="1ee00f59-07ab-493e-ac89-27a9fad1a751" providerId="ADAL" clId="{2A42C980-F24C-404E-9967-53B448FC4B31}" dt="2023-02-28T14:50:13.317" v="803" actId="20577"/>
          <ac:spMkLst>
            <pc:docMk/>
            <pc:sldMk cId="969046141" sldId="2147469928"/>
            <ac:spMk id="11" creationId="{8FDF1839-1BCD-0C3D-5CE8-D06A81CFCF3D}"/>
          </ac:spMkLst>
        </pc:spChg>
      </pc:sldChg>
      <pc:sldChg chg="add mod ord modShow">
        <pc:chgData name="Oriane LE GAVRIAN" userId="1ee00f59-07ab-493e-ac89-27a9fad1a751" providerId="ADAL" clId="{2A42C980-F24C-404E-9967-53B448FC4B31}" dt="2023-02-28T14:09:36.190" v="747"/>
        <pc:sldMkLst>
          <pc:docMk/>
          <pc:sldMk cId="3680308212" sldId="2147469959"/>
        </pc:sldMkLst>
      </pc:sldChg>
      <pc:sldChg chg="add mod ord modShow">
        <pc:chgData name="Oriane LE GAVRIAN" userId="1ee00f59-07ab-493e-ac89-27a9fad1a751" providerId="ADAL" clId="{2A42C980-F24C-404E-9967-53B448FC4B31}" dt="2023-02-28T14:09:36.190" v="747"/>
        <pc:sldMkLst>
          <pc:docMk/>
          <pc:sldMk cId="2368134167" sldId="2147469960"/>
        </pc:sldMkLst>
      </pc:sldChg>
      <pc:sldChg chg="addSp modSp mod modNotesTx">
        <pc:chgData name="Oriane LE GAVRIAN" userId="1ee00f59-07ab-493e-ac89-27a9fad1a751" providerId="ADAL" clId="{2A42C980-F24C-404E-9967-53B448FC4B31}" dt="2023-02-28T17:24:43.440" v="3387" actId="20577"/>
        <pc:sldMkLst>
          <pc:docMk/>
          <pc:sldMk cId="846647049" sldId="2147469961"/>
        </pc:sldMkLst>
        <pc:spChg chg="add mod">
          <ac:chgData name="Oriane LE GAVRIAN" userId="1ee00f59-07ab-493e-ac89-27a9fad1a751" providerId="ADAL" clId="{2A42C980-F24C-404E-9967-53B448FC4B31}" dt="2023-02-28T16:38:52.445" v="810" actId="1076"/>
          <ac:spMkLst>
            <pc:docMk/>
            <pc:sldMk cId="846647049" sldId="2147469961"/>
            <ac:spMk id="5" creationId="{0F0DE882-40A9-52F8-618F-FE92F56D80D7}"/>
          </ac:spMkLst>
        </pc:spChg>
      </pc:sldChg>
      <pc:sldChg chg="delSp modSp del mod modCm">
        <pc:chgData name="Oriane LE GAVRIAN" userId="1ee00f59-07ab-493e-ac89-27a9fad1a751" providerId="ADAL" clId="{2A42C980-F24C-404E-9967-53B448FC4B31}" dt="2023-03-03T08:48:18.335" v="5245" actId="47"/>
        <pc:sldMkLst>
          <pc:docMk/>
          <pc:sldMk cId="1331144116" sldId="2147469967"/>
        </pc:sldMkLst>
        <pc:spChg chg="mod">
          <ac:chgData name="Oriane LE GAVRIAN" userId="1ee00f59-07ab-493e-ac89-27a9fad1a751" providerId="ADAL" clId="{2A42C980-F24C-404E-9967-53B448FC4B31}" dt="2023-03-03T08:30:34.947" v="5165" actId="14100"/>
          <ac:spMkLst>
            <pc:docMk/>
            <pc:sldMk cId="1331144116" sldId="2147469967"/>
            <ac:spMk id="2" creationId="{AB53A934-65D5-BCF6-DCD4-8D3180660FE9}"/>
          </ac:spMkLst>
        </pc:spChg>
        <pc:spChg chg="mod">
          <ac:chgData name="Oriane LE GAVRIAN" userId="1ee00f59-07ab-493e-ac89-27a9fad1a751" providerId="ADAL" clId="{2A42C980-F24C-404E-9967-53B448FC4B31}" dt="2023-03-03T08:29:56.936" v="5098" actId="1076"/>
          <ac:spMkLst>
            <pc:docMk/>
            <pc:sldMk cId="1331144116" sldId="2147469967"/>
            <ac:spMk id="4" creationId="{72AE39A3-CC7E-2FDD-06C2-ACDC66E0838A}"/>
          </ac:spMkLst>
        </pc:spChg>
        <pc:spChg chg="mod">
          <ac:chgData name="Oriane LE GAVRIAN" userId="1ee00f59-07ab-493e-ac89-27a9fad1a751" providerId="ADAL" clId="{2A42C980-F24C-404E-9967-53B448FC4B31}" dt="2023-03-03T08:46:29.382" v="5211" actId="1076"/>
          <ac:spMkLst>
            <pc:docMk/>
            <pc:sldMk cId="1331144116" sldId="2147469967"/>
            <ac:spMk id="5" creationId="{54E52A17-7380-E28A-B505-5662A8DFF90D}"/>
          </ac:spMkLst>
        </pc:spChg>
        <pc:spChg chg="mod">
          <ac:chgData name="Oriane LE GAVRIAN" userId="1ee00f59-07ab-493e-ac89-27a9fad1a751" providerId="ADAL" clId="{2A42C980-F24C-404E-9967-53B448FC4B31}" dt="2023-03-03T08:46:26.882" v="5210" actId="1076"/>
          <ac:spMkLst>
            <pc:docMk/>
            <pc:sldMk cId="1331144116" sldId="2147469967"/>
            <ac:spMk id="6" creationId="{7E986661-16BA-18B8-FB52-479A92AEAAD7}"/>
          </ac:spMkLst>
        </pc:spChg>
        <pc:spChg chg="mod">
          <ac:chgData name="Oriane LE GAVRIAN" userId="1ee00f59-07ab-493e-ac89-27a9fad1a751" providerId="ADAL" clId="{2A42C980-F24C-404E-9967-53B448FC4B31}" dt="2023-03-03T08:46:43.448" v="5214" actId="1076"/>
          <ac:spMkLst>
            <pc:docMk/>
            <pc:sldMk cId="1331144116" sldId="2147469967"/>
            <ac:spMk id="7" creationId="{363659C5-B385-692A-E0CC-D63305F24FEB}"/>
          </ac:spMkLst>
        </pc:spChg>
        <pc:spChg chg="mod">
          <ac:chgData name="Oriane LE GAVRIAN" userId="1ee00f59-07ab-493e-ac89-27a9fad1a751" providerId="ADAL" clId="{2A42C980-F24C-404E-9967-53B448FC4B31}" dt="2023-03-03T08:32:32.128" v="5209" actId="113"/>
          <ac:spMkLst>
            <pc:docMk/>
            <pc:sldMk cId="1331144116" sldId="2147469967"/>
            <ac:spMk id="9" creationId="{510D8B63-AD80-1AC9-F845-E65CBCE2FF74}"/>
          </ac:spMkLst>
        </pc:spChg>
        <pc:spChg chg="del">
          <ac:chgData name="Oriane LE GAVRIAN" userId="1ee00f59-07ab-493e-ac89-27a9fad1a751" providerId="ADAL" clId="{2A42C980-F24C-404E-9967-53B448FC4B31}" dt="2023-03-03T08:26:30.646" v="5094" actId="478"/>
          <ac:spMkLst>
            <pc:docMk/>
            <pc:sldMk cId="1331144116" sldId="2147469967"/>
            <ac:spMk id="24" creationId="{01E1F486-F08D-7FBE-1C9B-DB081AE72A61}"/>
          </ac:spMkLst>
        </pc:spChg>
        <pc:cxnChg chg="del mod">
          <ac:chgData name="Oriane LE GAVRIAN" userId="1ee00f59-07ab-493e-ac89-27a9fad1a751" providerId="ADAL" clId="{2A42C980-F24C-404E-9967-53B448FC4B31}" dt="2023-03-03T08:46:35.074" v="5212" actId="478"/>
          <ac:cxnSpMkLst>
            <pc:docMk/>
            <pc:sldMk cId="1331144116" sldId="2147469967"/>
            <ac:cxnSpMk id="10" creationId="{B8983157-8D22-3C73-6CC4-C2A300E3716C}"/>
          </ac:cxnSpMkLst>
        </pc:cxnChg>
        <pc:cxnChg chg="del">
          <ac:chgData name="Oriane LE GAVRIAN" userId="1ee00f59-07ab-493e-ac89-27a9fad1a751" providerId="ADAL" clId="{2A42C980-F24C-404E-9967-53B448FC4B31}" dt="2023-03-03T08:46:35.074" v="5212" actId="478"/>
          <ac:cxnSpMkLst>
            <pc:docMk/>
            <pc:sldMk cId="1331144116" sldId="2147469967"/>
            <ac:cxnSpMk id="11" creationId="{930D427C-2D87-4543-E479-B9D2F6C1589C}"/>
          </ac:cxnSpMkLst>
        </pc:cxnChg>
        <pc:cxnChg chg="del">
          <ac:chgData name="Oriane LE GAVRIAN" userId="1ee00f59-07ab-493e-ac89-27a9fad1a751" providerId="ADAL" clId="{2A42C980-F24C-404E-9967-53B448FC4B31}" dt="2023-03-03T08:46:35.074" v="5212" actId="478"/>
          <ac:cxnSpMkLst>
            <pc:docMk/>
            <pc:sldMk cId="1331144116" sldId="2147469967"/>
            <ac:cxnSpMk id="13" creationId="{7B614833-6F1B-D66E-9128-38C56588ACF9}"/>
          </ac:cxnSpMkLst>
        </pc:cxnChg>
        <pc:cxnChg chg="del">
          <ac:chgData name="Oriane LE GAVRIAN" userId="1ee00f59-07ab-493e-ac89-27a9fad1a751" providerId="ADAL" clId="{2A42C980-F24C-404E-9967-53B448FC4B31}" dt="2023-03-03T08:46:35.074" v="5212" actId="478"/>
          <ac:cxnSpMkLst>
            <pc:docMk/>
            <pc:sldMk cId="1331144116" sldId="2147469967"/>
            <ac:cxnSpMk id="20" creationId="{B873CE04-E885-001B-65F7-E134C135BF3E}"/>
          </ac:cxnSpMkLst>
        </pc:cxnChg>
        <pc:cxnChg chg="del">
          <ac:chgData name="Oriane LE GAVRIAN" userId="1ee00f59-07ab-493e-ac89-27a9fad1a751" providerId="ADAL" clId="{2A42C980-F24C-404E-9967-53B448FC4B31}" dt="2023-03-03T08:46:35.074" v="5212" actId="478"/>
          <ac:cxnSpMkLst>
            <pc:docMk/>
            <pc:sldMk cId="1331144116" sldId="2147469967"/>
            <ac:cxnSpMk id="22" creationId="{4E0403FC-3F6B-D417-3CE2-46B779634096}"/>
          </ac:cxnSpMkLst>
        </pc:cxnChg>
        <pc:extLst>
          <p:ext xmlns:p="http://schemas.openxmlformats.org/presentationml/2006/main" uri="{D6D511B9-2390-475A-947B-AFAB55BFBCF1}">
            <pc226:cmChg xmlns:pc226="http://schemas.microsoft.com/office/powerpoint/2022/06/main/command" chg="mod">
              <pc226:chgData name="Oriane LE GAVRIAN" userId="1ee00f59-07ab-493e-ac89-27a9fad1a751" providerId="ADAL" clId="{2A42C980-F24C-404E-9967-53B448FC4B31}" dt="2023-03-03T08:30:28.686" v="5164" actId="20577"/>
              <pc2:cmMkLst xmlns:pc2="http://schemas.microsoft.com/office/powerpoint/2019/9/main/command">
                <pc:docMk/>
                <pc:sldMk cId="1331144116" sldId="2147469967"/>
                <pc2:cmMk id="{04391876-C9A7-4BD1-A0EC-77EC269B7DB5}"/>
              </pc2:cmMkLst>
            </pc226:cmChg>
          </p:ext>
        </pc:extLst>
      </pc:sldChg>
      <pc:sldChg chg="addSp modSp mod modNotesTx">
        <pc:chgData name="Oriane LE GAVRIAN" userId="1ee00f59-07ab-493e-ac89-27a9fad1a751" providerId="ADAL" clId="{2A42C980-F24C-404E-9967-53B448FC4B31}" dt="2023-03-02T10:32:04.502" v="3948" actId="20577"/>
        <pc:sldMkLst>
          <pc:docMk/>
          <pc:sldMk cId="3159731328" sldId="2147469969"/>
        </pc:sldMkLst>
        <pc:spChg chg="mod">
          <ac:chgData name="Oriane LE GAVRIAN" userId="1ee00f59-07ab-493e-ac89-27a9fad1a751" providerId="ADAL" clId="{2A42C980-F24C-404E-9967-53B448FC4B31}" dt="2023-03-02T10:31:31.361" v="3937" actId="20577"/>
          <ac:spMkLst>
            <pc:docMk/>
            <pc:sldMk cId="3159731328" sldId="2147469969"/>
            <ac:spMk id="2" creationId="{E11BF5BD-75C4-4E77-9598-7225EFF82CC5}"/>
          </ac:spMkLst>
        </pc:spChg>
        <pc:spChg chg="mod">
          <ac:chgData name="Oriane LE GAVRIAN" userId="1ee00f59-07ab-493e-ac89-27a9fad1a751" providerId="ADAL" clId="{2A42C980-F24C-404E-9967-53B448FC4B31}" dt="2023-03-02T10:31:04.531" v="3896" actId="20577"/>
          <ac:spMkLst>
            <pc:docMk/>
            <pc:sldMk cId="3159731328" sldId="2147469969"/>
            <ac:spMk id="4" creationId="{DFE4ECB6-193A-41CD-8C1D-5A9AA8C9E006}"/>
          </ac:spMkLst>
        </pc:spChg>
        <pc:spChg chg="mod">
          <ac:chgData name="Oriane LE GAVRIAN" userId="1ee00f59-07ab-493e-ac89-27a9fad1a751" providerId="ADAL" clId="{2A42C980-F24C-404E-9967-53B448FC4B31}" dt="2023-03-02T10:30:48.381" v="3833" actId="20577"/>
          <ac:spMkLst>
            <pc:docMk/>
            <pc:sldMk cId="3159731328" sldId="2147469969"/>
            <ac:spMk id="13" creationId="{E22D3A68-8C63-4250-BAEB-59D55544985D}"/>
          </ac:spMkLst>
        </pc:spChg>
        <pc:spChg chg="mod">
          <ac:chgData name="Oriane LE GAVRIAN" userId="1ee00f59-07ab-493e-ac89-27a9fad1a751" providerId="ADAL" clId="{2A42C980-F24C-404E-9967-53B448FC4B31}" dt="2023-03-02T10:29:46.365" v="3787" actId="20577"/>
          <ac:spMkLst>
            <pc:docMk/>
            <pc:sldMk cId="3159731328" sldId="2147469969"/>
            <ac:spMk id="17" creationId="{081C14F2-F0CF-453C-B5E6-3AB28B427042}"/>
          </ac:spMkLst>
        </pc:spChg>
        <pc:picChg chg="add mod">
          <ac:chgData name="Oriane LE GAVRIAN" userId="1ee00f59-07ab-493e-ac89-27a9fad1a751" providerId="ADAL" clId="{2A42C980-F24C-404E-9967-53B448FC4B31}" dt="2023-03-02T10:28:25.882" v="3556" actId="1076"/>
          <ac:picMkLst>
            <pc:docMk/>
            <pc:sldMk cId="3159731328" sldId="2147469969"/>
            <ac:picMk id="3" creationId="{DE695574-9217-8D10-2CE0-437D6A6606A6}"/>
          </ac:picMkLst>
        </pc:picChg>
      </pc:sldChg>
      <pc:sldChg chg="add del">
        <pc:chgData name="Oriane LE GAVRIAN" userId="1ee00f59-07ab-493e-ac89-27a9fad1a751" providerId="ADAL" clId="{2A42C980-F24C-404E-9967-53B448FC4B31}" dt="2023-03-02T10:28:22.031" v="3553"/>
        <pc:sldMkLst>
          <pc:docMk/>
          <pc:sldMk cId="926283479" sldId="2147469977"/>
        </pc:sldMkLst>
      </pc:sldChg>
      <pc:sldChg chg="addSp delSp modSp new mod">
        <pc:chgData name="Oriane LE GAVRIAN" userId="1ee00f59-07ab-493e-ac89-27a9fad1a751" providerId="ADAL" clId="{2A42C980-F24C-404E-9967-53B448FC4B31}" dt="2023-03-02T17:10:42.749" v="5065" actId="478"/>
        <pc:sldMkLst>
          <pc:docMk/>
          <pc:sldMk cId="3660464177" sldId="2147469977"/>
        </pc:sldMkLst>
        <pc:spChg chg="mod">
          <ac:chgData name="Oriane LE GAVRIAN" userId="1ee00f59-07ab-493e-ac89-27a9fad1a751" providerId="ADAL" clId="{2A42C980-F24C-404E-9967-53B448FC4B31}" dt="2023-03-02T15:24:48.476" v="4431" actId="255"/>
          <ac:spMkLst>
            <pc:docMk/>
            <pc:sldMk cId="3660464177" sldId="2147469977"/>
            <ac:spMk id="2" creationId="{A4C8DCB0-90B3-91C1-3717-E24ED464196F}"/>
          </ac:spMkLst>
        </pc:spChg>
        <pc:spChg chg="del mod">
          <ac:chgData name="Oriane LE GAVRIAN" userId="1ee00f59-07ab-493e-ac89-27a9fad1a751" providerId="ADAL" clId="{2A42C980-F24C-404E-9967-53B448FC4B31}" dt="2023-03-02T15:16:04.726" v="4116" actId="478"/>
          <ac:spMkLst>
            <pc:docMk/>
            <pc:sldMk cId="3660464177" sldId="2147469977"/>
            <ac:spMk id="3" creationId="{9F1A92D6-7FA9-2217-8B89-1894B95379D7}"/>
          </ac:spMkLst>
        </pc:spChg>
        <pc:spChg chg="add mod">
          <ac:chgData name="Oriane LE GAVRIAN" userId="1ee00f59-07ab-493e-ac89-27a9fad1a751" providerId="ADAL" clId="{2A42C980-F24C-404E-9967-53B448FC4B31}" dt="2023-03-02T16:59:22.252" v="4913" actId="14100"/>
          <ac:spMkLst>
            <pc:docMk/>
            <pc:sldMk cId="3660464177" sldId="2147469977"/>
            <ac:spMk id="4" creationId="{95523908-E385-8D7D-DFD8-4807CC4EC2DD}"/>
          </ac:spMkLst>
        </pc:spChg>
        <pc:spChg chg="add mod">
          <ac:chgData name="Oriane LE GAVRIAN" userId="1ee00f59-07ab-493e-ac89-27a9fad1a751" providerId="ADAL" clId="{2A42C980-F24C-404E-9967-53B448FC4B31}" dt="2023-03-02T17:10:11.542" v="5049" actId="1076"/>
          <ac:spMkLst>
            <pc:docMk/>
            <pc:sldMk cId="3660464177" sldId="2147469977"/>
            <ac:spMk id="6" creationId="{A5653D66-4501-1C91-D66C-F1B1DFB1E17F}"/>
          </ac:spMkLst>
        </pc:spChg>
        <pc:spChg chg="add mod">
          <ac:chgData name="Oriane LE GAVRIAN" userId="1ee00f59-07ab-493e-ac89-27a9fad1a751" providerId="ADAL" clId="{2A42C980-F24C-404E-9967-53B448FC4B31}" dt="2023-03-02T15:19:09.602" v="4398" actId="113"/>
          <ac:spMkLst>
            <pc:docMk/>
            <pc:sldMk cId="3660464177" sldId="2147469977"/>
            <ac:spMk id="7" creationId="{4B00EEAD-4EF2-2416-264A-C9350FEF3426}"/>
          </ac:spMkLst>
        </pc:spChg>
        <pc:spChg chg="add mod">
          <ac:chgData name="Oriane LE GAVRIAN" userId="1ee00f59-07ab-493e-ac89-27a9fad1a751" providerId="ADAL" clId="{2A42C980-F24C-404E-9967-53B448FC4B31}" dt="2023-03-02T17:10:15.106" v="5050" actId="1076"/>
          <ac:spMkLst>
            <pc:docMk/>
            <pc:sldMk cId="3660464177" sldId="2147469977"/>
            <ac:spMk id="8" creationId="{DDA15786-8C83-CECC-3495-07077E115E5D}"/>
          </ac:spMkLst>
        </pc:spChg>
        <pc:spChg chg="add mod">
          <ac:chgData name="Oriane LE GAVRIAN" userId="1ee00f59-07ab-493e-ac89-27a9fad1a751" providerId="ADAL" clId="{2A42C980-F24C-404E-9967-53B448FC4B31}" dt="2023-03-02T17:10:26.173" v="5055" actId="1076"/>
          <ac:spMkLst>
            <pc:docMk/>
            <pc:sldMk cId="3660464177" sldId="2147469977"/>
            <ac:spMk id="13" creationId="{28AEA2BD-4588-5B05-47E5-3DE2E39AD232}"/>
          </ac:spMkLst>
        </pc:spChg>
        <pc:spChg chg="add mod">
          <ac:chgData name="Oriane LE GAVRIAN" userId="1ee00f59-07ab-493e-ac89-27a9fad1a751" providerId="ADAL" clId="{2A42C980-F24C-404E-9967-53B448FC4B31}" dt="2023-03-02T17:10:31.482" v="5058" actId="1076"/>
          <ac:spMkLst>
            <pc:docMk/>
            <pc:sldMk cId="3660464177" sldId="2147469977"/>
            <ac:spMk id="18" creationId="{F15EDD84-F349-FC09-9D54-FD37515ACC9A}"/>
          </ac:spMkLst>
        </pc:spChg>
        <pc:spChg chg="mod">
          <ac:chgData name="Oriane LE GAVRIAN" userId="1ee00f59-07ab-493e-ac89-27a9fad1a751" providerId="ADAL" clId="{2A42C980-F24C-404E-9967-53B448FC4B31}" dt="2023-03-02T15:21:36.857" v="4420"/>
          <ac:spMkLst>
            <pc:docMk/>
            <pc:sldMk cId="3660464177" sldId="2147469977"/>
            <ac:spMk id="21" creationId="{280010AF-4F17-601D-2DFD-A880D43E0F23}"/>
          </ac:spMkLst>
        </pc:spChg>
        <pc:spChg chg="add del mod">
          <ac:chgData name="Oriane LE GAVRIAN" userId="1ee00f59-07ab-493e-ac89-27a9fad1a751" providerId="ADAL" clId="{2A42C980-F24C-404E-9967-53B448FC4B31}" dt="2023-03-02T17:10:42.749" v="5065" actId="478"/>
          <ac:spMkLst>
            <pc:docMk/>
            <pc:sldMk cId="3660464177" sldId="2147469977"/>
            <ac:spMk id="23" creationId="{7E5A9821-9337-CD7B-857A-7F9B36A9F2AD}"/>
          </ac:spMkLst>
        </pc:spChg>
        <pc:spChg chg="add mod">
          <ac:chgData name="Oriane LE GAVRIAN" userId="1ee00f59-07ab-493e-ac89-27a9fad1a751" providerId="ADAL" clId="{2A42C980-F24C-404E-9967-53B448FC4B31}" dt="2023-03-02T15:43:07.463" v="4520" actId="21"/>
          <ac:spMkLst>
            <pc:docMk/>
            <pc:sldMk cId="3660464177" sldId="2147469977"/>
            <ac:spMk id="25" creationId="{6E7F4596-DF3E-769C-924D-C28B03E181FB}"/>
          </ac:spMkLst>
        </pc:spChg>
        <pc:spChg chg="add mod">
          <ac:chgData name="Oriane LE GAVRIAN" userId="1ee00f59-07ab-493e-ac89-27a9fad1a751" providerId="ADAL" clId="{2A42C980-F24C-404E-9967-53B448FC4B31}" dt="2023-03-02T15:43:20.288" v="4526" actId="21"/>
          <ac:spMkLst>
            <pc:docMk/>
            <pc:sldMk cId="3660464177" sldId="2147469977"/>
            <ac:spMk id="26" creationId="{0F366BF8-42F5-E1CD-F0D1-219A1F385D0F}"/>
          </ac:spMkLst>
        </pc:spChg>
        <pc:spChg chg="add mod">
          <ac:chgData name="Oriane LE GAVRIAN" userId="1ee00f59-07ab-493e-ac89-27a9fad1a751" providerId="ADAL" clId="{2A42C980-F24C-404E-9967-53B448FC4B31}" dt="2023-03-02T15:43:16.653" v="4523" actId="21"/>
          <ac:spMkLst>
            <pc:docMk/>
            <pc:sldMk cId="3660464177" sldId="2147469977"/>
            <ac:spMk id="27" creationId="{C448C97A-379B-4632-7DC7-5732302BB399}"/>
          </ac:spMkLst>
        </pc:spChg>
        <pc:spChg chg="add mod">
          <ac:chgData name="Oriane LE GAVRIAN" userId="1ee00f59-07ab-493e-ac89-27a9fad1a751" providerId="ADAL" clId="{2A42C980-F24C-404E-9967-53B448FC4B31}" dt="2023-03-02T17:01:03.930" v="5042" actId="20577"/>
          <ac:spMkLst>
            <pc:docMk/>
            <pc:sldMk cId="3660464177" sldId="2147469977"/>
            <ac:spMk id="28" creationId="{438042D1-0029-BEDB-4FCB-E7EC4DBDF9A9}"/>
          </ac:spMkLst>
        </pc:spChg>
        <pc:grpChg chg="add mod">
          <ac:chgData name="Oriane LE GAVRIAN" userId="1ee00f59-07ab-493e-ac89-27a9fad1a751" providerId="ADAL" clId="{2A42C980-F24C-404E-9967-53B448FC4B31}" dt="2023-03-02T15:21:39.021" v="4421" actId="1076"/>
          <ac:grpSpMkLst>
            <pc:docMk/>
            <pc:sldMk cId="3660464177" sldId="2147469977"/>
            <ac:grpSpMk id="19" creationId="{E20D2877-53CF-6933-95F1-1D4C8C6B570C}"/>
          </ac:grpSpMkLst>
        </pc:grpChg>
        <pc:picChg chg="add del mod modCrop">
          <ac:chgData name="Oriane LE GAVRIAN" userId="1ee00f59-07ab-493e-ac89-27a9fad1a751" providerId="ADAL" clId="{2A42C980-F24C-404E-9967-53B448FC4B31}" dt="2023-03-02T15:42:16.205" v="4443" actId="478"/>
          <ac:picMkLst>
            <pc:docMk/>
            <pc:sldMk cId="3660464177" sldId="2147469977"/>
            <ac:picMk id="5" creationId="{5A091ACE-3A7C-C724-5190-B14D968A7309}"/>
          </ac:picMkLst>
        </pc:picChg>
        <pc:picChg chg="add del mod">
          <ac:chgData name="Oriane LE GAVRIAN" userId="1ee00f59-07ab-493e-ac89-27a9fad1a751" providerId="ADAL" clId="{2A42C980-F24C-404E-9967-53B448FC4B31}" dt="2023-03-02T17:10:22.946" v="5054" actId="478"/>
          <ac:picMkLst>
            <pc:docMk/>
            <pc:sldMk cId="3660464177" sldId="2147469977"/>
            <ac:picMk id="9" creationId="{2D74B948-55F8-D008-FA77-2E72D7890206}"/>
          </ac:picMkLst>
        </pc:picChg>
        <pc:picChg chg="add mod">
          <ac:chgData name="Oriane LE GAVRIAN" userId="1ee00f59-07ab-493e-ac89-27a9fad1a751" providerId="ADAL" clId="{2A42C980-F24C-404E-9967-53B448FC4B31}" dt="2023-03-02T17:10:21.062" v="5052" actId="1076"/>
          <ac:picMkLst>
            <pc:docMk/>
            <pc:sldMk cId="3660464177" sldId="2147469977"/>
            <ac:picMk id="10" creationId="{7AA03DDB-CEC4-5272-E128-FA57A1ED5846}"/>
          </ac:picMkLst>
        </pc:picChg>
        <pc:picChg chg="add mod">
          <ac:chgData name="Oriane LE GAVRIAN" userId="1ee00f59-07ab-493e-ac89-27a9fad1a751" providerId="ADAL" clId="{2A42C980-F24C-404E-9967-53B448FC4B31}" dt="2023-03-02T17:10:17.773" v="5051" actId="1076"/>
          <ac:picMkLst>
            <pc:docMk/>
            <pc:sldMk cId="3660464177" sldId="2147469977"/>
            <ac:picMk id="11" creationId="{D99118F8-31B1-411C-E846-928BB67E5613}"/>
          </ac:picMkLst>
        </pc:picChg>
        <pc:picChg chg="add mod">
          <ac:chgData name="Oriane LE GAVRIAN" userId="1ee00f59-07ab-493e-ac89-27a9fad1a751" providerId="ADAL" clId="{2A42C980-F24C-404E-9967-53B448FC4B31}" dt="2023-03-02T17:10:11.542" v="5049" actId="1076"/>
          <ac:picMkLst>
            <pc:docMk/>
            <pc:sldMk cId="3660464177" sldId="2147469977"/>
            <ac:picMk id="12" creationId="{9758B5AF-54A3-6A4B-D73A-B69DF785ECCA}"/>
          </ac:picMkLst>
        </pc:picChg>
        <pc:picChg chg="add mod">
          <ac:chgData name="Oriane LE GAVRIAN" userId="1ee00f59-07ab-493e-ac89-27a9fad1a751" providerId="ADAL" clId="{2A42C980-F24C-404E-9967-53B448FC4B31}" dt="2023-03-02T17:10:28.555" v="5057" actId="1076"/>
          <ac:picMkLst>
            <pc:docMk/>
            <pc:sldMk cId="3660464177" sldId="2147469977"/>
            <ac:picMk id="14" creationId="{9438F76F-6BB1-B1E8-A0C2-A7DA71064025}"/>
          </ac:picMkLst>
        </pc:picChg>
        <pc:picChg chg="add mod">
          <ac:chgData name="Oriane LE GAVRIAN" userId="1ee00f59-07ab-493e-ac89-27a9fad1a751" providerId="ADAL" clId="{2A42C980-F24C-404E-9967-53B448FC4B31}" dt="2023-03-02T17:10:27.087" v="5056" actId="1076"/>
          <ac:picMkLst>
            <pc:docMk/>
            <pc:sldMk cId="3660464177" sldId="2147469977"/>
            <ac:picMk id="15" creationId="{1313E154-6A4C-7EE4-5E8C-E189D635BEDD}"/>
          </ac:picMkLst>
        </pc:picChg>
        <pc:picChg chg="add mod">
          <ac:chgData name="Oriane LE GAVRIAN" userId="1ee00f59-07ab-493e-ac89-27a9fad1a751" providerId="ADAL" clId="{2A42C980-F24C-404E-9967-53B448FC4B31}" dt="2023-03-02T17:10:33.515" v="5060" actId="1076"/>
          <ac:picMkLst>
            <pc:docMk/>
            <pc:sldMk cId="3660464177" sldId="2147469977"/>
            <ac:picMk id="16" creationId="{5C7C5459-84F1-6CBD-C2EA-49ED325CB826}"/>
          </ac:picMkLst>
        </pc:picChg>
        <pc:picChg chg="add mod">
          <ac:chgData name="Oriane LE GAVRIAN" userId="1ee00f59-07ab-493e-ac89-27a9fad1a751" providerId="ADAL" clId="{2A42C980-F24C-404E-9967-53B448FC4B31}" dt="2023-03-02T17:10:32.352" v="5059" actId="1076"/>
          <ac:picMkLst>
            <pc:docMk/>
            <pc:sldMk cId="3660464177" sldId="2147469977"/>
            <ac:picMk id="17" creationId="{723F8840-B20A-F045-A0BC-67B37516A689}"/>
          </ac:picMkLst>
        </pc:picChg>
        <pc:picChg chg="mod">
          <ac:chgData name="Oriane LE GAVRIAN" userId="1ee00f59-07ab-493e-ac89-27a9fad1a751" providerId="ADAL" clId="{2A42C980-F24C-404E-9967-53B448FC4B31}" dt="2023-03-02T15:21:36.857" v="4420"/>
          <ac:picMkLst>
            <pc:docMk/>
            <pc:sldMk cId="3660464177" sldId="2147469977"/>
            <ac:picMk id="20" creationId="{B9551ADA-AA19-A7CE-DFA5-620A5637B6BA}"/>
          </ac:picMkLst>
        </pc:picChg>
        <pc:picChg chg="add del mod">
          <ac:chgData name="Oriane LE GAVRIAN" userId="1ee00f59-07ab-493e-ac89-27a9fad1a751" providerId="ADAL" clId="{2A42C980-F24C-404E-9967-53B448FC4B31}" dt="2023-03-02T17:10:42.749" v="5065" actId="478"/>
          <ac:picMkLst>
            <pc:docMk/>
            <pc:sldMk cId="3660464177" sldId="2147469977"/>
            <ac:picMk id="22" creationId="{0E23C2C8-B45C-0422-11BF-637D2AA8E0E2}"/>
          </ac:picMkLst>
        </pc:picChg>
        <pc:picChg chg="add mod">
          <ac:chgData name="Oriane LE GAVRIAN" userId="1ee00f59-07ab-493e-ac89-27a9fad1a751" providerId="ADAL" clId="{2A42C980-F24C-404E-9967-53B448FC4B31}" dt="2023-03-02T17:10:41.386" v="5064" actId="1076"/>
          <ac:picMkLst>
            <pc:docMk/>
            <pc:sldMk cId="3660464177" sldId="2147469977"/>
            <ac:picMk id="24" creationId="{1B4A2149-7075-6F15-29E3-08C2D5157B30}"/>
          </ac:picMkLst>
        </pc:picChg>
      </pc:sldChg>
      <pc:sldChg chg="addSp delSp modSp mod modAnim modNotesTx">
        <pc:chgData name="Oriane LE GAVRIAN" userId="1ee00f59-07ab-493e-ac89-27a9fad1a751" providerId="ADAL" clId="{2A42C980-F24C-404E-9967-53B448FC4B31}" dt="2023-03-07T13:00:53.383" v="6549" actId="208"/>
        <pc:sldMkLst>
          <pc:docMk/>
          <pc:sldMk cId="1895821880" sldId="2147469978"/>
        </pc:sldMkLst>
        <pc:spChg chg="del">
          <ac:chgData name="Oriane LE GAVRIAN" userId="1ee00f59-07ab-493e-ac89-27a9fad1a751" providerId="ADAL" clId="{2A42C980-F24C-404E-9967-53B448FC4B31}" dt="2023-03-07T12:54:46.291" v="6476" actId="478"/>
          <ac:spMkLst>
            <pc:docMk/>
            <pc:sldMk cId="1895821880" sldId="2147469978"/>
            <ac:spMk id="3" creationId="{7037FE60-0AD7-7668-E182-5F35B0D5590B}"/>
          </ac:spMkLst>
        </pc:spChg>
        <pc:spChg chg="add mod">
          <ac:chgData name="Oriane LE GAVRIAN" userId="1ee00f59-07ab-493e-ac89-27a9fad1a751" providerId="ADAL" clId="{2A42C980-F24C-404E-9967-53B448FC4B31}" dt="2023-03-07T12:55:30.579" v="6481" actId="554"/>
          <ac:spMkLst>
            <pc:docMk/>
            <pc:sldMk cId="1895821880" sldId="2147469978"/>
            <ac:spMk id="18" creationId="{4C19FCF4-D461-0058-13D2-B028F508BBEA}"/>
          </ac:spMkLst>
        </pc:spChg>
        <pc:spChg chg="add del mod">
          <ac:chgData name="Oriane LE GAVRIAN" userId="1ee00f59-07ab-493e-ac89-27a9fad1a751" providerId="ADAL" clId="{2A42C980-F24C-404E-9967-53B448FC4B31}" dt="2023-03-07T12:57:21.494" v="6507" actId="1035"/>
          <ac:spMkLst>
            <pc:docMk/>
            <pc:sldMk cId="1895821880" sldId="2147469978"/>
            <ac:spMk id="20" creationId="{8192D23A-24F1-625D-9F21-BE027EA472A1}"/>
          </ac:spMkLst>
        </pc:spChg>
        <pc:spChg chg="add mod">
          <ac:chgData name="Oriane LE GAVRIAN" userId="1ee00f59-07ab-493e-ac89-27a9fad1a751" providerId="ADAL" clId="{2A42C980-F24C-404E-9967-53B448FC4B31}" dt="2023-03-07T12:55:30.579" v="6481" actId="554"/>
          <ac:spMkLst>
            <pc:docMk/>
            <pc:sldMk cId="1895821880" sldId="2147469978"/>
            <ac:spMk id="21" creationId="{2806116F-6F2D-1385-E97D-25A261E917CC}"/>
          </ac:spMkLst>
        </pc:spChg>
        <pc:spChg chg="del">
          <ac:chgData name="Oriane LE GAVRIAN" userId="1ee00f59-07ab-493e-ac89-27a9fad1a751" providerId="ADAL" clId="{2A42C980-F24C-404E-9967-53B448FC4B31}" dt="2023-03-07T12:50:25.947" v="6424" actId="478"/>
          <ac:spMkLst>
            <pc:docMk/>
            <pc:sldMk cId="1895821880" sldId="2147469978"/>
            <ac:spMk id="23" creationId="{982AC655-35DA-7651-03B7-36CC0EA53EFB}"/>
          </ac:spMkLst>
        </pc:spChg>
        <pc:spChg chg="mod">
          <ac:chgData name="Oriane LE GAVRIAN" userId="1ee00f59-07ab-493e-ac89-27a9fad1a751" providerId="ADAL" clId="{2A42C980-F24C-404E-9967-53B448FC4B31}" dt="2023-03-07T12:50:26.463" v="6425"/>
          <ac:spMkLst>
            <pc:docMk/>
            <pc:sldMk cId="1895821880" sldId="2147469978"/>
            <ac:spMk id="27" creationId="{16D55485-4FB0-03CE-0C8E-9C3CADE447F9}"/>
          </ac:spMkLst>
        </pc:spChg>
        <pc:spChg chg="mod">
          <ac:chgData name="Oriane LE GAVRIAN" userId="1ee00f59-07ab-493e-ac89-27a9fad1a751" providerId="ADAL" clId="{2A42C980-F24C-404E-9967-53B448FC4B31}" dt="2023-03-07T12:50:26.463" v="6425"/>
          <ac:spMkLst>
            <pc:docMk/>
            <pc:sldMk cId="1895821880" sldId="2147469978"/>
            <ac:spMk id="28" creationId="{4812D65E-8EEF-9459-113B-985ABFF621B3}"/>
          </ac:spMkLst>
        </pc:spChg>
        <pc:spChg chg="mod">
          <ac:chgData name="Oriane LE GAVRIAN" userId="1ee00f59-07ab-493e-ac89-27a9fad1a751" providerId="ADAL" clId="{2A42C980-F24C-404E-9967-53B448FC4B31}" dt="2023-03-07T12:50:26.463" v="6425"/>
          <ac:spMkLst>
            <pc:docMk/>
            <pc:sldMk cId="1895821880" sldId="2147469978"/>
            <ac:spMk id="29" creationId="{8ED0AF20-1080-498A-9988-D0BB7C3F5BE2}"/>
          </ac:spMkLst>
        </pc:spChg>
        <pc:spChg chg="mod">
          <ac:chgData name="Oriane LE GAVRIAN" userId="1ee00f59-07ab-493e-ac89-27a9fad1a751" providerId="ADAL" clId="{2A42C980-F24C-404E-9967-53B448FC4B31}" dt="2023-03-07T12:50:26.463" v="6425"/>
          <ac:spMkLst>
            <pc:docMk/>
            <pc:sldMk cId="1895821880" sldId="2147469978"/>
            <ac:spMk id="30" creationId="{B38F9819-771F-BEA1-6798-E7FB8BC7386B}"/>
          </ac:spMkLst>
        </pc:spChg>
        <pc:spChg chg="add mod">
          <ac:chgData name="Oriane LE GAVRIAN" userId="1ee00f59-07ab-493e-ac89-27a9fad1a751" providerId="ADAL" clId="{2A42C980-F24C-404E-9967-53B448FC4B31}" dt="2023-03-07T12:50:31.960" v="6426" actId="1076"/>
          <ac:spMkLst>
            <pc:docMk/>
            <pc:sldMk cId="1895821880" sldId="2147469978"/>
            <ac:spMk id="31" creationId="{405F34FB-112B-D9B2-6EC3-A4ED7F783C35}"/>
          </ac:spMkLst>
        </pc:spChg>
        <pc:spChg chg="add mod">
          <ac:chgData name="Oriane LE GAVRIAN" userId="1ee00f59-07ab-493e-ac89-27a9fad1a751" providerId="ADAL" clId="{2A42C980-F24C-404E-9967-53B448FC4B31}" dt="2023-03-07T12:50:31.960" v="6426" actId="1076"/>
          <ac:spMkLst>
            <pc:docMk/>
            <pc:sldMk cId="1895821880" sldId="2147469978"/>
            <ac:spMk id="32" creationId="{D87ED807-D69B-7F3C-2931-614001082529}"/>
          </ac:spMkLst>
        </pc:spChg>
        <pc:spChg chg="add mod">
          <ac:chgData name="Oriane LE GAVRIAN" userId="1ee00f59-07ab-493e-ac89-27a9fad1a751" providerId="ADAL" clId="{2A42C980-F24C-404E-9967-53B448FC4B31}" dt="2023-03-07T12:50:31.960" v="6426" actId="1076"/>
          <ac:spMkLst>
            <pc:docMk/>
            <pc:sldMk cId="1895821880" sldId="2147469978"/>
            <ac:spMk id="33" creationId="{E0CF212E-28AF-9982-0C26-8E76888A25EE}"/>
          </ac:spMkLst>
        </pc:spChg>
        <pc:spChg chg="add mod">
          <ac:chgData name="Oriane LE GAVRIAN" userId="1ee00f59-07ab-493e-ac89-27a9fad1a751" providerId="ADAL" clId="{2A42C980-F24C-404E-9967-53B448FC4B31}" dt="2023-03-07T12:50:31.960" v="6426" actId="1076"/>
          <ac:spMkLst>
            <pc:docMk/>
            <pc:sldMk cId="1895821880" sldId="2147469978"/>
            <ac:spMk id="34" creationId="{957B383E-53CF-7FA5-13B8-D53C4073A878}"/>
          </ac:spMkLst>
        </pc:spChg>
        <pc:spChg chg="add mod">
          <ac:chgData name="Oriane LE GAVRIAN" userId="1ee00f59-07ab-493e-ac89-27a9fad1a751" providerId="ADAL" clId="{2A42C980-F24C-404E-9967-53B448FC4B31}" dt="2023-03-07T12:50:31.960" v="6426" actId="1076"/>
          <ac:spMkLst>
            <pc:docMk/>
            <pc:sldMk cId="1895821880" sldId="2147469978"/>
            <ac:spMk id="35" creationId="{A1D2A6E9-9A53-78E5-9DE0-4B4AFF0A7351}"/>
          </ac:spMkLst>
        </pc:spChg>
        <pc:spChg chg="add mod">
          <ac:chgData name="Oriane LE GAVRIAN" userId="1ee00f59-07ab-493e-ac89-27a9fad1a751" providerId="ADAL" clId="{2A42C980-F24C-404E-9967-53B448FC4B31}" dt="2023-03-07T12:50:31.960" v="6426" actId="1076"/>
          <ac:spMkLst>
            <pc:docMk/>
            <pc:sldMk cId="1895821880" sldId="2147469978"/>
            <ac:spMk id="36" creationId="{A25C2952-F2CE-5BAC-075A-0EF54F2C0F20}"/>
          </ac:spMkLst>
        </pc:spChg>
        <pc:spChg chg="add mod">
          <ac:chgData name="Oriane LE GAVRIAN" userId="1ee00f59-07ab-493e-ac89-27a9fad1a751" providerId="ADAL" clId="{2A42C980-F24C-404E-9967-53B448FC4B31}" dt="2023-03-07T12:50:31.960" v="6426" actId="1076"/>
          <ac:spMkLst>
            <pc:docMk/>
            <pc:sldMk cId="1895821880" sldId="2147469978"/>
            <ac:spMk id="37" creationId="{396A7D0D-95A7-CED1-64F5-DF302CAC8062}"/>
          </ac:spMkLst>
        </pc:spChg>
        <pc:spChg chg="add mod">
          <ac:chgData name="Oriane LE GAVRIAN" userId="1ee00f59-07ab-493e-ac89-27a9fad1a751" providerId="ADAL" clId="{2A42C980-F24C-404E-9967-53B448FC4B31}" dt="2023-03-07T12:50:31.960" v="6426" actId="1076"/>
          <ac:spMkLst>
            <pc:docMk/>
            <pc:sldMk cId="1895821880" sldId="2147469978"/>
            <ac:spMk id="38" creationId="{C572C046-2020-CB04-745D-E0F351EBB6A9}"/>
          </ac:spMkLst>
        </pc:spChg>
        <pc:spChg chg="add mod">
          <ac:chgData name="Oriane LE GAVRIAN" userId="1ee00f59-07ab-493e-ac89-27a9fad1a751" providerId="ADAL" clId="{2A42C980-F24C-404E-9967-53B448FC4B31}" dt="2023-03-07T12:50:31.960" v="6426" actId="1076"/>
          <ac:spMkLst>
            <pc:docMk/>
            <pc:sldMk cId="1895821880" sldId="2147469978"/>
            <ac:spMk id="39" creationId="{639BEA8A-94AA-981B-E7FE-7BEBF52D5CA8}"/>
          </ac:spMkLst>
        </pc:spChg>
        <pc:spChg chg="add mod">
          <ac:chgData name="Oriane LE GAVRIAN" userId="1ee00f59-07ab-493e-ac89-27a9fad1a751" providerId="ADAL" clId="{2A42C980-F24C-404E-9967-53B448FC4B31}" dt="2023-03-07T12:50:31.960" v="6426" actId="1076"/>
          <ac:spMkLst>
            <pc:docMk/>
            <pc:sldMk cId="1895821880" sldId="2147469978"/>
            <ac:spMk id="40" creationId="{09DFE226-DE17-2FBF-3540-BE5968287E80}"/>
          </ac:spMkLst>
        </pc:spChg>
        <pc:spChg chg="add mod">
          <ac:chgData name="Oriane LE GAVRIAN" userId="1ee00f59-07ab-493e-ac89-27a9fad1a751" providerId="ADAL" clId="{2A42C980-F24C-404E-9967-53B448FC4B31}" dt="2023-03-07T12:50:31.960" v="6426" actId="1076"/>
          <ac:spMkLst>
            <pc:docMk/>
            <pc:sldMk cId="1895821880" sldId="2147469978"/>
            <ac:spMk id="41" creationId="{C87F2A53-C3ED-764F-96A5-2B0B1AF5BEC8}"/>
          </ac:spMkLst>
        </pc:spChg>
        <pc:spChg chg="add mod">
          <ac:chgData name="Oriane LE GAVRIAN" userId="1ee00f59-07ab-493e-ac89-27a9fad1a751" providerId="ADAL" clId="{2A42C980-F24C-404E-9967-53B448FC4B31}" dt="2023-03-07T12:50:31.960" v="6426" actId="1076"/>
          <ac:spMkLst>
            <pc:docMk/>
            <pc:sldMk cId="1895821880" sldId="2147469978"/>
            <ac:spMk id="42" creationId="{AD423B49-EFA2-C58A-5AB6-FEA2F8E92899}"/>
          </ac:spMkLst>
        </pc:spChg>
        <pc:spChg chg="add mod">
          <ac:chgData name="Oriane LE GAVRIAN" userId="1ee00f59-07ab-493e-ac89-27a9fad1a751" providerId="ADAL" clId="{2A42C980-F24C-404E-9967-53B448FC4B31}" dt="2023-03-07T13:00:53.383" v="6549" actId="208"/>
          <ac:spMkLst>
            <pc:docMk/>
            <pc:sldMk cId="1895821880" sldId="2147469978"/>
            <ac:spMk id="43" creationId="{A2E89265-A832-44BC-DB37-CB056035C8A7}"/>
          </ac:spMkLst>
        </pc:spChg>
        <pc:spChg chg="add mod">
          <ac:chgData name="Oriane LE GAVRIAN" userId="1ee00f59-07ab-493e-ac89-27a9fad1a751" providerId="ADAL" clId="{2A42C980-F24C-404E-9967-53B448FC4B31}" dt="2023-03-07T13:00:53.383" v="6549" actId="208"/>
          <ac:spMkLst>
            <pc:docMk/>
            <pc:sldMk cId="1895821880" sldId="2147469978"/>
            <ac:spMk id="44" creationId="{89772F3D-8179-8C06-AFB3-40218B1F3A9B}"/>
          </ac:spMkLst>
        </pc:spChg>
        <pc:grpChg chg="add mod">
          <ac:chgData name="Oriane LE GAVRIAN" userId="1ee00f59-07ab-493e-ac89-27a9fad1a751" providerId="ADAL" clId="{2A42C980-F24C-404E-9967-53B448FC4B31}" dt="2023-03-07T12:50:31.960" v="6426" actId="1076"/>
          <ac:grpSpMkLst>
            <pc:docMk/>
            <pc:sldMk cId="1895821880" sldId="2147469978"/>
            <ac:grpSpMk id="26" creationId="{1F2CEE5A-5DBC-EEC6-4BF8-195AA9480179}"/>
          </ac:grpSpMkLst>
        </pc:grpChg>
        <pc:picChg chg="del">
          <ac:chgData name="Oriane LE GAVRIAN" userId="1ee00f59-07ab-493e-ac89-27a9fad1a751" providerId="ADAL" clId="{2A42C980-F24C-404E-9967-53B448FC4B31}" dt="2023-03-07T12:50:25.947" v="6424" actId="478"/>
          <ac:picMkLst>
            <pc:docMk/>
            <pc:sldMk cId="1895821880" sldId="2147469978"/>
            <ac:picMk id="22" creationId="{A2B9ECFD-C3C4-EB10-2522-CB31C43D4A41}"/>
          </ac:picMkLst>
        </pc:picChg>
        <pc:picChg chg="add mod">
          <ac:chgData name="Oriane LE GAVRIAN" userId="1ee00f59-07ab-493e-ac89-27a9fad1a751" providerId="ADAL" clId="{2A42C980-F24C-404E-9967-53B448FC4B31}" dt="2023-03-07T12:50:31.960" v="6426" actId="1076"/>
          <ac:picMkLst>
            <pc:docMk/>
            <pc:sldMk cId="1895821880" sldId="2147469978"/>
            <ac:picMk id="45" creationId="{33D684BD-1708-7137-BEC5-721AE2399D4B}"/>
          </ac:picMkLst>
        </pc:picChg>
        <pc:picChg chg="add mod">
          <ac:chgData name="Oriane LE GAVRIAN" userId="1ee00f59-07ab-493e-ac89-27a9fad1a751" providerId="ADAL" clId="{2A42C980-F24C-404E-9967-53B448FC4B31}" dt="2023-03-07T12:50:31.960" v="6426" actId="1076"/>
          <ac:picMkLst>
            <pc:docMk/>
            <pc:sldMk cId="1895821880" sldId="2147469978"/>
            <ac:picMk id="46" creationId="{F2D4D600-9118-84B3-79E3-1D4D56059091}"/>
          </ac:picMkLst>
        </pc:picChg>
        <pc:picChg chg="add del mod">
          <ac:chgData name="Oriane LE GAVRIAN" userId="1ee00f59-07ab-493e-ac89-27a9fad1a751" providerId="ADAL" clId="{2A42C980-F24C-404E-9967-53B448FC4B31}" dt="2023-03-07T12:53:07.609" v="6441" actId="478"/>
          <ac:picMkLst>
            <pc:docMk/>
            <pc:sldMk cId="1895821880" sldId="2147469978"/>
            <ac:picMk id="56" creationId="{C3AD4ECA-F62B-6026-91BC-8E99AF82EC81}"/>
          </ac:picMkLst>
        </pc:picChg>
        <pc:picChg chg="add mod">
          <ac:chgData name="Oriane LE GAVRIAN" userId="1ee00f59-07ab-493e-ac89-27a9fad1a751" providerId="ADAL" clId="{2A42C980-F24C-404E-9967-53B448FC4B31}" dt="2023-03-07T12:53:06.219" v="6440" actId="1076"/>
          <ac:picMkLst>
            <pc:docMk/>
            <pc:sldMk cId="1895821880" sldId="2147469978"/>
            <ac:picMk id="58" creationId="{973E76ED-1497-9FE2-D0B5-1CC85DE0DD14}"/>
          </ac:picMkLst>
        </pc:picChg>
        <pc:picChg chg="add mod">
          <ac:chgData name="Oriane LE GAVRIAN" userId="1ee00f59-07ab-493e-ac89-27a9fad1a751" providerId="ADAL" clId="{2A42C980-F24C-404E-9967-53B448FC4B31}" dt="2023-03-07T12:53:01.744" v="6439" actId="1076"/>
          <ac:picMkLst>
            <pc:docMk/>
            <pc:sldMk cId="1895821880" sldId="2147469978"/>
            <ac:picMk id="60" creationId="{0E865FD8-6D00-D95A-2A7A-ABA125367684}"/>
          </ac:picMkLst>
        </pc:picChg>
        <pc:picChg chg="add mod">
          <ac:chgData name="Oriane LE GAVRIAN" userId="1ee00f59-07ab-493e-ac89-27a9fad1a751" providerId="ADAL" clId="{2A42C980-F24C-404E-9967-53B448FC4B31}" dt="2023-03-07T12:52:46.532" v="6435" actId="1076"/>
          <ac:picMkLst>
            <pc:docMk/>
            <pc:sldMk cId="1895821880" sldId="2147469978"/>
            <ac:picMk id="62" creationId="{8A997064-A2E9-A495-EF0A-EFBA629C805A}"/>
          </ac:picMkLst>
        </pc:picChg>
        <pc:picChg chg="add mod">
          <ac:chgData name="Oriane LE GAVRIAN" userId="1ee00f59-07ab-493e-ac89-27a9fad1a751" providerId="ADAL" clId="{2A42C980-F24C-404E-9967-53B448FC4B31}" dt="2023-03-07T12:52:52.645" v="6436" actId="1076"/>
          <ac:picMkLst>
            <pc:docMk/>
            <pc:sldMk cId="1895821880" sldId="2147469978"/>
            <ac:picMk id="64" creationId="{A3E1E93F-3162-B40F-4022-004BAEAD13EB}"/>
          </ac:picMkLst>
        </pc:picChg>
        <pc:picChg chg="add mod">
          <ac:chgData name="Oriane LE GAVRIAN" userId="1ee00f59-07ab-493e-ac89-27a9fad1a751" providerId="ADAL" clId="{2A42C980-F24C-404E-9967-53B448FC4B31}" dt="2023-03-07T12:52:41.046" v="6434" actId="1076"/>
          <ac:picMkLst>
            <pc:docMk/>
            <pc:sldMk cId="1895821880" sldId="2147469978"/>
            <ac:picMk id="66" creationId="{26DF453C-2C6B-5283-5FCA-CB98423EBFE2}"/>
          </ac:picMkLst>
        </pc:picChg>
        <pc:picChg chg="add mod">
          <ac:chgData name="Oriane LE GAVRIAN" userId="1ee00f59-07ab-493e-ac89-27a9fad1a751" providerId="ADAL" clId="{2A42C980-F24C-404E-9967-53B448FC4B31}" dt="2023-03-07T12:52:34.818" v="6433" actId="1076"/>
          <ac:picMkLst>
            <pc:docMk/>
            <pc:sldMk cId="1895821880" sldId="2147469978"/>
            <ac:picMk id="68" creationId="{67A26C82-8AF7-1439-10E9-B367D279D3BC}"/>
          </ac:picMkLst>
        </pc:picChg>
        <pc:picChg chg="add mod">
          <ac:chgData name="Oriane LE GAVRIAN" userId="1ee00f59-07ab-493e-ac89-27a9fad1a751" providerId="ADAL" clId="{2A42C980-F24C-404E-9967-53B448FC4B31}" dt="2023-03-07T12:52:58.729" v="6438" actId="1076"/>
          <ac:picMkLst>
            <pc:docMk/>
            <pc:sldMk cId="1895821880" sldId="2147469978"/>
            <ac:picMk id="69" creationId="{91D4141A-CD80-E5E9-DBB8-EF25ECF255C6}"/>
          </ac:picMkLst>
        </pc:picChg>
        <pc:picChg chg="add mod">
          <ac:chgData name="Oriane LE GAVRIAN" userId="1ee00f59-07ab-493e-ac89-27a9fad1a751" providerId="ADAL" clId="{2A42C980-F24C-404E-9967-53B448FC4B31}" dt="2023-03-07T12:54:27.784" v="6451" actId="1076"/>
          <ac:picMkLst>
            <pc:docMk/>
            <pc:sldMk cId="1895821880" sldId="2147469978"/>
            <ac:picMk id="71" creationId="{A16AEE2C-72C3-B8C0-29CD-13AA3794CE2F}"/>
          </ac:picMkLst>
        </pc:picChg>
        <pc:cxnChg chg="add mod">
          <ac:chgData name="Oriane LE GAVRIAN" userId="1ee00f59-07ab-493e-ac89-27a9fad1a751" providerId="ADAL" clId="{2A42C980-F24C-404E-9967-53B448FC4B31}" dt="2023-03-07T12:50:31.960" v="6426" actId="1076"/>
          <ac:cxnSpMkLst>
            <pc:docMk/>
            <pc:sldMk cId="1895821880" sldId="2147469978"/>
            <ac:cxnSpMk id="47" creationId="{CA6E44B2-D37D-8819-0722-4D4086D8D4B2}"/>
          </ac:cxnSpMkLst>
        </pc:cxnChg>
        <pc:cxnChg chg="add mod">
          <ac:chgData name="Oriane LE GAVRIAN" userId="1ee00f59-07ab-493e-ac89-27a9fad1a751" providerId="ADAL" clId="{2A42C980-F24C-404E-9967-53B448FC4B31}" dt="2023-03-07T12:50:31.960" v="6426" actId="1076"/>
          <ac:cxnSpMkLst>
            <pc:docMk/>
            <pc:sldMk cId="1895821880" sldId="2147469978"/>
            <ac:cxnSpMk id="48" creationId="{6EA0C923-8FE3-5E3B-CFB0-635B999341EE}"/>
          </ac:cxnSpMkLst>
        </pc:cxnChg>
        <pc:cxnChg chg="add mod">
          <ac:chgData name="Oriane LE GAVRIAN" userId="1ee00f59-07ab-493e-ac89-27a9fad1a751" providerId="ADAL" clId="{2A42C980-F24C-404E-9967-53B448FC4B31}" dt="2023-03-07T12:50:31.960" v="6426" actId="1076"/>
          <ac:cxnSpMkLst>
            <pc:docMk/>
            <pc:sldMk cId="1895821880" sldId="2147469978"/>
            <ac:cxnSpMk id="49" creationId="{E1F3793B-9C12-7FE2-172F-2D71D423035A}"/>
          </ac:cxnSpMkLst>
        </pc:cxnChg>
        <pc:cxnChg chg="add mod">
          <ac:chgData name="Oriane LE GAVRIAN" userId="1ee00f59-07ab-493e-ac89-27a9fad1a751" providerId="ADAL" clId="{2A42C980-F24C-404E-9967-53B448FC4B31}" dt="2023-03-07T12:50:31.960" v="6426" actId="1076"/>
          <ac:cxnSpMkLst>
            <pc:docMk/>
            <pc:sldMk cId="1895821880" sldId="2147469978"/>
            <ac:cxnSpMk id="50" creationId="{09D14A5C-5A65-7065-01DA-B9EC42C4453C}"/>
          </ac:cxnSpMkLst>
        </pc:cxnChg>
        <pc:cxnChg chg="add mod">
          <ac:chgData name="Oriane LE GAVRIAN" userId="1ee00f59-07ab-493e-ac89-27a9fad1a751" providerId="ADAL" clId="{2A42C980-F24C-404E-9967-53B448FC4B31}" dt="2023-03-07T12:50:31.960" v="6426" actId="1076"/>
          <ac:cxnSpMkLst>
            <pc:docMk/>
            <pc:sldMk cId="1895821880" sldId="2147469978"/>
            <ac:cxnSpMk id="51" creationId="{8C4FD16A-35FD-67BD-04A0-4AFC03F22229}"/>
          </ac:cxnSpMkLst>
        </pc:cxnChg>
        <pc:cxnChg chg="add mod">
          <ac:chgData name="Oriane LE GAVRIAN" userId="1ee00f59-07ab-493e-ac89-27a9fad1a751" providerId="ADAL" clId="{2A42C980-F24C-404E-9967-53B448FC4B31}" dt="2023-03-07T12:50:31.960" v="6426" actId="1076"/>
          <ac:cxnSpMkLst>
            <pc:docMk/>
            <pc:sldMk cId="1895821880" sldId="2147469978"/>
            <ac:cxnSpMk id="52" creationId="{AE063126-C1B2-AD3B-C7E8-B51FD4CCC074}"/>
          </ac:cxnSpMkLst>
        </pc:cxnChg>
        <pc:cxnChg chg="add mod">
          <ac:chgData name="Oriane LE GAVRIAN" userId="1ee00f59-07ab-493e-ac89-27a9fad1a751" providerId="ADAL" clId="{2A42C980-F24C-404E-9967-53B448FC4B31}" dt="2023-03-07T12:50:31.960" v="6426" actId="1076"/>
          <ac:cxnSpMkLst>
            <pc:docMk/>
            <pc:sldMk cId="1895821880" sldId="2147469978"/>
            <ac:cxnSpMk id="53" creationId="{AF8DF9F0-F0AC-984D-54B5-5A79A30586C1}"/>
          </ac:cxnSpMkLst>
        </pc:cxnChg>
        <pc:cxnChg chg="add mod">
          <ac:chgData name="Oriane LE GAVRIAN" userId="1ee00f59-07ab-493e-ac89-27a9fad1a751" providerId="ADAL" clId="{2A42C980-F24C-404E-9967-53B448FC4B31}" dt="2023-03-07T12:50:31.960" v="6426" actId="1076"/>
          <ac:cxnSpMkLst>
            <pc:docMk/>
            <pc:sldMk cId="1895821880" sldId="2147469978"/>
            <ac:cxnSpMk id="54" creationId="{605D8A01-F58C-94E5-D3F9-5ADB7C069F32}"/>
          </ac:cxnSpMkLst>
        </pc:cxnChg>
      </pc:sldChg>
      <pc:sldChg chg="delSp modSp mod modNotesTx">
        <pc:chgData name="Oriane LE GAVRIAN" userId="1ee00f59-07ab-493e-ac89-27a9fad1a751" providerId="ADAL" clId="{2A42C980-F24C-404E-9967-53B448FC4B31}" dt="2023-03-07T13:12:26.124" v="6861" actId="1076"/>
        <pc:sldMkLst>
          <pc:docMk/>
          <pc:sldMk cId="2212093088" sldId="2147469981"/>
        </pc:sldMkLst>
        <pc:spChg chg="mod">
          <ac:chgData name="Oriane LE GAVRIAN" userId="1ee00f59-07ab-493e-ac89-27a9fad1a751" providerId="ADAL" clId="{2A42C980-F24C-404E-9967-53B448FC4B31}" dt="2023-03-07T13:12:26.124" v="6861" actId="1076"/>
          <ac:spMkLst>
            <pc:docMk/>
            <pc:sldMk cId="2212093088" sldId="2147469981"/>
            <ac:spMk id="25" creationId="{10B723EF-CFA0-DAE3-E5BC-61CCC10E9C75}"/>
          </ac:spMkLst>
        </pc:spChg>
        <pc:spChg chg="mod">
          <ac:chgData name="Oriane LE GAVRIAN" userId="1ee00f59-07ab-493e-ac89-27a9fad1a751" providerId="ADAL" clId="{2A42C980-F24C-404E-9967-53B448FC4B31}" dt="2023-03-07T13:12:26.124" v="6861" actId="1076"/>
          <ac:spMkLst>
            <pc:docMk/>
            <pc:sldMk cId="2212093088" sldId="2147469981"/>
            <ac:spMk id="30" creationId="{AB7855D2-E887-98F0-43FF-F08658D02D6F}"/>
          </ac:spMkLst>
        </pc:spChg>
        <pc:spChg chg="mod">
          <ac:chgData name="Oriane LE GAVRIAN" userId="1ee00f59-07ab-493e-ac89-27a9fad1a751" providerId="ADAL" clId="{2A42C980-F24C-404E-9967-53B448FC4B31}" dt="2023-03-03T08:26:18.714" v="5093" actId="20577"/>
          <ac:spMkLst>
            <pc:docMk/>
            <pc:sldMk cId="2212093088" sldId="2147469981"/>
            <ac:spMk id="32" creationId="{E0BEBC62-D51E-5C90-79C4-44217608938A}"/>
          </ac:spMkLst>
        </pc:spChg>
        <pc:spChg chg="del">
          <ac:chgData name="Oriane LE GAVRIAN" userId="1ee00f59-07ab-493e-ac89-27a9fad1a751" providerId="ADAL" clId="{2A42C980-F24C-404E-9967-53B448FC4B31}" dt="2023-03-07T13:12:13.732" v="6858" actId="478"/>
          <ac:spMkLst>
            <pc:docMk/>
            <pc:sldMk cId="2212093088" sldId="2147469981"/>
            <ac:spMk id="35" creationId="{0B7B7DB8-3968-8AE5-79AD-0455155038E4}"/>
          </ac:spMkLst>
        </pc:spChg>
        <pc:spChg chg="del">
          <ac:chgData name="Oriane LE GAVRIAN" userId="1ee00f59-07ab-493e-ac89-27a9fad1a751" providerId="ADAL" clId="{2A42C980-F24C-404E-9967-53B448FC4B31}" dt="2023-03-03T09:30:40.325" v="5589" actId="478"/>
          <ac:spMkLst>
            <pc:docMk/>
            <pc:sldMk cId="2212093088" sldId="2147469981"/>
            <ac:spMk id="35" creationId="{74F98B89-1FB7-1468-3E0D-70ED68B2D3C6}"/>
          </ac:spMkLst>
        </pc:spChg>
        <pc:spChg chg="del mod">
          <ac:chgData name="Oriane LE GAVRIAN" userId="1ee00f59-07ab-493e-ac89-27a9fad1a751" providerId="ADAL" clId="{2A42C980-F24C-404E-9967-53B448FC4B31}" dt="2023-03-07T13:12:13.732" v="6858" actId="478"/>
          <ac:spMkLst>
            <pc:docMk/>
            <pc:sldMk cId="2212093088" sldId="2147469981"/>
            <ac:spMk id="36" creationId="{BF584BE7-B459-0645-01BA-9E8AB7EC5E38}"/>
          </ac:spMkLst>
        </pc:spChg>
        <pc:spChg chg="mod">
          <ac:chgData name="Oriane LE GAVRIAN" userId="1ee00f59-07ab-493e-ac89-27a9fad1a751" providerId="ADAL" clId="{2A42C980-F24C-404E-9967-53B448FC4B31}" dt="2023-03-07T13:12:12.341" v="6857" actId="1076"/>
          <ac:spMkLst>
            <pc:docMk/>
            <pc:sldMk cId="2212093088" sldId="2147469981"/>
            <ac:spMk id="38" creationId="{9619A19C-7F07-79D6-FA86-25E5C535FF35}"/>
          </ac:spMkLst>
        </pc:spChg>
        <pc:picChg chg="mod">
          <ac:chgData name="Oriane LE GAVRIAN" userId="1ee00f59-07ab-493e-ac89-27a9fad1a751" providerId="ADAL" clId="{2A42C980-F24C-404E-9967-53B448FC4B31}" dt="2023-03-07T13:12:26.124" v="6861" actId="1076"/>
          <ac:picMkLst>
            <pc:docMk/>
            <pc:sldMk cId="2212093088" sldId="2147469981"/>
            <ac:picMk id="26" creationId="{D31DC178-6328-1D91-2F5B-AF6665FAAB9F}"/>
          </ac:picMkLst>
        </pc:picChg>
        <pc:picChg chg="mod">
          <ac:chgData name="Oriane LE GAVRIAN" userId="1ee00f59-07ab-493e-ac89-27a9fad1a751" providerId="ADAL" clId="{2A42C980-F24C-404E-9967-53B448FC4B31}" dt="2023-03-07T13:12:26.124" v="6861" actId="1076"/>
          <ac:picMkLst>
            <pc:docMk/>
            <pc:sldMk cId="2212093088" sldId="2147469981"/>
            <ac:picMk id="27" creationId="{7BC27172-6AC2-C4CE-B738-A34E7B303387}"/>
          </ac:picMkLst>
        </pc:picChg>
        <pc:picChg chg="mod">
          <ac:chgData name="Oriane LE GAVRIAN" userId="1ee00f59-07ab-493e-ac89-27a9fad1a751" providerId="ADAL" clId="{2A42C980-F24C-404E-9967-53B448FC4B31}" dt="2023-03-07T13:12:26.124" v="6861" actId="1076"/>
          <ac:picMkLst>
            <pc:docMk/>
            <pc:sldMk cId="2212093088" sldId="2147469981"/>
            <ac:picMk id="28" creationId="{E4D46D1A-E91C-78B9-0CC4-49D308CAA386}"/>
          </ac:picMkLst>
        </pc:picChg>
        <pc:picChg chg="mod">
          <ac:chgData name="Oriane LE GAVRIAN" userId="1ee00f59-07ab-493e-ac89-27a9fad1a751" providerId="ADAL" clId="{2A42C980-F24C-404E-9967-53B448FC4B31}" dt="2023-03-07T13:12:26.124" v="6861" actId="1076"/>
          <ac:picMkLst>
            <pc:docMk/>
            <pc:sldMk cId="2212093088" sldId="2147469981"/>
            <ac:picMk id="29" creationId="{2FF5C8CB-357C-5231-57E7-5987F5E26274}"/>
          </ac:picMkLst>
        </pc:picChg>
        <pc:picChg chg="mod">
          <ac:chgData name="Oriane LE GAVRIAN" userId="1ee00f59-07ab-493e-ac89-27a9fad1a751" providerId="ADAL" clId="{2A42C980-F24C-404E-9967-53B448FC4B31}" dt="2023-03-07T13:12:26.124" v="6861" actId="1076"/>
          <ac:picMkLst>
            <pc:docMk/>
            <pc:sldMk cId="2212093088" sldId="2147469981"/>
            <ac:picMk id="31" creationId="{239C392F-E334-DFE3-B733-3462CAFCD98B}"/>
          </ac:picMkLst>
        </pc:picChg>
      </pc:sldChg>
      <pc:sldChg chg="addSp delSp modSp new mod modNotesTx">
        <pc:chgData name="Oriane LE GAVRIAN" userId="1ee00f59-07ab-493e-ac89-27a9fad1a751" providerId="ADAL" clId="{2A42C980-F24C-404E-9967-53B448FC4B31}" dt="2023-03-03T09:22:28.361" v="5585" actId="20577"/>
        <pc:sldMkLst>
          <pc:docMk/>
          <pc:sldMk cId="290774258" sldId="2147469984"/>
        </pc:sldMkLst>
        <pc:spChg chg="mod">
          <ac:chgData name="Oriane LE GAVRIAN" userId="1ee00f59-07ab-493e-ac89-27a9fad1a751" providerId="ADAL" clId="{2A42C980-F24C-404E-9967-53B448FC4B31}" dt="2023-03-03T08:46:56.943" v="5216"/>
          <ac:spMkLst>
            <pc:docMk/>
            <pc:sldMk cId="290774258" sldId="2147469984"/>
            <ac:spMk id="2" creationId="{A0C68FB2-2545-2E0E-EFF1-B5151E3523F0}"/>
          </ac:spMkLst>
        </pc:spChg>
        <pc:spChg chg="del">
          <ac:chgData name="Oriane LE GAVRIAN" userId="1ee00f59-07ab-493e-ac89-27a9fad1a751" providerId="ADAL" clId="{2A42C980-F24C-404E-9967-53B448FC4B31}" dt="2023-03-03T08:47:00.005" v="5217" actId="478"/>
          <ac:spMkLst>
            <pc:docMk/>
            <pc:sldMk cId="290774258" sldId="2147469984"/>
            <ac:spMk id="3" creationId="{B80A945C-6CF0-2407-DD68-C3FDAD2B8CE8}"/>
          </ac:spMkLst>
        </pc:spChg>
        <pc:spChg chg="add mod">
          <ac:chgData name="Oriane LE GAVRIAN" userId="1ee00f59-07ab-493e-ac89-27a9fad1a751" providerId="ADAL" clId="{2A42C980-F24C-404E-9967-53B448FC4B31}" dt="2023-03-03T09:08:22.863" v="5461" actId="1076"/>
          <ac:spMkLst>
            <pc:docMk/>
            <pc:sldMk cId="290774258" sldId="2147469984"/>
            <ac:spMk id="4" creationId="{38B92C94-8232-0543-CC5C-6FDF5DC44BCB}"/>
          </ac:spMkLst>
        </pc:spChg>
        <pc:spChg chg="add mod">
          <ac:chgData name="Oriane LE GAVRIAN" userId="1ee00f59-07ab-493e-ac89-27a9fad1a751" providerId="ADAL" clId="{2A42C980-F24C-404E-9967-53B448FC4B31}" dt="2023-03-03T09:08:22.863" v="5461" actId="1076"/>
          <ac:spMkLst>
            <pc:docMk/>
            <pc:sldMk cId="290774258" sldId="2147469984"/>
            <ac:spMk id="5" creationId="{194B4EF6-7ED4-5379-76B4-6747F3295D02}"/>
          </ac:spMkLst>
        </pc:spChg>
        <pc:spChg chg="add mod">
          <ac:chgData name="Oriane LE GAVRIAN" userId="1ee00f59-07ab-493e-ac89-27a9fad1a751" providerId="ADAL" clId="{2A42C980-F24C-404E-9967-53B448FC4B31}" dt="2023-03-03T09:08:22.863" v="5461" actId="1076"/>
          <ac:spMkLst>
            <pc:docMk/>
            <pc:sldMk cId="290774258" sldId="2147469984"/>
            <ac:spMk id="6" creationId="{4BC84521-8B17-95A5-CF5B-55FBE76B3908}"/>
          </ac:spMkLst>
        </pc:spChg>
        <pc:spChg chg="add del mod">
          <ac:chgData name="Oriane LE GAVRIAN" userId="1ee00f59-07ab-493e-ac89-27a9fad1a751" providerId="ADAL" clId="{2A42C980-F24C-404E-9967-53B448FC4B31}" dt="2023-03-03T09:05:28.511" v="5385" actId="478"/>
          <ac:spMkLst>
            <pc:docMk/>
            <pc:sldMk cId="290774258" sldId="2147469984"/>
            <ac:spMk id="7" creationId="{AA233D65-1926-5590-0256-8821EB1E9B4B}"/>
          </ac:spMkLst>
        </pc:spChg>
        <pc:spChg chg="add mod">
          <ac:chgData name="Oriane LE GAVRIAN" userId="1ee00f59-07ab-493e-ac89-27a9fad1a751" providerId="ADAL" clId="{2A42C980-F24C-404E-9967-53B448FC4B31}" dt="2023-03-03T08:57:45.051" v="5246" actId="115"/>
          <ac:spMkLst>
            <pc:docMk/>
            <pc:sldMk cId="290774258" sldId="2147469984"/>
            <ac:spMk id="8" creationId="{E6002D31-DCEF-C486-5A17-E697ACC1B0B3}"/>
          </ac:spMkLst>
        </pc:spChg>
        <pc:spChg chg="add mod">
          <ac:chgData name="Oriane LE GAVRIAN" userId="1ee00f59-07ab-493e-ac89-27a9fad1a751" providerId="ADAL" clId="{2A42C980-F24C-404E-9967-53B448FC4B31}" dt="2023-03-03T09:09:17.374" v="5560" actId="20577"/>
          <ac:spMkLst>
            <pc:docMk/>
            <pc:sldMk cId="290774258" sldId="2147469984"/>
            <ac:spMk id="10" creationId="{204A081B-E254-A745-D88B-E094D0D2AAF0}"/>
          </ac:spMkLst>
        </pc:spChg>
        <pc:spChg chg="add mod">
          <ac:chgData name="Oriane LE GAVRIAN" userId="1ee00f59-07ab-493e-ac89-27a9fad1a751" providerId="ADAL" clId="{2A42C980-F24C-404E-9967-53B448FC4B31}" dt="2023-03-03T09:08:22.863" v="5461" actId="1076"/>
          <ac:spMkLst>
            <pc:docMk/>
            <pc:sldMk cId="290774258" sldId="2147469984"/>
            <ac:spMk id="12" creationId="{7F48751E-D980-442B-865F-DF74B153E726}"/>
          </ac:spMkLst>
        </pc:spChg>
        <pc:spChg chg="add mod">
          <ac:chgData name="Oriane LE GAVRIAN" userId="1ee00f59-07ab-493e-ac89-27a9fad1a751" providerId="ADAL" clId="{2A42C980-F24C-404E-9967-53B448FC4B31}" dt="2023-03-03T09:08:22.863" v="5461" actId="1076"/>
          <ac:spMkLst>
            <pc:docMk/>
            <pc:sldMk cId="290774258" sldId="2147469984"/>
            <ac:spMk id="14" creationId="{A62B1F1D-CA61-1E9E-9B88-DBCF1B2A552C}"/>
          </ac:spMkLst>
        </pc:spChg>
        <pc:spChg chg="add mod">
          <ac:chgData name="Oriane LE GAVRIAN" userId="1ee00f59-07ab-493e-ac89-27a9fad1a751" providerId="ADAL" clId="{2A42C980-F24C-404E-9967-53B448FC4B31}" dt="2023-03-03T09:08:22.863" v="5461" actId="1076"/>
          <ac:spMkLst>
            <pc:docMk/>
            <pc:sldMk cId="290774258" sldId="2147469984"/>
            <ac:spMk id="15" creationId="{D7356453-338D-DC2C-10A1-5042C7EA523A}"/>
          </ac:spMkLst>
        </pc:spChg>
        <pc:spChg chg="add mod">
          <ac:chgData name="Oriane LE GAVRIAN" userId="1ee00f59-07ab-493e-ac89-27a9fad1a751" providerId="ADAL" clId="{2A42C980-F24C-404E-9967-53B448FC4B31}" dt="2023-03-03T09:08:22.863" v="5461" actId="1076"/>
          <ac:spMkLst>
            <pc:docMk/>
            <pc:sldMk cId="290774258" sldId="2147469984"/>
            <ac:spMk id="16" creationId="{E366361B-AA03-1D80-6765-8BB94466C45D}"/>
          </ac:spMkLst>
        </pc:spChg>
        <pc:spChg chg="add mod">
          <ac:chgData name="Oriane LE GAVRIAN" userId="1ee00f59-07ab-493e-ac89-27a9fad1a751" providerId="ADAL" clId="{2A42C980-F24C-404E-9967-53B448FC4B31}" dt="2023-03-03T09:08:22.863" v="5461" actId="1076"/>
          <ac:spMkLst>
            <pc:docMk/>
            <pc:sldMk cId="290774258" sldId="2147469984"/>
            <ac:spMk id="17" creationId="{5F65B283-103C-9974-AFE5-792C3C879268}"/>
          </ac:spMkLst>
        </pc:spChg>
        <pc:spChg chg="add mod">
          <ac:chgData name="Oriane LE GAVRIAN" userId="1ee00f59-07ab-493e-ac89-27a9fad1a751" providerId="ADAL" clId="{2A42C980-F24C-404E-9967-53B448FC4B31}" dt="2023-03-03T09:08:22.863" v="5461" actId="1076"/>
          <ac:spMkLst>
            <pc:docMk/>
            <pc:sldMk cId="290774258" sldId="2147469984"/>
            <ac:spMk id="18" creationId="{C1A4AAAE-095A-28A0-B43A-9A84DA83E794}"/>
          </ac:spMkLst>
        </pc:spChg>
        <pc:spChg chg="add mod">
          <ac:chgData name="Oriane LE GAVRIAN" userId="1ee00f59-07ab-493e-ac89-27a9fad1a751" providerId="ADAL" clId="{2A42C980-F24C-404E-9967-53B448FC4B31}" dt="2023-03-03T09:08:22.863" v="5461" actId="1076"/>
          <ac:spMkLst>
            <pc:docMk/>
            <pc:sldMk cId="290774258" sldId="2147469984"/>
            <ac:spMk id="19" creationId="{8D0580A3-EE4D-A790-A9E0-95E76732D88D}"/>
          </ac:spMkLst>
        </pc:spChg>
        <pc:spChg chg="add mod">
          <ac:chgData name="Oriane LE GAVRIAN" userId="1ee00f59-07ab-493e-ac89-27a9fad1a751" providerId="ADAL" clId="{2A42C980-F24C-404E-9967-53B448FC4B31}" dt="2023-03-03T09:00:37.820" v="5293" actId="164"/>
          <ac:spMkLst>
            <pc:docMk/>
            <pc:sldMk cId="290774258" sldId="2147469984"/>
            <ac:spMk id="20" creationId="{A3BD2133-D169-7BCD-CFDE-BAF1B0D9EB5B}"/>
          </ac:spMkLst>
        </pc:spChg>
        <pc:spChg chg="add mod">
          <ac:chgData name="Oriane LE GAVRIAN" userId="1ee00f59-07ab-493e-ac89-27a9fad1a751" providerId="ADAL" clId="{2A42C980-F24C-404E-9967-53B448FC4B31}" dt="2023-03-03T09:08:51.664" v="5520" actId="207"/>
          <ac:spMkLst>
            <pc:docMk/>
            <pc:sldMk cId="290774258" sldId="2147469984"/>
            <ac:spMk id="38" creationId="{BDA7C944-7D30-F678-06FB-5E9C6F652C65}"/>
          </ac:spMkLst>
        </pc:spChg>
        <pc:spChg chg="add mod">
          <ac:chgData name="Oriane LE GAVRIAN" userId="1ee00f59-07ab-493e-ac89-27a9fad1a751" providerId="ADAL" clId="{2A42C980-F24C-404E-9967-53B448FC4B31}" dt="2023-03-03T09:22:28.361" v="5585" actId="20577"/>
          <ac:spMkLst>
            <pc:docMk/>
            <pc:sldMk cId="290774258" sldId="2147469984"/>
            <ac:spMk id="39" creationId="{28E85FA1-6B2A-6CD2-DF1E-0D1F1FA20E50}"/>
          </ac:spMkLst>
        </pc:spChg>
        <pc:grpChg chg="add mod ord">
          <ac:chgData name="Oriane LE GAVRIAN" userId="1ee00f59-07ab-493e-ac89-27a9fad1a751" providerId="ADAL" clId="{2A42C980-F24C-404E-9967-53B448FC4B31}" dt="2023-03-03T09:08:22.863" v="5461" actId="1076"/>
          <ac:grpSpMkLst>
            <pc:docMk/>
            <pc:sldMk cId="290774258" sldId="2147469984"/>
            <ac:grpSpMk id="23" creationId="{67B8A81D-EAC9-7D71-55F0-5E3F5BECC553}"/>
          </ac:grpSpMkLst>
        </pc:grpChg>
        <pc:picChg chg="add mod">
          <ac:chgData name="Oriane LE GAVRIAN" userId="1ee00f59-07ab-493e-ac89-27a9fad1a751" providerId="ADAL" clId="{2A42C980-F24C-404E-9967-53B448FC4B31}" dt="2023-03-03T09:00:37.820" v="5293" actId="164"/>
          <ac:picMkLst>
            <pc:docMk/>
            <pc:sldMk cId="290774258" sldId="2147469984"/>
            <ac:picMk id="22" creationId="{13126475-6F29-9F5C-F4EC-60D7AB57AE80}"/>
          </ac:picMkLst>
        </pc:picChg>
        <pc:picChg chg="add mod">
          <ac:chgData name="Oriane LE GAVRIAN" userId="1ee00f59-07ab-493e-ac89-27a9fad1a751" providerId="ADAL" clId="{2A42C980-F24C-404E-9967-53B448FC4B31}" dt="2023-03-03T09:08:22.863" v="5461" actId="1076"/>
          <ac:picMkLst>
            <pc:docMk/>
            <pc:sldMk cId="290774258" sldId="2147469984"/>
            <ac:picMk id="25" creationId="{CA7C1763-1B79-A195-96D0-44B866C152F5}"/>
          </ac:picMkLst>
        </pc:picChg>
        <pc:picChg chg="add mod">
          <ac:chgData name="Oriane LE GAVRIAN" userId="1ee00f59-07ab-493e-ac89-27a9fad1a751" providerId="ADAL" clId="{2A42C980-F24C-404E-9967-53B448FC4B31}" dt="2023-03-03T09:08:22.863" v="5461" actId="1076"/>
          <ac:picMkLst>
            <pc:docMk/>
            <pc:sldMk cId="290774258" sldId="2147469984"/>
            <ac:picMk id="27" creationId="{FB51EB8D-AB07-FBBB-86A8-D0BC5E6E8DFA}"/>
          </ac:picMkLst>
        </pc:picChg>
        <pc:picChg chg="add mod">
          <ac:chgData name="Oriane LE GAVRIAN" userId="1ee00f59-07ab-493e-ac89-27a9fad1a751" providerId="ADAL" clId="{2A42C980-F24C-404E-9967-53B448FC4B31}" dt="2023-03-03T09:08:22.863" v="5461" actId="1076"/>
          <ac:picMkLst>
            <pc:docMk/>
            <pc:sldMk cId="290774258" sldId="2147469984"/>
            <ac:picMk id="29" creationId="{904D07E2-F678-4259-8BF0-6413AF480DB4}"/>
          </ac:picMkLst>
        </pc:picChg>
        <pc:picChg chg="add mod">
          <ac:chgData name="Oriane LE GAVRIAN" userId="1ee00f59-07ab-493e-ac89-27a9fad1a751" providerId="ADAL" clId="{2A42C980-F24C-404E-9967-53B448FC4B31}" dt="2023-03-03T09:08:22.863" v="5461" actId="1076"/>
          <ac:picMkLst>
            <pc:docMk/>
            <pc:sldMk cId="290774258" sldId="2147469984"/>
            <ac:picMk id="31" creationId="{02537B4B-5A9B-FBFB-5688-B809B3195657}"/>
          </ac:picMkLst>
        </pc:picChg>
        <pc:picChg chg="add mod">
          <ac:chgData name="Oriane LE GAVRIAN" userId="1ee00f59-07ab-493e-ac89-27a9fad1a751" providerId="ADAL" clId="{2A42C980-F24C-404E-9967-53B448FC4B31}" dt="2023-03-03T09:08:22.863" v="5461" actId="1076"/>
          <ac:picMkLst>
            <pc:docMk/>
            <pc:sldMk cId="290774258" sldId="2147469984"/>
            <ac:picMk id="33" creationId="{088C7894-08BE-0226-FDD9-6CE3E70591BE}"/>
          </ac:picMkLst>
        </pc:picChg>
        <pc:picChg chg="add mod">
          <ac:chgData name="Oriane LE GAVRIAN" userId="1ee00f59-07ab-493e-ac89-27a9fad1a751" providerId="ADAL" clId="{2A42C980-F24C-404E-9967-53B448FC4B31}" dt="2023-03-03T09:08:22.863" v="5461" actId="1076"/>
          <ac:picMkLst>
            <pc:docMk/>
            <pc:sldMk cId="290774258" sldId="2147469984"/>
            <ac:picMk id="35" creationId="{6709759F-CB4A-DC57-71C7-9135A3758CD6}"/>
          </ac:picMkLst>
        </pc:picChg>
        <pc:picChg chg="add mod">
          <ac:chgData name="Oriane LE GAVRIAN" userId="1ee00f59-07ab-493e-ac89-27a9fad1a751" providerId="ADAL" clId="{2A42C980-F24C-404E-9967-53B448FC4B31}" dt="2023-03-03T09:08:22.863" v="5461" actId="1076"/>
          <ac:picMkLst>
            <pc:docMk/>
            <pc:sldMk cId="290774258" sldId="2147469984"/>
            <ac:picMk id="36" creationId="{C5724DC1-05B5-4625-CF1A-D1CFEC808228}"/>
          </ac:picMkLst>
        </pc:picChg>
        <pc:picChg chg="add mod">
          <ac:chgData name="Oriane LE GAVRIAN" userId="1ee00f59-07ab-493e-ac89-27a9fad1a751" providerId="ADAL" clId="{2A42C980-F24C-404E-9967-53B448FC4B31}" dt="2023-03-03T09:08:22.863" v="5461" actId="1076"/>
          <ac:picMkLst>
            <pc:docMk/>
            <pc:sldMk cId="290774258" sldId="2147469984"/>
            <ac:picMk id="37" creationId="{121533FC-BD6B-ADEA-34B6-90981460D25F}"/>
          </ac:picMkLst>
        </pc:picChg>
      </pc:sldChg>
      <pc:sldChg chg="mod modShow">
        <pc:chgData name="Oriane LE GAVRIAN" userId="1ee00f59-07ab-493e-ac89-27a9fad1a751" providerId="ADAL" clId="{2A42C980-F24C-404E-9967-53B448FC4B31}" dt="2023-03-07T12:50:37.927" v="6428" actId="729"/>
        <pc:sldMkLst>
          <pc:docMk/>
          <pc:sldMk cId="2882582271" sldId="2147469985"/>
        </pc:sldMkLst>
      </pc:sldChg>
      <pc:sldChg chg="addSp delSp modSp add del mod delAnim modAnim">
        <pc:chgData name="Oriane LE GAVRIAN" userId="1ee00f59-07ab-493e-ac89-27a9fad1a751" providerId="ADAL" clId="{2A42C980-F24C-404E-9967-53B448FC4B31}" dt="2023-03-07T12:50:35.543" v="6427" actId="47"/>
        <pc:sldMkLst>
          <pc:docMk/>
          <pc:sldMk cId="2109584365" sldId="2147469993"/>
        </pc:sldMkLst>
        <pc:spChg chg="del">
          <ac:chgData name="Oriane LE GAVRIAN" userId="1ee00f59-07ab-493e-ac89-27a9fad1a751" providerId="ADAL" clId="{2A42C980-F24C-404E-9967-53B448FC4B31}" dt="2023-03-07T12:19:07.771" v="5827" actId="478"/>
          <ac:spMkLst>
            <pc:docMk/>
            <pc:sldMk cId="2109584365" sldId="2147469993"/>
            <ac:spMk id="2" creationId="{9C92F45D-384F-4327-A381-C1AA2AB7717E}"/>
          </ac:spMkLst>
        </pc:spChg>
        <pc:spChg chg="del">
          <ac:chgData name="Oriane LE GAVRIAN" userId="1ee00f59-07ab-493e-ac89-27a9fad1a751" providerId="ADAL" clId="{2A42C980-F24C-404E-9967-53B448FC4B31}" dt="2023-03-07T12:19:12.662" v="5830" actId="478"/>
          <ac:spMkLst>
            <pc:docMk/>
            <pc:sldMk cId="2109584365" sldId="2147469993"/>
            <ac:spMk id="3" creationId="{38E99F3C-D602-F91E-8AAC-1B714CF2FBA0}"/>
          </ac:spMkLst>
        </pc:spChg>
        <pc:spChg chg="add del mod">
          <ac:chgData name="Oriane LE GAVRIAN" userId="1ee00f59-07ab-493e-ac89-27a9fad1a751" providerId="ADAL" clId="{2A42C980-F24C-404E-9967-53B448FC4B31}" dt="2023-03-07T12:19:11.280" v="5829" actId="478"/>
          <ac:spMkLst>
            <pc:docMk/>
            <pc:sldMk cId="2109584365" sldId="2147469993"/>
            <ac:spMk id="5" creationId="{B4EC1E1A-AF42-5A21-354C-037B1AE4FA69}"/>
          </ac:spMkLst>
        </pc:spChg>
        <pc:spChg chg="add del mod">
          <ac:chgData name="Oriane LE GAVRIAN" userId="1ee00f59-07ab-493e-ac89-27a9fad1a751" providerId="ADAL" clId="{2A42C980-F24C-404E-9967-53B448FC4B31}" dt="2023-03-07T12:25:24.678" v="5848" actId="478"/>
          <ac:spMkLst>
            <pc:docMk/>
            <pc:sldMk cId="2109584365" sldId="2147469993"/>
            <ac:spMk id="6" creationId="{CDCFEF11-2523-C5F4-25D4-1725B53B7F90}"/>
          </ac:spMkLst>
        </pc:spChg>
        <pc:spChg chg="del">
          <ac:chgData name="Oriane LE GAVRIAN" userId="1ee00f59-07ab-493e-ac89-27a9fad1a751" providerId="ADAL" clId="{2A42C980-F24C-404E-9967-53B448FC4B31}" dt="2023-03-07T12:20:51.153" v="5834" actId="478"/>
          <ac:spMkLst>
            <pc:docMk/>
            <pc:sldMk cId="2109584365" sldId="2147469993"/>
            <ac:spMk id="7" creationId="{08060756-3928-4F4B-B3D6-1C912A8F7747}"/>
          </ac:spMkLst>
        </pc:spChg>
        <pc:spChg chg="del">
          <ac:chgData name="Oriane LE GAVRIAN" userId="1ee00f59-07ab-493e-ac89-27a9fad1a751" providerId="ADAL" clId="{2A42C980-F24C-404E-9967-53B448FC4B31}" dt="2023-03-07T12:20:51.153" v="5834" actId="478"/>
          <ac:spMkLst>
            <pc:docMk/>
            <pc:sldMk cId="2109584365" sldId="2147469993"/>
            <ac:spMk id="8" creationId="{C081493B-C9D6-437A-B308-6B557791D94D}"/>
          </ac:spMkLst>
        </pc:spChg>
        <pc:spChg chg="del">
          <ac:chgData name="Oriane LE GAVRIAN" userId="1ee00f59-07ab-493e-ac89-27a9fad1a751" providerId="ADAL" clId="{2A42C980-F24C-404E-9967-53B448FC4B31}" dt="2023-03-07T12:20:51.153" v="5834" actId="478"/>
          <ac:spMkLst>
            <pc:docMk/>
            <pc:sldMk cId="2109584365" sldId="2147469993"/>
            <ac:spMk id="9" creationId="{A01C08D9-D34B-4387-9B00-ECF8ECE8552E}"/>
          </ac:spMkLst>
        </pc:spChg>
        <pc:spChg chg="del">
          <ac:chgData name="Oriane LE GAVRIAN" userId="1ee00f59-07ab-493e-ac89-27a9fad1a751" providerId="ADAL" clId="{2A42C980-F24C-404E-9967-53B448FC4B31}" dt="2023-03-07T12:20:51.153" v="5834" actId="478"/>
          <ac:spMkLst>
            <pc:docMk/>
            <pc:sldMk cId="2109584365" sldId="2147469993"/>
            <ac:spMk id="10" creationId="{CDF78CFE-4C4B-4BF9-BBF3-689EFCC5182B}"/>
          </ac:spMkLst>
        </pc:spChg>
        <pc:spChg chg="del">
          <ac:chgData name="Oriane LE GAVRIAN" userId="1ee00f59-07ab-493e-ac89-27a9fad1a751" providerId="ADAL" clId="{2A42C980-F24C-404E-9967-53B448FC4B31}" dt="2023-03-07T12:20:51.153" v="5834" actId="478"/>
          <ac:spMkLst>
            <pc:docMk/>
            <pc:sldMk cId="2109584365" sldId="2147469993"/>
            <ac:spMk id="11" creationId="{4323A02F-F37C-4962-A500-4928FD800F4A}"/>
          </ac:spMkLst>
        </pc:spChg>
        <pc:spChg chg="del">
          <ac:chgData name="Oriane LE GAVRIAN" userId="1ee00f59-07ab-493e-ac89-27a9fad1a751" providerId="ADAL" clId="{2A42C980-F24C-404E-9967-53B448FC4B31}" dt="2023-03-07T12:20:51.153" v="5834" actId="478"/>
          <ac:spMkLst>
            <pc:docMk/>
            <pc:sldMk cId="2109584365" sldId="2147469993"/>
            <ac:spMk id="12" creationId="{C252B529-C441-4C37-881A-44D000B659B9}"/>
          </ac:spMkLst>
        </pc:spChg>
        <pc:spChg chg="del">
          <ac:chgData name="Oriane LE GAVRIAN" userId="1ee00f59-07ab-493e-ac89-27a9fad1a751" providerId="ADAL" clId="{2A42C980-F24C-404E-9967-53B448FC4B31}" dt="2023-03-07T12:19:21.216" v="5831" actId="478"/>
          <ac:spMkLst>
            <pc:docMk/>
            <pc:sldMk cId="2109584365" sldId="2147469993"/>
            <ac:spMk id="13" creationId="{8C65A667-AEE5-4BA3-B299-8CBADCC077F7}"/>
          </ac:spMkLst>
        </pc:spChg>
        <pc:spChg chg="del">
          <ac:chgData name="Oriane LE GAVRIAN" userId="1ee00f59-07ab-493e-ac89-27a9fad1a751" providerId="ADAL" clId="{2A42C980-F24C-404E-9967-53B448FC4B31}" dt="2023-03-07T12:20:51.153" v="5834" actId="478"/>
          <ac:spMkLst>
            <pc:docMk/>
            <pc:sldMk cId="2109584365" sldId="2147469993"/>
            <ac:spMk id="14" creationId="{7AAE8849-C616-420C-A95B-5F5B8DCB3BA5}"/>
          </ac:spMkLst>
        </pc:spChg>
        <pc:spChg chg="del">
          <ac:chgData name="Oriane LE GAVRIAN" userId="1ee00f59-07ab-493e-ac89-27a9fad1a751" providerId="ADAL" clId="{2A42C980-F24C-404E-9967-53B448FC4B31}" dt="2023-03-07T12:20:51.153" v="5834" actId="478"/>
          <ac:spMkLst>
            <pc:docMk/>
            <pc:sldMk cId="2109584365" sldId="2147469993"/>
            <ac:spMk id="16" creationId="{B34C756E-DA19-4AEE-A5E1-C829E7B3392B}"/>
          </ac:spMkLst>
        </pc:spChg>
        <pc:spChg chg="del">
          <ac:chgData name="Oriane LE GAVRIAN" userId="1ee00f59-07ab-493e-ac89-27a9fad1a751" providerId="ADAL" clId="{2A42C980-F24C-404E-9967-53B448FC4B31}" dt="2023-03-07T12:20:51.153" v="5834" actId="478"/>
          <ac:spMkLst>
            <pc:docMk/>
            <pc:sldMk cId="2109584365" sldId="2147469993"/>
            <ac:spMk id="18" creationId="{FB8B0C89-8240-44B2-BBD7-E337060CEBFA}"/>
          </ac:spMkLst>
        </pc:spChg>
        <pc:spChg chg="del">
          <ac:chgData name="Oriane LE GAVRIAN" userId="1ee00f59-07ab-493e-ac89-27a9fad1a751" providerId="ADAL" clId="{2A42C980-F24C-404E-9967-53B448FC4B31}" dt="2023-03-07T12:20:51.153" v="5834" actId="478"/>
          <ac:spMkLst>
            <pc:docMk/>
            <pc:sldMk cId="2109584365" sldId="2147469993"/>
            <ac:spMk id="19" creationId="{8B102C4C-74C8-4AF9-A335-7553DF32CF69}"/>
          </ac:spMkLst>
        </pc:spChg>
        <pc:spChg chg="del">
          <ac:chgData name="Oriane LE GAVRIAN" userId="1ee00f59-07ab-493e-ac89-27a9fad1a751" providerId="ADAL" clId="{2A42C980-F24C-404E-9967-53B448FC4B31}" dt="2023-03-07T12:20:51.153" v="5834" actId="478"/>
          <ac:spMkLst>
            <pc:docMk/>
            <pc:sldMk cId="2109584365" sldId="2147469993"/>
            <ac:spMk id="20" creationId="{3F92E73A-CB06-4352-907E-48C28EC0BF38}"/>
          </ac:spMkLst>
        </pc:spChg>
        <pc:spChg chg="del">
          <ac:chgData name="Oriane LE GAVRIAN" userId="1ee00f59-07ab-493e-ac89-27a9fad1a751" providerId="ADAL" clId="{2A42C980-F24C-404E-9967-53B448FC4B31}" dt="2023-03-07T12:20:51.153" v="5834" actId="478"/>
          <ac:spMkLst>
            <pc:docMk/>
            <pc:sldMk cId="2109584365" sldId="2147469993"/>
            <ac:spMk id="21" creationId="{E771EBBA-BF29-42EE-A575-DD702681C13C}"/>
          </ac:spMkLst>
        </pc:spChg>
        <pc:spChg chg="del">
          <ac:chgData name="Oriane LE GAVRIAN" userId="1ee00f59-07ab-493e-ac89-27a9fad1a751" providerId="ADAL" clId="{2A42C980-F24C-404E-9967-53B448FC4B31}" dt="2023-03-07T12:19:22.728" v="5832" actId="478"/>
          <ac:spMkLst>
            <pc:docMk/>
            <pc:sldMk cId="2109584365" sldId="2147469993"/>
            <ac:spMk id="22" creationId="{5D0F5409-B400-4CAD-9032-5C33670A8156}"/>
          </ac:spMkLst>
        </pc:spChg>
        <pc:spChg chg="del">
          <ac:chgData name="Oriane LE GAVRIAN" userId="1ee00f59-07ab-493e-ac89-27a9fad1a751" providerId="ADAL" clId="{2A42C980-F24C-404E-9967-53B448FC4B31}" dt="2023-03-07T12:20:51.153" v="5834" actId="478"/>
          <ac:spMkLst>
            <pc:docMk/>
            <pc:sldMk cId="2109584365" sldId="2147469993"/>
            <ac:spMk id="28" creationId="{A4C09AA7-A26D-4E56-BD06-3CD47419DC16}"/>
          </ac:spMkLst>
        </pc:spChg>
        <pc:spChg chg="del">
          <ac:chgData name="Oriane LE GAVRIAN" userId="1ee00f59-07ab-493e-ac89-27a9fad1a751" providerId="ADAL" clId="{2A42C980-F24C-404E-9967-53B448FC4B31}" dt="2023-03-07T12:20:51.153" v="5834" actId="478"/>
          <ac:spMkLst>
            <pc:docMk/>
            <pc:sldMk cId="2109584365" sldId="2147469993"/>
            <ac:spMk id="29" creationId="{72678128-09D6-49B7-B19B-75C6244D72B6}"/>
          </ac:spMkLst>
        </pc:spChg>
        <pc:spChg chg="del">
          <ac:chgData name="Oriane LE GAVRIAN" userId="1ee00f59-07ab-493e-ac89-27a9fad1a751" providerId="ADAL" clId="{2A42C980-F24C-404E-9967-53B448FC4B31}" dt="2023-03-07T12:20:51.153" v="5834" actId="478"/>
          <ac:spMkLst>
            <pc:docMk/>
            <pc:sldMk cId="2109584365" sldId="2147469993"/>
            <ac:spMk id="30" creationId="{40180D98-5758-4231-B58A-35AD637CECDE}"/>
          </ac:spMkLst>
        </pc:spChg>
        <pc:spChg chg="del">
          <ac:chgData name="Oriane LE GAVRIAN" userId="1ee00f59-07ab-493e-ac89-27a9fad1a751" providerId="ADAL" clId="{2A42C980-F24C-404E-9967-53B448FC4B31}" dt="2023-03-07T12:20:51.153" v="5834" actId="478"/>
          <ac:spMkLst>
            <pc:docMk/>
            <pc:sldMk cId="2109584365" sldId="2147469993"/>
            <ac:spMk id="31" creationId="{142A17CE-576A-485E-81D3-18164CFCE755}"/>
          </ac:spMkLst>
        </pc:spChg>
        <pc:spChg chg="del">
          <ac:chgData name="Oriane LE GAVRIAN" userId="1ee00f59-07ab-493e-ac89-27a9fad1a751" providerId="ADAL" clId="{2A42C980-F24C-404E-9967-53B448FC4B31}" dt="2023-03-07T12:20:51.153" v="5834" actId="478"/>
          <ac:spMkLst>
            <pc:docMk/>
            <pc:sldMk cId="2109584365" sldId="2147469993"/>
            <ac:spMk id="32" creationId="{DCD4C01F-5562-4194-92B6-F691E6F4D1DE}"/>
          </ac:spMkLst>
        </pc:spChg>
        <pc:spChg chg="del">
          <ac:chgData name="Oriane LE GAVRIAN" userId="1ee00f59-07ab-493e-ac89-27a9fad1a751" providerId="ADAL" clId="{2A42C980-F24C-404E-9967-53B448FC4B31}" dt="2023-03-07T12:20:51.153" v="5834" actId="478"/>
          <ac:spMkLst>
            <pc:docMk/>
            <pc:sldMk cId="2109584365" sldId="2147469993"/>
            <ac:spMk id="33" creationId="{98E63B8D-E6EE-4467-9DDA-C93C8D87567E}"/>
          </ac:spMkLst>
        </pc:spChg>
        <pc:spChg chg="del">
          <ac:chgData name="Oriane LE GAVRIAN" userId="1ee00f59-07ab-493e-ac89-27a9fad1a751" providerId="ADAL" clId="{2A42C980-F24C-404E-9967-53B448FC4B31}" dt="2023-03-07T12:19:23.785" v="5833" actId="478"/>
          <ac:spMkLst>
            <pc:docMk/>
            <pc:sldMk cId="2109584365" sldId="2147469993"/>
            <ac:spMk id="34" creationId="{693F1C99-CFA0-4FC7-8D86-C10F77936A2A}"/>
          </ac:spMkLst>
        </pc:spChg>
        <pc:spChg chg="del">
          <ac:chgData name="Oriane LE GAVRIAN" userId="1ee00f59-07ab-493e-ac89-27a9fad1a751" providerId="ADAL" clId="{2A42C980-F24C-404E-9967-53B448FC4B31}" dt="2023-03-07T12:20:51.153" v="5834" actId="478"/>
          <ac:spMkLst>
            <pc:docMk/>
            <pc:sldMk cId="2109584365" sldId="2147469993"/>
            <ac:spMk id="35" creationId="{42A95514-8FDD-434C-AA26-07AB8FB7D4E8}"/>
          </ac:spMkLst>
        </pc:spChg>
        <pc:spChg chg="del">
          <ac:chgData name="Oriane LE GAVRIAN" userId="1ee00f59-07ab-493e-ac89-27a9fad1a751" providerId="ADAL" clId="{2A42C980-F24C-404E-9967-53B448FC4B31}" dt="2023-03-07T12:20:51.153" v="5834" actId="478"/>
          <ac:spMkLst>
            <pc:docMk/>
            <pc:sldMk cId="2109584365" sldId="2147469993"/>
            <ac:spMk id="36" creationId="{D05723DE-204F-6708-8034-747F4A46747B}"/>
          </ac:spMkLst>
        </pc:spChg>
        <pc:spChg chg="del">
          <ac:chgData name="Oriane LE GAVRIAN" userId="1ee00f59-07ab-493e-ac89-27a9fad1a751" providerId="ADAL" clId="{2A42C980-F24C-404E-9967-53B448FC4B31}" dt="2023-03-07T12:20:51.153" v="5834" actId="478"/>
          <ac:spMkLst>
            <pc:docMk/>
            <pc:sldMk cId="2109584365" sldId="2147469993"/>
            <ac:spMk id="37" creationId="{8A2B04B7-4FB4-42F9-BBD6-2D849CF35736}"/>
          </ac:spMkLst>
        </pc:spChg>
        <pc:spChg chg="del">
          <ac:chgData name="Oriane LE GAVRIAN" userId="1ee00f59-07ab-493e-ac89-27a9fad1a751" providerId="ADAL" clId="{2A42C980-F24C-404E-9967-53B448FC4B31}" dt="2023-03-07T12:20:51.153" v="5834" actId="478"/>
          <ac:spMkLst>
            <pc:docMk/>
            <pc:sldMk cId="2109584365" sldId="2147469993"/>
            <ac:spMk id="38" creationId="{C2D3C262-5FFC-4A4F-992A-67589F43BFB3}"/>
          </ac:spMkLst>
        </pc:spChg>
        <pc:spChg chg="del">
          <ac:chgData name="Oriane LE GAVRIAN" userId="1ee00f59-07ab-493e-ac89-27a9fad1a751" providerId="ADAL" clId="{2A42C980-F24C-404E-9967-53B448FC4B31}" dt="2023-03-07T12:20:51.153" v="5834" actId="478"/>
          <ac:spMkLst>
            <pc:docMk/>
            <pc:sldMk cId="2109584365" sldId="2147469993"/>
            <ac:spMk id="39" creationId="{2B273C91-4D45-40F7-884F-0D5E998348F4}"/>
          </ac:spMkLst>
        </pc:spChg>
        <pc:spChg chg="del">
          <ac:chgData name="Oriane LE GAVRIAN" userId="1ee00f59-07ab-493e-ac89-27a9fad1a751" providerId="ADAL" clId="{2A42C980-F24C-404E-9967-53B448FC4B31}" dt="2023-03-07T12:20:51.153" v="5834" actId="478"/>
          <ac:spMkLst>
            <pc:docMk/>
            <pc:sldMk cId="2109584365" sldId="2147469993"/>
            <ac:spMk id="40" creationId="{006AC63E-88E0-44A9-A114-C0352CBA74A2}"/>
          </ac:spMkLst>
        </pc:spChg>
        <pc:spChg chg="add del mod">
          <ac:chgData name="Oriane LE GAVRIAN" userId="1ee00f59-07ab-493e-ac89-27a9fad1a751" providerId="ADAL" clId="{2A42C980-F24C-404E-9967-53B448FC4B31}" dt="2023-03-07T12:25:24.678" v="5848" actId="478"/>
          <ac:spMkLst>
            <pc:docMk/>
            <pc:sldMk cId="2109584365" sldId="2147469993"/>
            <ac:spMk id="41" creationId="{0304552D-0AA0-7E83-6F91-522190F7646D}"/>
          </ac:spMkLst>
        </pc:spChg>
        <pc:spChg chg="del">
          <ac:chgData name="Oriane LE GAVRIAN" userId="1ee00f59-07ab-493e-ac89-27a9fad1a751" providerId="ADAL" clId="{2A42C980-F24C-404E-9967-53B448FC4B31}" dt="2023-03-07T12:20:51.153" v="5834" actId="478"/>
          <ac:spMkLst>
            <pc:docMk/>
            <pc:sldMk cId="2109584365" sldId="2147469993"/>
            <ac:spMk id="42" creationId="{D9C855E4-837B-4450-AB47-0BDE58847562}"/>
          </ac:spMkLst>
        </pc:spChg>
        <pc:spChg chg="del">
          <ac:chgData name="Oriane LE GAVRIAN" userId="1ee00f59-07ab-493e-ac89-27a9fad1a751" providerId="ADAL" clId="{2A42C980-F24C-404E-9967-53B448FC4B31}" dt="2023-03-07T12:20:51.153" v="5834" actId="478"/>
          <ac:spMkLst>
            <pc:docMk/>
            <pc:sldMk cId="2109584365" sldId="2147469993"/>
            <ac:spMk id="43" creationId="{16127C81-CB18-4BF1-9614-6D5E32D2E566}"/>
          </ac:spMkLst>
        </pc:spChg>
        <pc:spChg chg="del">
          <ac:chgData name="Oriane LE GAVRIAN" userId="1ee00f59-07ab-493e-ac89-27a9fad1a751" providerId="ADAL" clId="{2A42C980-F24C-404E-9967-53B448FC4B31}" dt="2023-03-07T12:20:51.153" v="5834" actId="478"/>
          <ac:spMkLst>
            <pc:docMk/>
            <pc:sldMk cId="2109584365" sldId="2147469993"/>
            <ac:spMk id="44" creationId="{4FC971B6-C357-407F-A2BD-8899DD37BE8E}"/>
          </ac:spMkLst>
        </pc:spChg>
        <pc:spChg chg="del">
          <ac:chgData name="Oriane LE GAVRIAN" userId="1ee00f59-07ab-493e-ac89-27a9fad1a751" providerId="ADAL" clId="{2A42C980-F24C-404E-9967-53B448FC4B31}" dt="2023-03-07T12:19:22.728" v="5832" actId="478"/>
          <ac:spMkLst>
            <pc:docMk/>
            <pc:sldMk cId="2109584365" sldId="2147469993"/>
            <ac:spMk id="45" creationId="{3CFD2DEA-F851-445C-995D-31F651ADD348}"/>
          </ac:spMkLst>
        </pc:spChg>
        <pc:spChg chg="del">
          <ac:chgData name="Oriane LE GAVRIAN" userId="1ee00f59-07ab-493e-ac89-27a9fad1a751" providerId="ADAL" clId="{2A42C980-F24C-404E-9967-53B448FC4B31}" dt="2023-03-07T12:20:51.153" v="5834" actId="478"/>
          <ac:spMkLst>
            <pc:docMk/>
            <pc:sldMk cId="2109584365" sldId="2147469993"/>
            <ac:spMk id="46" creationId="{3BDEE664-37A3-4EEE-80AF-E77F3B03BE2A}"/>
          </ac:spMkLst>
        </pc:spChg>
        <pc:spChg chg="del">
          <ac:chgData name="Oriane LE GAVRIAN" userId="1ee00f59-07ab-493e-ac89-27a9fad1a751" providerId="ADAL" clId="{2A42C980-F24C-404E-9967-53B448FC4B31}" dt="2023-03-07T12:20:51.153" v="5834" actId="478"/>
          <ac:spMkLst>
            <pc:docMk/>
            <pc:sldMk cId="2109584365" sldId="2147469993"/>
            <ac:spMk id="47" creationId="{35C5BC24-A571-4798-A04F-9D11A0602392}"/>
          </ac:spMkLst>
        </pc:spChg>
        <pc:spChg chg="del">
          <ac:chgData name="Oriane LE GAVRIAN" userId="1ee00f59-07ab-493e-ac89-27a9fad1a751" providerId="ADAL" clId="{2A42C980-F24C-404E-9967-53B448FC4B31}" dt="2023-03-07T12:20:51.153" v="5834" actId="478"/>
          <ac:spMkLst>
            <pc:docMk/>
            <pc:sldMk cId="2109584365" sldId="2147469993"/>
            <ac:spMk id="48" creationId="{475FB9D9-57CF-4C39-A5F7-70BD95206DD4}"/>
          </ac:spMkLst>
        </pc:spChg>
        <pc:spChg chg="del">
          <ac:chgData name="Oriane LE GAVRIAN" userId="1ee00f59-07ab-493e-ac89-27a9fad1a751" providerId="ADAL" clId="{2A42C980-F24C-404E-9967-53B448FC4B31}" dt="2023-03-07T12:19:05.451" v="5826" actId="478"/>
          <ac:spMkLst>
            <pc:docMk/>
            <pc:sldMk cId="2109584365" sldId="2147469993"/>
            <ac:spMk id="49" creationId="{EBA293AD-788F-DFEB-404A-2E8DFF68F98E}"/>
          </ac:spMkLst>
        </pc:spChg>
        <pc:spChg chg="add del mod">
          <ac:chgData name="Oriane LE GAVRIAN" userId="1ee00f59-07ab-493e-ac89-27a9fad1a751" providerId="ADAL" clId="{2A42C980-F24C-404E-9967-53B448FC4B31}" dt="2023-03-07T12:25:24.678" v="5848" actId="478"/>
          <ac:spMkLst>
            <pc:docMk/>
            <pc:sldMk cId="2109584365" sldId="2147469993"/>
            <ac:spMk id="51" creationId="{A89451CB-0B85-3DA2-C379-AF25040F3B66}"/>
          </ac:spMkLst>
        </pc:spChg>
        <pc:spChg chg="add del mod">
          <ac:chgData name="Oriane LE GAVRIAN" userId="1ee00f59-07ab-493e-ac89-27a9fad1a751" providerId="ADAL" clId="{2A42C980-F24C-404E-9967-53B448FC4B31}" dt="2023-03-07T12:25:24.678" v="5848" actId="478"/>
          <ac:spMkLst>
            <pc:docMk/>
            <pc:sldMk cId="2109584365" sldId="2147469993"/>
            <ac:spMk id="52" creationId="{4D7F261E-10F4-B689-17EF-6E82A84587C2}"/>
          </ac:spMkLst>
        </pc:spChg>
        <pc:spChg chg="del">
          <ac:chgData name="Oriane LE GAVRIAN" userId="1ee00f59-07ab-493e-ac89-27a9fad1a751" providerId="ADAL" clId="{2A42C980-F24C-404E-9967-53B448FC4B31}" dt="2023-03-07T12:20:51.153" v="5834" actId="478"/>
          <ac:spMkLst>
            <pc:docMk/>
            <pc:sldMk cId="2109584365" sldId="2147469993"/>
            <ac:spMk id="53" creationId="{78B47C2D-A595-42D3-8406-88BFCB7B0AEA}"/>
          </ac:spMkLst>
        </pc:spChg>
        <pc:spChg chg="add del mod">
          <ac:chgData name="Oriane LE GAVRIAN" userId="1ee00f59-07ab-493e-ac89-27a9fad1a751" providerId="ADAL" clId="{2A42C980-F24C-404E-9967-53B448FC4B31}" dt="2023-03-07T12:25:24.678" v="5848" actId="478"/>
          <ac:spMkLst>
            <pc:docMk/>
            <pc:sldMk cId="2109584365" sldId="2147469993"/>
            <ac:spMk id="54" creationId="{8EC4D5B2-751C-436E-9768-A14D76C1BBB3}"/>
          </ac:spMkLst>
        </pc:spChg>
        <pc:spChg chg="del">
          <ac:chgData name="Oriane LE GAVRIAN" userId="1ee00f59-07ab-493e-ac89-27a9fad1a751" providerId="ADAL" clId="{2A42C980-F24C-404E-9967-53B448FC4B31}" dt="2023-03-07T12:19:09.982" v="5828" actId="478"/>
          <ac:spMkLst>
            <pc:docMk/>
            <pc:sldMk cId="2109584365" sldId="2147469993"/>
            <ac:spMk id="55" creationId="{DE677D33-BFA2-871C-9859-90E709F74065}"/>
          </ac:spMkLst>
        </pc:spChg>
        <pc:spChg chg="add del mod">
          <ac:chgData name="Oriane LE GAVRIAN" userId="1ee00f59-07ab-493e-ac89-27a9fad1a751" providerId="ADAL" clId="{2A42C980-F24C-404E-9967-53B448FC4B31}" dt="2023-03-07T12:25:24.678" v="5848" actId="478"/>
          <ac:spMkLst>
            <pc:docMk/>
            <pc:sldMk cId="2109584365" sldId="2147469993"/>
            <ac:spMk id="56" creationId="{342CFC41-1EBD-8894-32C9-25B83BB924C7}"/>
          </ac:spMkLst>
        </pc:spChg>
        <pc:spChg chg="del">
          <ac:chgData name="Oriane LE GAVRIAN" userId="1ee00f59-07ab-493e-ac89-27a9fad1a751" providerId="ADAL" clId="{2A42C980-F24C-404E-9967-53B448FC4B31}" dt="2023-03-07T12:20:51.153" v="5834" actId="478"/>
          <ac:spMkLst>
            <pc:docMk/>
            <pc:sldMk cId="2109584365" sldId="2147469993"/>
            <ac:spMk id="57" creationId="{B8D243E5-219A-30BE-2DF0-6752DB701E4C}"/>
          </ac:spMkLst>
        </pc:spChg>
        <pc:spChg chg="del">
          <ac:chgData name="Oriane LE GAVRIAN" userId="1ee00f59-07ab-493e-ac89-27a9fad1a751" providerId="ADAL" clId="{2A42C980-F24C-404E-9967-53B448FC4B31}" dt="2023-03-07T12:20:51.153" v="5834" actId="478"/>
          <ac:spMkLst>
            <pc:docMk/>
            <pc:sldMk cId="2109584365" sldId="2147469993"/>
            <ac:spMk id="58" creationId="{BF1176DB-BE6D-B1D3-DC76-35EB86223BC3}"/>
          </ac:spMkLst>
        </pc:spChg>
        <pc:spChg chg="del">
          <ac:chgData name="Oriane LE GAVRIAN" userId="1ee00f59-07ab-493e-ac89-27a9fad1a751" providerId="ADAL" clId="{2A42C980-F24C-404E-9967-53B448FC4B31}" dt="2023-03-07T12:20:51.153" v="5834" actId="478"/>
          <ac:spMkLst>
            <pc:docMk/>
            <pc:sldMk cId="2109584365" sldId="2147469993"/>
            <ac:spMk id="60" creationId="{0D2EBED4-7C7A-8403-D100-ACE93A54BE0B}"/>
          </ac:spMkLst>
        </pc:spChg>
        <pc:spChg chg="del">
          <ac:chgData name="Oriane LE GAVRIAN" userId="1ee00f59-07ab-493e-ac89-27a9fad1a751" providerId="ADAL" clId="{2A42C980-F24C-404E-9967-53B448FC4B31}" dt="2023-03-07T12:20:51.153" v="5834" actId="478"/>
          <ac:spMkLst>
            <pc:docMk/>
            <pc:sldMk cId="2109584365" sldId="2147469993"/>
            <ac:spMk id="61" creationId="{8C2AEF94-D2EB-8EC1-A374-3B368DBFEDF9}"/>
          </ac:spMkLst>
        </pc:spChg>
        <pc:spChg chg="del">
          <ac:chgData name="Oriane LE GAVRIAN" userId="1ee00f59-07ab-493e-ac89-27a9fad1a751" providerId="ADAL" clId="{2A42C980-F24C-404E-9967-53B448FC4B31}" dt="2023-03-07T12:20:51.153" v="5834" actId="478"/>
          <ac:spMkLst>
            <pc:docMk/>
            <pc:sldMk cId="2109584365" sldId="2147469993"/>
            <ac:spMk id="62" creationId="{C40D6104-9A23-AA81-1CA8-02040C063E6B}"/>
          </ac:spMkLst>
        </pc:spChg>
        <pc:spChg chg="add del mod">
          <ac:chgData name="Oriane LE GAVRIAN" userId="1ee00f59-07ab-493e-ac89-27a9fad1a751" providerId="ADAL" clId="{2A42C980-F24C-404E-9967-53B448FC4B31}" dt="2023-03-07T12:25:24.678" v="5848" actId="478"/>
          <ac:spMkLst>
            <pc:docMk/>
            <pc:sldMk cId="2109584365" sldId="2147469993"/>
            <ac:spMk id="64" creationId="{305F6E41-099B-B28F-6538-6C01D287EB58}"/>
          </ac:spMkLst>
        </pc:spChg>
        <pc:spChg chg="del">
          <ac:chgData name="Oriane LE GAVRIAN" userId="1ee00f59-07ab-493e-ac89-27a9fad1a751" providerId="ADAL" clId="{2A42C980-F24C-404E-9967-53B448FC4B31}" dt="2023-03-07T12:20:51.153" v="5834" actId="478"/>
          <ac:spMkLst>
            <pc:docMk/>
            <pc:sldMk cId="2109584365" sldId="2147469993"/>
            <ac:spMk id="65" creationId="{A2DF4B2A-A61B-45EC-2A3D-9E2B5CE399F0}"/>
          </ac:spMkLst>
        </pc:spChg>
        <pc:spChg chg="del">
          <ac:chgData name="Oriane LE GAVRIAN" userId="1ee00f59-07ab-493e-ac89-27a9fad1a751" providerId="ADAL" clId="{2A42C980-F24C-404E-9967-53B448FC4B31}" dt="2023-03-07T12:20:51.153" v="5834" actId="478"/>
          <ac:spMkLst>
            <pc:docMk/>
            <pc:sldMk cId="2109584365" sldId="2147469993"/>
            <ac:spMk id="66" creationId="{901336D6-7AB2-E5DD-C135-FD2E41762D80}"/>
          </ac:spMkLst>
        </pc:spChg>
        <pc:spChg chg="add del mod">
          <ac:chgData name="Oriane LE GAVRIAN" userId="1ee00f59-07ab-493e-ac89-27a9fad1a751" providerId="ADAL" clId="{2A42C980-F24C-404E-9967-53B448FC4B31}" dt="2023-03-07T12:25:24.678" v="5848" actId="478"/>
          <ac:spMkLst>
            <pc:docMk/>
            <pc:sldMk cId="2109584365" sldId="2147469993"/>
            <ac:spMk id="67" creationId="{4EF69B28-CDCC-5601-C005-2751D44A5908}"/>
          </ac:spMkLst>
        </pc:spChg>
        <pc:spChg chg="del">
          <ac:chgData name="Oriane LE GAVRIAN" userId="1ee00f59-07ab-493e-ac89-27a9fad1a751" providerId="ADAL" clId="{2A42C980-F24C-404E-9967-53B448FC4B31}" dt="2023-03-07T12:20:51.153" v="5834" actId="478"/>
          <ac:spMkLst>
            <pc:docMk/>
            <pc:sldMk cId="2109584365" sldId="2147469993"/>
            <ac:spMk id="70" creationId="{73CA6441-CEC8-3CC8-E265-32DD4EF3EAC1}"/>
          </ac:spMkLst>
        </pc:spChg>
        <pc:spChg chg="del">
          <ac:chgData name="Oriane LE GAVRIAN" userId="1ee00f59-07ab-493e-ac89-27a9fad1a751" providerId="ADAL" clId="{2A42C980-F24C-404E-9967-53B448FC4B31}" dt="2023-03-07T12:20:51.153" v="5834" actId="478"/>
          <ac:spMkLst>
            <pc:docMk/>
            <pc:sldMk cId="2109584365" sldId="2147469993"/>
            <ac:spMk id="71" creationId="{ED22A42D-3A8C-696B-E7E8-2D0AB29566C9}"/>
          </ac:spMkLst>
        </pc:spChg>
        <pc:spChg chg="del">
          <ac:chgData name="Oriane LE GAVRIAN" userId="1ee00f59-07ab-493e-ac89-27a9fad1a751" providerId="ADAL" clId="{2A42C980-F24C-404E-9967-53B448FC4B31}" dt="2023-03-07T12:20:51.153" v="5834" actId="478"/>
          <ac:spMkLst>
            <pc:docMk/>
            <pc:sldMk cId="2109584365" sldId="2147469993"/>
            <ac:spMk id="72" creationId="{61A1A700-CB22-59F7-67BD-42E736467BAB}"/>
          </ac:spMkLst>
        </pc:spChg>
        <pc:spChg chg="mod">
          <ac:chgData name="Oriane LE GAVRIAN" userId="1ee00f59-07ab-493e-ac89-27a9fad1a751" providerId="ADAL" clId="{2A42C980-F24C-404E-9967-53B448FC4B31}" dt="2023-03-07T12:35:17.892" v="6062" actId="207"/>
          <ac:spMkLst>
            <pc:docMk/>
            <pc:sldMk cId="2109584365" sldId="2147469993"/>
            <ac:spMk id="73" creationId="{C182673D-C902-1AB1-D792-C6F71F16E5C1}"/>
          </ac:spMkLst>
        </pc:spChg>
        <pc:spChg chg="del">
          <ac:chgData name="Oriane LE GAVRIAN" userId="1ee00f59-07ab-493e-ac89-27a9fad1a751" providerId="ADAL" clId="{2A42C980-F24C-404E-9967-53B448FC4B31}" dt="2023-03-07T12:20:51.153" v="5834" actId="478"/>
          <ac:spMkLst>
            <pc:docMk/>
            <pc:sldMk cId="2109584365" sldId="2147469993"/>
            <ac:spMk id="74" creationId="{E3C8924A-F5DB-E565-DF71-0D8E874611A9}"/>
          </ac:spMkLst>
        </pc:spChg>
        <pc:spChg chg="mod">
          <ac:chgData name="Oriane LE GAVRIAN" userId="1ee00f59-07ab-493e-ac89-27a9fad1a751" providerId="ADAL" clId="{2A42C980-F24C-404E-9967-53B448FC4B31}" dt="2023-03-07T12:35:22.391" v="6063" actId="207"/>
          <ac:spMkLst>
            <pc:docMk/>
            <pc:sldMk cId="2109584365" sldId="2147469993"/>
            <ac:spMk id="76" creationId="{57DC36D4-BB42-0913-E478-6A94C2EC95CA}"/>
          </ac:spMkLst>
        </pc:spChg>
        <pc:spChg chg="mod">
          <ac:chgData name="Oriane LE GAVRIAN" userId="1ee00f59-07ab-493e-ac89-27a9fad1a751" providerId="ADAL" clId="{2A42C980-F24C-404E-9967-53B448FC4B31}" dt="2023-03-07T12:35:13.346" v="6061" actId="207"/>
          <ac:spMkLst>
            <pc:docMk/>
            <pc:sldMk cId="2109584365" sldId="2147469993"/>
            <ac:spMk id="77" creationId="{8B5EA78C-DD9E-7612-638D-453DEE9F4C34}"/>
          </ac:spMkLst>
        </pc:spChg>
        <pc:spChg chg="mod">
          <ac:chgData name="Oriane LE GAVRIAN" userId="1ee00f59-07ab-493e-ac89-27a9fad1a751" providerId="ADAL" clId="{2A42C980-F24C-404E-9967-53B448FC4B31}" dt="2023-03-07T12:35:10.165" v="6060" actId="207"/>
          <ac:spMkLst>
            <pc:docMk/>
            <pc:sldMk cId="2109584365" sldId="2147469993"/>
            <ac:spMk id="78" creationId="{9F49FD66-E14E-FA2C-C08E-2FEECA40A69F}"/>
          </ac:spMkLst>
        </pc:spChg>
        <pc:spChg chg="add del mod">
          <ac:chgData name="Oriane LE GAVRIAN" userId="1ee00f59-07ab-493e-ac89-27a9fad1a751" providerId="ADAL" clId="{2A42C980-F24C-404E-9967-53B448FC4B31}" dt="2023-03-07T12:27:46.376" v="5896" actId="478"/>
          <ac:spMkLst>
            <pc:docMk/>
            <pc:sldMk cId="2109584365" sldId="2147469993"/>
            <ac:spMk id="79" creationId="{46AF9415-174D-134F-16AC-E5C01BA3C2CF}"/>
          </ac:spMkLst>
        </pc:spChg>
        <pc:spChg chg="add del mod">
          <ac:chgData name="Oriane LE GAVRIAN" userId="1ee00f59-07ab-493e-ac89-27a9fad1a751" providerId="ADAL" clId="{2A42C980-F24C-404E-9967-53B448FC4B31}" dt="2023-03-07T12:27:46.376" v="5896" actId="478"/>
          <ac:spMkLst>
            <pc:docMk/>
            <pc:sldMk cId="2109584365" sldId="2147469993"/>
            <ac:spMk id="80" creationId="{F7D4552A-899E-9E49-DE87-C93F1F137FBC}"/>
          </ac:spMkLst>
        </pc:spChg>
        <pc:spChg chg="add del mod">
          <ac:chgData name="Oriane LE GAVRIAN" userId="1ee00f59-07ab-493e-ac89-27a9fad1a751" providerId="ADAL" clId="{2A42C980-F24C-404E-9967-53B448FC4B31}" dt="2023-03-07T12:27:46.376" v="5896" actId="478"/>
          <ac:spMkLst>
            <pc:docMk/>
            <pc:sldMk cId="2109584365" sldId="2147469993"/>
            <ac:spMk id="81" creationId="{1F89B8B1-5935-FB92-0A1D-82980EE5D534}"/>
          </ac:spMkLst>
        </pc:spChg>
        <pc:spChg chg="add del mod">
          <ac:chgData name="Oriane LE GAVRIAN" userId="1ee00f59-07ab-493e-ac89-27a9fad1a751" providerId="ADAL" clId="{2A42C980-F24C-404E-9967-53B448FC4B31}" dt="2023-03-07T12:27:48.161" v="5897" actId="478"/>
          <ac:spMkLst>
            <pc:docMk/>
            <pc:sldMk cId="2109584365" sldId="2147469993"/>
            <ac:spMk id="82" creationId="{7B499663-CB3E-AA44-966B-F19E1151C8A7}"/>
          </ac:spMkLst>
        </pc:spChg>
        <pc:spChg chg="add mod ord topLvl">
          <ac:chgData name="Oriane LE GAVRIAN" userId="1ee00f59-07ab-493e-ac89-27a9fad1a751" providerId="ADAL" clId="{2A42C980-F24C-404E-9967-53B448FC4B31}" dt="2023-03-07T12:39:18.616" v="6261" actId="1036"/>
          <ac:spMkLst>
            <pc:docMk/>
            <pc:sldMk cId="2109584365" sldId="2147469993"/>
            <ac:spMk id="83" creationId="{0AC234AD-4B90-A580-A1D3-3467D363DCB0}"/>
          </ac:spMkLst>
        </pc:spChg>
        <pc:spChg chg="add mod topLvl">
          <ac:chgData name="Oriane LE GAVRIAN" userId="1ee00f59-07ab-493e-ac89-27a9fad1a751" providerId="ADAL" clId="{2A42C980-F24C-404E-9967-53B448FC4B31}" dt="2023-03-07T12:39:18.616" v="6261" actId="1036"/>
          <ac:spMkLst>
            <pc:docMk/>
            <pc:sldMk cId="2109584365" sldId="2147469993"/>
            <ac:spMk id="84" creationId="{EA45557F-34E4-7E1D-6312-4C007A5A2AA7}"/>
          </ac:spMkLst>
        </pc:spChg>
        <pc:spChg chg="add mod ord topLvl">
          <ac:chgData name="Oriane LE GAVRIAN" userId="1ee00f59-07ab-493e-ac89-27a9fad1a751" providerId="ADAL" clId="{2A42C980-F24C-404E-9967-53B448FC4B31}" dt="2023-03-07T12:39:18.616" v="6261" actId="1036"/>
          <ac:spMkLst>
            <pc:docMk/>
            <pc:sldMk cId="2109584365" sldId="2147469993"/>
            <ac:spMk id="85" creationId="{869B18A4-5526-65F1-7862-CF92C3DD8772}"/>
          </ac:spMkLst>
        </pc:spChg>
        <pc:spChg chg="add mod ord topLvl">
          <ac:chgData name="Oriane LE GAVRIAN" userId="1ee00f59-07ab-493e-ac89-27a9fad1a751" providerId="ADAL" clId="{2A42C980-F24C-404E-9967-53B448FC4B31}" dt="2023-03-07T12:41:10.934" v="6288" actId="14100"/>
          <ac:spMkLst>
            <pc:docMk/>
            <pc:sldMk cId="2109584365" sldId="2147469993"/>
            <ac:spMk id="86" creationId="{3387A3D6-1B31-FF17-C7FF-8B3431D6A86F}"/>
          </ac:spMkLst>
        </pc:spChg>
        <pc:spChg chg="add mod">
          <ac:chgData name="Oriane LE GAVRIAN" userId="1ee00f59-07ab-493e-ac89-27a9fad1a751" providerId="ADAL" clId="{2A42C980-F24C-404E-9967-53B448FC4B31}" dt="2023-03-07T12:41:32.333" v="6298" actId="1035"/>
          <ac:spMkLst>
            <pc:docMk/>
            <pc:sldMk cId="2109584365" sldId="2147469993"/>
            <ac:spMk id="88" creationId="{B0967E69-080B-AD11-1F0F-AE310741986D}"/>
          </ac:spMkLst>
        </pc:spChg>
        <pc:spChg chg="add mod">
          <ac:chgData name="Oriane LE GAVRIAN" userId="1ee00f59-07ab-493e-ac89-27a9fad1a751" providerId="ADAL" clId="{2A42C980-F24C-404E-9967-53B448FC4B31}" dt="2023-03-07T12:41:32.333" v="6298" actId="1035"/>
          <ac:spMkLst>
            <pc:docMk/>
            <pc:sldMk cId="2109584365" sldId="2147469993"/>
            <ac:spMk id="89" creationId="{F31EE25C-A45E-208F-D966-6EA284DC69F1}"/>
          </ac:spMkLst>
        </pc:spChg>
        <pc:spChg chg="add mod">
          <ac:chgData name="Oriane LE GAVRIAN" userId="1ee00f59-07ab-493e-ac89-27a9fad1a751" providerId="ADAL" clId="{2A42C980-F24C-404E-9967-53B448FC4B31}" dt="2023-03-07T12:47:15.643" v="6389" actId="313"/>
          <ac:spMkLst>
            <pc:docMk/>
            <pc:sldMk cId="2109584365" sldId="2147469993"/>
            <ac:spMk id="90" creationId="{9690F80B-85DB-835F-86F3-ECF9E52B91A4}"/>
          </ac:spMkLst>
        </pc:spChg>
        <pc:spChg chg="add mod">
          <ac:chgData name="Oriane LE GAVRIAN" userId="1ee00f59-07ab-493e-ac89-27a9fad1a751" providerId="ADAL" clId="{2A42C980-F24C-404E-9967-53B448FC4B31}" dt="2023-03-07T12:41:35.815" v="6308" actId="1036"/>
          <ac:spMkLst>
            <pc:docMk/>
            <pc:sldMk cId="2109584365" sldId="2147469993"/>
            <ac:spMk id="91" creationId="{E5DF831D-BF7A-0CAD-1320-3A1C11EBABA4}"/>
          </ac:spMkLst>
        </pc:spChg>
        <pc:spChg chg="add mod">
          <ac:chgData name="Oriane LE GAVRIAN" userId="1ee00f59-07ab-493e-ac89-27a9fad1a751" providerId="ADAL" clId="{2A42C980-F24C-404E-9967-53B448FC4B31}" dt="2023-03-07T12:50:00.836" v="6422" actId="14100"/>
          <ac:spMkLst>
            <pc:docMk/>
            <pc:sldMk cId="2109584365" sldId="2147469993"/>
            <ac:spMk id="92" creationId="{CA42E908-DF4B-5B4C-7DD8-41E3509712CD}"/>
          </ac:spMkLst>
        </pc:spChg>
        <pc:spChg chg="add mod">
          <ac:chgData name="Oriane LE GAVRIAN" userId="1ee00f59-07ab-493e-ac89-27a9fad1a751" providerId="ADAL" clId="{2A42C980-F24C-404E-9967-53B448FC4B31}" dt="2023-03-07T12:50:05.421" v="6423" actId="1076"/>
          <ac:spMkLst>
            <pc:docMk/>
            <pc:sldMk cId="2109584365" sldId="2147469993"/>
            <ac:spMk id="93" creationId="{D9ACD09B-752E-A0A3-5D6E-C3DF6A85767E}"/>
          </ac:spMkLst>
        </pc:spChg>
        <pc:spChg chg="add mod">
          <ac:chgData name="Oriane LE GAVRIAN" userId="1ee00f59-07ab-493e-ac89-27a9fad1a751" providerId="ADAL" clId="{2A42C980-F24C-404E-9967-53B448FC4B31}" dt="2023-03-07T12:46:43.059" v="6381" actId="1076"/>
          <ac:spMkLst>
            <pc:docMk/>
            <pc:sldMk cId="2109584365" sldId="2147469993"/>
            <ac:spMk id="94" creationId="{9EA4A3D9-9AF8-57BC-F910-6FEB3690A34C}"/>
          </ac:spMkLst>
        </pc:spChg>
        <pc:spChg chg="add mod">
          <ac:chgData name="Oriane LE GAVRIAN" userId="1ee00f59-07ab-493e-ac89-27a9fad1a751" providerId="ADAL" clId="{2A42C980-F24C-404E-9967-53B448FC4B31}" dt="2023-03-07T12:46:33.290" v="6376" actId="14100"/>
          <ac:spMkLst>
            <pc:docMk/>
            <pc:sldMk cId="2109584365" sldId="2147469993"/>
            <ac:spMk id="95" creationId="{F492401A-B446-E2F9-9EEB-06E13AC5CA2D}"/>
          </ac:spMkLst>
        </pc:spChg>
        <pc:spChg chg="add mod ord">
          <ac:chgData name="Oriane LE GAVRIAN" userId="1ee00f59-07ab-493e-ac89-27a9fad1a751" providerId="ADAL" clId="{2A42C980-F24C-404E-9967-53B448FC4B31}" dt="2023-03-07T12:39:35.461" v="6265" actId="3064"/>
          <ac:spMkLst>
            <pc:docMk/>
            <pc:sldMk cId="2109584365" sldId="2147469993"/>
            <ac:spMk id="96" creationId="{73EC5CA5-54EB-0ED0-95BC-042F3B99F674}"/>
          </ac:spMkLst>
        </pc:spChg>
        <pc:spChg chg="add mod ord">
          <ac:chgData name="Oriane LE GAVRIAN" userId="1ee00f59-07ab-493e-ac89-27a9fad1a751" providerId="ADAL" clId="{2A42C980-F24C-404E-9967-53B448FC4B31}" dt="2023-03-07T12:46:38.753" v="6380" actId="1076"/>
          <ac:spMkLst>
            <pc:docMk/>
            <pc:sldMk cId="2109584365" sldId="2147469993"/>
            <ac:spMk id="97" creationId="{DF4161C7-5E79-E297-C012-2AE62A7A93D0}"/>
          </ac:spMkLst>
        </pc:spChg>
        <pc:spChg chg="add mod">
          <ac:chgData name="Oriane LE GAVRIAN" userId="1ee00f59-07ab-493e-ac89-27a9fad1a751" providerId="ADAL" clId="{2A42C980-F24C-404E-9967-53B448FC4B31}" dt="2023-03-07T12:39:11.168" v="6243" actId="1076"/>
          <ac:spMkLst>
            <pc:docMk/>
            <pc:sldMk cId="2109584365" sldId="2147469993"/>
            <ac:spMk id="98" creationId="{70B86A5D-44B6-897E-8EC4-13EF41DD3441}"/>
          </ac:spMkLst>
        </pc:spChg>
        <pc:spChg chg="add mod">
          <ac:chgData name="Oriane LE GAVRIAN" userId="1ee00f59-07ab-493e-ac89-27a9fad1a751" providerId="ADAL" clId="{2A42C980-F24C-404E-9967-53B448FC4B31}" dt="2023-03-07T12:39:11.168" v="6243" actId="1076"/>
          <ac:spMkLst>
            <pc:docMk/>
            <pc:sldMk cId="2109584365" sldId="2147469993"/>
            <ac:spMk id="99" creationId="{E2636D44-C738-E4FE-AEDF-56E9E60C8911}"/>
          </ac:spMkLst>
        </pc:spChg>
        <pc:grpChg chg="add mod">
          <ac:chgData name="Oriane LE GAVRIAN" userId="1ee00f59-07ab-493e-ac89-27a9fad1a751" providerId="ADAL" clId="{2A42C980-F24C-404E-9967-53B448FC4B31}" dt="2023-03-07T12:46:24.424" v="6374" actId="1038"/>
          <ac:grpSpMkLst>
            <pc:docMk/>
            <pc:sldMk cId="2109584365" sldId="2147469993"/>
            <ac:grpSpMk id="68" creationId="{902F21DD-349B-0C22-4527-77BF45ECB4EB}"/>
          </ac:grpSpMkLst>
        </pc:grpChg>
        <pc:grpChg chg="add del mod">
          <ac:chgData name="Oriane LE GAVRIAN" userId="1ee00f59-07ab-493e-ac89-27a9fad1a751" providerId="ADAL" clId="{2A42C980-F24C-404E-9967-53B448FC4B31}" dt="2023-03-07T12:30:12.537" v="5922" actId="165"/>
          <ac:grpSpMkLst>
            <pc:docMk/>
            <pc:sldMk cId="2109584365" sldId="2147469993"/>
            <ac:grpSpMk id="87" creationId="{B0DEEF5F-9C4A-F4A7-F8D0-F93952AD8499}"/>
          </ac:grpSpMkLst>
        </pc:grpChg>
        <pc:picChg chg="add mod">
          <ac:chgData name="Oriane LE GAVRIAN" userId="1ee00f59-07ab-493e-ac89-27a9fad1a751" providerId="ADAL" clId="{2A42C980-F24C-404E-9967-53B448FC4B31}" dt="2023-03-07T12:39:11.168" v="6243" actId="1076"/>
          <ac:picMkLst>
            <pc:docMk/>
            <pc:sldMk cId="2109584365" sldId="2147469993"/>
            <ac:picMk id="101" creationId="{0C179B57-5A9E-1213-3741-3D229198627C}"/>
          </ac:picMkLst>
        </pc:picChg>
        <pc:picChg chg="add mod">
          <ac:chgData name="Oriane LE GAVRIAN" userId="1ee00f59-07ab-493e-ac89-27a9fad1a751" providerId="ADAL" clId="{2A42C980-F24C-404E-9967-53B448FC4B31}" dt="2023-03-07T12:39:11.168" v="6243" actId="1076"/>
          <ac:picMkLst>
            <pc:docMk/>
            <pc:sldMk cId="2109584365" sldId="2147469993"/>
            <ac:picMk id="102" creationId="{B7F7C88B-C5F4-BA5B-F4FB-37301D215E79}"/>
          </ac:picMkLst>
        </pc:picChg>
        <pc:cxnChg chg="del mod">
          <ac:chgData name="Oriane LE GAVRIAN" userId="1ee00f59-07ab-493e-ac89-27a9fad1a751" providerId="ADAL" clId="{2A42C980-F24C-404E-9967-53B448FC4B31}" dt="2023-03-07T12:20:51.153" v="5834" actId="478"/>
          <ac:cxnSpMkLst>
            <pc:docMk/>
            <pc:sldMk cId="2109584365" sldId="2147469993"/>
            <ac:cxnSpMk id="15" creationId="{8FA0C07E-69AA-4C58-BC32-1CE51EBCD28E}"/>
          </ac:cxnSpMkLst>
        </pc:cxnChg>
        <pc:cxnChg chg="del mod">
          <ac:chgData name="Oriane LE GAVRIAN" userId="1ee00f59-07ab-493e-ac89-27a9fad1a751" providerId="ADAL" clId="{2A42C980-F24C-404E-9967-53B448FC4B31}" dt="2023-03-07T12:20:51.153" v="5834" actId="478"/>
          <ac:cxnSpMkLst>
            <pc:docMk/>
            <pc:sldMk cId="2109584365" sldId="2147469993"/>
            <ac:cxnSpMk id="17" creationId="{E0A87758-B4DD-4744-9D07-E066D99C8263}"/>
          </ac:cxnSpMkLst>
        </pc:cxnChg>
        <pc:cxnChg chg="del mod">
          <ac:chgData name="Oriane LE GAVRIAN" userId="1ee00f59-07ab-493e-ac89-27a9fad1a751" providerId="ADAL" clId="{2A42C980-F24C-404E-9967-53B448FC4B31}" dt="2023-03-07T12:20:51.153" v="5834" actId="478"/>
          <ac:cxnSpMkLst>
            <pc:docMk/>
            <pc:sldMk cId="2109584365" sldId="2147469993"/>
            <ac:cxnSpMk id="23" creationId="{45734D63-ED00-470B-8964-A72E0B65EB93}"/>
          </ac:cxnSpMkLst>
        </pc:cxnChg>
        <pc:cxnChg chg="del mod">
          <ac:chgData name="Oriane LE GAVRIAN" userId="1ee00f59-07ab-493e-ac89-27a9fad1a751" providerId="ADAL" clId="{2A42C980-F24C-404E-9967-53B448FC4B31}" dt="2023-03-07T12:20:51.153" v="5834" actId="478"/>
          <ac:cxnSpMkLst>
            <pc:docMk/>
            <pc:sldMk cId="2109584365" sldId="2147469993"/>
            <ac:cxnSpMk id="24" creationId="{0374E81D-EB43-49B2-80EF-2651634D6E3B}"/>
          </ac:cxnSpMkLst>
        </pc:cxnChg>
        <pc:cxnChg chg="del mod">
          <ac:chgData name="Oriane LE GAVRIAN" userId="1ee00f59-07ab-493e-ac89-27a9fad1a751" providerId="ADAL" clId="{2A42C980-F24C-404E-9967-53B448FC4B31}" dt="2023-03-07T12:20:51.153" v="5834" actId="478"/>
          <ac:cxnSpMkLst>
            <pc:docMk/>
            <pc:sldMk cId="2109584365" sldId="2147469993"/>
            <ac:cxnSpMk id="25" creationId="{49C9F5F6-A5A2-412F-B232-6D202D652D7F}"/>
          </ac:cxnSpMkLst>
        </pc:cxnChg>
        <pc:cxnChg chg="del mod">
          <ac:chgData name="Oriane LE GAVRIAN" userId="1ee00f59-07ab-493e-ac89-27a9fad1a751" providerId="ADAL" clId="{2A42C980-F24C-404E-9967-53B448FC4B31}" dt="2023-03-07T12:20:51.153" v="5834" actId="478"/>
          <ac:cxnSpMkLst>
            <pc:docMk/>
            <pc:sldMk cId="2109584365" sldId="2147469993"/>
            <ac:cxnSpMk id="26" creationId="{9BFFC2AB-E91E-4C07-9B37-BBBED0FFFEAA}"/>
          </ac:cxnSpMkLst>
        </pc:cxnChg>
        <pc:cxnChg chg="del mod">
          <ac:chgData name="Oriane LE GAVRIAN" userId="1ee00f59-07ab-493e-ac89-27a9fad1a751" providerId="ADAL" clId="{2A42C980-F24C-404E-9967-53B448FC4B31}" dt="2023-03-07T12:20:51.153" v="5834" actId="478"/>
          <ac:cxnSpMkLst>
            <pc:docMk/>
            <pc:sldMk cId="2109584365" sldId="2147469993"/>
            <ac:cxnSpMk id="27" creationId="{027F4798-59CF-4464-8853-49129B3156D5}"/>
          </ac:cxnSpMkLst>
        </pc:cxnChg>
        <pc:cxnChg chg="del">
          <ac:chgData name="Oriane LE GAVRIAN" userId="1ee00f59-07ab-493e-ac89-27a9fad1a751" providerId="ADAL" clId="{2A42C980-F24C-404E-9967-53B448FC4B31}" dt="2023-03-07T12:20:51.153" v="5834" actId="478"/>
          <ac:cxnSpMkLst>
            <pc:docMk/>
            <pc:sldMk cId="2109584365" sldId="2147469993"/>
            <ac:cxnSpMk id="50" creationId="{78606595-1962-48ED-B2B9-4CC5BD04A355}"/>
          </ac:cxnSpMkLst>
        </pc:cxnChg>
        <pc:cxnChg chg="del mod">
          <ac:chgData name="Oriane LE GAVRIAN" userId="1ee00f59-07ab-493e-ac89-27a9fad1a751" providerId="ADAL" clId="{2A42C980-F24C-404E-9967-53B448FC4B31}" dt="2023-03-07T12:20:51.153" v="5834" actId="478"/>
          <ac:cxnSpMkLst>
            <pc:docMk/>
            <pc:sldMk cId="2109584365" sldId="2147469993"/>
            <ac:cxnSpMk id="59" creationId="{7028DBA8-8D40-77B9-DFEA-73BCB8131F18}"/>
          </ac:cxnSpMkLst>
        </pc:cxnChg>
        <pc:cxnChg chg="del">
          <ac:chgData name="Oriane LE GAVRIAN" userId="1ee00f59-07ab-493e-ac89-27a9fad1a751" providerId="ADAL" clId="{2A42C980-F24C-404E-9967-53B448FC4B31}" dt="2023-03-07T12:20:51.153" v="5834" actId="478"/>
          <ac:cxnSpMkLst>
            <pc:docMk/>
            <pc:sldMk cId="2109584365" sldId="2147469993"/>
            <ac:cxnSpMk id="63" creationId="{528C1072-52AE-A8B6-0E68-CF762DA1D463}"/>
          </ac:cxnSpMkLst>
        </pc:cxnChg>
        <pc:cxnChg chg="del mod">
          <ac:chgData name="Oriane LE GAVRIAN" userId="1ee00f59-07ab-493e-ac89-27a9fad1a751" providerId="ADAL" clId="{2A42C980-F24C-404E-9967-53B448FC4B31}" dt="2023-03-07T12:20:51.153" v="5834" actId="478"/>
          <ac:cxnSpMkLst>
            <pc:docMk/>
            <pc:sldMk cId="2109584365" sldId="2147469993"/>
            <ac:cxnSpMk id="69" creationId="{68CE0337-DB2D-5691-5CEF-0FBD1EC7DF5B}"/>
          </ac:cxnSpMkLst>
        </pc:cxnChg>
        <pc:cxnChg chg="del">
          <ac:chgData name="Oriane LE GAVRIAN" userId="1ee00f59-07ab-493e-ac89-27a9fad1a751" providerId="ADAL" clId="{2A42C980-F24C-404E-9967-53B448FC4B31}" dt="2023-03-07T12:20:51.153" v="5834" actId="478"/>
          <ac:cxnSpMkLst>
            <pc:docMk/>
            <pc:sldMk cId="2109584365" sldId="2147469993"/>
            <ac:cxnSpMk id="75" creationId="{FC8E87DD-0C6A-B898-28BA-F211AAB4B880}"/>
          </ac:cxnSpMkLst>
        </pc:cxnChg>
        <pc:cxnChg chg="add mod">
          <ac:chgData name="Oriane LE GAVRIAN" userId="1ee00f59-07ab-493e-ac89-27a9fad1a751" providerId="ADAL" clId="{2A42C980-F24C-404E-9967-53B448FC4B31}" dt="2023-03-07T12:45:27.151" v="6352" actId="1582"/>
          <ac:cxnSpMkLst>
            <pc:docMk/>
            <pc:sldMk cId="2109584365" sldId="2147469993"/>
            <ac:cxnSpMk id="104" creationId="{212D414B-48BD-C4E0-C48A-5E4C68E71E01}"/>
          </ac:cxnSpMkLst>
        </pc:cxnChg>
        <pc:cxnChg chg="add mod">
          <ac:chgData name="Oriane LE GAVRIAN" userId="1ee00f59-07ab-493e-ac89-27a9fad1a751" providerId="ADAL" clId="{2A42C980-F24C-404E-9967-53B448FC4B31}" dt="2023-03-07T12:45:27.151" v="6352" actId="1582"/>
          <ac:cxnSpMkLst>
            <pc:docMk/>
            <pc:sldMk cId="2109584365" sldId="2147469993"/>
            <ac:cxnSpMk id="108" creationId="{4556ED8E-8BAD-A23E-4877-FD1912E44F6E}"/>
          </ac:cxnSpMkLst>
        </pc:cxnChg>
        <pc:cxnChg chg="add mod">
          <ac:chgData name="Oriane LE GAVRIAN" userId="1ee00f59-07ab-493e-ac89-27a9fad1a751" providerId="ADAL" clId="{2A42C980-F24C-404E-9967-53B448FC4B31}" dt="2023-03-07T12:45:27.151" v="6352" actId="1582"/>
          <ac:cxnSpMkLst>
            <pc:docMk/>
            <pc:sldMk cId="2109584365" sldId="2147469993"/>
            <ac:cxnSpMk id="109" creationId="{9D399618-30FF-6A4F-49BC-D7C6C20C1948}"/>
          </ac:cxnSpMkLst>
        </pc:cxnChg>
        <pc:cxnChg chg="add mod">
          <ac:chgData name="Oriane LE GAVRIAN" userId="1ee00f59-07ab-493e-ac89-27a9fad1a751" providerId="ADAL" clId="{2A42C980-F24C-404E-9967-53B448FC4B31}" dt="2023-03-07T12:45:27.151" v="6352" actId="1582"/>
          <ac:cxnSpMkLst>
            <pc:docMk/>
            <pc:sldMk cId="2109584365" sldId="2147469993"/>
            <ac:cxnSpMk id="110" creationId="{014AF6F8-C624-7F92-385A-C5A66180D7DF}"/>
          </ac:cxnSpMkLst>
        </pc:cxnChg>
        <pc:cxnChg chg="add mod">
          <ac:chgData name="Oriane LE GAVRIAN" userId="1ee00f59-07ab-493e-ac89-27a9fad1a751" providerId="ADAL" clId="{2A42C980-F24C-404E-9967-53B448FC4B31}" dt="2023-03-07T12:48:26.844" v="6404" actId="14100"/>
          <ac:cxnSpMkLst>
            <pc:docMk/>
            <pc:sldMk cId="2109584365" sldId="2147469993"/>
            <ac:cxnSpMk id="112" creationId="{3D6A3B4B-A4AF-9E07-8398-2C0473589D3E}"/>
          </ac:cxnSpMkLst>
        </pc:cxnChg>
        <pc:cxnChg chg="add mod">
          <ac:chgData name="Oriane LE GAVRIAN" userId="1ee00f59-07ab-493e-ac89-27a9fad1a751" providerId="ADAL" clId="{2A42C980-F24C-404E-9967-53B448FC4B31}" dt="2023-03-07T12:48:30.134" v="6405" actId="14100"/>
          <ac:cxnSpMkLst>
            <pc:docMk/>
            <pc:sldMk cId="2109584365" sldId="2147469993"/>
            <ac:cxnSpMk id="115" creationId="{F649BA91-29E7-8DAB-4069-9E6564AAAD0C}"/>
          </ac:cxnSpMkLst>
        </pc:cxnChg>
        <pc:cxnChg chg="add mod">
          <ac:chgData name="Oriane LE GAVRIAN" userId="1ee00f59-07ab-493e-ac89-27a9fad1a751" providerId="ADAL" clId="{2A42C980-F24C-404E-9967-53B448FC4B31}" dt="2023-03-07T12:49:12.615" v="6411" actId="208"/>
          <ac:cxnSpMkLst>
            <pc:docMk/>
            <pc:sldMk cId="2109584365" sldId="2147469993"/>
            <ac:cxnSpMk id="118" creationId="{47C095E8-DCF7-6EC9-93AE-4F4C87A9E7F3}"/>
          </ac:cxnSpMkLst>
        </pc:cxnChg>
        <pc:cxnChg chg="add del mod">
          <ac:chgData name="Oriane LE GAVRIAN" userId="1ee00f59-07ab-493e-ac89-27a9fad1a751" providerId="ADAL" clId="{2A42C980-F24C-404E-9967-53B448FC4B31}" dt="2023-03-07T12:49:33.853" v="6415" actId="478"/>
          <ac:cxnSpMkLst>
            <pc:docMk/>
            <pc:sldMk cId="2109584365" sldId="2147469993"/>
            <ac:cxnSpMk id="120" creationId="{32ED658C-CEA4-AD9D-C32C-B61DD7A98C37}"/>
          </ac:cxnSpMkLst>
        </pc:cxnChg>
        <pc:cxnChg chg="add mod">
          <ac:chgData name="Oriane LE GAVRIAN" userId="1ee00f59-07ab-493e-ac89-27a9fad1a751" providerId="ADAL" clId="{2A42C980-F24C-404E-9967-53B448FC4B31}" dt="2023-03-07T12:49:52.530" v="6420" actId="208"/>
          <ac:cxnSpMkLst>
            <pc:docMk/>
            <pc:sldMk cId="2109584365" sldId="2147469993"/>
            <ac:cxnSpMk id="121" creationId="{D5D3A76A-F9F3-BB6F-9F78-ABD004D224D4}"/>
          </ac:cxnSpMkLst>
        </pc:cxnChg>
      </pc:sldChg>
      <pc:sldChg chg="addSp delSp modSp add mod ord modCm">
        <pc:chgData name="Oriane LE GAVRIAN" userId="1ee00f59-07ab-493e-ac89-27a9fad1a751" providerId="ADAL" clId="{2A42C980-F24C-404E-9967-53B448FC4B31}" dt="2023-03-07T13:18:27.810" v="6966" actId="1037"/>
        <pc:sldMkLst>
          <pc:docMk/>
          <pc:sldMk cId="3239217406" sldId="2147469993"/>
        </pc:sldMkLst>
        <pc:spChg chg="del">
          <ac:chgData name="Oriane LE GAVRIAN" userId="1ee00f59-07ab-493e-ac89-27a9fad1a751" providerId="ADAL" clId="{2A42C980-F24C-404E-9967-53B448FC4B31}" dt="2023-03-07T12:56:27.459" v="6493" actId="478"/>
          <ac:spMkLst>
            <pc:docMk/>
            <pc:sldMk cId="3239217406" sldId="2147469993"/>
            <ac:spMk id="3" creationId="{5C964E1E-606E-4F2E-0D44-2B397AB2EB89}"/>
          </ac:spMkLst>
        </pc:spChg>
        <pc:spChg chg="mod">
          <ac:chgData name="Oriane LE GAVRIAN" userId="1ee00f59-07ab-493e-ac89-27a9fad1a751" providerId="ADAL" clId="{2A42C980-F24C-404E-9967-53B448FC4B31}" dt="2023-03-07T12:58:26.349" v="6521" actId="21"/>
          <ac:spMkLst>
            <pc:docMk/>
            <pc:sldMk cId="3239217406" sldId="2147469993"/>
            <ac:spMk id="4" creationId="{DFE4ECB6-193A-41CD-8C1D-5A9AA8C9E006}"/>
          </ac:spMkLst>
        </pc:spChg>
        <pc:spChg chg="del">
          <ac:chgData name="Oriane LE GAVRIAN" userId="1ee00f59-07ab-493e-ac89-27a9fad1a751" providerId="ADAL" clId="{2A42C980-F24C-404E-9967-53B448FC4B31}" dt="2023-03-07T12:58:14.389" v="6516" actId="478"/>
          <ac:spMkLst>
            <pc:docMk/>
            <pc:sldMk cId="3239217406" sldId="2147469993"/>
            <ac:spMk id="9" creationId="{B9D16533-3C4E-49F8-8625-77A29914D708}"/>
          </ac:spMkLst>
        </pc:spChg>
        <pc:spChg chg="add del mod">
          <ac:chgData name="Oriane LE GAVRIAN" userId="1ee00f59-07ab-493e-ac89-27a9fad1a751" providerId="ADAL" clId="{2A42C980-F24C-404E-9967-53B448FC4B31}" dt="2023-03-07T13:02:41.165" v="6581" actId="164"/>
          <ac:spMkLst>
            <pc:docMk/>
            <pc:sldMk cId="3239217406" sldId="2147469993"/>
            <ac:spMk id="10" creationId="{2C1BE3D3-AF86-4F00-99E9-C106820D1EEC}"/>
          </ac:spMkLst>
        </pc:spChg>
        <pc:spChg chg="del">
          <ac:chgData name="Oriane LE GAVRIAN" userId="1ee00f59-07ab-493e-ac89-27a9fad1a751" providerId="ADAL" clId="{2A42C980-F24C-404E-9967-53B448FC4B31}" dt="2023-03-07T12:58:10.090" v="6514" actId="478"/>
          <ac:spMkLst>
            <pc:docMk/>
            <pc:sldMk cId="3239217406" sldId="2147469993"/>
            <ac:spMk id="11" creationId="{C292AB15-E768-45D5-AD2A-5C819B23BD9F}"/>
          </ac:spMkLst>
        </pc:spChg>
        <pc:spChg chg="mod">
          <ac:chgData name="Oriane LE GAVRIAN" userId="1ee00f59-07ab-493e-ac89-27a9fad1a751" providerId="ADAL" clId="{2A42C980-F24C-404E-9967-53B448FC4B31}" dt="2023-03-07T13:09:32.313" v="6822" actId="790"/>
          <ac:spMkLst>
            <pc:docMk/>
            <pc:sldMk cId="3239217406" sldId="2147469993"/>
            <ac:spMk id="13" creationId="{E22D3A68-8C63-4250-BAEB-59D55544985D}"/>
          </ac:spMkLst>
        </pc:spChg>
        <pc:spChg chg="del">
          <ac:chgData name="Oriane LE GAVRIAN" userId="1ee00f59-07ab-493e-ac89-27a9fad1a751" providerId="ADAL" clId="{2A42C980-F24C-404E-9967-53B448FC4B31}" dt="2023-03-07T12:57:56.416" v="6512" actId="478"/>
          <ac:spMkLst>
            <pc:docMk/>
            <pc:sldMk cId="3239217406" sldId="2147469993"/>
            <ac:spMk id="15" creationId="{864E3EB6-63A0-4187-87C2-15847F11EF55}"/>
          </ac:spMkLst>
        </pc:spChg>
        <pc:spChg chg="del mod">
          <ac:chgData name="Oriane LE GAVRIAN" userId="1ee00f59-07ab-493e-ac89-27a9fad1a751" providerId="ADAL" clId="{2A42C980-F24C-404E-9967-53B448FC4B31}" dt="2023-03-07T12:58:10.090" v="6514" actId="478"/>
          <ac:spMkLst>
            <pc:docMk/>
            <pc:sldMk cId="3239217406" sldId="2147469993"/>
            <ac:spMk id="17" creationId="{081C14F2-F0CF-453C-B5E6-3AB28B427042}"/>
          </ac:spMkLst>
        </pc:spChg>
        <pc:spChg chg="del mod">
          <ac:chgData name="Oriane LE GAVRIAN" userId="1ee00f59-07ab-493e-ac89-27a9fad1a751" providerId="ADAL" clId="{2A42C980-F24C-404E-9967-53B448FC4B31}" dt="2023-03-07T12:58:10.090" v="6514" actId="478"/>
          <ac:spMkLst>
            <pc:docMk/>
            <pc:sldMk cId="3239217406" sldId="2147469993"/>
            <ac:spMk id="18" creationId="{BDCB2577-DAD6-BF9E-8070-A450A0CD0FED}"/>
          </ac:spMkLst>
        </pc:spChg>
        <pc:spChg chg="del mod">
          <ac:chgData name="Oriane LE GAVRIAN" userId="1ee00f59-07ab-493e-ac89-27a9fad1a751" providerId="ADAL" clId="{2A42C980-F24C-404E-9967-53B448FC4B31}" dt="2023-03-07T12:58:10.090" v="6514" actId="478"/>
          <ac:spMkLst>
            <pc:docMk/>
            <pc:sldMk cId="3239217406" sldId="2147469993"/>
            <ac:spMk id="19" creationId="{46DEADBE-6AD5-9665-EEE4-DD773AB75A2B}"/>
          </ac:spMkLst>
        </pc:spChg>
        <pc:spChg chg="del mod">
          <ac:chgData name="Oriane LE GAVRIAN" userId="1ee00f59-07ab-493e-ac89-27a9fad1a751" providerId="ADAL" clId="{2A42C980-F24C-404E-9967-53B448FC4B31}" dt="2023-03-07T12:58:10.090" v="6514" actId="478"/>
          <ac:spMkLst>
            <pc:docMk/>
            <pc:sldMk cId="3239217406" sldId="2147469993"/>
            <ac:spMk id="20" creationId="{9552231F-6A41-6385-48C9-5F1D6026CCFF}"/>
          </ac:spMkLst>
        </pc:spChg>
        <pc:spChg chg="del mod">
          <ac:chgData name="Oriane LE GAVRIAN" userId="1ee00f59-07ab-493e-ac89-27a9fad1a751" providerId="ADAL" clId="{2A42C980-F24C-404E-9967-53B448FC4B31}" dt="2023-03-07T12:58:10.090" v="6514" actId="478"/>
          <ac:spMkLst>
            <pc:docMk/>
            <pc:sldMk cId="3239217406" sldId="2147469993"/>
            <ac:spMk id="25" creationId="{10B723EF-CFA0-DAE3-E5BC-61CCC10E9C75}"/>
          </ac:spMkLst>
        </pc:spChg>
        <pc:spChg chg="del mod">
          <ac:chgData name="Oriane LE GAVRIAN" userId="1ee00f59-07ab-493e-ac89-27a9fad1a751" providerId="ADAL" clId="{2A42C980-F24C-404E-9967-53B448FC4B31}" dt="2023-03-07T12:58:10.090" v="6514" actId="478"/>
          <ac:spMkLst>
            <pc:docMk/>
            <pc:sldMk cId="3239217406" sldId="2147469993"/>
            <ac:spMk id="30" creationId="{AB7855D2-E887-98F0-43FF-F08658D02D6F}"/>
          </ac:spMkLst>
        </pc:spChg>
        <pc:spChg chg="del">
          <ac:chgData name="Oriane LE GAVRIAN" userId="1ee00f59-07ab-493e-ac89-27a9fad1a751" providerId="ADAL" clId="{2A42C980-F24C-404E-9967-53B448FC4B31}" dt="2023-03-07T12:56:27.459" v="6493" actId="478"/>
          <ac:spMkLst>
            <pc:docMk/>
            <pc:sldMk cId="3239217406" sldId="2147469993"/>
            <ac:spMk id="32" creationId="{E0BEBC62-D51E-5C90-79C4-44217608938A}"/>
          </ac:spMkLst>
        </pc:spChg>
        <pc:spChg chg="del mod">
          <ac:chgData name="Oriane LE GAVRIAN" userId="1ee00f59-07ab-493e-ac89-27a9fad1a751" providerId="ADAL" clId="{2A42C980-F24C-404E-9967-53B448FC4B31}" dt="2023-03-07T12:58:10.090" v="6514" actId="478"/>
          <ac:spMkLst>
            <pc:docMk/>
            <pc:sldMk cId="3239217406" sldId="2147469993"/>
            <ac:spMk id="33" creationId="{BCAB5140-0979-D79B-84B3-1DD6B9422F91}"/>
          </ac:spMkLst>
        </pc:spChg>
        <pc:spChg chg="del">
          <ac:chgData name="Oriane LE GAVRIAN" userId="1ee00f59-07ab-493e-ac89-27a9fad1a751" providerId="ADAL" clId="{2A42C980-F24C-404E-9967-53B448FC4B31}" dt="2023-03-07T12:56:27.459" v="6493" actId="478"/>
          <ac:spMkLst>
            <pc:docMk/>
            <pc:sldMk cId="3239217406" sldId="2147469993"/>
            <ac:spMk id="34" creationId="{D83047E8-FD24-CF2C-C7F2-A6C3DFECCD2D}"/>
          </ac:spMkLst>
        </pc:spChg>
        <pc:spChg chg="del mod">
          <ac:chgData name="Oriane LE GAVRIAN" userId="1ee00f59-07ab-493e-ac89-27a9fad1a751" providerId="ADAL" clId="{2A42C980-F24C-404E-9967-53B448FC4B31}" dt="2023-03-07T12:56:44.601" v="6498" actId="478"/>
          <ac:spMkLst>
            <pc:docMk/>
            <pc:sldMk cId="3239217406" sldId="2147469993"/>
            <ac:spMk id="35" creationId="{0B7B7DB8-3968-8AE5-79AD-0455155038E4}"/>
          </ac:spMkLst>
        </pc:spChg>
        <pc:spChg chg="del mod">
          <ac:chgData name="Oriane LE GAVRIAN" userId="1ee00f59-07ab-493e-ac89-27a9fad1a751" providerId="ADAL" clId="{2A42C980-F24C-404E-9967-53B448FC4B31}" dt="2023-03-07T12:56:44.601" v="6498" actId="478"/>
          <ac:spMkLst>
            <pc:docMk/>
            <pc:sldMk cId="3239217406" sldId="2147469993"/>
            <ac:spMk id="36" creationId="{BF584BE7-B459-0645-01BA-9E8AB7EC5E38}"/>
          </ac:spMkLst>
        </pc:spChg>
        <pc:spChg chg="add del mod">
          <ac:chgData name="Oriane LE GAVRIAN" userId="1ee00f59-07ab-493e-ac89-27a9fad1a751" providerId="ADAL" clId="{2A42C980-F24C-404E-9967-53B448FC4B31}" dt="2023-03-07T12:59:48.793" v="6536" actId="478"/>
          <ac:spMkLst>
            <pc:docMk/>
            <pc:sldMk cId="3239217406" sldId="2147469993"/>
            <ac:spMk id="37" creationId="{482DDFC8-87BB-B045-3BB9-B3B85C9E807F}"/>
          </ac:spMkLst>
        </pc:spChg>
        <pc:spChg chg="del mod">
          <ac:chgData name="Oriane LE GAVRIAN" userId="1ee00f59-07ab-493e-ac89-27a9fad1a751" providerId="ADAL" clId="{2A42C980-F24C-404E-9967-53B448FC4B31}" dt="2023-03-07T12:58:11.735" v="6515" actId="478"/>
          <ac:spMkLst>
            <pc:docMk/>
            <pc:sldMk cId="3239217406" sldId="2147469993"/>
            <ac:spMk id="38" creationId="{9619A19C-7F07-79D6-FA86-25E5C535FF35}"/>
          </ac:spMkLst>
        </pc:spChg>
        <pc:spChg chg="add mod">
          <ac:chgData name="Oriane LE GAVRIAN" userId="1ee00f59-07ab-493e-ac89-27a9fad1a751" providerId="ADAL" clId="{2A42C980-F24C-404E-9967-53B448FC4B31}" dt="2023-03-07T13:09:56.958" v="6825" actId="14100"/>
          <ac:spMkLst>
            <pc:docMk/>
            <pc:sldMk cId="3239217406" sldId="2147469993"/>
            <ac:spMk id="39" creationId="{DFC8BC12-489E-0C0C-5261-E36B1C0DC3E4}"/>
          </ac:spMkLst>
        </pc:spChg>
        <pc:spChg chg="add del mod">
          <ac:chgData name="Oriane LE GAVRIAN" userId="1ee00f59-07ab-493e-ac89-27a9fad1a751" providerId="ADAL" clId="{2A42C980-F24C-404E-9967-53B448FC4B31}" dt="2023-03-07T13:02:41.165" v="6581" actId="164"/>
          <ac:spMkLst>
            <pc:docMk/>
            <pc:sldMk cId="3239217406" sldId="2147469993"/>
            <ac:spMk id="40" creationId="{39CCEF3B-D029-FE8E-CE12-D11F9B8C5B60}"/>
          </ac:spMkLst>
        </pc:spChg>
        <pc:spChg chg="mod">
          <ac:chgData name="Oriane LE GAVRIAN" userId="1ee00f59-07ab-493e-ac89-27a9fad1a751" providerId="ADAL" clId="{2A42C980-F24C-404E-9967-53B448FC4B31}" dt="2023-03-07T13:02:55.630" v="6602" actId="1076"/>
          <ac:spMkLst>
            <pc:docMk/>
            <pc:sldMk cId="3239217406" sldId="2147469993"/>
            <ac:spMk id="43" creationId="{D0BDFC32-4178-86A1-22A4-ED35ECE1EAC3}"/>
          </ac:spMkLst>
        </pc:spChg>
        <pc:spChg chg="mod">
          <ac:chgData name="Oriane LE GAVRIAN" userId="1ee00f59-07ab-493e-ac89-27a9fad1a751" providerId="ADAL" clId="{2A42C980-F24C-404E-9967-53B448FC4B31}" dt="2023-03-07T13:02:42.073" v="6582"/>
          <ac:spMkLst>
            <pc:docMk/>
            <pc:sldMk cId="3239217406" sldId="2147469993"/>
            <ac:spMk id="44" creationId="{C3D4595F-E313-F111-2D0F-778FF4A6FF10}"/>
          </ac:spMkLst>
        </pc:spChg>
        <pc:spChg chg="mod">
          <ac:chgData name="Oriane LE GAVRIAN" userId="1ee00f59-07ab-493e-ac89-27a9fad1a751" providerId="ADAL" clId="{2A42C980-F24C-404E-9967-53B448FC4B31}" dt="2023-03-07T13:15:48.158" v="6926" actId="207"/>
          <ac:spMkLst>
            <pc:docMk/>
            <pc:sldMk cId="3239217406" sldId="2147469993"/>
            <ac:spMk id="46" creationId="{83E3B665-6472-D334-2537-B05FC88552E2}"/>
          </ac:spMkLst>
        </pc:spChg>
        <pc:spChg chg="mod">
          <ac:chgData name="Oriane LE GAVRIAN" userId="1ee00f59-07ab-493e-ac89-27a9fad1a751" providerId="ADAL" clId="{2A42C980-F24C-404E-9967-53B448FC4B31}" dt="2023-03-07T13:15:54.325" v="6927" actId="208"/>
          <ac:spMkLst>
            <pc:docMk/>
            <pc:sldMk cId="3239217406" sldId="2147469993"/>
            <ac:spMk id="47" creationId="{C42D803F-F5F2-6485-E098-A7FBE8ECDDFF}"/>
          </ac:spMkLst>
        </pc:spChg>
        <pc:spChg chg="add mod">
          <ac:chgData name="Oriane LE GAVRIAN" userId="1ee00f59-07ab-493e-ac89-27a9fad1a751" providerId="ADAL" clId="{2A42C980-F24C-404E-9967-53B448FC4B31}" dt="2023-03-07T13:16:26.951" v="6930" actId="207"/>
          <ac:spMkLst>
            <pc:docMk/>
            <pc:sldMk cId="3239217406" sldId="2147469993"/>
            <ac:spMk id="48" creationId="{EEC875D0-8F73-F12C-62ED-C852BE914D9C}"/>
          </ac:spMkLst>
        </pc:spChg>
        <pc:spChg chg="add del mod">
          <ac:chgData name="Oriane LE GAVRIAN" userId="1ee00f59-07ab-493e-ac89-27a9fad1a751" providerId="ADAL" clId="{2A42C980-F24C-404E-9967-53B448FC4B31}" dt="2023-03-07T13:06:11.248" v="6729" actId="478"/>
          <ac:spMkLst>
            <pc:docMk/>
            <pc:sldMk cId="3239217406" sldId="2147469993"/>
            <ac:spMk id="49" creationId="{91887917-347D-86EE-54B7-634FA4E29896}"/>
          </ac:spMkLst>
        </pc:spChg>
        <pc:spChg chg="add del mod">
          <ac:chgData name="Oriane LE GAVRIAN" userId="1ee00f59-07ab-493e-ac89-27a9fad1a751" providerId="ADAL" clId="{2A42C980-F24C-404E-9967-53B448FC4B31}" dt="2023-03-07T13:06:11.248" v="6729" actId="478"/>
          <ac:spMkLst>
            <pc:docMk/>
            <pc:sldMk cId="3239217406" sldId="2147469993"/>
            <ac:spMk id="50" creationId="{7DA43895-1D40-F809-4682-9400C5071E93}"/>
          </ac:spMkLst>
        </pc:spChg>
        <pc:spChg chg="add mod">
          <ac:chgData name="Oriane LE GAVRIAN" userId="1ee00f59-07ab-493e-ac89-27a9fad1a751" providerId="ADAL" clId="{2A42C980-F24C-404E-9967-53B448FC4B31}" dt="2023-03-07T13:16:21.496" v="6929" actId="207"/>
          <ac:spMkLst>
            <pc:docMk/>
            <pc:sldMk cId="3239217406" sldId="2147469993"/>
            <ac:spMk id="51" creationId="{BF5292A7-D33D-84ED-A2A9-ACE414902CC8}"/>
          </ac:spMkLst>
        </pc:spChg>
        <pc:spChg chg="add mod">
          <ac:chgData name="Oriane LE GAVRIAN" userId="1ee00f59-07ab-493e-ac89-27a9fad1a751" providerId="ADAL" clId="{2A42C980-F24C-404E-9967-53B448FC4B31}" dt="2023-03-07T13:16:31.722" v="6931" actId="207"/>
          <ac:spMkLst>
            <pc:docMk/>
            <pc:sldMk cId="3239217406" sldId="2147469993"/>
            <ac:spMk id="52" creationId="{E94F6FD6-F9ED-E4E0-E17A-963295D04D35}"/>
          </ac:spMkLst>
        </pc:spChg>
        <pc:spChg chg="add mod">
          <ac:chgData name="Oriane LE GAVRIAN" userId="1ee00f59-07ab-493e-ac89-27a9fad1a751" providerId="ADAL" clId="{2A42C980-F24C-404E-9967-53B448FC4B31}" dt="2023-03-07T13:16:21.496" v="6929" actId="207"/>
          <ac:spMkLst>
            <pc:docMk/>
            <pc:sldMk cId="3239217406" sldId="2147469993"/>
            <ac:spMk id="53" creationId="{F90788D5-8EC9-8A26-298B-41CB4F736FCA}"/>
          </ac:spMkLst>
        </pc:spChg>
        <pc:spChg chg="add mod">
          <ac:chgData name="Oriane LE GAVRIAN" userId="1ee00f59-07ab-493e-ac89-27a9fad1a751" providerId="ADAL" clId="{2A42C980-F24C-404E-9967-53B448FC4B31}" dt="2023-03-07T13:16:37.646" v="6932" actId="207"/>
          <ac:spMkLst>
            <pc:docMk/>
            <pc:sldMk cId="3239217406" sldId="2147469993"/>
            <ac:spMk id="54" creationId="{E56265AB-76AE-510F-A4B9-B60B018989F6}"/>
          </ac:spMkLst>
        </pc:spChg>
        <pc:spChg chg="add mod">
          <ac:chgData name="Oriane LE GAVRIAN" userId="1ee00f59-07ab-493e-ac89-27a9fad1a751" providerId="ADAL" clId="{2A42C980-F24C-404E-9967-53B448FC4B31}" dt="2023-03-07T13:16:21.496" v="6929" actId="207"/>
          <ac:spMkLst>
            <pc:docMk/>
            <pc:sldMk cId="3239217406" sldId="2147469993"/>
            <ac:spMk id="55" creationId="{F65B7534-2D03-5B5B-1CCE-8CBBE160425A}"/>
          </ac:spMkLst>
        </pc:spChg>
        <pc:spChg chg="add mod">
          <ac:chgData name="Oriane LE GAVRIAN" userId="1ee00f59-07ab-493e-ac89-27a9fad1a751" providerId="ADAL" clId="{2A42C980-F24C-404E-9967-53B448FC4B31}" dt="2023-03-07T13:09:23.446" v="6821" actId="1036"/>
          <ac:spMkLst>
            <pc:docMk/>
            <pc:sldMk cId="3239217406" sldId="2147469993"/>
            <ac:spMk id="59" creationId="{DEF7FD07-EFE5-ACB5-F382-E7CABE52E7BE}"/>
          </ac:spMkLst>
        </pc:spChg>
        <pc:spChg chg="add mod">
          <ac:chgData name="Oriane LE GAVRIAN" userId="1ee00f59-07ab-493e-ac89-27a9fad1a751" providerId="ADAL" clId="{2A42C980-F24C-404E-9967-53B448FC4B31}" dt="2023-03-07T13:09:23.446" v="6821" actId="1036"/>
          <ac:spMkLst>
            <pc:docMk/>
            <pc:sldMk cId="3239217406" sldId="2147469993"/>
            <ac:spMk id="60" creationId="{135BC641-6513-F30F-A4D7-D825E94AD021}"/>
          </ac:spMkLst>
        </pc:spChg>
        <pc:spChg chg="add mod">
          <ac:chgData name="Oriane LE GAVRIAN" userId="1ee00f59-07ab-493e-ac89-27a9fad1a751" providerId="ADAL" clId="{2A42C980-F24C-404E-9967-53B448FC4B31}" dt="2023-03-07T13:12:03.517" v="6855" actId="1076"/>
          <ac:spMkLst>
            <pc:docMk/>
            <pc:sldMk cId="3239217406" sldId="2147469993"/>
            <ac:spMk id="67" creationId="{A1C67508-45E6-0A65-586F-AC6ABE7D12B7}"/>
          </ac:spMkLst>
        </pc:spChg>
        <pc:spChg chg="add mod">
          <ac:chgData name="Oriane LE GAVRIAN" userId="1ee00f59-07ab-493e-ac89-27a9fad1a751" providerId="ADAL" clId="{2A42C980-F24C-404E-9967-53B448FC4B31}" dt="2023-03-07T13:14:54.619" v="6909" actId="1076"/>
          <ac:spMkLst>
            <pc:docMk/>
            <pc:sldMk cId="3239217406" sldId="2147469993"/>
            <ac:spMk id="68" creationId="{4BDDF257-9726-DDAA-E84E-30A1AA0200AB}"/>
          </ac:spMkLst>
        </pc:spChg>
        <pc:spChg chg="add mod">
          <ac:chgData name="Oriane LE GAVRIAN" userId="1ee00f59-07ab-493e-ac89-27a9fad1a751" providerId="ADAL" clId="{2A42C980-F24C-404E-9967-53B448FC4B31}" dt="2023-03-07T13:14:56.980" v="6910" actId="1076"/>
          <ac:spMkLst>
            <pc:docMk/>
            <pc:sldMk cId="3239217406" sldId="2147469993"/>
            <ac:spMk id="72" creationId="{34A1FE82-FD2A-EE36-A034-E71AEB4C3AC3}"/>
          </ac:spMkLst>
        </pc:spChg>
        <pc:spChg chg="add mod">
          <ac:chgData name="Oriane LE GAVRIAN" userId="1ee00f59-07ab-493e-ac89-27a9fad1a751" providerId="ADAL" clId="{2A42C980-F24C-404E-9967-53B448FC4B31}" dt="2023-03-07T13:15:13.068" v="6920" actId="1076"/>
          <ac:spMkLst>
            <pc:docMk/>
            <pc:sldMk cId="3239217406" sldId="2147469993"/>
            <ac:spMk id="77" creationId="{DFB21450-1385-6FAE-E162-3111DABD8770}"/>
          </ac:spMkLst>
        </pc:spChg>
        <pc:spChg chg="add mod">
          <ac:chgData name="Oriane LE GAVRIAN" userId="1ee00f59-07ab-493e-ac89-27a9fad1a751" providerId="ADAL" clId="{2A42C980-F24C-404E-9967-53B448FC4B31}" dt="2023-03-07T13:18:27.810" v="6966" actId="1037"/>
          <ac:spMkLst>
            <pc:docMk/>
            <pc:sldMk cId="3239217406" sldId="2147469993"/>
            <ac:spMk id="79" creationId="{D94751AB-14EB-5E48-C5F4-CB57A9A4A8E2}"/>
          </ac:spMkLst>
        </pc:spChg>
        <pc:grpChg chg="add mod">
          <ac:chgData name="Oriane LE GAVRIAN" userId="1ee00f59-07ab-493e-ac89-27a9fad1a751" providerId="ADAL" clId="{2A42C980-F24C-404E-9967-53B448FC4B31}" dt="2023-03-07T13:02:41.165" v="6581" actId="164"/>
          <ac:grpSpMkLst>
            <pc:docMk/>
            <pc:sldMk cId="3239217406" sldId="2147469993"/>
            <ac:grpSpMk id="41" creationId="{5EA4025E-E799-D6F8-F018-E4A9A4757C60}"/>
          </ac:grpSpMkLst>
        </pc:grpChg>
        <pc:grpChg chg="add mod">
          <ac:chgData name="Oriane LE GAVRIAN" userId="1ee00f59-07ab-493e-ac89-27a9fad1a751" providerId="ADAL" clId="{2A42C980-F24C-404E-9967-53B448FC4B31}" dt="2023-03-07T13:02:59.012" v="6603" actId="1076"/>
          <ac:grpSpMkLst>
            <pc:docMk/>
            <pc:sldMk cId="3239217406" sldId="2147469993"/>
            <ac:grpSpMk id="42" creationId="{F912C6BE-F77C-99BE-5D6C-75182B08BC06}"/>
          </ac:grpSpMkLst>
        </pc:grpChg>
        <pc:grpChg chg="add mod">
          <ac:chgData name="Oriane LE GAVRIAN" userId="1ee00f59-07ab-493e-ac89-27a9fad1a751" providerId="ADAL" clId="{2A42C980-F24C-404E-9967-53B448FC4B31}" dt="2023-03-07T13:03:09.578" v="6605" actId="1076"/>
          <ac:grpSpMkLst>
            <pc:docMk/>
            <pc:sldMk cId="3239217406" sldId="2147469993"/>
            <ac:grpSpMk id="45" creationId="{8FE2F4BA-5AD3-BF10-0C7C-7220CD9FB7AA}"/>
          </ac:grpSpMkLst>
        </pc:grpChg>
        <pc:grpChg chg="add mod">
          <ac:chgData name="Oriane LE GAVRIAN" userId="1ee00f59-07ab-493e-ac89-27a9fad1a751" providerId="ADAL" clId="{2A42C980-F24C-404E-9967-53B448FC4B31}" dt="2023-03-07T13:16:21.496" v="6929" actId="207"/>
          <ac:grpSpMkLst>
            <pc:docMk/>
            <pc:sldMk cId="3239217406" sldId="2147469993"/>
            <ac:grpSpMk id="56" creationId="{61100AB2-B127-811E-4D36-B16636C36377}"/>
          </ac:grpSpMkLst>
        </pc:grpChg>
        <pc:grpChg chg="add mod">
          <ac:chgData name="Oriane LE GAVRIAN" userId="1ee00f59-07ab-493e-ac89-27a9fad1a751" providerId="ADAL" clId="{2A42C980-F24C-404E-9967-53B448FC4B31}" dt="2023-03-07T13:16:21.496" v="6929" actId="207"/>
          <ac:grpSpMkLst>
            <pc:docMk/>
            <pc:sldMk cId="3239217406" sldId="2147469993"/>
            <ac:grpSpMk id="57" creationId="{4F6287E0-02BD-1235-25B8-96F44C8E88D6}"/>
          </ac:grpSpMkLst>
        </pc:grpChg>
        <pc:grpChg chg="add mod">
          <ac:chgData name="Oriane LE GAVRIAN" userId="1ee00f59-07ab-493e-ac89-27a9fad1a751" providerId="ADAL" clId="{2A42C980-F24C-404E-9967-53B448FC4B31}" dt="2023-03-07T13:16:21.496" v="6929" actId="207"/>
          <ac:grpSpMkLst>
            <pc:docMk/>
            <pc:sldMk cId="3239217406" sldId="2147469993"/>
            <ac:grpSpMk id="58" creationId="{25370FE5-3681-2E39-180F-8874AC5CDA0D}"/>
          </ac:grpSpMkLst>
        </pc:grpChg>
        <pc:picChg chg="del">
          <ac:chgData name="Oriane LE GAVRIAN" userId="1ee00f59-07ab-493e-ac89-27a9fad1a751" providerId="ADAL" clId="{2A42C980-F24C-404E-9967-53B448FC4B31}" dt="2023-03-07T12:58:14.389" v="6516" actId="478"/>
          <ac:picMkLst>
            <pc:docMk/>
            <pc:sldMk cId="3239217406" sldId="2147469993"/>
            <ac:picMk id="5" creationId="{8D4A21DA-4CA0-49B7-AD78-0F9B8A7532E6}"/>
          </ac:picMkLst>
        </pc:picChg>
        <pc:picChg chg="del">
          <ac:chgData name="Oriane LE GAVRIAN" userId="1ee00f59-07ab-493e-ac89-27a9fad1a751" providerId="ADAL" clId="{2A42C980-F24C-404E-9967-53B448FC4B31}" dt="2023-03-07T13:00:05.928" v="6541" actId="478"/>
          <ac:picMkLst>
            <pc:docMk/>
            <pc:sldMk cId="3239217406" sldId="2147469993"/>
            <ac:picMk id="6" creationId="{CCA51F63-3D45-49D1-A294-FEE7069F69F3}"/>
          </ac:picMkLst>
        </pc:picChg>
        <pc:picChg chg="del">
          <ac:chgData name="Oriane LE GAVRIAN" userId="1ee00f59-07ab-493e-ac89-27a9fad1a751" providerId="ADAL" clId="{2A42C980-F24C-404E-9967-53B448FC4B31}" dt="2023-03-07T12:58:10.090" v="6514" actId="478"/>
          <ac:picMkLst>
            <pc:docMk/>
            <pc:sldMk cId="3239217406" sldId="2147469993"/>
            <ac:picMk id="7" creationId="{917A7A55-7496-4AA5-B913-66B9922A7AB0}"/>
          </ac:picMkLst>
        </pc:picChg>
        <pc:picChg chg="del mod">
          <ac:chgData name="Oriane LE GAVRIAN" userId="1ee00f59-07ab-493e-ac89-27a9fad1a751" providerId="ADAL" clId="{2A42C980-F24C-404E-9967-53B448FC4B31}" dt="2023-03-07T12:58:10.090" v="6514" actId="478"/>
          <ac:picMkLst>
            <pc:docMk/>
            <pc:sldMk cId="3239217406" sldId="2147469993"/>
            <ac:picMk id="21" creationId="{9EAE9475-6426-29B8-B0B3-4C9B0C7350A7}"/>
          </ac:picMkLst>
        </pc:picChg>
        <pc:picChg chg="del mod">
          <ac:chgData name="Oriane LE GAVRIAN" userId="1ee00f59-07ab-493e-ac89-27a9fad1a751" providerId="ADAL" clId="{2A42C980-F24C-404E-9967-53B448FC4B31}" dt="2023-03-07T12:58:10.090" v="6514" actId="478"/>
          <ac:picMkLst>
            <pc:docMk/>
            <pc:sldMk cId="3239217406" sldId="2147469993"/>
            <ac:picMk id="22" creationId="{7916CCCC-0BCF-4D0B-2402-8CC28E98712D}"/>
          </ac:picMkLst>
        </pc:picChg>
        <pc:picChg chg="del mod">
          <ac:chgData name="Oriane LE GAVRIAN" userId="1ee00f59-07ab-493e-ac89-27a9fad1a751" providerId="ADAL" clId="{2A42C980-F24C-404E-9967-53B448FC4B31}" dt="2023-03-07T12:58:10.090" v="6514" actId="478"/>
          <ac:picMkLst>
            <pc:docMk/>
            <pc:sldMk cId="3239217406" sldId="2147469993"/>
            <ac:picMk id="23" creationId="{DD89E632-4A75-347E-B9BC-FD270272C28A}"/>
          </ac:picMkLst>
        </pc:picChg>
        <pc:picChg chg="del">
          <ac:chgData name="Oriane LE GAVRIAN" userId="1ee00f59-07ab-493e-ac89-27a9fad1a751" providerId="ADAL" clId="{2A42C980-F24C-404E-9967-53B448FC4B31}" dt="2023-03-07T12:57:56.416" v="6512" actId="478"/>
          <ac:picMkLst>
            <pc:docMk/>
            <pc:sldMk cId="3239217406" sldId="2147469993"/>
            <ac:picMk id="24" creationId="{07A552B2-1363-45E7-BB1D-2B6DAE61A8ED}"/>
          </ac:picMkLst>
        </pc:picChg>
        <pc:picChg chg="del mod">
          <ac:chgData name="Oriane LE GAVRIAN" userId="1ee00f59-07ab-493e-ac89-27a9fad1a751" providerId="ADAL" clId="{2A42C980-F24C-404E-9967-53B448FC4B31}" dt="2023-03-07T12:58:10.090" v="6514" actId="478"/>
          <ac:picMkLst>
            <pc:docMk/>
            <pc:sldMk cId="3239217406" sldId="2147469993"/>
            <ac:picMk id="26" creationId="{D31DC178-6328-1D91-2F5B-AF6665FAAB9F}"/>
          </ac:picMkLst>
        </pc:picChg>
        <pc:picChg chg="del mod">
          <ac:chgData name="Oriane LE GAVRIAN" userId="1ee00f59-07ab-493e-ac89-27a9fad1a751" providerId="ADAL" clId="{2A42C980-F24C-404E-9967-53B448FC4B31}" dt="2023-03-07T12:58:10.090" v="6514" actId="478"/>
          <ac:picMkLst>
            <pc:docMk/>
            <pc:sldMk cId="3239217406" sldId="2147469993"/>
            <ac:picMk id="27" creationId="{7BC27172-6AC2-C4CE-B738-A34E7B303387}"/>
          </ac:picMkLst>
        </pc:picChg>
        <pc:picChg chg="del mod">
          <ac:chgData name="Oriane LE GAVRIAN" userId="1ee00f59-07ab-493e-ac89-27a9fad1a751" providerId="ADAL" clId="{2A42C980-F24C-404E-9967-53B448FC4B31}" dt="2023-03-07T12:58:10.090" v="6514" actId="478"/>
          <ac:picMkLst>
            <pc:docMk/>
            <pc:sldMk cId="3239217406" sldId="2147469993"/>
            <ac:picMk id="28" creationId="{E4D46D1A-E91C-78B9-0CC4-49D308CAA386}"/>
          </ac:picMkLst>
        </pc:picChg>
        <pc:picChg chg="del mod">
          <ac:chgData name="Oriane LE GAVRIAN" userId="1ee00f59-07ab-493e-ac89-27a9fad1a751" providerId="ADAL" clId="{2A42C980-F24C-404E-9967-53B448FC4B31}" dt="2023-03-07T12:58:10.090" v="6514" actId="478"/>
          <ac:picMkLst>
            <pc:docMk/>
            <pc:sldMk cId="3239217406" sldId="2147469993"/>
            <ac:picMk id="29" creationId="{2FF5C8CB-357C-5231-57E7-5987F5E26274}"/>
          </ac:picMkLst>
        </pc:picChg>
        <pc:picChg chg="del mod">
          <ac:chgData name="Oriane LE GAVRIAN" userId="1ee00f59-07ab-493e-ac89-27a9fad1a751" providerId="ADAL" clId="{2A42C980-F24C-404E-9967-53B448FC4B31}" dt="2023-03-07T12:58:10.090" v="6514" actId="478"/>
          <ac:picMkLst>
            <pc:docMk/>
            <pc:sldMk cId="3239217406" sldId="2147469993"/>
            <ac:picMk id="31" creationId="{239C392F-E334-DFE3-B733-3462CAFCD98B}"/>
          </ac:picMkLst>
        </pc:picChg>
        <pc:picChg chg="add mod">
          <ac:chgData name="Oriane LE GAVRIAN" userId="1ee00f59-07ab-493e-ac89-27a9fad1a751" providerId="ADAL" clId="{2A42C980-F24C-404E-9967-53B448FC4B31}" dt="2023-03-07T13:16:21.496" v="6929" actId="207"/>
          <ac:picMkLst>
            <pc:docMk/>
            <pc:sldMk cId="3239217406" sldId="2147469993"/>
            <ac:picMk id="62" creationId="{A1A5C03F-DE53-D8BB-5044-00D2614A000A}"/>
          </ac:picMkLst>
        </pc:picChg>
        <pc:picChg chg="add mod">
          <ac:chgData name="Oriane LE GAVRIAN" userId="1ee00f59-07ab-493e-ac89-27a9fad1a751" providerId="ADAL" clId="{2A42C980-F24C-404E-9967-53B448FC4B31}" dt="2023-03-07T13:16:21.496" v="6929" actId="207"/>
          <ac:picMkLst>
            <pc:docMk/>
            <pc:sldMk cId="3239217406" sldId="2147469993"/>
            <ac:picMk id="64" creationId="{A6D93366-B66C-5C94-F3CA-A9989C1BF0CE}"/>
          </ac:picMkLst>
        </pc:picChg>
        <pc:picChg chg="add mod">
          <ac:chgData name="Oriane LE GAVRIAN" userId="1ee00f59-07ab-493e-ac89-27a9fad1a751" providerId="ADAL" clId="{2A42C980-F24C-404E-9967-53B448FC4B31}" dt="2023-03-07T13:16:21.496" v="6929" actId="207"/>
          <ac:picMkLst>
            <pc:docMk/>
            <pc:sldMk cId="3239217406" sldId="2147469993"/>
            <ac:picMk id="66" creationId="{268C6533-071B-7F7C-7ED6-DE4A2093C90E}"/>
          </ac:picMkLst>
        </pc:picChg>
        <pc:picChg chg="add mod">
          <ac:chgData name="Oriane LE GAVRIAN" userId="1ee00f59-07ab-493e-ac89-27a9fad1a751" providerId="ADAL" clId="{2A42C980-F24C-404E-9967-53B448FC4B31}" dt="2023-03-07T13:16:46.872" v="6934" actId="1076"/>
          <ac:picMkLst>
            <pc:docMk/>
            <pc:sldMk cId="3239217406" sldId="2147469993"/>
            <ac:picMk id="69" creationId="{A139205D-7417-6A15-F92C-DE6DE164EA81}"/>
          </ac:picMkLst>
        </pc:picChg>
        <pc:picChg chg="add mod ord">
          <ac:chgData name="Oriane LE GAVRIAN" userId="1ee00f59-07ab-493e-ac89-27a9fad1a751" providerId="ADAL" clId="{2A42C980-F24C-404E-9967-53B448FC4B31}" dt="2023-03-07T13:17:27.185" v="6948" actId="1076"/>
          <ac:picMkLst>
            <pc:docMk/>
            <pc:sldMk cId="3239217406" sldId="2147469993"/>
            <ac:picMk id="70" creationId="{93219DF0-A037-36D4-174B-1DD0C537DCBF}"/>
          </ac:picMkLst>
        </pc:picChg>
        <pc:picChg chg="add mod">
          <ac:chgData name="Oriane LE GAVRIAN" userId="1ee00f59-07ab-493e-ac89-27a9fad1a751" providerId="ADAL" clId="{2A42C980-F24C-404E-9967-53B448FC4B31}" dt="2023-03-07T13:15:39.629" v="6924"/>
          <ac:picMkLst>
            <pc:docMk/>
            <pc:sldMk cId="3239217406" sldId="2147469993"/>
            <ac:picMk id="71" creationId="{8CD288F7-8E4F-B076-FBBE-75C33C441006}"/>
          </ac:picMkLst>
        </pc:picChg>
        <pc:picChg chg="add mod ord">
          <ac:chgData name="Oriane LE GAVRIAN" userId="1ee00f59-07ab-493e-ac89-27a9fad1a751" providerId="ADAL" clId="{2A42C980-F24C-404E-9967-53B448FC4B31}" dt="2023-03-07T13:17:06.196" v="6942" actId="1076"/>
          <ac:picMkLst>
            <pc:docMk/>
            <pc:sldMk cId="3239217406" sldId="2147469993"/>
            <ac:picMk id="73" creationId="{85B0C3FD-C03A-5887-61E5-6D8B0B08A2E9}"/>
          </ac:picMkLst>
        </pc:picChg>
        <pc:picChg chg="add mod">
          <ac:chgData name="Oriane LE GAVRIAN" userId="1ee00f59-07ab-493e-ac89-27a9fad1a751" providerId="ADAL" clId="{2A42C980-F24C-404E-9967-53B448FC4B31}" dt="2023-03-07T13:16:59.764" v="6940" actId="14100"/>
          <ac:picMkLst>
            <pc:docMk/>
            <pc:sldMk cId="3239217406" sldId="2147469993"/>
            <ac:picMk id="74" creationId="{A7CC0F86-3563-A439-253B-0D8410AA670C}"/>
          </ac:picMkLst>
        </pc:picChg>
        <pc:picChg chg="add mod">
          <ac:chgData name="Oriane LE GAVRIAN" userId="1ee00f59-07ab-493e-ac89-27a9fad1a751" providerId="ADAL" clId="{2A42C980-F24C-404E-9967-53B448FC4B31}" dt="2023-03-07T13:17:11.222" v="6943" actId="14100"/>
          <ac:picMkLst>
            <pc:docMk/>
            <pc:sldMk cId="3239217406" sldId="2147469993"/>
            <ac:picMk id="75" creationId="{2DF4A661-A41A-7147-DC62-BC74DF95EA07}"/>
          </ac:picMkLst>
        </pc:picChg>
        <pc:picChg chg="add mod">
          <ac:chgData name="Oriane LE GAVRIAN" userId="1ee00f59-07ab-493e-ac89-27a9fad1a751" providerId="ADAL" clId="{2A42C980-F24C-404E-9967-53B448FC4B31}" dt="2023-03-07T13:17:19.972" v="6946" actId="1076"/>
          <ac:picMkLst>
            <pc:docMk/>
            <pc:sldMk cId="3239217406" sldId="2147469993"/>
            <ac:picMk id="76" creationId="{6B9D1652-F110-8C72-6F52-D930B5B6945E}"/>
          </ac:picMkLst>
        </pc:picChg>
        <pc:picChg chg="add mod">
          <ac:chgData name="Oriane LE GAVRIAN" userId="1ee00f59-07ab-493e-ac89-27a9fad1a751" providerId="ADAL" clId="{2A42C980-F24C-404E-9967-53B448FC4B31}" dt="2023-03-07T13:17:03.313" v="6941" actId="1076"/>
          <ac:picMkLst>
            <pc:docMk/>
            <pc:sldMk cId="3239217406" sldId="2147469993"/>
            <ac:picMk id="78" creationId="{A7A1BAF5-8C33-1F11-5DFF-D1125FC180C4}"/>
          </ac:picMkLst>
        </pc:picChg>
        <pc:picChg chg="add mod">
          <ac:chgData name="Oriane LE GAVRIAN" userId="1ee00f59-07ab-493e-ac89-27a9fad1a751" providerId="ADAL" clId="{2A42C980-F24C-404E-9967-53B448FC4B31}" dt="2023-03-07T13:15:56.077" v="6928" actId="207"/>
          <ac:picMkLst>
            <pc:docMk/>
            <pc:sldMk cId="3239217406" sldId="2147469993"/>
            <ac:picMk id="81" creationId="{0A3F7DB4-6BD2-DFFB-A3AD-6063BA60E6A8}"/>
          </ac:picMkLst>
        </pc:picChg>
        <pc:picChg chg="add mod">
          <ac:chgData name="Oriane LE GAVRIAN" userId="1ee00f59-07ab-493e-ac89-27a9fad1a751" providerId="ADAL" clId="{2A42C980-F24C-404E-9967-53B448FC4B31}" dt="2023-03-07T13:13:57.708" v="6878" actId="1076"/>
          <ac:picMkLst>
            <pc:docMk/>
            <pc:sldMk cId="3239217406" sldId="2147469993"/>
            <ac:picMk id="83" creationId="{524260D9-A7D9-E9B2-1EB8-585B8D791EDD}"/>
          </ac:picMkLst>
        </pc:picChg>
        <pc:picChg chg="add mod">
          <ac:chgData name="Oriane LE GAVRIAN" userId="1ee00f59-07ab-493e-ac89-27a9fad1a751" providerId="ADAL" clId="{2A42C980-F24C-404E-9967-53B448FC4B31}" dt="2023-03-07T13:13:55.450" v="6877" actId="1036"/>
          <ac:picMkLst>
            <pc:docMk/>
            <pc:sldMk cId="3239217406" sldId="2147469993"/>
            <ac:picMk id="85" creationId="{B4FD5642-AADE-A539-3D43-A346AD4E66A2}"/>
          </ac:picMkLst>
        </pc:picChg>
        <pc:cxnChg chg="del">
          <ac:chgData name="Oriane LE GAVRIAN" userId="1ee00f59-07ab-493e-ac89-27a9fad1a751" providerId="ADAL" clId="{2A42C980-F24C-404E-9967-53B448FC4B31}" dt="2023-03-07T12:58:15.886" v="6517" actId="478"/>
          <ac:cxnSpMkLst>
            <pc:docMk/>
            <pc:sldMk cId="3239217406" sldId="2147469993"/>
            <ac:cxnSpMk id="8" creationId="{9B35EB87-18EF-4C68-8104-C08FBB737A15}"/>
          </ac:cxnSpMkLst>
        </pc:cxnChg>
        <pc:cxnChg chg="del mod">
          <ac:chgData name="Oriane LE GAVRIAN" userId="1ee00f59-07ab-493e-ac89-27a9fad1a751" providerId="ADAL" clId="{2A42C980-F24C-404E-9967-53B448FC4B31}" dt="2023-03-07T12:58:10.090" v="6514" actId="478"/>
          <ac:cxnSpMkLst>
            <pc:docMk/>
            <pc:sldMk cId="3239217406" sldId="2147469993"/>
            <ac:cxnSpMk id="12" creationId="{5FBBD91D-8660-43E8-AAAC-8ECF816A7DB7}"/>
          </ac:cxnSpMkLst>
        </pc:cxnChg>
        <pc:cxnChg chg="del">
          <ac:chgData name="Oriane LE GAVRIAN" userId="1ee00f59-07ab-493e-ac89-27a9fad1a751" providerId="ADAL" clId="{2A42C980-F24C-404E-9967-53B448FC4B31}" dt="2023-03-07T13:00:07.263" v="6542" actId="478"/>
          <ac:cxnSpMkLst>
            <pc:docMk/>
            <pc:sldMk cId="3239217406" sldId="2147469993"/>
            <ac:cxnSpMk id="14" creationId="{CA362DFC-94B7-4CD5-8459-C95A5EA44217}"/>
          </ac:cxnSpMkLst>
        </pc:cxnChg>
        <pc:cxnChg chg="del">
          <ac:chgData name="Oriane LE GAVRIAN" userId="1ee00f59-07ab-493e-ac89-27a9fad1a751" providerId="ADAL" clId="{2A42C980-F24C-404E-9967-53B448FC4B31}" dt="2023-03-07T12:57:56.416" v="6512" actId="478"/>
          <ac:cxnSpMkLst>
            <pc:docMk/>
            <pc:sldMk cId="3239217406" sldId="2147469993"/>
            <ac:cxnSpMk id="16" creationId="{B8AE57C4-69CE-4608-8DDB-7E6E3218F160}"/>
          </ac:cxnSpMkLst>
        </pc:cxnChg>
        <pc:extLst>
          <p:ext xmlns:p="http://schemas.openxmlformats.org/presentationml/2006/main" uri="{D6D511B9-2390-475A-947B-AFAB55BFBCF1}">
            <pc226:cmChg xmlns:pc226="http://schemas.microsoft.com/office/powerpoint/2022/06/main/command" chg="mod">
              <pc226:chgData name="Oriane LE GAVRIAN" userId="1ee00f59-07ab-493e-ac89-27a9fad1a751" providerId="ADAL" clId="{2A42C980-F24C-404E-9967-53B448FC4B31}" dt="2023-03-07T13:18:15.979" v="6958" actId="20577"/>
              <pc2:cmMkLst xmlns:pc2="http://schemas.microsoft.com/office/powerpoint/2019/9/main/command">
                <pc:docMk/>
                <pc:sldMk cId="3239217406" sldId="2147469993"/>
                <pc2:cmMk id="{967FEB26-53DD-46D1-888C-0E09C9624BDD}"/>
              </pc2:cmMkLst>
            </pc226:cmChg>
          </p:ext>
        </pc:extLst>
      </pc:sldChg>
      <pc:sldMasterChg chg="delSldLayout">
        <pc:chgData name="Oriane LE GAVRIAN" userId="1ee00f59-07ab-493e-ac89-27a9fad1a751" providerId="ADAL" clId="{2A42C980-F24C-404E-9967-53B448FC4B31}" dt="2023-03-02T16:48:45.088" v="4902" actId="47"/>
        <pc:sldMasterMkLst>
          <pc:docMk/>
          <pc:sldMasterMk cId="0" sldId="2147483648"/>
        </pc:sldMasterMkLst>
        <pc:sldLayoutChg chg="del">
          <pc:chgData name="Oriane LE GAVRIAN" userId="1ee00f59-07ab-493e-ac89-27a9fad1a751" providerId="ADAL" clId="{2A42C980-F24C-404E-9967-53B448FC4B31}" dt="2023-03-02T16:48:29.693" v="4869" actId="47"/>
          <pc:sldLayoutMkLst>
            <pc:docMk/>
            <pc:sldMasterMk cId="0" sldId="2147483648"/>
            <pc:sldLayoutMk cId="3819295861" sldId="2147483862"/>
          </pc:sldLayoutMkLst>
        </pc:sldLayoutChg>
        <pc:sldLayoutChg chg="del">
          <pc:chgData name="Oriane LE GAVRIAN" userId="1ee00f59-07ab-493e-ac89-27a9fad1a751" providerId="ADAL" clId="{2A42C980-F24C-404E-9967-53B448FC4B31}" dt="2023-03-02T16:48:45.088" v="4902" actId="47"/>
          <pc:sldLayoutMkLst>
            <pc:docMk/>
            <pc:sldMasterMk cId="0" sldId="2147483648"/>
            <pc:sldLayoutMk cId="1513237793" sldId="2147483863"/>
          </pc:sldLayoutMkLst>
        </pc:sldLayoutChg>
      </pc:sldMasterChg>
    </pc:docChg>
  </pc:docChgLst>
  <pc:docChgLst>
    <pc:chgData name="Simone NERI" userId="2a00f2ad-68d9-45e6-b604-268bfad9cc5e" providerId="ADAL" clId="{61D205A9-26B1-4558-978C-9BD253A1A5F3}"/>
    <pc:docChg chg="custSel addSld modSld modSection">
      <pc:chgData name="Simone NERI" userId="2a00f2ad-68d9-45e6-b604-268bfad9cc5e" providerId="ADAL" clId="{61D205A9-26B1-4558-978C-9BD253A1A5F3}" dt="2023-03-17T11:01:12.660" v="1810" actId="20577"/>
      <pc:docMkLst>
        <pc:docMk/>
      </pc:docMkLst>
      <pc:sldChg chg="modSp mod">
        <pc:chgData name="Simone NERI" userId="2a00f2ad-68d9-45e6-b604-268bfad9cc5e" providerId="ADAL" clId="{61D205A9-26B1-4558-978C-9BD253A1A5F3}" dt="2023-03-17T11:01:12.660" v="1810" actId="20577"/>
        <pc:sldMkLst>
          <pc:docMk/>
          <pc:sldMk cId="4107027684" sldId="2014"/>
        </pc:sldMkLst>
        <pc:graphicFrameChg chg="modGraphic">
          <ac:chgData name="Simone NERI" userId="2a00f2ad-68d9-45e6-b604-268bfad9cc5e" providerId="ADAL" clId="{61D205A9-26B1-4558-978C-9BD253A1A5F3}" dt="2023-03-17T11:01:12.660" v="1810" actId="20577"/>
          <ac:graphicFrameMkLst>
            <pc:docMk/>
            <pc:sldMk cId="4107027684" sldId="2014"/>
            <ac:graphicFrameMk id="36" creationId="{F1C1D90F-95B6-57C8-FFF7-3B8F309684FC}"/>
          </ac:graphicFrameMkLst>
        </pc:graphicFrameChg>
      </pc:sldChg>
      <pc:sldChg chg="addSp delSp modSp add mod">
        <pc:chgData name="Simone NERI" userId="2a00f2ad-68d9-45e6-b604-268bfad9cc5e" providerId="ADAL" clId="{61D205A9-26B1-4558-978C-9BD253A1A5F3}" dt="2023-03-17T09:59:13.219" v="1767" actId="113"/>
        <pc:sldMkLst>
          <pc:docMk/>
          <pc:sldMk cId="3475287604" sldId="2147469996"/>
        </pc:sldMkLst>
        <pc:spChg chg="mod">
          <ac:chgData name="Simone NERI" userId="2a00f2ad-68d9-45e6-b604-268bfad9cc5e" providerId="ADAL" clId="{61D205A9-26B1-4558-978C-9BD253A1A5F3}" dt="2023-03-17T09:33:37.594" v="35" actId="20577"/>
          <ac:spMkLst>
            <pc:docMk/>
            <pc:sldMk cId="3475287604" sldId="2147469996"/>
            <ac:spMk id="2" creationId="{E11BF5BD-75C4-4E77-9598-7225EFF82CC5}"/>
          </ac:spMkLst>
        </pc:spChg>
        <pc:spChg chg="add mod">
          <ac:chgData name="Simone NERI" userId="2a00f2ad-68d9-45e6-b604-268bfad9cc5e" providerId="ADAL" clId="{61D205A9-26B1-4558-978C-9BD253A1A5F3}" dt="2023-03-17T09:54:38.699" v="1507" actId="1076"/>
          <ac:spMkLst>
            <pc:docMk/>
            <pc:sldMk cId="3475287604" sldId="2147469996"/>
            <ac:spMk id="3" creationId="{D346C06B-E16C-6F24-EEC2-C8BCC622F0C3}"/>
          </ac:spMkLst>
        </pc:spChg>
        <pc:spChg chg="del">
          <ac:chgData name="Simone NERI" userId="2a00f2ad-68d9-45e6-b604-268bfad9cc5e" providerId="ADAL" clId="{61D205A9-26B1-4558-978C-9BD253A1A5F3}" dt="2023-03-17T09:22:10.329" v="1" actId="478"/>
          <ac:spMkLst>
            <pc:docMk/>
            <pc:sldMk cId="3475287604" sldId="2147469996"/>
            <ac:spMk id="4" creationId="{DFE4ECB6-193A-41CD-8C1D-5A9AA8C9E006}"/>
          </ac:spMkLst>
        </pc:spChg>
        <pc:spChg chg="del">
          <ac:chgData name="Simone NERI" userId="2a00f2ad-68d9-45e6-b604-268bfad9cc5e" providerId="ADAL" clId="{61D205A9-26B1-4558-978C-9BD253A1A5F3}" dt="2023-03-17T09:22:10.329" v="1" actId="478"/>
          <ac:spMkLst>
            <pc:docMk/>
            <pc:sldMk cId="3475287604" sldId="2147469996"/>
            <ac:spMk id="9" creationId="{B9D16533-3C4E-49F8-8625-77A29914D708}"/>
          </ac:spMkLst>
        </pc:spChg>
        <pc:spChg chg="del">
          <ac:chgData name="Simone NERI" userId="2a00f2ad-68d9-45e6-b604-268bfad9cc5e" providerId="ADAL" clId="{61D205A9-26B1-4558-978C-9BD253A1A5F3}" dt="2023-03-17T09:22:10.329" v="1" actId="478"/>
          <ac:spMkLst>
            <pc:docMk/>
            <pc:sldMk cId="3475287604" sldId="2147469996"/>
            <ac:spMk id="10" creationId="{2C1BE3D3-AF86-4F00-99E9-C106820D1EEC}"/>
          </ac:spMkLst>
        </pc:spChg>
        <pc:spChg chg="del">
          <ac:chgData name="Simone NERI" userId="2a00f2ad-68d9-45e6-b604-268bfad9cc5e" providerId="ADAL" clId="{61D205A9-26B1-4558-978C-9BD253A1A5F3}" dt="2023-03-17T09:22:57.043" v="4" actId="478"/>
          <ac:spMkLst>
            <pc:docMk/>
            <pc:sldMk cId="3475287604" sldId="2147469996"/>
            <ac:spMk id="11" creationId="{C292AB15-E768-45D5-AD2A-5C819B23BD9F}"/>
          </ac:spMkLst>
        </pc:spChg>
        <pc:spChg chg="del">
          <ac:chgData name="Simone NERI" userId="2a00f2ad-68d9-45e6-b604-268bfad9cc5e" providerId="ADAL" clId="{61D205A9-26B1-4558-978C-9BD253A1A5F3}" dt="2023-03-17T09:22:10.329" v="1" actId="478"/>
          <ac:spMkLst>
            <pc:docMk/>
            <pc:sldMk cId="3475287604" sldId="2147469996"/>
            <ac:spMk id="13" creationId="{E22D3A68-8C63-4250-BAEB-59D55544985D}"/>
          </ac:spMkLst>
        </pc:spChg>
        <pc:spChg chg="del">
          <ac:chgData name="Simone NERI" userId="2a00f2ad-68d9-45e6-b604-268bfad9cc5e" providerId="ADAL" clId="{61D205A9-26B1-4558-978C-9BD253A1A5F3}" dt="2023-03-17T09:22:10.329" v="1" actId="478"/>
          <ac:spMkLst>
            <pc:docMk/>
            <pc:sldMk cId="3475287604" sldId="2147469996"/>
            <ac:spMk id="15" creationId="{864E3EB6-63A0-4187-87C2-15847F11EF55}"/>
          </ac:spMkLst>
        </pc:spChg>
        <pc:spChg chg="del">
          <ac:chgData name="Simone NERI" userId="2a00f2ad-68d9-45e6-b604-268bfad9cc5e" providerId="ADAL" clId="{61D205A9-26B1-4558-978C-9BD253A1A5F3}" dt="2023-03-17T09:22:13.306" v="2" actId="478"/>
          <ac:spMkLst>
            <pc:docMk/>
            <pc:sldMk cId="3475287604" sldId="2147469996"/>
            <ac:spMk id="17" creationId="{081C14F2-F0CF-453C-B5E6-3AB28B427042}"/>
          </ac:spMkLst>
        </pc:spChg>
        <pc:spChg chg="del">
          <ac:chgData name="Simone NERI" userId="2a00f2ad-68d9-45e6-b604-268bfad9cc5e" providerId="ADAL" clId="{61D205A9-26B1-4558-978C-9BD253A1A5F3}" dt="2023-03-17T09:23:00.995" v="5" actId="478"/>
          <ac:spMkLst>
            <pc:docMk/>
            <pc:sldMk cId="3475287604" sldId="2147469996"/>
            <ac:spMk id="18" creationId="{4C19FCF4-D461-0058-13D2-B028F508BBEA}"/>
          </ac:spMkLst>
        </pc:spChg>
        <pc:spChg chg="add mod">
          <ac:chgData name="Simone NERI" userId="2a00f2ad-68d9-45e6-b604-268bfad9cc5e" providerId="ADAL" clId="{61D205A9-26B1-4558-978C-9BD253A1A5F3}" dt="2023-03-17T09:55:35.017" v="1570" actId="14100"/>
          <ac:spMkLst>
            <pc:docMk/>
            <pc:sldMk cId="3475287604" sldId="2147469996"/>
            <ac:spMk id="20" creationId="{13EE3F99-8380-7763-BA83-7CF4024CF3CC}"/>
          </ac:spMkLst>
        </pc:spChg>
        <pc:spChg chg="mod">
          <ac:chgData name="Simone NERI" userId="2a00f2ad-68d9-45e6-b604-268bfad9cc5e" providerId="ADAL" clId="{61D205A9-26B1-4558-978C-9BD253A1A5F3}" dt="2023-03-17T09:52:39.559" v="1497" actId="14100"/>
          <ac:spMkLst>
            <pc:docMk/>
            <pc:sldMk cId="3475287604" sldId="2147469996"/>
            <ac:spMk id="21" creationId="{2806116F-6F2D-1385-E97D-25A261E917CC}"/>
          </ac:spMkLst>
        </pc:spChg>
        <pc:spChg chg="add mod">
          <ac:chgData name="Simone NERI" userId="2a00f2ad-68d9-45e6-b604-268bfad9cc5e" providerId="ADAL" clId="{61D205A9-26B1-4558-978C-9BD253A1A5F3}" dt="2023-03-17T09:59:13.219" v="1767" actId="113"/>
          <ac:spMkLst>
            <pc:docMk/>
            <pc:sldMk cId="3475287604" sldId="2147469996"/>
            <ac:spMk id="22" creationId="{B58F78E0-5485-CB04-5B71-42CF98DDFEDC}"/>
          </ac:spMkLst>
        </pc:spChg>
        <pc:spChg chg="mod">
          <ac:chgData name="Simone NERI" userId="2a00f2ad-68d9-45e6-b604-268bfad9cc5e" providerId="ADAL" clId="{61D205A9-26B1-4558-978C-9BD253A1A5F3}" dt="2023-03-17T09:52:30.959" v="1487" actId="1035"/>
          <ac:spMkLst>
            <pc:docMk/>
            <pc:sldMk cId="3475287604" sldId="2147469996"/>
            <ac:spMk id="31" creationId="{405F34FB-112B-D9B2-6EC3-A4ED7F783C35}"/>
          </ac:spMkLst>
        </pc:spChg>
        <pc:spChg chg="mod">
          <ac:chgData name="Simone NERI" userId="2a00f2ad-68d9-45e6-b604-268bfad9cc5e" providerId="ADAL" clId="{61D205A9-26B1-4558-978C-9BD253A1A5F3}" dt="2023-03-17T09:52:30.959" v="1487" actId="1035"/>
          <ac:spMkLst>
            <pc:docMk/>
            <pc:sldMk cId="3475287604" sldId="2147469996"/>
            <ac:spMk id="32" creationId="{D87ED807-D69B-7F3C-2931-614001082529}"/>
          </ac:spMkLst>
        </pc:spChg>
        <pc:spChg chg="mod">
          <ac:chgData name="Simone NERI" userId="2a00f2ad-68d9-45e6-b604-268bfad9cc5e" providerId="ADAL" clId="{61D205A9-26B1-4558-978C-9BD253A1A5F3}" dt="2023-03-17T09:52:30.959" v="1487" actId="1035"/>
          <ac:spMkLst>
            <pc:docMk/>
            <pc:sldMk cId="3475287604" sldId="2147469996"/>
            <ac:spMk id="33" creationId="{E0CF212E-28AF-9982-0C26-8E76888A25EE}"/>
          </ac:spMkLst>
        </pc:spChg>
        <pc:spChg chg="mod">
          <ac:chgData name="Simone NERI" userId="2a00f2ad-68d9-45e6-b604-268bfad9cc5e" providerId="ADAL" clId="{61D205A9-26B1-4558-978C-9BD253A1A5F3}" dt="2023-03-17T09:52:30.959" v="1487" actId="1035"/>
          <ac:spMkLst>
            <pc:docMk/>
            <pc:sldMk cId="3475287604" sldId="2147469996"/>
            <ac:spMk id="34" creationId="{957B383E-53CF-7FA5-13B8-D53C4073A878}"/>
          </ac:spMkLst>
        </pc:spChg>
        <pc:spChg chg="mod">
          <ac:chgData name="Simone NERI" userId="2a00f2ad-68d9-45e6-b604-268bfad9cc5e" providerId="ADAL" clId="{61D205A9-26B1-4558-978C-9BD253A1A5F3}" dt="2023-03-17T09:33:48.929" v="36" actId="1076"/>
          <ac:spMkLst>
            <pc:docMk/>
            <pc:sldMk cId="3475287604" sldId="2147469996"/>
            <ac:spMk id="35" creationId="{A1D2A6E9-9A53-78E5-9DE0-4B4AFF0A7351}"/>
          </ac:spMkLst>
        </pc:spChg>
        <pc:spChg chg="mod">
          <ac:chgData name="Simone NERI" userId="2a00f2ad-68d9-45e6-b604-268bfad9cc5e" providerId="ADAL" clId="{61D205A9-26B1-4558-978C-9BD253A1A5F3}" dt="2023-03-17T09:52:30.959" v="1487" actId="1035"/>
          <ac:spMkLst>
            <pc:docMk/>
            <pc:sldMk cId="3475287604" sldId="2147469996"/>
            <ac:spMk id="36" creationId="{A25C2952-F2CE-5BAC-075A-0EF54F2C0F20}"/>
          </ac:spMkLst>
        </pc:spChg>
        <pc:spChg chg="mod">
          <ac:chgData name="Simone NERI" userId="2a00f2ad-68d9-45e6-b604-268bfad9cc5e" providerId="ADAL" clId="{61D205A9-26B1-4558-978C-9BD253A1A5F3}" dt="2023-03-17T09:52:30.959" v="1487" actId="1035"/>
          <ac:spMkLst>
            <pc:docMk/>
            <pc:sldMk cId="3475287604" sldId="2147469996"/>
            <ac:spMk id="37" creationId="{396A7D0D-95A7-CED1-64F5-DF302CAC8062}"/>
          </ac:spMkLst>
        </pc:spChg>
        <pc:spChg chg="mod">
          <ac:chgData name="Simone NERI" userId="2a00f2ad-68d9-45e6-b604-268bfad9cc5e" providerId="ADAL" clId="{61D205A9-26B1-4558-978C-9BD253A1A5F3}" dt="2023-03-17T09:52:30.959" v="1487" actId="1035"/>
          <ac:spMkLst>
            <pc:docMk/>
            <pc:sldMk cId="3475287604" sldId="2147469996"/>
            <ac:spMk id="38" creationId="{C572C046-2020-CB04-745D-E0F351EBB6A9}"/>
          </ac:spMkLst>
        </pc:spChg>
        <pc:spChg chg="del">
          <ac:chgData name="Simone NERI" userId="2a00f2ad-68d9-45e6-b604-268bfad9cc5e" providerId="ADAL" clId="{61D205A9-26B1-4558-978C-9BD253A1A5F3}" dt="2023-03-17T09:23:00.995" v="5" actId="478"/>
          <ac:spMkLst>
            <pc:docMk/>
            <pc:sldMk cId="3475287604" sldId="2147469996"/>
            <ac:spMk id="39" creationId="{639BEA8A-94AA-981B-E7FE-7BEBF52D5CA8}"/>
          </ac:spMkLst>
        </pc:spChg>
        <pc:spChg chg="del">
          <ac:chgData name="Simone NERI" userId="2a00f2ad-68d9-45e6-b604-268bfad9cc5e" providerId="ADAL" clId="{61D205A9-26B1-4558-978C-9BD253A1A5F3}" dt="2023-03-17T09:23:00.995" v="5" actId="478"/>
          <ac:spMkLst>
            <pc:docMk/>
            <pc:sldMk cId="3475287604" sldId="2147469996"/>
            <ac:spMk id="40" creationId="{09DFE226-DE17-2FBF-3540-BE5968287E80}"/>
          </ac:spMkLst>
        </pc:spChg>
        <pc:spChg chg="del">
          <ac:chgData name="Simone NERI" userId="2a00f2ad-68d9-45e6-b604-268bfad9cc5e" providerId="ADAL" clId="{61D205A9-26B1-4558-978C-9BD253A1A5F3}" dt="2023-03-17T09:23:00.995" v="5" actId="478"/>
          <ac:spMkLst>
            <pc:docMk/>
            <pc:sldMk cId="3475287604" sldId="2147469996"/>
            <ac:spMk id="41" creationId="{C87F2A53-C3ED-764F-96A5-2B0B1AF5BEC8}"/>
          </ac:spMkLst>
        </pc:spChg>
        <pc:spChg chg="del">
          <ac:chgData name="Simone NERI" userId="2a00f2ad-68d9-45e6-b604-268bfad9cc5e" providerId="ADAL" clId="{61D205A9-26B1-4558-978C-9BD253A1A5F3}" dt="2023-03-17T09:23:00.995" v="5" actId="478"/>
          <ac:spMkLst>
            <pc:docMk/>
            <pc:sldMk cId="3475287604" sldId="2147469996"/>
            <ac:spMk id="42" creationId="{AD423B49-EFA2-C58A-5AB6-FEA2F8E92899}"/>
          </ac:spMkLst>
        </pc:spChg>
        <pc:spChg chg="mod">
          <ac:chgData name="Simone NERI" userId="2a00f2ad-68d9-45e6-b604-268bfad9cc5e" providerId="ADAL" clId="{61D205A9-26B1-4558-978C-9BD253A1A5F3}" dt="2023-03-17T09:52:30.959" v="1487" actId="1035"/>
          <ac:spMkLst>
            <pc:docMk/>
            <pc:sldMk cId="3475287604" sldId="2147469996"/>
            <ac:spMk id="43" creationId="{A2E89265-A832-44BC-DB37-CB056035C8A7}"/>
          </ac:spMkLst>
        </pc:spChg>
        <pc:spChg chg="del">
          <ac:chgData name="Simone NERI" userId="2a00f2ad-68d9-45e6-b604-268bfad9cc5e" providerId="ADAL" clId="{61D205A9-26B1-4558-978C-9BD253A1A5F3}" dt="2023-03-17T09:23:00.995" v="5" actId="478"/>
          <ac:spMkLst>
            <pc:docMk/>
            <pc:sldMk cId="3475287604" sldId="2147469996"/>
            <ac:spMk id="44" creationId="{89772F3D-8179-8C06-AFB3-40218B1F3A9B}"/>
          </ac:spMkLst>
        </pc:spChg>
        <pc:grpChg chg="del">
          <ac:chgData name="Simone NERI" userId="2a00f2ad-68d9-45e6-b604-268bfad9cc5e" providerId="ADAL" clId="{61D205A9-26B1-4558-978C-9BD253A1A5F3}" dt="2023-03-17T09:23:00.995" v="5" actId="478"/>
          <ac:grpSpMkLst>
            <pc:docMk/>
            <pc:sldMk cId="3475287604" sldId="2147469996"/>
            <ac:grpSpMk id="26" creationId="{1F2CEE5A-5DBC-EEC6-4BF8-195AA9480179}"/>
          </ac:grpSpMkLst>
        </pc:grpChg>
        <pc:graphicFrameChg chg="mod modGraphic">
          <ac:chgData name="Simone NERI" userId="2a00f2ad-68d9-45e6-b604-268bfad9cc5e" providerId="ADAL" clId="{61D205A9-26B1-4558-978C-9BD253A1A5F3}" dt="2023-03-17T09:55:16.517" v="1516" actId="14100"/>
          <ac:graphicFrameMkLst>
            <pc:docMk/>
            <pc:sldMk cId="3475287604" sldId="2147469996"/>
            <ac:graphicFrameMk id="4" creationId="{47035697-1F52-1231-AB96-78ECCB31EB51}"/>
          </ac:graphicFrameMkLst>
        </pc:graphicFrameChg>
        <pc:graphicFrameChg chg="add mod modGraphic">
          <ac:chgData name="Simone NERI" userId="2a00f2ad-68d9-45e6-b604-268bfad9cc5e" providerId="ADAL" clId="{61D205A9-26B1-4558-978C-9BD253A1A5F3}" dt="2023-03-17T09:55:54.769" v="1571" actId="1076"/>
          <ac:graphicFrameMkLst>
            <pc:docMk/>
            <pc:sldMk cId="3475287604" sldId="2147469996"/>
            <ac:graphicFrameMk id="19" creationId="{918C2788-4FB2-A160-8567-038F4488845F}"/>
          </ac:graphicFrameMkLst>
        </pc:graphicFrameChg>
        <pc:picChg chg="del">
          <ac:chgData name="Simone NERI" userId="2a00f2ad-68d9-45e6-b604-268bfad9cc5e" providerId="ADAL" clId="{61D205A9-26B1-4558-978C-9BD253A1A5F3}" dt="2023-03-17T09:22:10.329" v="1" actId="478"/>
          <ac:picMkLst>
            <pc:docMk/>
            <pc:sldMk cId="3475287604" sldId="2147469996"/>
            <ac:picMk id="5" creationId="{8D4A21DA-4CA0-49B7-AD78-0F9B8A7532E6}"/>
          </ac:picMkLst>
        </pc:picChg>
        <pc:picChg chg="del">
          <ac:chgData name="Simone NERI" userId="2a00f2ad-68d9-45e6-b604-268bfad9cc5e" providerId="ADAL" clId="{61D205A9-26B1-4558-978C-9BD253A1A5F3}" dt="2023-03-17T09:22:10.329" v="1" actId="478"/>
          <ac:picMkLst>
            <pc:docMk/>
            <pc:sldMk cId="3475287604" sldId="2147469996"/>
            <ac:picMk id="6" creationId="{CCA51F63-3D45-49D1-A294-FEE7069F69F3}"/>
          </ac:picMkLst>
        </pc:picChg>
        <pc:picChg chg="del">
          <ac:chgData name="Simone NERI" userId="2a00f2ad-68d9-45e6-b604-268bfad9cc5e" providerId="ADAL" clId="{61D205A9-26B1-4558-978C-9BD253A1A5F3}" dt="2023-03-17T09:22:57.043" v="4" actId="478"/>
          <ac:picMkLst>
            <pc:docMk/>
            <pc:sldMk cId="3475287604" sldId="2147469996"/>
            <ac:picMk id="7" creationId="{917A7A55-7496-4AA5-B913-66B9922A7AB0}"/>
          </ac:picMkLst>
        </pc:picChg>
        <pc:picChg chg="del">
          <ac:chgData name="Simone NERI" userId="2a00f2ad-68d9-45e6-b604-268bfad9cc5e" providerId="ADAL" clId="{61D205A9-26B1-4558-978C-9BD253A1A5F3}" dt="2023-03-17T09:22:10.329" v="1" actId="478"/>
          <ac:picMkLst>
            <pc:docMk/>
            <pc:sldMk cId="3475287604" sldId="2147469996"/>
            <ac:picMk id="24" creationId="{07A552B2-1363-45E7-BB1D-2B6DAE61A8ED}"/>
          </ac:picMkLst>
        </pc:picChg>
        <pc:picChg chg="mod">
          <ac:chgData name="Simone NERI" userId="2a00f2ad-68d9-45e6-b604-268bfad9cc5e" providerId="ADAL" clId="{61D205A9-26B1-4558-978C-9BD253A1A5F3}" dt="2023-03-17T09:52:30.959" v="1487" actId="1035"/>
          <ac:picMkLst>
            <pc:docMk/>
            <pc:sldMk cId="3475287604" sldId="2147469996"/>
            <ac:picMk id="45" creationId="{33D684BD-1708-7137-BEC5-721AE2399D4B}"/>
          </ac:picMkLst>
        </pc:picChg>
        <pc:picChg chg="del">
          <ac:chgData name="Simone NERI" userId="2a00f2ad-68d9-45e6-b604-268bfad9cc5e" providerId="ADAL" clId="{61D205A9-26B1-4558-978C-9BD253A1A5F3}" dt="2023-03-17T09:23:00.995" v="5" actId="478"/>
          <ac:picMkLst>
            <pc:docMk/>
            <pc:sldMk cId="3475287604" sldId="2147469996"/>
            <ac:picMk id="46" creationId="{F2D4D600-9118-84B3-79E3-1D4D56059091}"/>
          </ac:picMkLst>
        </pc:picChg>
        <pc:picChg chg="del">
          <ac:chgData name="Simone NERI" userId="2a00f2ad-68d9-45e6-b604-268bfad9cc5e" providerId="ADAL" clId="{61D205A9-26B1-4558-978C-9BD253A1A5F3}" dt="2023-03-17T09:23:00.995" v="5" actId="478"/>
          <ac:picMkLst>
            <pc:docMk/>
            <pc:sldMk cId="3475287604" sldId="2147469996"/>
            <ac:picMk id="58" creationId="{973E76ED-1497-9FE2-D0B5-1CC85DE0DD14}"/>
          </ac:picMkLst>
        </pc:picChg>
        <pc:picChg chg="del">
          <ac:chgData name="Simone NERI" userId="2a00f2ad-68d9-45e6-b604-268bfad9cc5e" providerId="ADAL" clId="{61D205A9-26B1-4558-978C-9BD253A1A5F3}" dt="2023-03-17T09:23:00.995" v="5" actId="478"/>
          <ac:picMkLst>
            <pc:docMk/>
            <pc:sldMk cId="3475287604" sldId="2147469996"/>
            <ac:picMk id="60" creationId="{0E865FD8-6D00-D95A-2A7A-ABA125367684}"/>
          </ac:picMkLst>
        </pc:picChg>
        <pc:picChg chg="mod">
          <ac:chgData name="Simone NERI" userId="2a00f2ad-68d9-45e6-b604-268bfad9cc5e" providerId="ADAL" clId="{61D205A9-26B1-4558-978C-9BD253A1A5F3}" dt="2023-03-17T09:52:30.959" v="1487" actId="1035"/>
          <ac:picMkLst>
            <pc:docMk/>
            <pc:sldMk cId="3475287604" sldId="2147469996"/>
            <ac:picMk id="62" creationId="{8A997064-A2E9-A495-EF0A-EFBA629C805A}"/>
          </ac:picMkLst>
        </pc:picChg>
        <pc:picChg chg="mod">
          <ac:chgData name="Simone NERI" userId="2a00f2ad-68d9-45e6-b604-268bfad9cc5e" providerId="ADAL" clId="{61D205A9-26B1-4558-978C-9BD253A1A5F3}" dt="2023-03-17T09:52:30.959" v="1487" actId="1035"/>
          <ac:picMkLst>
            <pc:docMk/>
            <pc:sldMk cId="3475287604" sldId="2147469996"/>
            <ac:picMk id="64" creationId="{A3E1E93F-3162-B40F-4022-004BAEAD13EB}"/>
          </ac:picMkLst>
        </pc:picChg>
        <pc:picChg chg="mod">
          <ac:chgData name="Simone NERI" userId="2a00f2ad-68d9-45e6-b604-268bfad9cc5e" providerId="ADAL" clId="{61D205A9-26B1-4558-978C-9BD253A1A5F3}" dt="2023-03-17T09:52:30.959" v="1487" actId="1035"/>
          <ac:picMkLst>
            <pc:docMk/>
            <pc:sldMk cId="3475287604" sldId="2147469996"/>
            <ac:picMk id="66" creationId="{26DF453C-2C6B-5283-5FCA-CB98423EBFE2}"/>
          </ac:picMkLst>
        </pc:picChg>
        <pc:picChg chg="mod">
          <ac:chgData name="Simone NERI" userId="2a00f2ad-68d9-45e6-b604-268bfad9cc5e" providerId="ADAL" clId="{61D205A9-26B1-4558-978C-9BD253A1A5F3}" dt="2023-03-17T09:52:30.959" v="1487" actId="1035"/>
          <ac:picMkLst>
            <pc:docMk/>
            <pc:sldMk cId="3475287604" sldId="2147469996"/>
            <ac:picMk id="68" creationId="{67A26C82-8AF7-1439-10E9-B367D279D3BC}"/>
          </ac:picMkLst>
        </pc:picChg>
        <pc:picChg chg="del">
          <ac:chgData name="Simone NERI" userId="2a00f2ad-68d9-45e6-b604-268bfad9cc5e" providerId="ADAL" clId="{61D205A9-26B1-4558-978C-9BD253A1A5F3}" dt="2023-03-17T09:23:00.995" v="5" actId="478"/>
          <ac:picMkLst>
            <pc:docMk/>
            <pc:sldMk cId="3475287604" sldId="2147469996"/>
            <ac:picMk id="69" creationId="{91D4141A-CD80-E5E9-DBB8-EF25ECF255C6}"/>
          </ac:picMkLst>
        </pc:picChg>
        <pc:picChg chg="del">
          <ac:chgData name="Simone NERI" userId="2a00f2ad-68d9-45e6-b604-268bfad9cc5e" providerId="ADAL" clId="{61D205A9-26B1-4558-978C-9BD253A1A5F3}" dt="2023-03-17T09:23:00.995" v="5" actId="478"/>
          <ac:picMkLst>
            <pc:docMk/>
            <pc:sldMk cId="3475287604" sldId="2147469996"/>
            <ac:picMk id="71" creationId="{A16AEE2C-72C3-B8C0-29CD-13AA3794CE2F}"/>
          </ac:picMkLst>
        </pc:picChg>
        <pc:cxnChg chg="del">
          <ac:chgData name="Simone NERI" userId="2a00f2ad-68d9-45e6-b604-268bfad9cc5e" providerId="ADAL" clId="{61D205A9-26B1-4558-978C-9BD253A1A5F3}" dt="2023-03-17T09:22:10.329" v="1" actId="478"/>
          <ac:cxnSpMkLst>
            <pc:docMk/>
            <pc:sldMk cId="3475287604" sldId="2147469996"/>
            <ac:cxnSpMk id="8" creationId="{9B35EB87-18EF-4C68-8104-C08FBB737A15}"/>
          </ac:cxnSpMkLst>
        </pc:cxnChg>
        <pc:cxnChg chg="del">
          <ac:chgData name="Simone NERI" userId="2a00f2ad-68d9-45e6-b604-268bfad9cc5e" providerId="ADAL" clId="{61D205A9-26B1-4558-978C-9BD253A1A5F3}" dt="2023-03-17T09:22:57.043" v="4" actId="478"/>
          <ac:cxnSpMkLst>
            <pc:docMk/>
            <pc:sldMk cId="3475287604" sldId="2147469996"/>
            <ac:cxnSpMk id="12" creationId="{5FBBD91D-8660-43E8-AAAC-8ECF816A7DB7}"/>
          </ac:cxnSpMkLst>
        </pc:cxnChg>
        <pc:cxnChg chg="del">
          <ac:chgData name="Simone NERI" userId="2a00f2ad-68d9-45e6-b604-268bfad9cc5e" providerId="ADAL" clId="{61D205A9-26B1-4558-978C-9BD253A1A5F3}" dt="2023-03-17T09:22:10.329" v="1" actId="478"/>
          <ac:cxnSpMkLst>
            <pc:docMk/>
            <pc:sldMk cId="3475287604" sldId="2147469996"/>
            <ac:cxnSpMk id="14" creationId="{CA362DFC-94B7-4CD5-8459-C95A5EA44217}"/>
          </ac:cxnSpMkLst>
        </pc:cxnChg>
        <pc:cxnChg chg="del">
          <ac:chgData name="Simone NERI" userId="2a00f2ad-68d9-45e6-b604-268bfad9cc5e" providerId="ADAL" clId="{61D205A9-26B1-4558-978C-9BD253A1A5F3}" dt="2023-03-17T09:22:10.329" v="1" actId="478"/>
          <ac:cxnSpMkLst>
            <pc:docMk/>
            <pc:sldMk cId="3475287604" sldId="2147469996"/>
            <ac:cxnSpMk id="16" creationId="{B8AE57C4-69CE-4608-8DDB-7E6E3218F160}"/>
          </ac:cxnSpMkLst>
        </pc:cxnChg>
        <pc:cxnChg chg="mod">
          <ac:chgData name="Simone NERI" userId="2a00f2ad-68d9-45e6-b604-268bfad9cc5e" providerId="ADAL" clId="{61D205A9-26B1-4558-978C-9BD253A1A5F3}" dt="2023-03-17T09:52:30.959" v="1487" actId="1035"/>
          <ac:cxnSpMkLst>
            <pc:docMk/>
            <pc:sldMk cId="3475287604" sldId="2147469996"/>
            <ac:cxnSpMk id="47" creationId="{CA6E44B2-D37D-8819-0722-4D4086D8D4B2}"/>
          </ac:cxnSpMkLst>
        </pc:cxnChg>
        <pc:cxnChg chg="mod">
          <ac:chgData name="Simone NERI" userId="2a00f2ad-68d9-45e6-b604-268bfad9cc5e" providerId="ADAL" clId="{61D205A9-26B1-4558-978C-9BD253A1A5F3}" dt="2023-03-17T09:52:30.959" v="1487" actId="1035"/>
          <ac:cxnSpMkLst>
            <pc:docMk/>
            <pc:sldMk cId="3475287604" sldId="2147469996"/>
            <ac:cxnSpMk id="48" creationId="{6EA0C923-8FE3-5E3B-CFB0-635B999341EE}"/>
          </ac:cxnSpMkLst>
        </pc:cxnChg>
        <pc:cxnChg chg="mod">
          <ac:chgData name="Simone NERI" userId="2a00f2ad-68d9-45e6-b604-268bfad9cc5e" providerId="ADAL" clId="{61D205A9-26B1-4558-978C-9BD253A1A5F3}" dt="2023-03-17T09:52:30.959" v="1487" actId="1035"/>
          <ac:cxnSpMkLst>
            <pc:docMk/>
            <pc:sldMk cId="3475287604" sldId="2147469996"/>
            <ac:cxnSpMk id="49" creationId="{E1F3793B-9C12-7FE2-172F-2D71D423035A}"/>
          </ac:cxnSpMkLst>
        </pc:cxnChg>
        <pc:cxnChg chg="mod">
          <ac:chgData name="Simone NERI" userId="2a00f2ad-68d9-45e6-b604-268bfad9cc5e" providerId="ADAL" clId="{61D205A9-26B1-4558-978C-9BD253A1A5F3}" dt="2023-03-17T09:52:30.959" v="1487" actId="1035"/>
          <ac:cxnSpMkLst>
            <pc:docMk/>
            <pc:sldMk cId="3475287604" sldId="2147469996"/>
            <ac:cxnSpMk id="50" creationId="{09D14A5C-5A65-7065-01DA-B9EC42C4453C}"/>
          </ac:cxnSpMkLst>
        </pc:cxnChg>
        <pc:cxnChg chg="del">
          <ac:chgData name="Simone NERI" userId="2a00f2ad-68d9-45e6-b604-268bfad9cc5e" providerId="ADAL" clId="{61D205A9-26B1-4558-978C-9BD253A1A5F3}" dt="2023-03-17T09:23:00.995" v="5" actId="478"/>
          <ac:cxnSpMkLst>
            <pc:docMk/>
            <pc:sldMk cId="3475287604" sldId="2147469996"/>
            <ac:cxnSpMk id="51" creationId="{8C4FD16A-35FD-67BD-04A0-4AFC03F22229}"/>
          </ac:cxnSpMkLst>
        </pc:cxnChg>
        <pc:cxnChg chg="del">
          <ac:chgData name="Simone NERI" userId="2a00f2ad-68d9-45e6-b604-268bfad9cc5e" providerId="ADAL" clId="{61D205A9-26B1-4558-978C-9BD253A1A5F3}" dt="2023-03-17T09:23:00.995" v="5" actId="478"/>
          <ac:cxnSpMkLst>
            <pc:docMk/>
            <pc:sldMk cId="3475287604" sldId="2147469996"/>
            <ac:cxnSpMk id="52" creationId="{AE063126-C1B2-AD3B-C7E8-B51FD4CCC074}"/>
          </ac:cxnSpMkLst>
        </pc:cxnChg>
        <pc:cxnChg chg="del">
          <ac:chgData name="Simone NERI" userId="2a00f2ad-68d9-45e6-b604-268bfad9cc5e" providerId="ADAL" clId="{61D205A9-26B1-4558-978C-9BD253A1A5F3}" dt="2023-03-17T09:23:00.995" v="5" actId="478"/>
          <ac:cxnSpMkLst>
            <pc:docMk/>
            <pc:sldMk cId="3475287604" sldId="2147469996"/>
            <ac:cxnSpMk id="53" creationId="{AF8DF9F0-F0AC-984D-54B5-5A79A30586C1}"/>
          </ac:cxnSpMkLst>
        </pc:cxnChg>
        <pc:cxnChg chg="del">
          <ac:chgData name="Simone NERI" userId="2a00f2ad-68d9-45e6-b604-268bfad9cc5e" providerId="ADAL" clId="{61D205A9-26B1-4558-978C-9BD253A1A5F3}" dt="2023-03-17T09:23:00.995" v="5" actId="478"/>
          <ac:cxnSpMkLst>
            <pc:docMk/>
            <pc:sldMk cId="3475287604" sldId="2147469996"/>
            <ac:cxnSpMk id="54" creationId="{605D8A01-F58C-94E5-D3F9-5ADB7C069F32}"/>
          </ac:cxnSpMkLst>
        </pc:cxnChg>
      </pc:sldChg>
    </pc:docChg>
  </pc:docChgLst>
  <pc:docChgLst>
    <pc:chgData name="Mounir BEN TARCHA" userId="5951d9d2-4e08-4b72-97c9-9fb30e46c68d" providerId="ADAL" clId="{D1CAAF7D-3F84-41D9-9464-6E781249F65B}"/>
    <pc:docChg chg="custSel modSld">
      <pc:chgData name="Mounir BEN TARCHA" userId="5951d9d2-4e08-4b72-97c9-9fb30e46c68d" providerId="ADAL" clId="{D1CAAF7D-3F84-41D9-9464-6E781249F65B}" dt="2023-01-20T14:21:43.755" v="38" actId="1076"/>
      <pc:docMkLst>
        <pc:docMk/>
      </pc:docMkLst>
      <pc:sldChg chg="delSp modSp mod">
        <pc:chgData name="Mounir BEN TARCHA" userId="5951d9d2-4e08-4b72-97c9-9fb30e46c68d" providerId="ADAL" clId="{D1CAAF7D-3F84-41D9-9464-6E781249F65B}" dt="2023-01-20T14:21:43.755" v="38" actId="1076"/>
        <pc:sldMkLst>
          <pc:docMk/>
          <pc:sldMk cId="256183737" sldId="2147469842"/>
        </pc:sldMkLst>
        <pc:spChg chg="mod">
          <ac:chgData name="Mounir BEN TARCHA" userId="5951d9d2-4e08-4b72-97c9-9fb30e46c68d" providerId="ADAL" clId="{D1CAAF7D-3F84-41D9-9464-6E781249F65B}" dt="2023-01-20T14:21:43.755" v="38" actId="1076"/>
          <ac:spMkLst>
            <pc:docMk/>
            <pc:sldMk cId="256183737" sldId="2147469842"/>
            <ac:spMk id="5" creationId="{1A4402D9-398D-4DF2-96CC-333DFAAEE6C6}"/>
          </ac:spMkLst>
        </pc:spChg>
        <pc:spChg chg="mod">
          <ac:chgData name="Mounir BEN TARCHA" userId="5951d9d2-4e08-4b72-97c9-9fb30e46c68d" providerId="ADAL" clId="{D1CAAF7D-3F84-41D9-9464-6E781249F65B}" dt="2023-01-20T14:18:56.457" v="15" actId="20577"/>
          <ac:spMkLst>
            <pc:docMk/>
            <pc:sldMk cId="256183737" sldId="2147469842"/>
            <ac:spMk id="6" creationId="{6045B5AE-AEEA-48D4-8EB6-4D26AE82B2D3}"/>
          </ac:spMkLst>
        </pc:spChg>
        <pc:spChg chg="mod">
          <ac:chgData name="Mounir BEN TARCHA" userId="5951d9d2-4e08-4b72-97c9-9fb30e46c68d" providerId="ADAL" clId="{D1CAAF7D-3F84-41D9-9464-6E781249F65B}" dt="2023-01-20T14:21:32.531" v="37" actId="1076"/>
          <ac:spMkLst>
            <pc:docMk/>
            <pc:sldMk cId="256183737" sldId="2147469842"/>
            <ac:spMk id="7" creationId="{09CD23FC-4420-46C7-A4E6-F7E37796B87D}"/>
          </ac:spMkLst>
        </pc:spChg>
        <pc:spChg chg="mod">
          <ac:chgData name="Mounir BEN TARCHA" userId="5951d9d2-4e08-4b72-97c9-9fb30e46c68d" providerId="ADAL" clId="{D1CAAF7D-3F84-41D9-9464-6E781249F65B}" dt="2023-01-20T14:21:14.945" v="36" actId="14100"/>
          <ac:spMkLst>
            <pc:docMk/>
            <pc:sldMk cId="256183737" sldId="2147469842"/>
            <ac:spMk id="41" creationId="{FEC2DBEF-334D-4104-8D93-76EDA1DA8698}"/>
          </ac:spMkLst>
        </pc:spChg>
        <pc:spChg chg="mod">
          <ac:chgData name="Mounir BEN TARCHA" userId="5951d9d2-4e08-4b72-97c9-9fb30e46c68d" providerId="ADAL" clId="{D1CAAF7D-3F84-41D9-9464-6E781249F65B}" dt="2023-01-20T14:21:05.065" v="35" actId="14100"/>
          <ac:spMkLst>
            <pc:docMk/>
            <pc:sldMk cId="256183737" sldId="2147469842"/>
            <ac:spMk id="42" creationId="{F2E63386-A027-4A2F-B567-65D151FDC80F}"/>
          </ac:spMkLst>
        </pc:spChg>
        <pc:spChg chg="del">
          <ac:chgData name="Mounir BEN TARCHA" userId="5951d9d2-4e08-4b72-97c9-9fb30e46c68d" providerId="ADAL" clId="{D1CAAF7D-3F84-41D9-9464-6E781249F65B}" dt="2023-01-20T14:20:04.235" v="32" actId="478"/>
          <ac:spMkLst>
            <pc:docMk/>
            <pc:sldMk cId="256183737" sldId="2147469842"/>
            <ac:spMk id="43" creationId="{3FF8E9D5-DF06-4DDB-9FD5-EA3BF0208BA7}"/>
          </ac:spMkLst>
        </pc:spChg>
      </pc:sldChg>
    </pc:docChg>
  </pc:docChgLst>
  <pc:docChgLst>
    <pc:chgData name="Amélie LE LEVREUR" userId="982b180d-1354-44d2-b69c-66806c841852" providerId="ADAL" clId="{518567DB-73FA-4DE7-BD25-C50E48AC0DAD}"/>
    <pc:docChg chg="undo custSel modSld">
      <pc:chgData name="Amélie LE LEVREUR" userId="982b180d-1354-44d2-b69c-66806c841852" providerId="ADAL" clId="{518567DB-73FA-4DE7-BD25-C50E48AC0DAD}" dt="2023-03-20T15:24:58.421" v="5" actId="20577"/>
      <pc:docMkLst>
        <pc:docMk/>
      </pc:docMkLst>
      <pc:sldChg chg="delSp modSp mod">
        <pc:chgData name="Amélie LE LEVREUR" userId="982b180d-1354-44d2-b69c-66806c841852" providerId="ADAL" clId="{518567DB-73FA-4DE7-BD25-C50E48AC0DAD}" dt="2023-03-20T15:24:58.421" v="5" actId="20577"/>
        <pc:sldMkLst>
          <pc:docMk/>
          <pc:sldMk cId="619538722" sldId="2076136401"/>
        </pc:sldMkLst>
        <pc:spChg chg="mod">
          <ac:chgData name="Amélie LE LEVREUR" userId="982b180d-1354-44d2-b69c-66806c841852" providerId="ADAL" clId="{518567DB-73FA-4DE7-BD25-C50E48AC0DAD}" dt="2023-03-20T15:24:02.494" v="0" actId="18245"/>
          <ac:spMkLst>
            <pc:docMk/>
            <pc:sldMk cId="619538722" sldId="2076136401"/>
            <ac:spMk id="4" creationId="{DE589656-2A1A-3EC7-96E7-FDDB75AAECD5}"/>
          </ac:spMkLst>
        </pc:spChg>
        <pc:spChg chg="mod">
          <ac:chgData name="Amélie LE LEVREUR" userId="982b180d-1354-44d2-b69c-66806c841852" providerId="ADAL" clId="{518567DB-73FA-4DE7-BD25-C50E48AC0DAD}" dt="2023-03-20T15:24:48.824" v="3" actId="14100"/>
          <ac:spMkLst>
            <pc:docMk/>
            <pc:sldMk cId="619538722" sldId="2076136401"/>
            <ac:spMk id="9" creationId="{36635F26-EB37-640A-D623-D2E1E1506DEB}"/>
          </ac:spMkLst>
        </pc:spChg>
        <pc:spChg chg="mod">
          <ac:chgData name="Amélie LE LEVREUR" userId="982b180d-1354-44d2-b69c-66806c841852" providerId="ADAL" clId="{518567DB-73FA-4DE7-BD25-C50E48AC0DAD}" dt="2023-03-20T15:24:02.494" v="0" actId="18245"/>
          <ac:spMkLst>
            <pc:docMk/>
            <pc:sldMk cId="619538722" sldId="2076136401"/>
            <ac:spMk id="12" creationId="{AECD6E27-B432-64B4-2885-E8B669C3F682}"/>
          </ac:spMkLst>
        </pc:spChg>
        <pc:spChg chg="mod">
          <ac:chgData name="Amélie LE LEVREUR" userId="982b180d-1354-44d2-b69c-66806c841852" providerId="ADAL" clId="{518567DB-73FA-4DE7-BD25-C50E48AC0DAD}" dt="2023-03-20T15:24:02.494" v="0" actId="18245"/>
          <ac:spMkLst>
            <pc:docMk/>
            <pc:sldMk cId="619538722" sldId="2076136401"/>
            <ac:spMk id="13" creationId="{D51059C1-298C-03CB-4EC4-233DCDB7A3F9}"/>
          </ac:spMkLst>
        </pc:spChg>
        <pc:spChg chg="mod">
          <ac:chgData name="Amélie LE LEVREUR" userId="982b180d-1354-44d2-b69c-66806c841852" providerId="ADAL" clId="{518567DB-73FA-4DE7-BD25-C50E48AC0DAD}" dt="2023-03-20T15:24:55.173" v="4" actId="20577"/>
          <ac:spMkLst>
            <pc:docMk/>
            <pc:sldMk cId="619538722" sldId="2076136401"/>
            <ac:spMk id="14" creationId="{7B215303-7E8E-9A47-D857-A9EEF923D803}"/>
          </ac:spMkLst>
        </pc:spChg>
        <pc:spChg chg="mod">
          <ac:chgData name="Amélie LE LEVREUR" userId="982b180d-1354-44d2-b69c-66806c841852" providerId="ADAL" clId="{518567DB-73FA-4DE7-BD25-C50E48AC0DAD}" dt="2023-03-20T15:24:02.494" v="0" actId="18245"/>
          <ac:spMkLst>
            <pc:docMk/>
            <pc:sldMk cId="619538722" sldId="2076136401"/>
            <ac:spMk id="15" creationId="{03D71759-764C-F6FD-7ECA-DA8226351A01}"/>
          </ac:spMkLst>
        </pc:spChg>
        <pc:spChg chg="mod">
          <ac:chgData name="Amélie LE LEVREUR" userId="982b180d-1354-44d2-b69c-66806c841852" providerId="ADAL" clId="{518567DB-73FA-4DE7-BD25-C50E48AC0DAD}" dt="2023-03-20T15:24:02.494" v="0" actId="18245"/>
          <ac:spMkLst>
            <pc:docMk/>
            <pc:sldMk cId="619538722" sldId="2076136401"/>
            <ac:spMk id="16" creationId="{65A20D53-29E5-42F9-D5DC-F94A1FBDEE57}"/>
          </ac:spMkLst>
        </pc:spChg>
        <pc:spChg chg="mod">
          <ac:chgData name="Amélie LE LEVREUR" userId="982b180d-1354-44d2-b69c-66806c841852" providerId="ADAL" clId="{518567DB-73FA-4DE7-BD25-C50E48AC0DAD}" dt="2023-03-20T15:24:12.400" v="1" actId="555"/>
          <ac:spMkLst>
            <pc:docMk/>
            <pc:sldMk cId="619538722" sldId="2076136401"/>
            <ac:spMk id="17" creationId="{482A4652-8C35-924E-BB6F-61F5A0D86A68}"/>
          </ac:spMkLst>
        </pc:spChg>
        <pc:spChg chg="mod">
          <ac:chgData name="Amélie LE LEVREUR" userId="982b180d-1354-44d2-b69c-66806c841852" providerId="ADAL" clId="{518567DB-73FA-4DE7-BD25-C50E48AC0DAD}" dt="2023-03-20T15:24:02.494" v="0" actId="18245"/>
          <ac:spMkLst>
            <pc:docMk/>
            <pc:sldMk cId="619538722" sldId="2076136401"/>
            <ac:spMk id="18" creationId="{AE56B17E-D6D4-BBD0-95AE-9D78AF032180}"/>
          </ac:spMkLst>
        </pc:spChg>
        <pc:spChg chg="mod">
          <ac:chgData name="Amélie LE LEVREUR" userId="982b180d-1354-44d2-b69c-66806c841852" providerId="ADAL" clId="{518567DB-73FA-4DE7-BD25-C50E48AC0DAD}" dt="2023-03-20T15:24:02.494" v="0" actId="18245"/>
          <ac:spMkLst>
            <pc:docMk/>
            <pc:sldMk cId="619538722" sldId="2076136401"/>
            <ac:spMk id="19" creationId="{F1D4BC32-97D1-D8E2-1DAC-42E531DA7F56}"/>
          </ac:spMkLst>
        </pc:spChg>
        <pc:spChg chg="mod">
          <ac:chgData name="Amélie LE LEVREUR" userId="982b180d-1354-44d2-b69c-66806c841852" providerId="ADAL" clId="{518567DB-73FA-4DE7-BD25-C50E48AC0DAD}" dt="2023-03-20T15:24:58.421" v="5" actId="20577"/>
          <ac:spMkLst>
            <pc:docMk/>
            <pc:sldMk cId="619538722" sldId="2076136401"/>
            <ac:spMk id="20" creationId="{865F06AF-AE12-149A-CAFD-4555F2F62787}"/>
          </ac:spMkLst>
        </pc:spChg>
        <pc:grpChg chg="mod">
          <ac:chgData name="Amélie LE LEVREUR" userId="982b180d-1354-44d2-b69c-66806c841852" providerId="ADAL" clId="{518567DB-73FA-4DE7-BD25-C50E48AC0DAD}" dt="2023-03-20T15:24:02.494" v="0" actId="18245"/>
          <ac:grpSpMkLst>
            <pc:docMk/>
            <pc:sldMk cId="619538722" sldId="2076136401"/>
            <ac:grpSpMk id="2" creationId="{394549C6-0678-A36D-11A9-A2CB573BABA3}"/>
          </ac:grpSpMkLst>
        </pc:grpChg>
        <pc:graphicFrameChg chg="del">
          <ac:chgData name="Amélie LE LEVREUR" userId="982b180d-1354-44d2-b69c-66806c841852" providerId="ADAL" clId="{518567DB-73FA-4DE7-BD25-C50E48AC0DAD}" dt="2023-03-20T15:24:02.494" v="0" actId="18245"/>
          <ac:graphicFrameMkLst>
            <pc:docMk/>
            <pc:sldMk cId="619538722" sldId="2076136401"/>
            <ac:graphicFrameMk id="3" creationId="{D247CB3F-A459-436B-11F6-47A2AFCDE6FD}"/>
          </ac:graphicFrameMkLst>
        </pc:graphicFrameChg>
      </pc:sldChg>
    </pc:docChg>
  </pc:docChgLst>
  <pc:docChgLst>
    <pc:chgData name="Benjamine VO VINH MARECHAL" userId="87b13732-9578-4f1d-89d2-bd7641303e76" providerId="ADAL" clId="{245D8918-5019-4B16-AF5D-37E7BF53CD56}"/>
    <pc:docChg chg="custSel modSld">
      <pc:chgData name="Benjamine VO VINH MARECHAL" userId="87b13732-9578-4f1d-89d2-bd7641303e76" providerId="ADAL" clId="{245D8918-5019-4B16-AF5D-37E7BF53CD56}" dt="2023-03-20T17:45:26.863" v="551" actId="1076"/>
      <pc:docMkLst>
        <pc:docMk/>
      </pc:docMkLst>
      <pc:sldChg chg="addSp modSp mod">
        <pc:chgData name="Benjamine VO VINH MARECHAL" userId="87b13732-9578-4f1d-89d2-bd7641303e76" providerId="ADAL" clId="{245D8918-5019-4B16-AF5D-37E7BF53CD56}" dt="2023-03-20T17:45:26.863" v="551" actId="1076"/>
        <pc:sldMkLst>
          <pc:docMk/>
          <pc:sldMk cId="3681582597" sldId="2147470008"/>
        </pc:sldMkLst>
        <pc:spChg chg="add mod">
          <ac:chgData name="Benjamine VO VINH MARECHAL" userId="87b13732-9578-4f1d-89d2-bd7641303e76" providerId="ADAL" clId="{245D8918-5019-4B16-AF5D-37E7BF53CD56}" dt="2023-03-20T17:45:07.099" v="550" actId="20577"/>
          <ac:spMkLst>
            <pc:docMk/>
            <pc:sldMk cId="3681582597" sldId="2147470008"/>
            <ac:spMk id="5" creationId="{6EBDD2CB-364F-40B1-A9E9-194446E152B9}"/>
          </ac:spMkLst>
        </pc:spChg>
        <pc:spChg chg="mod">
          <ac:chgData name="Benjamine VO VINH MARECHAL" userId="87b13732-9578-4f1d-89d2-bd7641303e76" providerId="ADAL" clId="{245D8918-5019-4B16-AF5D-37E7BF53CD56}" dt="2023-03-20T17:45:26.863" v="551" actId="1076"/>
          <ac:spMkLst>
            <pc:docMk/>
            <pc:sldMk cId="3681582597" sldId="2147470008"/>
            <ac:spMk id="6" creationId="{3655B0AE-143E-4B44-090E-E5F2E4F16D55}"/>
          </ac:spMkLst>
        </pc:spChg>
        <pc:spChg chg="mod">
          <ac:chgData name="Benjamine VO VINH MARECHAL" userId="87b13732-9578-4f1d-89d2-bd7641303e76" providerId="ADAL" clId="{245D8918-5019-4B16-AF5D-37E7BF53CD56}" dt="2023-03-20T17:43:29.964" v="346"/>
          <ac:spMkLst>
            <pc:docMk/>
            <pc:sldMk cId="3681582597" sldId="2147470008"/>
            <ac:spMk id="19" creationId="{06375281-7A39-0C01-D2B6-A0784ABD7EE4}"/>
          </ac:spMkLst>
        </pc:spChg>
        <pc:spChg chg="mod">
          <ac:chgData name="Benjamine VO VINH MARECHAL" userId="87b13732-9578-4f1d-89d2-bd7641303e76" providerId="ADAL" clId="{245D8918-5019-4B16-AF5D-37E7BF53CD56}" dt="2023-03-20T17:43:27.663" v="344" actId="21"/>
          <ac:spMkLst>
            <pc:docMk/>
            <pc:sldMk cId="3681582597" sldId="2147470008"/>
            <ac:spMk id="20" creationId="{8BD59BBF-AB17-077C-FFE9-B638E6B8F0C3}"/>
          </ac:spMkLst>
        </pc:spChg>
        <pc:spChg chg="mod">
          <ac:chgData name="Benjamine VO VINH MARECHAL" userId="87b13732-9578-4f1d-89d2-bd7641303e76" providerId="ADAL" clId="{245D8918-5019-4B16-AF5D-37E7BF53CD56}" dt="2023-03-20T17:43:13.443" v="342" actId="20577"/>
          <ac:spMkLst>
            <pc:docMk/>
            <pc:sldMk cId="3681582597" sldId="2147470008"/>
            <ac:spMk id="21" creationId="{6BC299F5-985F-827E-0FD3-AEE1F2FFC60A}"/>
          </ac:spMkLst>
        </pc:spChg>
        <pc:graphicFrameChg chg="mod">
          <ac:chgData name="Benjamine VO VINH MARECHAL" userId="87b13732-9578-4f1d-89d2-bd7641303e76" providerId="ADAL" clId="{245D8918-5019-4B16-AF5D-37E7BF53CD56}" dt="2023-03-20T17:42:56.982" v="320" actId="20577"/>
          <ac:graphicFrameMkLst>
            <pc:docMk/>
            <pc:sldMk cId="3681582597" sldId="2147470008"/>
            <ac:graphicFrameMk id="49" creationId="{35D71AD9-8FD7-BE74-5FA3-5F309C32FCD6}"/>
          </ac:graphicFrameMkLst>
        </pc:graphicFrameChg>
      </pc:sldChg>
    </pc:docChg>
  </pc:docChgLst>
  <pc:docChgLst>
    <pc:chgData name="Kawtar SADIQ" userId="S::kawtar.sadiq@talan.com::65df04e4-2d23-4bab-afb0-40df8a2c1b9f" providerId="AD" clId="Web-{5FA2E878-D873-838A-D535-A600A9BA0348}"/>
    <pc:docChg chg="addSld delSld modSld modSection">
      <pc:chgData name="Kawtar SADIQ" userId="S::kawtar.sadiq@talan.com::65df04e4-2d23-4bab-afb0-40df8a2c1b9f" providerId="AD" clId="Web-{5FA2E878-D873-838A-D535-A600A9BA0348}" dt="2022-11-21T11:25:49.744" v="146" actId="20577"/>
      <pc:docMkLst>
        <pc:docMk/>
      </pc:docMkLst>
      <pc:sldChg chg="del">
        <pc:chgData name="Kawtar SADIQ" userId="S::kawtar.sadiq@talan.com::65df04e4-2d23-4bab-afb0-40df8a2c1b9f" providerId="AD" clId="Web-{5FA2E878-D873-838A-D535-A600A9BA0348}" dt="2022-11-21T11:19:06.905" v="0"/>
        <pc:sldMkLst>
          <pc:docMk/>
          <pc:sldMk cId="2656984134" sldId="2076138005"/>
        </pc:sldMkLst>
      </pc:sldChg>
      <pc:sldChg chg="del">
        <pc:chgData name="Kawtar SADIQ" userId="S::kawtar.sadiq@talan.com::65df04e4-2d23-4bab-afb0-40df8a2c1b9f" providerId="AD" clId="Web-{5FA2E878-D873-838A-D535-A600A9BA0348}" dt="2022-11-21T11:19:25.405" v="1"/>
        <pc:sldMkLst>
          <pc:docMk/>
          <pc:sldMk cId="3258011837" sldId="2076138113"/>
        </pc:sldMkLst>
      </pc:sldChg>
      <pc:sldChg chg="delSp modSp mod modShow">
        <pc:chgData name="Kawtar SADIQ" userId="S::kawtar.sadiq@talan.com::65df04e4-2d23-4bab-afb0-40df8a2c1b9f" providerId="AD" clId="Web-{5FA2E878-D873-838A-D535-A600A9BA0348}" dt="2022-11-21T11:25:49.744" v="146" actId="20577"/>
        <pc:sldMkLst>
          <pc:docMk/>
          <pc:sldMk cId="1680199837" sldId="2076138123"/>
        </pc:sldMkLst>
        <pc:spChg chg="mod">
          <ac:chgData name="Kawtar SADIQ" userId="S::kawtar.sadiq@talan.com::65df04e4-2d23-4bab-afb0-40df8a2c1b9f" providerId="AD" clId="Web-{5FA2E878-D873-838A-D535-A600A9BA0348}" dt="2022-11-21T11:23:52.944" v="119" actId="20577"/>
          <ac:spMkLst>
            <pc:docMk/>
            <pc:sldMk cId="1680199837" sldId="2076138123"/>
            <ac:spMk id="6" creationId="{59218360-3A11-4624-9214-DDC18ED44D79}"/>
          </ac:spMkLst>
        </pc:spChg>
        <pc:spChg chg="mod">
          <ac:chgData name="Kawtar SADIQ" userId="S::kawtar.sadiq@talan.com::65df04e4-2d23-4bab-afb0-40df8a2c1b9f" providerId="AD" clId="Web-{5FA2E878-D873-838A-D535-A600A9BA0348}" dt="2022-11-21T11:25:49.744" v="146" actId="20577"/>
          <ac:spMkLst>
            <pc:docMk/>
            <pc:sldMk cId="1680199837" sldId="2076138123"/>
            <ac:spMk id="8" creationId="{6BEF1DB4-3010-4B52-B506-B20A3BEEAC9C}"/>
          </ac:spMkLst>
        </pc:spChg>
        <pc:spChg chg="mod">
          <ac:chgData name="Kawtar SADIQ" userId="S::kawtar.sadiq@talan.com::65df04e4-2d23-4bab-afb0-40df8a2c1b9f" providerId="AD" clId="Web-{5FA2E878-D873-838A-D535-A600A9BA0348}" dt="2022-11-21T11:23:57.288" v="120" actId="20577"/>
          <ac:spMkLst>
            <pc:docMk/>
            <pc:sldMk cId="1680199837" sldId="2076138123"/>
            <ac:spMk id="9" creationId="{77211E8D-58BD-41A6-9F16-B9A01687D58D}"/>
          </ac:spMkLst>
        </pc:spChg>
        <pc:spChg chg="mod">
          <ac:chgData name="Kawtar SADIQ" userId="S::kawtar.sadiq@talan.com::65df04e4-2d23-4bab-afb0-40df8a2c1b9f" providerId="AD" clId="Web-{5FA2E878-D873-838A-D535-A600A9BA0348}" dt="2022-11-21T11:24:07.570" v="124" actId="20577"/>
          <ac:spMkLst>
            <pc:docMk/>
            <pc:sldMk cId="1680199837" sldId="2076138123"/>
            <ac:spMk id="10" creationId="{4A78AF75-ED30-44EE-B8D5-D2B7AD6294A7}"/>
          </ac:spMkLst>
        </pc:spChg>
        <pc:spChg chg="mod">
          <ac:chgData name="Kawtar SADIQ" userId="S::kawtar.sadiq@talan.com::65df04e4-2d23-4bab-afb0-40df8a2c1b9f" providerId="AD" clId="Web-{5FA2E878-D873-838A-D535-A600A9BA0348}" dt="2022-11-21T11:24:11.257" v="125" actId="20577"/>
          <ac:spMkLst>
            <pc:docMk/>
            <pc:sldMk cId="1680199837" sldId="2076138123"/>
            <ac:spMk id="11" creationId="{A6405F25-8463-4743-BFCD-041BC9C6B175}"/>
          </ac:spMkLst>
        </pc:spChg>
        <pc:spChg chg="mod">
          <ac:chgData name="Kawtar SADIQ" userId="S::kawtar.sadiq@talan.com::65df04e4-2d23-4bab-afb0-40df8a2c1b9f" providerId="AD" clId="Web-{5FA2E878-D873-838A-D535-A600A9BA0348}" dt="2022-11-21T11:25:45.900" v="144" actId="20577"/>
          <ac:spMkLst>
            <pc:docMk/>
            <pc:sldMk cId="1680199837" sldId="2076138123"/>
            <ac:spMk id="12" creationId="{186599DA-E58F-4091-8823-72D7CE9841DA}"/>
          </ac:spMkLst>
        </pc:spChg>
        <pc:spChg chg="del">
          <ac:chgData name="Kawtar SADIQ" userId="S::kawtar.sadiq@talan.com::65df04e4-2d23-4bab-afb0-40df8a2c1b9f" providerId="AD" clId="Web-{5FA2E878-D873-838A-D535-A600A9BA0348}" dt="2022-11-21T11:24:05.116" v="122"/>
          <ac:spMkLst>
            <pc:docMk/>
            <pc:sldMk cId="1680199837" sldId="2076138123"/>
            <ac:spMk id="13" creationId="{73FAED7B-FF7C-4752-ADAB-DE445C9CCACD}"/>
          </ac:spMkLst>
        </pc:spChg>
        <pc:spChg chg="mod">
          <ac:chgData name="Kawtar SADIQ" userId="S::kawtar.sadiq@talan.com::65df04e4-2d23-4bab-afb0-40df8a2c1b9f" providerId="AD" clId="Web-{5FA2E878-D873-838A-D535-A600A9BA0348}" dt="2022-11-21T11:25:46.713" v="145" actId="20577"/>
          <ac:spMkLst>
            <pc:docMk/>
            <pc:sldMk cId="1680199837" sldId="2076138123"/>
            <ac:spMk id="14" creationId="{F6EEEB5A-24F4-42ED-9247-3F40764A4C55}"/>
          </ac:spMkLst>
        </pc:spChg>
        <pc:spChg chg="mod">
          <ac:chgData name="Kawtar SADIQ" userId="S::kawtar.sadiq@talan.com::65df04e4-2d23-4bab-afb0-40df8a2c1b9f" providerId="AD" clId="Web-{5FA2E878-D873-838A-D535-A600A9BA0348}" dt="2022-11-21T11:25:43.775" v="143" actId="20577"/>
          <ac:spMkLst>
            <pc:docMk/>
            <pc:sldMk cId="1680199837" sldId="2076138123"/>
            <ac:spMk id="15" creationId="{90831BED-B3A5-4AEF-98EB-CE9FD2902A50}"/>
          </ac:spMkLst>
        </pc:spChg>
        <pc:spChg chg="del">
          <ac:chgData name="Kawtar SADIQ" userId="S::kawtar.sadiq@talan.com::65df04e4-2d23-4bab-afb0-40df8a2c1b9f" providerId="AD" clId="Web-{5FA2E878-D873-838A-D535-A600A9BA0348}" dt="2022-11-21T11:24:05.288" v="123"/>
          <ac:spMkLst>
            <pc:docMk/>
            <pc:sldMk cId="1680199837" sldId="2076138123"/>
            <ac:spMk id="16" creationId="{F0B1C055-E494-4478-BA80-C7794870ABD6}"/>
          </ac:spMkLst>
        </pc:spChg>
        <pc:spChg chg="mod">
          <ac:chgData name="Kawtar SADIQ" userId="S::kawtar.sadiq@talan.com::65df04e4-2d23-4bab-afb0-40df8a2c1b9f" providerId="AD" clId="Web-{5FA2E878-D873-838A-D535-A600A9BA0348}" dt="2022-11-21T11:25:40.713" v="141" actId="20577"/>
          <ac:spMkLst>
            <pc:docMk/>
            <pc:sldMk cId="1680199837" sldId="2076138123"/>
            <ac:spMk id="17" creationId="{B164E038-E4A6-4A59-9534-E7F3B3FBAB10}"/>
          </ac:spMkLst>
        </pc:spChg>
        <pc:spChg chg="del">
          <ac:chgData name="Kawtar SADIQ" userId="S::kawtar.sadiq@talan.com::65df04e4-2d23-4bab-afb0-40df8a2c1b9f" providerId="AD" clId="Web-{5FA2E878-D873-838A-D535-A600A9BA0348}" dt="2022-11-21T11:24:14.664" v="126"/>
          <ac:spMkLst>
            <pc:docMk/>
            <pc:sldMk cId="1680199837" sldId="2076138123"/>
            <ac:spMk id="18" creationId="{58D58A0F-30CC-417B-8974-FC368E68D00C}"/>
          </ac:spMkLst>
        </pc:spChg>
      </pc:sldChg>
      <pc:sldChg chg="del mod modShow">
        <pc:chgData name="Kawtar SADIQ" userId="S::kawtar.sadiq@talan.com::65df04e4-2d23-4bab-afb0-40df8a2c1b9f" providerId="AD" clId="Web-{5FA2E878-D873-838A-D535-A600A9BA0348}" dt="2022-11-21T11:24:20.023" v="127"/>
        <pc:sldMkLst>
          <pc:docMk/>
          <pc:sldMk cId="3219227806" sldId="2076138155"/>
        </pc:sldMkLst>
      </pc:sldChg>
      <pc:sldChg chg="addSp delSp modSp">
        <pc:chgData name="Kawtar SADIQ" userId="S::kawtar.sadiq@talan.com::65df04e4-2d23-4bab-afb0-40df8a2c1b9f" providerId="AD" clId="Web-{5FA2E878-D873-838A-D535-A600A9BA0348}" dt="2022-11-21T11:25:33.822" v="140" actId="1076"/>
        <pc:sldMkLst>
          <pc:docMk/>
          <pc:sldMk cId="2512155146" sldId="2076138184"/>
        </pc:sldMkLst>
        <pc:spChg chg="add mod">
          <ac:chgData name="Kawtar SADIQ" userId="S::kawtar.sadiq@talan.com::65df04e4-2d23-4bab-afb0-40df8a2c1b9f" providerId="AD" clId="Web-{5FA2E878-D873-838A-D535-A600A9BA0348}" dt="2022-11-21T11:25:22.447" v="137" actId="1076"/>
          <ac:spMkLst>
            <pc:docMk/>
            <pc:sldMk cId="2512155146" sldId="2076138184"/>
            <ac:spMk id="3" creationId="{13C20057-FE60-0D54-BC2B-1E59CED22758}"/>
          </ac:spMkLst>
        </pc:spChg>
        <pc:spChg chg="add del">
          <ac:chgData name="Kawtar SADIQ" userId="S::kawtar.sadiq@talan.com::65df04e4-2d23-4bab-afb0-40df8a2c1b9f" providerId="AD" clId="Web-{5FA2E878-D873-838A-D535-A600A9BA0348}" dt="2022-11-21T11:22:19.473" v="79"/>
          <ac:spMkLst>
            <pc:docMk/>
            <pc:sldMk cId="2512155146" sldId="2076138184"/>
            <ac:spMk id="7" creationId="{8D657D77-A240-26DF-86E2-894609FCA534}"/>
          </ac:spMkLst>
        </pc:spChg>
        <pc:spChg chg="add mod">
          <ac:chgData name="Kawtar SADIQ" userId="S::kawtar.sadiq@talan.com::65df04e4-2d23-4bab-afb0-40df8a2c1b9f" providerId="AD" clId="Web-{5FA2E878-D873-838A-D535-A600A9BA0348}" dt="2022-11-21T11:25:29.416" v="138" actId="1076"/>
          <ac:spMkLst>
            <pc:docMk/>
            <pc:sldMk cId="2512155146" sldId="2076138184"/>
            <ac:spMk id="8" creationId="{7B69EBAA-6616-2C2D-B43C-E41678D3D65B}"/>
          </ac:spMkLst>
        </pc:spChg>
        <pc:spChg chg="add mod">
          <ac:chgData name="Kawtar SADIQ" userId="S::kawtar.sadiq@talan.com::65df04e4-2d23-4bab-afb0-40df8a2c1b9f" providerId="AD" clId="Web-{5FA2E878-D873-838A-D535-A600A9BA0348}" dt="2022-11-21T11:25:33.822" v="140" actId="1076"/>
          <ac:spMkLst>
            <pc:docMk/>
            <pc:sldMk cId="2512155146" sldId="2076138184"/>
            <ac:spMk id="9" creationId="{439EAC89-31A7-67D6-1063-222C11EDC637}"/>
          </ac:spMkLst>
        </pc:spChg>
        <pc:spChg chg="add mod">
          <ac:chgData name="Kawtar SADIQ" userId="S::kawtar.sadiq@talan.com::65df04e4-2d23-4bab-afb0-40df8a2c1b9f" providerId="AD" clId="Web-{5FA2E878-D873-838A-D535-A600A9BA0348}" dt="2022-11-21T11:25:15.009" v="136" actId="1076"/>
          <ac:spMkLst>
            <pc:docMk/>
            <pc:sldMk cId="2512155146" sldId="2076138184"/>
            <ac:spMk id="10" creationId="{3D3CF1EE-8C1C-4D51-109C-4052063C3075}"/>
          </ac:spMkLst>
        </pc:spChg>
        <pc:graphicFrameChg chg="mod modGraphic">
          <ac:chgData name="Kawtar SADIQ" userId="S::kawtar.sadiq@talan.com::65df04e4-2d23-4bab-afb0-40df8a2c1b9f" providerId="AD" clId="Web-{5FA2E878-D873-838A-D535-A600A9BA0348}" dt="2022-11-21T11:25:09.071" v="131"/>
          <ac:graphicFrameMkLst>
            <pc:docMk/>
            <pc:sldMk cId="2512155146" sldId="2076138184"/>
            <ac:graphicFrameMk id="4" creationId="{BCF0F422-267B-4033-8E84-0913E6A2EF6F}"/>
          </ac:graphicFrameMkLst>
        </pc:graphicFrameChg>
      </pc:sldChg>
      <pc:sldChg chg="modSp">
        <pc:chgData name="Kawtar SADIQ" userId="S::kawtar.sadiq@talan.com::65df04e4-2d23-4bab-afb0-40df8a2c1b9f" providerId="AD" clId="Web-{5FA2E878-D873-838A-D535-A600A9BA0348}" dt="2022-11-21T11:21:20.409" v="72" actId="20577"/>
        <pc:sldMkLst>
          <pc:docMk/>
          <pc:sldMk cId="1052764281" sldId="2076138186"/>
        </pc:sldMkLst>
        <pc:spChg chg="mod">
          <ac:chgData name="Kawtar SADIQ" userId="S::kawtar.sadiq@talan.com::65df04e4-2d23-4bab-afb0-40df8a2c1b9f" providerId="AD" clId="Web-{5FA2E878-D873-838A-D535-A600A9BA0348}" dt="2022-11-21T11:21:20.409" v="72" actId="20577"/>
          <ac:spMkLst>
            <pc:docMk/>
            <pc:sldMk cId="1052764281" sldId="2076138186"/>
            <ac:spMk id="17" creationId="{341B256D-38AA-4213-9C94-2A22357F5F68}"/>
          </ac:spMkLst>
        </pc:spChg>
        <pc:graphicFrameChg chg="mod modGraphic">
          <ac:chgData name="Kawtar SADIQ" userId="S::kawtar.sadiq@talan.com::65df04e4-2d23-4bab-afb0-40df8a2c1b9f" providerId="AD" clId="Web-{5FA2E878-D873-838A-D535-A600A9BA0348}" dt="2022-11-21T11:20:48.267" v="64"/>
          <ac:graphicFrameMkLst>
            <pc:docMk/>
            <pc:sldMk cId="1052764281" sldId="2076138186"/>
            <ac:graphicFrameMk id="89" creationId="{A19A5F1F-D334-4677-BCCB-AA68FF81AC6E}"/>
          </ac:graphicFrameMkLst>
        </pc:graphicFrameChg>
      </pc:sldChg>
      <pc:sldChg chg="delSp modSp add replId">
        <pc:chgData name="Kawtar SADIQ" userId="S::kawtar.sadiq@talan.com::65df04e4-2d23-4bab-afb0-40df8a2c1b9f" providerId="AD" clId="Web-{5FA2E878-D873-838A-D535-A600A9BA0348}" dt="2022-11-21T11:19:44.968" v="10"/>
        <pc:sldMkLst>
          <pc:docMk/>
          <pc:sldMk cId="3751682813" sldId="2076138187"/>
        </pc:sldMkLst>
        <pc:spChg chg="mod">
          <ac:chgData name="Kawtar SADIQ" userId="S::kawtar.sadiq@talan.com::65df04e4-2d23-4bab-afb0-40df8a2c1b9f" providerId="AD" clId="Web-{5FA2E878-D873-838A-D535-A600A9BA0348}" dt="2022-11-21T11:19:41.734" v="5" actId="20577"/>
          <ac:spMkLst>
            <pc:docMk/>
            <pc:sldMk cId="3751682813" sldId="2076138187"/>
            <ac:spMk id="3" creationId="{C4398502-ACAB-4FE4-BFD4-B775F03D1059}"/>
          </ac:spMkLst>
        </pc:spChg>
        <pc:spChg chg="del">
          <ac:chgData name="Kawtar SADIQ" userId="S::kawtar.sadiq@talan.com::65df04e4-2d23-4bab-afb0-40df8a2c1b9f" providerId="AD" clId="Web-{5FA2E878-D873-838A-D535-A600A9BA0348}" dt="2022-11-21T11:19:42.390" v="6"/>
          <ac:spMkLst>
            <pc:docMk/>
            <pc:sldMk cId="3751682813" sldId="2076138187"/>
            <ac:spMk id="17" creationId="{341B256D-38AA-4213-9C94-2A22357F5F68}"/>
          </ac:spMkLst>
        </pc:spChg>
        <pc:graphicFrameChg chg="mod modGraphic">
          <ac:chgData name="Kawtar SADIQ" userId="S::kawtar.sadiq@talan.com::65df04e4-2d23-4bab-afb0-40df8a2c1b9f" providerId="AD" clId="Web-{5FA2E878-D873-838A-D535-A600A9BA0348}" dt="2022-11-21T11:19:44.968" v="10"/>
          <ac:graphicFrameMkLst>
            <pc:docMk/>
            <pc:sldMk cId="3751682813" sldId="2076138187"/>
            <ac:graphicFrameMk id="89" creationId="{A19A5F1F-D334-4677-BCCB-AA68FF81AC6E}"/>
          </ac:graphicFrameMkLst>
        </pc:graphicFrameChg>
      </pc:sldChg>
      <pc:sldChg chg="add del replId">
        <pc:chgData name="Kawtar SADIQ" userId="S::kawtar.sadiq@talan.com::65df04e4-2d23-4bab-afb0-40df8a2c1b9f" providerId="AD" clId="Web-{5FA2E878-D873-838A-D535-A600A9BA0348}" dt="2022-11-21T11:21:00.314" v="65"/>
        <pc:sldMkLst>
          <pc:docMk/>
          <pc:sldMk cId="929191342" sldId="2076138188"/>
        </pc:sldMkLst>
      </pc:sldChg>
      <pc:sldChg chg="modSp add replId">
        <pc:chgData name="Kawtar SADIQ" userId="S::kawtar.sadiq@talan.com::65df04e4-2d23-4bab-afb0-40df8a2c1b9f" providerId="AD" clId="Web-{5FA2E878-D873-838A-D535-A600A9BA0348}" dt="2022-11-21T11:21:06.455" v="68" actId="20577"/>
        <pc:sldMkLst>
          <pc:docMk/>
          <pc:sldMk cId="3173342459" sldId="2076138188"/>
        </pc:sldMkLst>
        <pc:spChg chg="mod">
          <ac:chgData name="Kawtar SADIQ" userId="S::kawtar.sadiq@talan.com::65df04e4-2d23-4bab-afb0-40df8a2c1b9f" providerId="AD" clId="Web-{5FA2E878-D873-838A-D535-A600A9BA0348}" dt="2022-11-21T11:21:06.455" v="68" actId="20577"/>
          <ac:spMkLst>
            <pc:docMk/>
            <pc:sldMk cId="3173342459" sldId="2076138188"/>
            <ac:spMk id="3" creationId="{C4398502-ACAB-4FE4-BFD4-B775F03D1059}"/>
          </ac:spMkLst>
        </pc:spChg>
      </pc:sldChg>
    </pc:docChg>
  </pc:docChgLst>
  <pc:docChgLst>
    <pc:chgData name="Sonia KDOUS" userId="S::sonia.kdous@talan.com::922c21f9-520b-4b99-b1eb-529f55231251" providerId="AD" clId="Web-{1E25E338-B1A9-46EF-82F9-9ED7EAD68DC8}"/>
    <pc:docChg chg="modSld">
      <pc:chgData name="Sonia KDOUS" userId="S::sonia.kdous@talan.com::922c21f9-520b-4b99-b1eb-529f55231251" providerId="AD" clId="Web-{1E25E338-B1A9-46EF-82F9-9ED7EAD68DC8}" dt="2022-11-25T15:06:08.450" v="786" actId="20577"/>
      <pc:docMkLst>
        <pc:docMk/>
      </pc:docMkLst>
      <pc:sldChg chg="addSp delSp modSp">
        <pc:chgData name="Sonia KDOUS" userId="S::sonia.kdous@talan.com::922c21f9-520b-4b99-b1eb-529f55231251" providerId="AD" clId="Web-{1E25E338-B1A9-46EF-82F9-9ED7EAD68DC8}" dt="2022-11-25T15:06:08.450" v="786" actId="20577"/>
        <pc:sldMkLst>
          <pc:docMk/>
          <pc:sldMk cId="4202844115" sldId="2076138192"/>
        </pc:sldMkLst>
        <pc:spChg chg="mod">
          <ac:chgData name="Sonia KDOUS" userId="S::sonia.kdous@talan.com::922c21f9-520b-4b99-b1eb-529f55231251" providerId="AD" clId="Web-{1E25E338-B1A9-46EF-82F9-9ED7EAD68DC8}" dt="2022-11-25T15:06:08.450" v="786" actId="20577"/>
          <ac:spMkLst>
            <pc:docMk/>
            <pc:sldMk cId="4202844115" sldId="2076138192"/>
            <ac:spMk id="4" creationId="{DFE4ECB6-193A-41CD-8C1D-5A9AA8C9E006}"/>
          </ac:spMkLst>
        </pc:spChg>
        <pc:spChg chg="mod">
          <ac:chgData name="Sonia KDOUS" userId="S::sonia.kdous@talan.com::922c21f9-520b-4b99-b1eb-529f55231251" providerId="AD" clId="Web-{1E25E338-B1A9-46EF-82F9-9ED7EAD68DC8}" dt="2022-11-25T15:02:15.081" v="708" actId="1076"/>
          <ac:spMkLst>
            <pc:docMk/>
            <pc:sldMk cId="4202844115" sldId="2076138192"/>
            <ac:spMk id="10" creationId="{2C1BE3D3-AF86-4F00-99E9-C106820D1EEC}"/>
          </ac:spMkLst>
        </pc:spChg>
        <pc:spChg chg="mod">
          <ac:chgData name="Sonia KDOUS" userId="S::sonia.kdous@talan.com::922c21f9-520b-4b99-b1eb-529f55231251" providerId="AD" clId="Web-{1E25E338-B1A9-46EF-82F9-9ED7EAD68DC8}" dt="2022-11-25T15:02:15.144" v="709" actId="1076"/>
          <ac:spMkLst>
            <pc:docMk/>
            <pc:sldMk cId="4202844115" sldId="2076138192"/>
            <ac:spMk id="13" creationId="{E22D3A68-8C63-4250-BAEB-59D55544985D}"/>
          </ac:spMkLst>
        </pc:spChg>
        <pc:spChg chg="mod">
          <ac:chgData name="Sonia KDOUS" userId="S::sonia.kdous@talan.com::922c21f9-520b-4b99-b1eb-529f55231251" providerId="AD" clId="Web-{1E25E338-B1A9-46EF-82F9-9ED7EAD68DC8}" dt="2022-11-25T15:01:48.908" v="702" actId="1076"/>
          <ac:spMkLst>
            <pc:docMk/>
            <pc:sldMk cId="4202844115" sldId="2076138192"/>
            <ac:spMk id="15" creationId="{864E3EB6-63A0-4187-87C2-15847F11EF55}"/>
          </ac:spMkLst>
        </pc:spChg>
        <pc:spChg chg="mod">
          <ac:chgData name="Sonia KDOUS" userId="S::sonia.kdous@talan.com::922c21f9-520b-4b99-b1eb-529f55231251" providerId="AD" clId="Web-{1E25E338-B1A9-46EF-82F9-9ED7EAD68DC8}" dt="2022-11-25T15:02:04.190" v="706" actId="1076"/>
          <ac:spMkLst>
            <pc:docMk/>
            <pc:sldMk cId="4202844115" sldId="2076138192"/>
            <ac:spMk id="17" creationId="{081C14F2-F0CF-453C-B5E6-3AB28B427042}"/>
          </ac:spMkLst>
        </pc:spChg>
        <pc:spChg chg="del mod">
          <ac:chgData name="Sonia KDOUS" userId="S::sonia.kdous@talan.com::922c21f9-520b-4b99-b1eb-529f55231251" providerId="AD" clId="Web-{1E25E338-B1A9-46EF-82F9-9ED7EAD68DC8}" dt="2022-11-25T14:06:11.140" v="387"/>
          <ac:spMkLst>
            <pc:docMk/>
            <pc:sldMk cId="4202844115" sldId="2076138192"/>
            <ac:spMk id="18" creationId="{59C85CC0-8072-4FC5-A63C-53061F14896F}"/>
          </ac:spMkLst>
        </pc:spChg>
        <pc:spChg chg="add del mod">
          <ac:chgData name="Sonia KDOUS" userId="S::sonia.kdous@talan.com::922c21f9-520b-4b99-b1eb-529f55231251" providerId="AD" clId="Web-{1E25E338-B1A9-46EF-82F9-9ED7EAD68DC8}" dt="2022-11-25T07:22:09.740" v="4"/>
          <ac:spMkLst>
            <pc:docMk/>
            <pc:sldMk cId="4202844115" sldId="2076138192"/>
            <ac:spMk id="19" creationId="{144EAB99-C812-6B1F-3E65-81CC05523684}"/>
          </ac:spMkLst>
        </pc:spChg>
        <pc:spChg chg="add mod">
          <ac:chgData name="Sonia KDOUS" userId="S::sonia.kdous@talan.com::922c21f9-520b-4b99-b1eb-529f55231251" providerId="AD" clId="Web-{1E25E338-B1A9-46EF-82F9-9ED7EAD68DC8}" dt="2022-11-25T15:00:50.437" v="686" actId="20577"/>
          <ac:spMkLst>
            <pc:docMk/>
            <pc:sldMk cId="4202844115" sldId="2076138192"/>
            <ac:spMk id="19" creationId="{32196ADF-F3F0-B69C-C2FA-C7DE71894B97}"/>
          </ac:spMkLst>
        </pc:spChg>
        <pc:spChg chg="add">
          <ac:chgData name="Sonia KDOUS" userId="S::sonia.kdous@talan.com::922c21f9-520b-4b99-b1eb-529f55231251" providerId="AD" clId="Web-{1E25E338-B1A9-46EF-82F9-9ED7EAD68DC8}" dt="2022-11-25T07:22:29.975" v="6"/>
          <ac:spMkLst>
            <pc:docMk/>
            <pc:sldMk cId="4202844115" sldId="2076138192"/>
            <ac:spMk id="23" creationId="{979AB304-214C-9694-3BD3-BA16EE04B80C}"/>
          </ac:spMkLst>
        </pc:spChg>
        <pc:spChg chg="add mod">
          <ac:chgData name="Sonia KDOUS" userId="S::sonia.kdous@talan.com::922c21f9-520b-4b99-b1eb-529f55231251" providerId="AD" clId="Web-{1E25E338-B1A9-46EF-82F9-9ED7EAD68DC8}" dt="2022-11-25T08:48:56.103" v="87" actId="20577"/>
          <ac:spMkLst>
            <pc:docMk/>
            <pc:sldMk cId="4202844115" sldId="2076138192"/>
            <ac:spMk id="26" creationId="{915BF444-C4F8-02C2-B282-2C3A0A9FE3D1}"/>
          </ac:spMkLst>
        </pc:spChg>
        <pc:spChg chg="add mod">
          <ac:chgData name="Sonia KDOUS" userId="S::sonia.kdous@talan.com::922c21f9-520b-4b99-b1eb-529f55231251" providerId="AD" clId="Web-{1E25E338-B1A9-46EF-82F9-9ED7EAD68DC8}" dt="2022-11-25T14:46:59.421" v="550" actId="20577"/>
          <ac:spMkLst>
            <pc:docMk/>
            <pc:sldMk cId="4202844115" sldId="2076138192"/>
            <ac:spMk id="28" creationId="{B7FF0F3E-15BB-70D5-1DE7-D8C4477C451D}"/>
          </ac:spMkLst>
        </pc:spChg>
        <pc:spChg chg="add">
          <ac:chgData name="Sonia KDOUS" userId="S::sonia.kdous@talan.com::922c21f9-520b-4b99-b1eb-529f55231251" providerId="AD" clId="Web-{1E25E338-B1A9-46EF-82F9-9ED7EAD68DC8}" dt="2022-11-25T07:22:30.804" v="9"/>
          <ac:spMkLst>
            <pc:docMk/>
            <pc:sldMk cId="4202844115" sldId="2076138192"/>
            <ac:spMk id="30" creationId="{EC82BFF7-1173-65B3-9889-D2C4C8404591}"/>
          </ac:spMkLst>
        </pc:spChg>
        <pc:spChg chg="add mod">
          <ac:chgData name="Sonia KDOUS" userId="S::sonia.kdous@talan.com::922c21f9-520b-4b99-b1eb-529f55231251" providerId="AD" clId="Web-{1E25E338-B1A9-46EF-82F9-9ED7EAD68DC8}" dt="2022-11-25T14:32:38.263" v="479" actId="14100"/>
          <ac:spMkLst>
            <pc:docMk/>
            <pc:sldMk cId="4202844115" sldId="2076138192"/>
            <ac:spMk id="32" creationId="{A49DB489-6EEB-E7C6-FBAC-1362919EC200}"/>
          </ac:spMkLst>
        </pc:spChg>
        <pc:spChg chg="add mod">
          <ac:chgData name="Sonia KDOUS" userId="S::sonia.kdous@talan.com::922c21f9-520b-4b99-b1eb-529f55231251" providerId="AD" clId="Web-{1E25E338-B1A9-46EF-82F9-9ED7EAD68DC8}" dt="2022-11-25T14:20:15.828" v="433" actId="20577"/>
          <ac:spMkLst>
            <pc:docMk/>
            <pc:sldMk cId="4202844115" sldId="2076138192"/>
            <ac:spMk id="34" creationId="{585A3857-5C21-EF7E-8780-86C34F9A2194}"/>
          </ac:spMkLst>
        </pc:spChg>
        <pc:spChg chg="add mod">
          <ac:chgData name="Sonia KDOUS" userId="S::sonia.kdous@talan.com::922c21f9-520b-4b99-b1eb-529f55231251" providerId="AD" clId="Web-{1E25E338-B1A9-46EF-82F9-9ED7EAD68DC8}" dt="2022-11-25T14:52:21.090" v="605" actId="20577"/>
          <ac:spMkLst>
            <pc:docMk/>
            <pc:sldMk cId="4202844115" sldId="2076138192"/>
            <ac:spMk id="36" creationId="{5D36C0E7-1BB3-69DD-0BFB-11E2BDCA63E2}"/>
          </ac:spMkLst>
        </pc:spChg>
        <pc:picChg chg="mod">
          <ac:chgData name="Sonia KDOUS" userId="S::sonia.kdous@talan.com::922c21f9-520b-4b99-b1eb-529f55231251" providerId="AD" clId="Web-{1E25E338-B1A9-46EF-82F9-9ED7EAD68DC8}" dt="2022-11-25T15:02:15.019" v="707" actId="1076"/>
          <ac:picMkLst>
            <pc:docMk/>
            <pc:sldMk cId="4202844115" sldId="2076138192"/>
            <ac:picMk id="6" creationId="{CCA51F63-3D45-49D1-A294-FEE7069F69F3}"/>
          </ac:picMkLst>
        </pc:picChg>
        <pc:picChg chg="add del mod">
          <ac:chgData name="Sonia KDOUS" userId="S::sonia.kdous@talan.com::922c21f9-520b-4b99-b1eb-529f55231251" providerId="AD" clId="Web-{1E25E338-B1A9-46EF-82F9-9ED7EAD68DC8}" dt="2022-11-25T15:01:48.908" v="701" actId="1076"/>
          <ac:picMkLst>
            <pc:docMk/>
            <pc:sldMk cId="4202844115" sldId="2076138192"/>
            <ac:picMk id="24" creationId="{07A552B2-1363-45E7-BB1D-2B6DAE61A8ED}"/>
          </ac:picMkLst>
        </pc:picChg>
        <pc:cxnChg chg="mod">
          <ac:chgData name="Sonia KDOUS" userId="S::sonia.kdous@talan.com::922c21f9-520b-4b99-b1eb-529f55231251" providerId="AD" clId="Web-{1E25E338-B1A9-46EF-82F9-9ED7EAD68DC8}" dt="2022-11-25T15:02:15.191" v="710" actId="1076"/>
          <ac:cxnSpMkLst>
            <pc:docMk/>
            <pc:sldMk cId="4202844115" sldId="2076138192"/>
            <ac:cxnSpMk id="14" creationId="{CA362DFC-94B7-4CD5-8459-C95A5EA44217}"/>
          </ac:cxnSpMkLst>
        </pc:cxnChg>
        <pc:cxnChg chg="mod">
          <ac:chgData name="Sonia KDOUS" userId="S::sonia.kdous@talan.com::922c21f9-520b-4b99-b1eb-529f55231251" providerId="AD" clId="Web-{1E25E338-B1A9-46EF-82F9-9ED7EAD68DC8}" dt="2022-11-25T15:01:57.456" v="704" actId="1076"/>
          <ac:cxnSpMkLst>
            <pc:docMk/>
            <pc:sldMk cId="4202844115" sldId="2076138192"/>
            <ac:cxnSpMk id="16" creationId="{B8AE57C4-69CE-4608-8DDB-7E6E3218F160}"/>
          </ac:cxnSpMkLst>
        </pc:cxnChg>
        <pc:cxnChg chg="add del">
          <ac:chgData name="Sonia KDOUS" userId="S::sonia.kdous@talan.com::922c21f9-520b-4b99-b1eb-529f55231251" providerId="AD" clId="Web-{1E25E338-B1A9-46EF-82F9-9ED7EAD68DC8}" dt="2022-11-25T07:40:52.109" v="47"/>
          <ac:cxnSpMkLst>
            <pc:docMk/>
            <pc:sldMk cId="4202844115" sldId="2076138192"/>
            <ac:cxnSpMk id="21" creationId="{548EADC9-C5A1-A31E-4DB0-019F7B3C193D}"/>
          </ac:cxnSpMkLst>
        </pc:cxnChg>
      </pc:sldChg>
    </pc:docChg>
  </pc:docChgLst>
  <pc:docChgLst>
    <pc:chgData name="Sylvie ROCHE" userId="60404d4e-bbf6-4ef1-963c-527a8dada0a5" providerId="ADAL" clId="{DBBF13CA-5A20-4AAD-B2C5-CF0EFCCF36AB}"/>
    <pc:docChg chg="custSel addSld modSld sldOrd">
      <pc:chgData name="Sylvie ROCHE" userId="60404d4e-bbf6-4ef1-963c-527a8dada0a5" providerId="ADAL" clId="{DBBF13CA-5A20-4AAD-B2C5-CF0EFCCF36AB}" dt="2023-03-20T16:45:09.479" v="2059" actId="20577"/>
      <pc:docMkLst>
        <pc:docMk/>
      </pc:docMkLst>
      <pc:sldChg chg="add">
        <pc:chgData name="Sylvie ROCHE" userId="60404d4e-bbf6-4ef1-963c-527a8dada0a5" providerId="ADAL" clId="{DBBF13CA-5A20-4AAD-B2C5-CF0EFCCF36AB}" dt="2023-03-17T10:53:11.530" v="1284"/>
        <pc:sldMkLst>
          <pc:docMk/>
          <pc:sldMk cId="0" sldId="300"/>
        </pc:sldMkLst>
      </pc:sldChg>
      <pc:sldChg chg="modSp add mod">
        <pc:chgData name="Sylvie ROCHE" userId="60404d4e-bbf6-4ef1-963c-527a8dada0a5" providerId="ADAL" clId="{DBBF13CA-5A20-4AAD-B2C5-CF0EFCCF36AB}" dt="2023-03-17T11:03:08.010" v="1868" actId="20577"/>
        <pc:sldMkLst>
          <pc:docMk/>
          <pc:sldMk cId="0" sldId="302"/>
        </pc:sldMkLst>
        <pc:spChg chg="mod">
          <ac:chgData name="Sylvie ROCHE" userId="60404d4e-bbf6-4ef1-963c-527a8dada0a5" providerId="ADAL" clId="{DBBF13CA-5A20-4AAD-B2C5-CF0EFCCF36AB}" dt="2023-03-17T11:03:08.010" v="1868" actId="20577"/>
          <ac:spMkLst>
            <pc:docMk/>
            <pc:sldMk cId="0" sldId="302"/>
            <ac:spMk id="6" creationId="{76E64D08-F5DC-40AB-AEDE-96D8C958958D}"/>
          </ac:spMkLst>
        </pc:spChg>
      </pc:sldChg>
      <pc:sldChg chg="modSp add mod">
        <pc:chgData name="Sylvie ROCHE" userId="60404d4e-bbf6-4ef1-963c-527a8dada0a5" providerId="ADAL" clId="{DBBF13CA-5A20-4AAD-B2C5-CF0EFCCF36AB}" dt="2023-03-17T11:07:24.648" v="2055" actId="20577"/>
        <pc:sldMkLst>
          <pc:docMk/>
          <pc:sldMk cId="619538722" sldId="2076136401"/>
        </pc:sldMkLst>
        <pc:spChg chg="mod">
          <ac:chgData name="Sylvie ROCHE" userId="60404d4e-bbf6-4ef1-963c-527a8dada0a5" providerId="ADAL" clId="{DBBF13CA-5A20-4AAD-B2C5-CF0EFCCF36AB}" dt="2023-03-17T11:07:24.648" v="2055" actId="20577"/>
          <ac:spMkLst>
            <pc:docMk/>
            <pc:sldMk cId="619538722" sldId="2076136401"/>
            <ac:spMk id="6" creationId="{76E64D08-F5DC-40AB-AEDE-96D8C958958D}"/>
          </ac:spMkLst>
        </pc:spChg>
      </pc:sldChg>
      <pc:sldChg chg="addSp modSp add mod modNotesTx">
        <pc:chgData name="Sylvie ROCHE" userId="60404d4e-bbf6-4ef1-963c-527a8dada0a5" providerId="ADAL" clId="{DBBF13CA-5A20-4AAD-B2C5-CF0EFCCF36AB}" dt="2023-03-20T16:45:09.479" v="2059" actId="20577"/>
        <pc:sldMkLst>
          <pc:docMk/>
          <pc:sldMk cId="2811067635" sldId="2076137077"/>
        </pc:sldMkLst>
        <pc:spChg chg="add mod">
          <ac:chgData name="Sylvie ROCHE" userId="60404d4e-bbf6-4ef1-963c-527a8dada0a5" providerId="ADAL" clId="{DBBF13CA-5A20-4AAD-B2C5-CF0EFCCF36AB}" dt="2023-03-17T10:57:20.778" v="1360" actId="20577"/>
          <ac:spMkLst>
            <pc:docMk/>
            <pc:sldMk cId="2811067635" sldId="2076137077"/>
            <ac:spMk id="2" creationId="{10DAC2B0-8C33-74F4-AD3D-96630FEF72F9}"/>
          </ac:spMkLst>
        </pc:spChg>
      </pc:sldChg>
      <pc:sldChg chg="addSp delSp modSp add mod ord">
        <pc:chgData name="Sylvie ROCHE" userId="60404d4e-bbf6-4ef1-963c-527a8dada0a5" providerId="ADAL" clId="{DBBF13CA-5A20-4AAD-B2C5-CF0EFCCF36AB}" dt="2023-03-17T11:01:04.956" v="1590" actId="21"/>
        <pc:sldMkLst>
          <pc:docMk/>
          <pc:sldMk cId="4165440293" sldId="2147469998"/>
        </pc:sldMkLst>
        <pc:spChg chg="mod">
          <ac:chgData name="Sylvie ROCHE" userId="60404d4e-bbf6-4ef1-963c-527a8dada0a5" providerId="ADAL" clId="{DBBF13CA-5A20-4AAD-B2C5-CF0EFCCF36AB}" dt="2023-03-17T10:49:22.161" v="853" actId="20577"/>
          <ac:spMkLst>
            <pc:docMk/>
            <pc:sldMk cId="4165440293" sldId="2147469998"/>
            <ac:spMk id="2" creationId="{E11BF5BD-75C4-4E77-9598-7225EFF82CC5}"/>
          </ac:spMkLst>
        </pc:spChg>
        <pc:spChg chg="add mod">
          <ac:chgData name="Sylvie ROCHE" userId="60404d4e-bbf6-4ef1-963c-527a8dada0a5" providerId="ADAL" clId="{DBBF13CA-5A20-4AAD-B2C5-CF0EFCCF36AB}" dt="2023-03-17T11:01:04.956" v="1590" actId="21"/>
          <ac:spMkLst>
            <pc:docMk/>
            <pc:sldMk cId="4165440293" sldId="2147469998"/>
            <ac:spMk id="3" creationId="{4548B055-ABD9-ACB2-C81F-3ED1876C174A}"/>
          </ac:spMkLst>
        </pc:spChg>
        <pc:spChg chg="del">
          <ac:chgData name="Sylvie ROCHE" userId="60404d4e-bbf6-4ef1-963c-527a8dada0a5" providerId="ADAL" clId="{DBBF13CA-5A20-4AAD-B2C5-CF0EFCCF36AB}" dt="2023-03-17T10:14:20.152" v="3" actId="478"/>
          <ac:spMkLst>
            <pc:docMk/>
            <pc:sldMk cId="4165440293" sldId="2147469998"/>
            <ac:spMk id="4" creationId="{DFE4ECB6-193A-41CD-8C1D-5A9AA8C9E006}"/>
          </ac:spMkLst>
        </pc:spChg>
        <pc:spChg chg="del">
          <ac:chgData name="Sylvie ROCHE" userId="60404d4e-bbf6-4ef1-963c-527a8dada0a5" providerId="ADAL" clId="{DBBF13CA-5A20-4AAD-B2C5-CF0EFCCF36AB}" dt="2023-03-17T10:14:20.152" v="3" actId="478"/>
          <ac:spMkLst>
            <pc:docMk/>
            <pc:sldMk cId="4165440293" sldId="2147469998"/>
            <ac:spMk id="9" creationId="{B9D16533-3C4E-49F8-8625-77A29914D708}"/>
          </ac:spMkLst>
        </pc:spChg>
        <pc:spChg chg="del">
          <ac:chgData name="Sylvie ROCHE" userId="60404d4e-bbf6-4ef1-963c-527a8dada0a5" providerId="ADAL" clId="{DBBF13CA-5A20-4AAD-B2C5-CF0EFCCF36AB}" dt="2023-03-17T10:14:20.152" v="3" actId="478"/>
          <ac:spMkLst>
            <pc:docMk/>
            <pc:sldMk cId="4165440293" sldId="2147469998"/>
            <ac:spMk id="10" creationId="{2C1BE3D3-AF86-4F00-99E9-C106820D1EEC}"/>
          </ac:spMkLst>
        </pc:spChg>
        <pc:spChg chg="del">
          <ac:chgData name="Sylvie ROCHE" userId="60404d4e-bbf6-4ef1-963c-527a8dada0a5" providerId="ADAL" clId="{DBBF13CA-5A20-4AAD-B2C5-CF0EFCCF36AB}" dt="2023-03-17T10:14:20.152" v="3" actId="478"/>
          <ac:spMkLst>
            <pc:docMk/>
            <pc:sldMk cId="4165440293" sldId="2147469998"/>
            <ac:spMk id="11" creationId="{C292AB15-E768-45D5-AD2A-5C819B23BD9F}"/>
          </ac:spMkLst>
        </pc:spChg>
        <pc:spChg chg="del">
          <ac:chgData name="Sylvie ROCHE" userId="60404d4e-bbf6-4ef1-963c-527a8dada0a5" providerId="ADAL" clId="{DBBF13CA-5A20-4AAD-B2C5-CF0EFCCF36AB}" dt="2023-03-17T10:14:20.152" v="3" actId="478"/>
          <ac:spMkLst>
            <pc:docMk/>
            <pc:sldMk cId="4165440293" sldId="2147469998"/>
            <ac:spMk id="13" creationId="{E22D3A68-8C63-4250-BAEB-59D55544985D}"/>
          </ac:spMkLst>
        </pc:spChg>
        <pc:spChg chg="del">
          <ac:chgData name="Sylvie ROCHE" userId="60404d4e-bbf6-4ef1-963c-527a8dada0a5" providerId="ADAL" clId="{DBBF13CA-5A20-4AAD-B2C5-CF0EFCCF36AB}" dt="2023-03-17T10:14:20.152" v="3" actId="478"/>
          <ac:spMkLst>
            <pc:docMk/>
            <pc:sldMk cId="4165440293" sldId="2147469998"/>
            <ac:spMk id="15" creationId="{864E3EB6-63A0-4187-87C2-15847F11EF55}"/>
          </ac:spMkLst>
        </pc:spChg>
        <pc:spChg chg="del">
          <ac:chgData name="Sylvie ROCHE" userId="60404d4e-bbf6-4ef1-963c-527a8dada0a5" providerId="ADAL" clId="{DBBF13CA-5A20-4AAD-B2C5-CF0EFCCF36AB}" dt="2023-03-17T10:14:23.309" v="4" actId="478"/>
          <ac:spMkLst>
            <pc:docMk/>
            <pc:sldMk cId="4165440293" sldId="2147469998"/>
            <ac:spMk id="17" creationId="{081C14F2-F0CF-453C-B5E6-3AB28B427042}"/>
          </ac:spMkLst>
        </pc:spChg>
        <pc:spChg chg="add mod">
          <ac:chgData name="Sylvie ROCHE" userId="60404d4e-bbf6-4ef1-963c-527a8dada0a5" providerId="ADAL" clId="{DBBF13CA-5A20-4AAD-B2C5-CF0EFCCF36AB}" dt="2023-03-17T10:59:15.266" v="1401" actId="5793"/>
          <ac:spMkLst>
            <pc:docMk/>
            <pc:sldMk cId="4165440293" sldId="2147469998"/>
            <ac:spMk id="19" creationId="{A2E39FF6-C4F0-1393-9918-3630A3874BE4}"/>
          </ac:spMkLst>
        </pc:spChg>
        <pc:spChg chg="del">
          <ac:chgData name="Sylvie ROCHE" userId="60404d4e-bbf6-4ef1-963c-527a8dada0a5" providerId="ADAL" clId="{DBBF13CA-5A20-4AAD-B2C5-CF0EFCCF36AB}" dt="2023-03-17T10:14:20.152" v="3" actId="478"/>
          <ac:spMkLst>
            <pc:docMk/>
            <pc:sldMk cId="4165440293" sldId="2147469998"/>
            <ac:spMk id="21" creationId="{2806116F-6F2D-1385-E97D-25A261E917CC}"/>
          </ac:spMkLst>
        </pc:spChg>
        <pc:spChg chg="del">
          <ac:chgData name="Sylvie ROCHE" userId="60404d4e-bbf6-4ef1-963c-527a8dada0a5" providerId="ADAL" clId="{DBBF13CA-5A20-4AAD-B2C5-CF0EFCCF36AB}" dt="2023-03-17T10:14:20.152" v="3" actId="478"/>
          <ac:spMkLst>
            <pc:docMk/>
            <pc:sldMk cId="4165440293" sldId="2147469998"/>
            <ac:spMk id="32" creationId="{D87ED807-D69B-7F3C-2931-614001082529}"/>
          </ac:spMkLst>
        </pc:spChg>
        <pc:spChg chg="del">
          <ac:chgData name="Sylvie ROCHE" userId="60404d4e-bbf6-4ef1-963c-527a8dada0a5" providerId="ADAL" clId="{DBBF13CA-5A20-4AAD-B2C5-CF0EFCCF36AB}" dt="2023-03-17T10:14:20.152" v="3" actId="478"/>
          <ac:spMkLst>
            <pc:docMk/>
            <pc:sldMk cId="4165440293" sldId="2147469998"/>
            <ac:spMk id="33" creationId="{E0CF212E-28AF-9982-0C26-8E76888A25EE}"/>
          </ac:spMkLst>
        </pc:spChg>
        <pc:spChg chg="del">
          <ac:chgData name="Sylvie ROCHE" userId="60404d4e-bbf6-4ef1-963c-527a8dada0a5" providerId="ADAL" clId="{DBBF13CA-5A20-4AAD-B2C5-CF0EFCCF36AB}" dt="2023-03-17T10:14:20.152" v="3" actId="478"/>
          <ac:spMkLst>
            <pc:docMk/>
            <pc:sldMk cId="4165440293" sldId="2147469998"/>
            <ac:spMk id="34" creationId="{957B383E-53CF-7FA5-13B8-D53C4073A878}"/>
          </ac:spMkLst>
        </pc:spChg>
        <pc:spChg chg="del">
          <ac:chgData name="Sylvie ROCHE" userId="60404d4e-bbf6-4ef1-963c-527a8dada0a5" providerId="ADAL" clId="{DBBF13CA-5A20-4AAD-B2C5-CF0EFCCF36AB}" dt="2023-03-17T10:14:20.152" v="3" actId="478"/>
          <ac:spMkLst>
            <pc:docMk/>
            <pc:sldMk cId="4165440293" sldId="2147469998"/>
            <ac:spMk id="35" creationId="{A1D2A6E9-9A53-78E5-9DE0-4B4AFF0A7351}"/>
          </ac:spMkLst>
        </pc:spChg>
        <pc:spChg chg="del">
          <ac:chgData name="Sylvie ROCHE" userId="60404d4e-bbf6-4ef1-963c-527a8dada0a5" providerId="ADAL" clId="{DBBF13CA-5A20-4AAD-B2C5-CF0EFCCF36AB}" dt="2023-03-17T10:14:20.152" v="3" actId="478"/>
          <ac:spMkLst>
            <pc:docMk/>
            <pc:sldMk cId="4165440293" sldId="2147469998"/>
            <ac:spMk id="36" creationId="{A25C2952-F2CE-5BAC-075A-0EF54F2C0F20}"/>
          </ac:spMkLst>
        </pc:spChg>
        <pc:spChg chg="del">
          <ac:chgData name="Sylvie ROCHE" userId="60404d4e-bbf6-4ef1-963c-527a8dada0a5" providerId="ADAL" clId="{DBBF13CA-5A20-4AAD-B2C5-CF0EFCCF36AB}" dt="2023-03-17T10:14:20.152" v="3" actId="478"/>
          <ac:spMkLst>
            <pc:docMk/>
            <pc:sldMk cId="4165440293" sldId="2147469998"/>
            <ac:spMk id="37" creationId="{396A7D0D-95A7-CED1-64F5-DF302CAC8062}"/>
          </ac:spMkLst>
        </pc:spChg>
        <pc:spChg chg="del">
          <ac:chgData name="Sylvie ROCHE" userId="60404d4e-bbf6-4ef1-963c-527a8dada0a5" providerId="ADAL" clId="{DBBF13CA-5A20-4AAD-B2C5-CF0EFCCF36AB}" dt="2023-03-17T10:14:20.152" v="3" actId="478"/>
          <ac:spMkLst>
            <pc:docMk/>
            <pc:sldMk cId="4165440293" sldId="2147469998"/>
            <ac:spMk id="38" creationId="{C572C046-2020-CB04-745D-E0F351EBB6A9}"/>
          </ac:spMkLst>
        </pc:spChg>
        <pc:spChg chg="del">
          <ac:chgData name="Sylvie ROCHE" userId="60404d4e-bbf6-4ef1-963c-527a8dada0a5" providerId="ADAL" clId="{DBBF13CA-5A20-4AAD-B2C5-CF0EFCCF36AB}" dt="2023-03-17T10:14:20.152" v="3" actId="478"/>
          <ac:spMkLst>
            <pc:docMk/>
            <pc:sldMk cId="4165440293" sldId="2147469998"/>
            <ac:spMk id="43" creationId="{A2E89265-A832-44BC-DB37-CB056035C8A7}"/>
          </ac:spMkLst>
        </pc:spChg>
        <pc:picChg chg="del">
          <ac:chgData name="Sylvie ROCHE" userId="60404d4e-bbf6-4ef1-963c-527a8dada0a5" providerId="ADAL" clId="{DBBF13CA-5A20-4AAD-B2C5-CF0EFCCF36AB}" dt="2023-03-17T10:14:20.152" v="3" actId="478"/>
          <ac:picMkLst>
            <pc:docMk/>
            <pc:sldMk cId="4165440293" sldId="2147469998"/>
            <ac:picMk id="5" creationId="{8D4A21DA-4CA0-49B7-AD78-0F9B8A7532E6}"/>
          </ac:picMkLst>
        </pc:picChg>
        <pc:picChg chg="del">
          <ac:chgData name="Sylvie ROCHE" userId="60404d4e-bbf6-4ef1-963c-527a8dada0a5" providerId="ADAL" clId="{DBBF13CA-5A20-4AAD-B2C5-CF0EFCCF36AB}" dt="2023-03-17T10:14:20.152" v="3" actId="478"/>
          <ac:picMkLst>
            <pc:docMk/>
            <pc:sldMk cId="4165440293" sldId="2147469998"/>
            <ac:picMk id="6" creationId="{CCA51F63-3D45-49D1-A294-FEE7069F69F3}"/>
          </ac:picMkLst>
        </pc:picChg>
        <pc:picChg chg="del">
          <ac:chgData name="Sylvie ROCHE" userId="60404d4e-bbf6-4ef1-963c-527a8dada0a5" providerId="ADAL" clId="{DBBF13CA-5A20-4AAD-B2C5-CF0EFCCF36AB}" dt="2023-03-17T10:14:20.152" v="3" actId="478"/>
          <ac:picMkLst>
            <pc:docMk/>
            <pc:sldMk cId="4165440293" sldId="2147469998"/>
            <ac:picMk id="7" creationId="{917A7A55-7496-4AA5-B913-66B9922A7AB0}"/>
          </ac:picMkLst>
        </pc:picChg>
        <pc:picChg chg="del">
          <ac:chgData name="Sylvie ROCHE" userId="60404d4e-bbf6-4ef1-963c-527a8dada0a5" providerId="ADAL" clId="{DBBF13CA-5A20-4AAD-B2C5-CF0EFCCF36AB}" dt="2023-03-17T10:14:20.152" v="3" actId="478"/>
          <ac:picMkLst>
            <pc:docMk/>
            <pc:sldMk cId="4165440293" sldId="2147469998"/>
            <ac:picMk id="24" creationId="{07A552B2-1363-45E7-BB1D-2B6DAE61A8ED}"/>
          </ac:picMkLst>
        </pc:picChg>
        <pc:picChg chg="del">
          <ac:chgData name="Sylvie ROCHE" userId="60404d4e-bbf6-4ef1-963c-527a8dada0a5" providerId="ADAL" clId="{DBBF13CA-5A20-4AAD-B2C5-CF0EFCCF36AB}" dt="2023-03-17T10:14:20.152" v="3" actId="478"/>
          <ac:picMkLst>
            <pc:docMk/>
            <pc:sldMk cId="4165440293" sldId="2147469998"/>
            <ac:picMk id="45" creationId="{33D684BD-1708-7137-BEC5-721AE2399D4B}"/>
          </ac:picMkLst>
        </pc:picChg>
        <pc:picChg chg="del">
          <ac:chgData name="Sylvie ROCHE" userId="60404d4e-bbf6-4ef1-963c-527a8dada0a5" providerId="ADAL" clId="{DBBF13CA-5A20-4AAD-B2C5-CF0EFCCF36AB}" dt="2023-03-17T10:14:20.152" v="3" actId="478"/>
          <ac:picMkLst>
            <pc:docMk/>
            <pc:sldMk cId="4165440293" sldId="2147469998"/>
            <ac:picMk id="62" creationId="{8A997064-A2E9-A495-EF0A-EFBA629C805A}"/>
          </ac:picMkLst>
        </pc:picChg>
        <pc:picChg chg="del">
          <ac:chgData name="Sylvie ROCHE" userId="60404d4e-bbf6-4ef1-963c-527a8dada0a5" providerId="ADAL" clId="{DBBF13CA-5A20-4AAD-B2C5-CF0EFCCF36AB}" dt="2023-03-17T10:14:20.152" v="3" actId="478"/>
          <ac:picMkLst>
            <pc:docMk/>
            <pc:sldMk cId="4165440293" sldId="2147469998"/>
            <ac:picMk id="64" creationId="{A3E1E93F-3162-B40F-4022-004BAEAD13EB}"/>
          </ac:picMkLst>
        </pc:picChg>
        <pc:picChg chg="del">
          <ac:chgData name="Sylvie ROCHE" userId="60404d4e-bbf6-4ef1-963c-527a8dada0a5" providerId="ADAL" clId="{DBBF13CA-5A20-4AAD-B2C5-CF0EFCCF36AB}" dt="2023-03-17T10:14:20.152" v="3" actId="478"/>
          <ac:picMkLst>
            <pc:docMk/>
            <pc:sldMk cId="4165440293" sldId="2147469998"/>
            <ac:picMk id="66" creationId="{26DF453C-2C6B-5283-5FCA-CB98423EBFE2}"/>
          </ac:picMkLst>
        </pc:picChg>
        <pc:picChg chg="del">
          <ac:chgData name="Sylvie ROCHE" userId="60404d4e-bbf6-4ef1-963c-527a8dada0a5" providerId="ADAL" clId="{DBBF13CA-5A20-4AAD-B2C5-CF0EFCCF36AB}" dt="2023-03-17T10:14:20.152" v="3" actId="478"/>
          <ac:picMkLst>
            <pc:docMk/>
            <pc:sldMk cId="4165440293" sldId="2147469998"/>
            <ac:picMk id="68" creationId="{67A26C82-8AF7-1439-10E9-B367D279D3BC}"/>
          </ac:picMkLst>
        </pc:picChg>
        <pc:cxnChg chg="del">
          <ac:chgData name="Sylvie ROCHE" userId="60404d4e-bbf6-4ef1-963c-527a8dada0a5" providerId="ADAL" clId="{DBBF13CA-5A20-4AAD-B2C5-CF0EFCCF36AB}" dt="2023-03-17T10:14:20.152" v="3" actId="478"/>
          <ac:cxnSpMkLst>
            <pc:docMk/>
            <pc:sldMk cId="4165440293" sldId="2147469998"/>
            <ac:cxnSpMk id="8" creationId="{9B35EB87-18EF-4C68-8104-C08FBB737A15}"/>
          </ac:cxnSpMkLst>
        </pc:cxnChg>
        <pc:cxnChg chg="del">
          <ac:chgData name="Sylvie ROCHE" userId="60404d4e-bbf6-4ef1-963c-527a8dada0a5" providerId="ADAL" clId="{DBBF13CA-5A20-4AAD-B2C5-CF0EFCCF36AB}" dt="2023-03-17T10:14:20.152" v="3" actId="478"/>
          <ac:cxnSpMkLst>
            <pc:docMk/>
            <pc:sldMk cId="4165440293" sldId="2147469998"/>
            <ac:cxnSpMk id="14" creationId="{CA362DFC-94B7-4CD5-8459-C95A5EA44217}"/>
          </ac:cxnSpMkLst>
        </pc:cxnChg>
        <pc:cxnChg chg="del">
          <ac:chgData name="Sylvie ROCHE" userId="60404d4e-bbf6-4ef1-963c-527a8dada0a5" providerId="ADAL" clId="{DBBF13CA-5A20-4AAD-B2C5-CF0EFCCF36AB}" dt="2023-03-17T10:14:20.152" v="3" actId="478"/>
          <ac:cxnSpMkLst>
            <pc:docMk/>
            <pc:sldMk cId="4165440293" sldId="2147469998"/>
            <ac:cxnSpMk id="16" creationId="{B8AE57C4-69CE-4608-8DDB-7E6E3218F160}"/>
          </ac:cxnSpMkLst>
        </pc:cxnChg>
        <pc:cxnChg chg="del">
          <ac:chgData name="Sylvie ROCHE" userId="60404d4e-bbf6-4ef1-963c-527a8dada0a5" providerId="ADAL" clId="{DBBF13CA-5A20-4AAD-B2C5-CF0EFCCF36AB}" dt="2023-03-17T10:14:20.152" v="3" actId="478"/>
          <ac:cxnSpMkLst>
            <pc:docMk/>
            <pc:sldMk cId="4165440293" sldId="2147469998"/>
            <ac:cxnSpMk id="47" creationId="{CA6E44B2-D37D-8819-0722-4D4086D8D4B2}"/>
          </ac:cxnSpMkLst>
        </pc:cxnChg>
        <pc:cxnChg chg="del">
          <ac:chgData name="Sylvie ROCHE" userId="60404d4e-bbf6-4ef1-963c-527a8dada0a5" providerId="ADAL" clId="{DBBF13CA-5A20-4AAD-B2C5-CF0EFCCF36AB}" dt="2023-03-17T10:14:20.152" v="3" actId="478"/>
          <ac:cxnSpMkLst>
            <pc:docMk/>
            <pc:sldMk cId="4165440293" sldId="2147469998"/>
            <ac:cxnSpMk id="48" creationId="{6EA0C923-8FE3-5E3B-CFB0-635B999341EE}"/>
          </ac:cxnSpMkLst>
        </pc:cxnChg>
        <pc:cxnChg chg="del">
          <ac:chgData name="Sylvie ROCHE" userId="60404d4e-bbf6-4ef1-963c-527a8dada0a5" providerId="ADAL" clId="{DBBF13CA-5A20-4AAD-B2C5-CF0EFCCF36AB}" dt="2023-03-17T10:14:20.152" v="3" actId="478"/>
          <ac:cxnSpMkLst>
            <pc:docMk/>
            <pc:sldMk cId="4165440293" sldId="2147469998"/>
            <ac:cxnSpMk id="49" creationId="{E1F3793B-9C12-7FE2-172F-2D71D423035A}"/>
          </ac:cxnSpMkLst>
        </pc:cxnChg>
        <pc:cxnChg chg="del">
          <ac:chgData name="Sylvie ROCHE" userId="60404d4e-bbf6-4ef1-963c-527a8dada0a5" providerId="ADAL" clId="{DBBF13CA-5A20-4AAD-B2C5-CF0EFCCF36AB}" dt="2023-03-17T10:14:20.152" v="3" actId="478"/>
          <ac:cxnSpMkLst>
            <pc:docMk/>
            <pc:sldMk cId="4165440293" sldId="2147469998"/>
            <ac:cxnSpMk id="50" creationId="{09D14A5C-5A65-7065-01DA-B9EC42C4453C}"/>
          </ac:cxnSpMkLst>
        </pc:cxnChg>
      </pc:sldChg>
      <pc:sldChg chg="addSp delSp modSp add mod">
        <pc:chgData name="Sylvie ROCHE" userId="60404d4e-bbf6-4ef1-963c-527a8dada0a5" providerId="ADAL" clId="{DBBF13CA-5A20-4AAD-B2C5-CF0EFCCF36AB}" dt="2023-03-17T11:01:24.245" v="1622" actId="20577"/>
        <pc:sldMkLst>
          <pc:docMk/>
          <pc:sldMk cId="776430139" sldId="2147469999"/>
        </pc:sldMkLst>
        <pc:spChg chg="mod">
          <ac:chgData name="Sylvie ROCHE" userId="60404d4e-bbf6-4ef1-963c-527a8dada0a5" providerId="ADAL" clId="{DBBF13CA-5A20-4AAD-B2C5-CF0EFCCF36AB}" dt="2023-03-17T11:01:24.245" v="1622" actId="20577"/>
          <ac:spMkLst>
            <pc:docMk/>
            <pc:sldMk cId="776430139" sldId="2147469999"/>
            <ac:spMk id="2" creationId="{E11BF5BD-75C4-4E77-9598-7225EFF82CC5}"/>
          </ac:spMkLst>
        </pc:spChg>
        <pc:spChg chg="mod">
          <ac:chgData name="Sylvie ROCHE" userId="60404d4e-bbf6-4ef1-963c-527a8dada0a5" providerId="ADAL" clId="{DBBF13CA-5A20-4AAD-B2C5-CF0EFCCF36AB}" dt="2023-03-17T11:01:15.873" v="1595" actId="14100"/>
          <ac:spMkLst>
            <pc:docMk/>
            <pc:sldMk cId="776430139" sldId="2147469999"/>
            <ac:spMk id="3" creationId="{4548B055-ABD9-ACB2-C81F-3ED1876C174A}"/>
          </ac:spMkLst>
        </pc:spChg>
        <pc:spChg chg="add mod">
          <ac:chgData name="Sylvie ROCHE" userId="60404d4e-bbf6-4ef1-963c-527a8dada0a5" providerId="ADAL" clId="{DBBF13CA-5A20-4AAD-B2C5-CF0EFCCF36AB}" dt="2023-03-17T10:53:01.027" v="1283"/>
          <ac:spMkLst>
            <pc:docMk/>
            <pc:sldMk cId="776430139" sldId="2147469999"/>
            <ac:spMk id="4" creationId="{3363A1CF-36A7-A1D5-E32E-7AE928BF8DA3}"/>
          </ac:spMkLst>
        </pc:spChg>
        <pc:spChg chg="add mod">
          <ac:chgData name="Sylvie ROCHE" userId="60404d4e-bbf6-4ef1-963c-527a8dada0a5" providerId="ADAL" clId="{DBBF13CA-5A20-4AAD-B2C5-CF0EFCCF36AB}" dt="2023-03-17T10:56:19.086" v="1288" actId="14100"/>
          <ac:spMkLst>
            <pc:docMk/>
            <pc:sldMk cId="776430139" sldId="2147469999"/>
            <ac:spMk id="5" creationId="{FAD6C4A5-EEE0-BCA4-4068-4C8445E80E95}"/>
          </ac:spMkLst>
        </pc:spChg>
        <pc:spChg chg="add mod">
          <ac:chgData name="Sylvie ROCHE" userId="60404d4e-bbf6-4ef1-963c-527a8dada0a5" providerId="ADAL" clId="{DBBF13CA-5A20-4AAD-B2C5-CF0EFCCF36AB}" dt="2023-03-17T10:56:16.041" v="1287" actId="1076"/>
          <ac:spMkLst>
            <pc:docMk/>
            <pc:sldMk cId="776430139" sldId="2147469999"/>
            <ac:spMk id="6" creationId="{5F94E181-E087-586E-A7FC-704FFF321717}"/>
          </ac:spMkLst>
        </pc:spChg>
        <pc:spChg chg="del">
          <ac:chgData name="Sylvie ROCHE" userId="60404d4e-bbf6-4ef1-963c-527a8dada0a5" providerId="ADAL" clId="{DBBF13CA-5A20-4AAD-B2C5-CF0EFCCF36AB}" dt="2023-03-17T10:25:41.222" v="771" actId="478"/>
          <ac:spMkLst>
            <pc:docMk/>
            <pc:sldMk cId="776430139" sldId="2147469999"/>
            <ac:spMk id="18" creationId="{4C19FCF4-D461-0058-13D2-B028F508BBEA}"/>
          </ac:spMkLst>
        </pc:spChg>
        <pc:spChg chg="del">
          <ac:chgData name="Sylvie ROCHE" userId="60404d4e-bbf6-4ef1-963c-527a8dada0a5" providerId="ADAL" clId="{DBBF13CA-5A20-4AAD-B2C5-CF0EFCCF36AB}" dt="2023-03-17T10:25:41.222" v="771" actId="478"/>
          <ac:spMkLst>
            <pc:docMk/>
            <pc:sldMk cId="776430139" sldId="2147469999"/>
            <ac:spMk id="31" creationId="{405F34FB-112B-D9B2-6EC3-A4ED7F783C35}"/>
          </ac:spMkLst>
        </pc:spChg>
        <pc:spChg chg="del">
          <ac:chgData name="Sylvie ROCHE" userId="60404d4e-bbf6-4ef1-963c-527a8dada0a5" providerId="ADAL" clId="{DBBF13CA-5A20-4AAD-B2C5-CF0EFCCF36AB}" dt="2023-03-17T10:25:41.222" v="771" actId="478"/>
          <ac:spMkLst>
            <pc:docMk/>
            <pc:sldMk cId="776430139" sldId="2147469999"/>
            <ac:spMk id="39" creationId="{639BEA8A-94AA-981B-E7FE-7BEBF52D5CA8}"/>
          </ac:spMkLst>
        </pc:spChg>
        <pc:spChg chg="del">
          <ac:chgData name="Sylvie ROCHE" userId="60404d4e-bbf6-4ef1-963c-527a8dada0a5" providerId="ADAL" clId="{DBBF13CA-5A20-4AAD-B2C5-CF0EFCCF36AB}" dt="2023-03-17T10:25:41.222" v="771" actId="478"/>
          <ac:spMkLst>
            <pc:docMk/>
            <pc:sldMk cId="776430139" sldId="2147469999"/>
            <ac:spMk id="40" creationId="{09DFE226-DE17-2FBF-3540-BE5968287E80}"/>
          </ac:spMkLst>
        </pc:spChg>
        <pc:spChg chg="del">
          <ac:chgData name="Sylvie ROCHE" userId="60404d4e-bbf6-4ef1-963c-527a8dada0a5" providerId="ADAL" clId="{DBBF13CA-5A20-4AAD-B2C5-CF0EFCCF36AB}" dt="2023-03-17T10:25:41.222" v="771" actId="478"/>
          <ac:spMkLst>
            <pc:docMk/>
            <pc:sldMk cId="776430139" sldId="2147469999"/>
            <ac:spMk id="41" creationId="{C87F2A53-C3ED-764F-96A5-2B0B1AF5BEC8}"/>
          </ac:spMkLst>
        </pc:spChg>
        <pc:spChg chg="del">
          <ac:chgData name="Sylvie ROCHE" userId="60404d4e-bbf6-4ef1-963c-527a8dada0a5" providerId="ADAL" clId="{DBBF13CA-5A20-4AAD-B2C5-CF0EFCCF36AB}" dt="2023-03-17T10:25:41.222" v="771" actId="478"/>
          <ac:spMkLst>
            <pc:docMk/>
            <pc:sldMk cId="776430139" sldId="2147469999"/>
            <ac:spMk id="42" creationId="{AD423B49-EFA2-C58A-5AB6-FEA2F8E92899}"/>
          </ac:spMkLst>
        </pc:spChg>
        <pc:spChg chg="del">
          <ac:chgData name="Sylvie ROCHE" userId="60404d4e-bbf6-4ef1-963c-527a8dada0a5" providerId="ADAL" clId="{DBBF13CA-5A20-4AAD-B2C5-CF0EFCCF36AB}" dt="2023-03-17T10:25:41.222" v="771" actId="478"/>
          <ac:spMkLst>
            <pc:docMk/>
            <pc:sldMk cId="776430139" sldId="2147469999"/>
            <ac:spMk id="44" creationId="{89772F3D-8179-8C06-AFB3-40218B1F3A9B}"/>
          </ac:spMkLst>
        </pc:spChg>
        <pc:grpChg chg="del">
          <ac:chgData name="Sylvie ROCHE" userId="60404d4e-bbf6-4ef1-963c-527a8dada0a5" providerId="ADAL" clId="{DBBF13CA-5A20-4AAD-B2C5-CF0EFCCF36AB}" dt="2023-03-17T10:25:41.222" v="771" actId="478"/>
          <ac:grpSpMkLst>
            <pc:docMk/>
            <pc:sldMk cId="776430139" sldId="2147469999"/>
            <ac:grpSpMk id="26" creationId="{1F2CEE5A-5DBC-EEC6-4BF8-195AA9480179}"/>
          </ac:grpSpMkLst>
        </pc:grpChg>
        <pc:picChg chg="del">
          <ac:chgData name="Sylvie ROCHE" userId="60404d4e-bbf6-4ef1-963c-527a8dada0a5" providerId="ADAL" clId="{DBBF13CA-5A20-4AAD-B2C5-CF0EFCCF36AB}" dt="2023-03-17T10:25:41.222" v="771" actId="478"/>
          <ac:picMkLst>
            <pc:docMk/>
            <pc:sldMk cId="776430139" sldId="2147469999"/>
            <ac:picMk id="46" creationId="{F2D4D600-9118-84B3-79E3-1D4D56059091}"/>
          </ac:picMkLst>
        </pc:picChg>
        <pc:picChg chg="del">
          <ac:chgData name="Sylvie ROCHE" userId="60404d4e-bbf6-4ef1-963c-527a8dada0a5" providerId="ADAL" clId="{DBBF13CA-5A20-4AAD-B2C5-CF0EFCCF36AB}" dt="2023-03-17T10:25:41.222" v="771" actId="478"/>
          <ac:picMkLst>
            <pc:docMk/>
            <pc:sldMk cId="776430139" sldId="2147469999"/>
            <ac:picMk id="58" creationId="{973E76ED-1497-9FE2-D0B5-1CC85DE0DD14}"/>
          </ac:picMkLst>
        </pc:picChg>
        <pc:picChg chg="del">
          <ac:chgData name="Sylvie ROCHE" userId="60404d4e-bbf6-4ef1-963c-527a8dada0a5" providerId="ADAL" clId="{DBBF13CA-5A20-4AAD-B2C5-CF0EFCCF36AB}" dt="2023-03-17T10:25:41.222" v="771" actId="478"/>
          <ac:picMkLst>
            <pc:docMk/>
            <pc:sldMk cId="776430139" sldId="2147469999"/>
            <ac:picMk id="60" creationId="{0E865FD8-6D00-D95A-2A7A-ABA125367684}"/>
          </ac:picMkLst>
        </pc:picChg>
        <pc:picChg chg="del">
          <ac:chgData name="Sylvie ROCHE" userId="60404d4e-bbf6-4ef1-963c-527a8dada0a5" providerId="ADAL" clId="{DBBF13CA-5A20-4AAD-B2C5-CF0EFCCF36AB}" dt="2023-03-17T10:25:41.222" v="771" actId="478"/>
          <ac:picMkLst>
            <pc:docMk/>
            <pc:sldMk cId="776430139" sldId="2147469999"/>
            <ac:picMk id="69" creationId="{91D4141A-CD80-E5E9-DBB8-EF25ECF255C6}"/>
          </ac:picMkLst>
        </pc:picChg>
        <pc:picChg chg="del">
          <ac:chgData name="Sylvie ROCHE" userId="60404d4e-bbf6-4ef1-963c-527a8dada0a5" providerId="ADAL" clId="{DBBF13CA-5A20-4AAD-B2C5-CF0EFCCF36AB}" dt="2023-03-17T10:25:41.222" v="771" actId="478"/>
          <ac:picMkLst>
            <pc:docMk/>
            <pc:sldMk cId="776430139" sldId="2147469999"/>
            <ac:picMk id="71" creationId="{A16AEE2C-72C3-B8C0-29CD-13AA3794CE2F}"/>
          </ac:picMkLst>
        </pc:picChg>
        <pc:cxnChg chg="del">
          <ac:chgData name="Sylvie ROCHE" userId="60404d4e-bbf6-4ef1-963c-527a8dada0a5" providerId="ADAL" clId="{DBBF13CA-5A20-4AAD-B2C5-CF0EFCCF36AB}" dt="2023-03-17T10:25:41.222" v="771" actId="478"/>
          <ac:cxnSpMkLst>
            <pc:docMk/>
            <pc:sldMk cId="776430139" sldId="2147469999"/>
            <ac:cxnSpMk id="51" creationId="{8C4FD16A-35FD-67BD-04A0-4AFC03F22229}"/>
          </ac:cxnSpMkLst>
        </pc:cxnChg>
        <pc:cxnChg chg="del">
          <ac:chgData name="Sylvie ROCHE" userId="60404d4e-bbf6-4ef1-963c-527a8dada0a5" providerId="ADAL" clId="{DBBF13CA-5A20-4AAD-B2C5-CF0EFCCF36AB}" dt="2023-03-17T10:25:41.222" v="771" actId="478"/>
          <ac:cxnSpMkLst>
            <pc:docMk/>
            <pc:sldMk cId="776430139" sldId="2147469999"/>
            <ac:cxnSpMk id="52" creationId="{AE063126-C1B2-AD3B-C7E8-B51FD4CCC074}"/>
          </ac:cxnSpMkLst>
        </pc:cxnChg>
        <pc:cxnChg chg="del">
          <ac:chgData name="Sylvie ROCHE" userId="60404d4e-bbf6-4ef1-963c-527a8dada0a5" providerId="ADAL" clId="{DBBF13CA-5A20-4AAD-B2C5-CF0EFCCF36AB}" dt="2023-03-17T10:25:41.222" v="771" actId="478"/>
          <ac:cxnSpMkLst>
            <pc:docMk/>
            <pc:sldMk cId="776430139" sldId="2147469999"/>
            <ac:cxnSpMk id="53" creationId="{AF8DF9F0-F0AC-984D-54B5-5A79A30586C1}"/>
          </ac:cxnSpMkLst>
        </pc:cxnChg>
        <pc:cxnChg chg="del">
          <ac:chgData name="Sylvie ROCHE" userId="60404d4e-bbf6-4ef1-963c-527a8dada0a5" providerId="ADAL" clId="{DBBF13CA-5A20-4AAD-B2C5-CF0EFCCF36AB}" dt="2023-03-17T10:25:41.222" v="771" actId="478"/>
          <ac:cxnSpMkLst>
            <pc:docMk/>
            <pc:sldMk cId="776430139" sldId="2147469999"/>
            <ac:cxnSpMk id="54" creationId="{605D8A01-F58C-94E5-D3F9-5ADB7C069F32}"/>
          </ac:cxnSpMkLst>
        </pc:cxnChg>
      </pc:sldChg>
      <pc:sldChg chg="modSp">
        <pc:chgData name="Sylvie ROCHE" userId="60404d4e-bbf6-4ef1-963c-527a8dada0a5" providerId="ADAL" clId="{DBBF13CA-5A20-4AAD-B2C5-CF0EFCCF36AB}" dt="2023-03-20T16:18:16.075" v="2058" actId="20577"/>
        <pc:sldMkLst>
          <pc:docMk/>
          <pc:sldMk cId="1073377735" sldId="2147470002"/>
        </pc:sldMkLst>
        <pc:graphicFrameChg chg="mod">
          <ac:chgData name="Sylvie ROCHE" userId="60404d4e-bbf6-4ef1-963c-527a8dada0a5" providerId="ADAL" clId="{DBBF13CA-5A20-4AAD-B2C5-CF0EFCCF36AB}" dt="2023-03-20T16:18:16.075" v="2058" actId="20577"/>
          <ac:graphicFrameMkLst>
            <pc:docMk/>
            <pc:sldMk cId="1073377735" sldId="2147470002"/>
            <ac:graphicFrameMk id="188" creationId="{50A6DC02-A635-EDE7-E005-8A5511C0D784}"/>
          </ac:graphicFrameMkLst>
        </pc:graphicFrameChg>
      </pc:sldChg>
    </pc:docChg>
  </pc:docChgLst>
  <pc:docChgLst>
    <pc:chgData name="Benjamine VO VINH MARECHAL" userId="S::benjamine.vo-vinh-marechal@talan.com::87b13732-9578-4f1d-89d2-bd7641303e76" providerId="AD" clId="Web-{E64D3C22-8CA6-6371-AEAB-8C81B55C733B}"/>
    <pc:docChg chg="modSld">
      <pc:chgData name="Benjamine VO VINH MARECHAL" userId="S::benjamine.vo-vinh-marechal@talan.com::87b13732-9578-4f1d-89d2-bd7641303e76" providerId="AD" clId="Web-{E64D3C22-8CA6-6371-AEAB-8C81B55C733B}" dt="2023-03-03T12:44:47.670" v="13" actId="1076"/>
      <pc:docMkLst>
        <pc:docMk/>
      </pc:docMkLst>
      <pc:sldChg chg="modSp">
        <pc:chgData name="Benjamine VO VINH MARECHAL" userId="S::benjamine.vo-vinh-marechal@talan.com::87b13732-9578-4f1d-89d2-bd7641303e76" providerId="AD" clId="Web-{E64D3C22-8CA6-6371-AEAB-8C81B55C733B}" dt="2023-03-03T12:44:47.670" v="13" actId="1076"/>
        <pc:sldMkLst>
          <pc:docMk/>
          <pc:sldMk cId="1679491866" sldId="2147469982"/>
        </pc:sldMkLst>
        <pc:spChg chg="mod">
          <ac:chgData name="Benjamine VO VINH MARECHAL" userId="S::benjamine.vo-vinh-marechal@talan.com::87b13732-9578-4f1d-89d2-bd7641303e76" providerId="AD" clId="Web-{E64D3C22-8CA6-6371-AEAB-8C81B55C733B}" dt="2023-03-03T12:44:47.670" v="13" actId="1076"/>
          <ac:spMkLst>
            <pc:docMk/>
            <pc:sldMk cId="1679491866" sldId="2147469982"/>
            <ac:spMk id="18" creationId="{BDCB2577-DAD6-BF9E-8070-A450A0CD0FED}"/>
          </ac:spMkLst>
        </pc:spChg>
        <pc:spChg chg="mod">
          <ac:chgData name="Benjamine VO VINH MARECHAL" userId="S::benjamine.vo-vinh-marechal@talan.com::87b13732-9578-4f1d-89d2-bd7641303e76" providerId="AD" clId="Web-{E64D3C22-8CA6-6371-AEAB-8C81B55C733B}" dt="2023-03-03T12:44:24.170" v="11" actId="20577"/>
          <ac:spMkLst>
            <pc:docMk/>
            <pc:sldMk cId="1679491866" sldId="2147469982"/>
            <ac:spMk id="20" creationId="{1EFF4ACB-11AE-FF0B-EB0A-5AB0C1EC0935}"/>
          </ac:spMkLst>
        </pc:spChg>
      </pc:sldChg>
    </pc:docChg>
  </pc:docChgLst>
  <pc:docChgLst>
    <pc:chgData name="Rodolphe GARABETIAN" userId="S::rodolphe.garabetian@talan.com::e7997f99-2964-44b6-a160-d8bc589f79c2" providerId="AD" clId="Web-{20D56CC4-FF35-4F9E-98DC-DA5A0BBFCA3D}"/>
    <pc:docChg chg="modSld">
      <pc:chgData name="Rodolphe GARABETIAN" userId="S::rodolphe.garabetian@talan.com::e7997f99-2964-44b6-a160-d8bc589f79c2" providerId="AD" clId="Web-{20D56CC4-FF35-4F9E-98DC-DA5A0BBFCA3D}" dt="2022-11-30T08:55:03.593" v="5" actId="1076"/>
      <pc:docMkLst>
        <pc:docMk/>
      </pc:docMkLst>
      <pc:sldChg chg="modSp">
        <pc:chgData name="Rodolphe GARABETIAN" userId="S::rodolphe.garabetian@talan.com::e7997f99-2964-44b6-a160-d8bc589f79c2" providerId="AD" clId="Web-{20D56CC4-FF35-4F9E-98DC-DA5A0BBFCA3D}" dt="2022-11-30T08:55:03.593" v="5" actId="1076"/>
        <pc:sldMkLst>
          <pc:docMk/>
          <pc:sldMk cId="4242148046" sldId="2076138194"/>
        </pc:sldMkLst>
        <pc:spChg chg="mod">
          <ac:chgData name="Rodolphe GARABETIAN" userId="S::rodolphe.garabetian@talan.com::e7997f99-2964-44b6-a160-d8bc589f79c2" providerId="AD" clId="Web-{20D56CC4-FF35-4F9E-98DC-DA5A0BBFCA3D}" dt="2022-11-30T08:55:03.593" v="5" actId="1076"/>
          <ac:spMkLst>
            <pc:docMk/>
            <pc:sldMk cId="4242148046" sldId="2076138194"/>
            <ac:spMk id="15" creationId="{864E3EB6-63A0-4187-87C2-15847F11EF55}"/>
          </ac:spMkLst>
        </pc:spChg>
        <pc:spChg chg="mod">
          <ac:chgData name="Rodolphe GARABETIAN" userId="S::rodolphe.garabetian@talan.com::e7997f99-2964-44b6-a160-d8bc589f79c2" providerId="AD" clId="Web-{20D56CC4-FF35-4F9E-98DC-DA5A0BBFCA3D}" dt="2022-11-30T08:55:03.593" v="4" actId="1076"/>
          <ac:spMkLst>
            <pc:docMk/>
            <pc:sldMk cId="4242148046" sldId="2076138194"/>
            <ac:spMk id="17" creationId="{081C14F2-F0CF-453C-B5E6-3AB28B427042}"/>
          </ac:spMkLst>
        </pc:spChg>
        <pc:picChg chg="mod">
          <ac:chgData name="Rodolphe GARABETIAN" userId="S::rodolphe.garabetian@talan.com::e7997f99-2964-44b6-a160-d8bc589f79c2" providerId="AD" clId="Web-{20D56CC4-FF35-4F9E-98DC-DA5A0BBFCA3D}" dt="2022-11-30T08:55:03.593" v="3" actId="1076"/>
          <ac:picMkLst>
            <pc:docMk/>
            <pc:sldMk cId="4242148046" sldId="2076138194"/>
            <ac:picMk id="24" creationId="{07A552B2-1363-45E7-BB1D-2B6DAE61A8ED}"/>
          </ac:picMkLst>
        </pc:picChg>
      </pc:sldChg>
    </pc:docChg>
  </pc:docChgLst>
  <pc:docChgLst>
    <pc:chgData name="Frédéric NGUYEN KIM" userId="91a3dcbd-d60c-40ca-842f-e84e51d3b939" providerId="ADAL" clId="{0D9F327F-8620-4E21-BCB1-CB1981AD2903}"/>
    <pc:docChg chg="undo custSel addSld modSld modSection">
      <pc:chgData name="Frédéric NGUYEN KIM" userId="91a3dcbd-d60c-40ca-842f-e84e51d3b939" providerId="ADAL" clId="{0D9F327F-8620-4E21-BCB1-CB1981AD2903}" dt="2023-03-03T08:19:27.936" v="151" actId="2056"/>
      <pc:docMkLst>
        <pc:docMk/>
      </pc:docMkLst>
      <pc:sldChg chg="modCm">
        <pc:chgData name="Frédéric NGUYEN KIM" userId="91a3dcbd-d60c-40ca-842f-e84e51d3b939" providerId="ADAL" clId="{0D9F327F-8620-4E21-BCB1-CB1981AD2903}" dt="2023-03-03T08:19:27.936" v="151" actId="2056"/>
        <pc:sldMkLst>
          <pc:docMk/>
          <pc:sldMk cId="1905401398" sldId="8792"/>
        </pc:sldMkLst>
        <pc:extLst>
          <p:ext xmlns:p="http://schemas.openxmlformats.org/presentationml/2006/main" uri="{D6D511B9-2390-475A-947B-AFAB55BFBCF1}">
            <pc226:cmChg xmlns:pc226="http://schemas.microsoft.com/office/powerpoint/2022/06/main/command" chg="mod">
              <pc226:chgData name="Frédéric NGUYEN KIM" userId="91a3dcbd-d60c-40ca-842f-e84e51d3b939" providerId="ADAL" clId="{0D9F327F-8620-4E21-BCB1-CB1981AD2903}" dt="2023-03-03T08:19:27.936" v="151" actId="2056"/>
              <pc2:cmMkLst xmlns:pc2="http://schemas.microsoft.com/office/powerpoint/2019/9/main/command">
                <pc:docMk/>
                <pc:sldMk cId="1905401398" sldId="8792"/>
                <pc2:cmMk id="{4694D34D-45C9-4C15-B20B-14060FFA343F}"/>
              </pc2:cmMkLst>
            </pc226:cmChg>
          </p:ext>
        </pc:extLst>
      </pc:sldChg>
      <pc:sldChg chg="addSp delSp modSp add mod">
        <pc:chgData name="Frédéric NGUYEN KIM" userId="91a3dcbd-d60c-40ca-842f-e84e51d3b939" providerId="ADAL" clId="{0D9F327F-8620-4E21-BCB1-CB1981AD2903}" dt="2023-03-03T07:45:35.589" v="150" actId="1038"/>
        <pc:sldMkLst>
          <pc:docMk/>
          <pc:sldMk cId="2863541397" sldId="2147469983"/>
        </pc:sldMkLst>
        <pc:spChg chg="mod">
          <ac:chgData name="Frédéric NGUYEN KIM" userId="91a3dcbd-d60c-40ca-842f-e84e51d3b939" providerId="ADAL" clId="{0D9F327F-8620-4E21-BCB1-CB1981AD2903}" dt="2023-03-03T07:40:39.273" v="3" actId="20577"/>
          <ac:spMkLst>
            <pc:docMk/>
            <pc:sldMk cId="2863541397" sldId="2147469983"/>
            <ac:spMk id="2" creationId="{815C57AF-169F-4314-AC66-D8269E11F446}"/>
          </ac:spMkLst>
        </pc:spChg>
        <pc:spChg chg="add del mod">
          <ac:chgData name="Frédéric NGUYEN KIM" userId="91a3dcbd-d60c-40ca-842f-e84e51d3b939" providerId="ADAL" clId="{0D9F327F-8620-4E21-BCB1-CB1981AD2903}" dt="2023-03-03T07:41:50.586" v="72" actId="478"/>
          <ac:spMkLst>
            <pc:docMk/>
            <pc:sldMk cId="2863541397" sldId="2147469983"/>
            <ac:spMk id="3" creationId="{71B871BA-4C3A-EEAC-EE18-DBE41FB92C8E}"/>
          </ac:spMkLst>
        </pc:spChg>
        <pc:spChg chg="del">
          <ac:chgData name="Frédéric NGUYEN KIM" userId="91a3dcbd-d60c-40ca-842f-e84e51d3b939" providerId="ADAL" clId="{0D9F327F-8620-4E21-BCB1-CB1981AD2903}" dt="2023-03-03T07:40:35.344" v="2" actId="478"/>
          <ac:spMkLst>
            <pc:docMk/>
            <pc:sldMk cId="2863541397" sldId="2147469983"/>
            <ac:spMk id="4" creationId="{7C03152C-0D5E-999C-4945-017934906984}"/>
          </ac:spMkLst>
        </pc:spChg>
        <pc:spChg chg="add mod">
          <ac:chgData name="Frédéric NGUYEN KIM" userId="91a3dcbd-d60c-40ca-842f-e84e51d3b939" providerId="ADAL" clId="{0D9F327F-8620-4E21-BCB1-CB1981AD2903}" dt="2023-03-03T07:45:35.589" v="150" actId="1038"/>
          <ac:spMkLst>
            <pc:docMk/>
            <pc:sldMk cId="2863541397" sldId="2147469983"/>
            <ac:spMk id="5" creationId="{A186D080-D28E-70E6-DFA8-9366E7C708C9}"/>
          </ac:spMkLst>
        </pc:spChg>
        <pc:spChg chg="del">
          <ac:chgData name="Frédéric NGUYEN KIM" userId="91a3dcbd-d60c-40ca-842f-e84e51d3b939" providerId="ADAL" clId="{0D9F327F-8620-4E21-BCB1-CB1981AD2903}" dt="2023-03-03T07:40:33.949" v="1" actId="478"/>
          <ac:spMkLst>
            <pc:docMk/>
            <pc:sldMk cId="2863541397" sldId="2147469983"/>
            <ac:spMk id="7" creationId="{AA2B4B02-07FB-7640-73DF-B4B0B58A620A}"/>
          </ac:spMkLst>
        </pc:spChg>
        <pc:spChg chg="del">
          <ac:chgData name="Frédéric NGUYEN KIM" userId="91a3dcbd-d60c-40ca-842f-e84e51d3b939" providerId="ADAL" clId="{0D9F327F-8620-4E21-BCB1-CB1981AD2903}" dt="2023-03-03T07:40:33.949" v="1" actId="478"/>
          <ac:spMkLst>
            <pc:docMk/>
            <pc:sldMk cId="2863541397" sldId="2147469983"/>
            <ac:spMk id="8" creationId="{6ACD68C6-1ABC-FA7F-17D5-86EBD19A9E65}"/>
          </ac:spMkLst>
        </pc:spChg>
        <pc:spChg chg="del">
          <ac:chgData name="Frédéric NGUYEN KIM" userId="91a3dcbd-d60c-40ca-842f-e84e51d3b939" providerId="ADAL" clId="{0D9F327F-8620-4E21-BCB1-CB1981AD2903}" dt="2023-03-03T07:40:33.949" v="1" actId="478"/>
          <ac:spMkLst>
            <pc:docMk/>
            <pc:sldMk cId="2863541397" sldId="2147469983"/>
            <ac:spMk id="9" creationId="{5E79137C-896B-AEBF-925D-8A17714571A3}"/>
          </ac:spMkLst>
        </pc:spChg>
        <pc:spChg chg="del">
          <ac:chgData name="Frédéric NGUYEN KIM" userId="91a3dcbd-d60c-40ca-842f-e84e51d3b939" providerId="ADAL" clId="{0D9F327F-8620-4E21-BCB1-CB1981AD2903}" dt="2023-03-03T07:40:33.949" v="1" actId="478"/>
          <ac:spMkLst>
            <pc:docMk/>
            <pc:sldMk cId="2863541397" sldId="2147469983"/>
            <ac:spMk id="10" creationId="{4C38344B-8792-F937-8AB9-791EF7F860D0}"/>
          </ac:spMkLst>
        </pc:spChg>
        <pc:spChg chg="del">
          <ac:chgData name="Frédéric NGUYEN KIM" userId="91a3dcbd-d60c-40ca-842f-e84e51d3b939" providerId="ADAL" clId="{0D9F327F-8620-4E21-BCB1-CB1981AD2903}" dt="2023-03-03T07:40:33.949" v="1" actId="478"/>
          <ac:spMkLst>
            <pc:docMk/>
            <pc:sldMk cId="2863541397" sldId="2147469983"/>
            <ac:spMk id="12" creationId="{85E640DB-C949-1ABB-622A-F153A64A0F5E}"/>
          </ac:spMkLst>
        </pc:spChg>
        <pc:spChg chg="del">
          <ac:chgData name="Frédéric NGUYEN KIM" userId="91a3dcbd-d60c-40ca-842f-e84e51d3b939" providerId="ADAL" clId="{0D9F327F-8620-4E21-BCB1-CB1981AD2903}" dt="2023-03-03T07:40:33.949" v="1" actId="478"/>
          <ac:spMkLst>
            <pc:docMk/>
            <pc:sldMk cId="2863541397" sldId="2147469983"/>
            <ac:spMk id="13" creationId="{740CD8FB-2C56-C88E-E5C4-F8EDE0AEE242}"/>
          </ac:spMkLst>
        </pc:spChg>
        <pc:spChg chg="del">
          <ac:chgData name="Frédéric NGUYEN KIM" userId="91a3dcbd-d60c-40ca-842f-e84e51d3b939" providerId="ADAL" clId="{0D9F327F-8620-4E21-BCB1-CB1981AD2903}" dt="2023-03-03T07:40:33.949" v="1" actId="478"/>
          <ac:spMkLst>
            <pc:docMk/>
            <pc:sldMk cId="2863541397" sldId="2147469983"/>
            <ac:spMk id="14" creationId="{14A989CE-E809-5D6E-A7DD-3833942BDD4E}"/>
          </ac:spMkLst>
        </pc:spChg>
        <pc:spChg chg="add mod">
          <ac:chgData name="Frédéric NGUYEN KIM" userId="91a3dcbd-d60c-40ca-842f-e84e51d3b939" providerId="ADAL" clId="{0D9F327F-8620-4E21-BCB1-CB1981AD2903}" dt="2023-03-03T07:45:35.589" v="150" actId="1038"/>
          <ac:spMkLst>
            <pc:docMk/>
            <pc:sldMk cId="2863541397" sldId="2147469983"/>
            <ac:spMk id="15" creationId="{22715C5B-8614-7E16-B5D3-DFB97928B98D}"/>
          </ac:spMkLst>
        </pc:spChg>
        <pc:spChg chg="del">
          <ac:chgData name="Frédéric NGUYEN KIM" userId="91a3dcbd-d60c-40ca-842f-e84e51d3b939" providerId="ADAL" clId="{0D9F327F-8620-4E21-BCB1-CB1981AD2903}" dt="2023-03-03T07:40:33.949" v="1" actId="478"/>
          <ac:spMkLst>
            <pc:docMk/>
            <pc:sldMk cId="2863541397" sldId="2147469983"/>
            <ac:spMk id="16" creationId="{E2EF156F-EAE0-A6C1-2709-C464046BD994}"/>
          </ac:spMkLst>
        </pc:spChg>
        <pc:spChg chg="del">
          <ac:chgData name="Frédéric NGUYEN KIM" userId="91a3dcbd-d60c-40ca-842f-e84e51d3b939" providerId="ADAL" clId="{0D9F327F-8620-4E21-BCB1-CB1981AD2903}" dt="2023-03-03T07:40:33.949" v="1" actId="478"/>
          <ac:spMkLst>
            <pc:docMk/>
            <pc:sldMk cId="2863541397" sldId="2147469983"/>
            <ac:spMk id="17" creationId="{DF5BC537-5909-81E7-1776-95A1488B62AB}"/>
          </ac:spMkLst>
        </pc:spChg>
        <pc:spChg chg="del">
          <ac:chgData name="Frédéric NGUYEN KIM" userId="91a3dcbd-d60c-40ca-842f-e84e51d3b939" providerId="ADAL" clId="{0D9F327F-8620-4E21-BCB1-CB1981AD2903}" dt="2023-03-03T07:40:33.949" v="1" actId="478"/>
          <ac:spMkLst>
            <pc:docMk/>
            <pc:sldMk cId="2863541397" sldId="2147469983"/>
            <ac:spMk id="18" creationId="{0368DCE4-FDAB-CB05-F24B-95690AA6316A}"/>
          </ac:spMkLst>
        </pc:spChg>
        <pc:spChg chg="del">
          <ac:chgData name="Frédéric NGUYEN KIM" userId="91a3dcbd-d60c-40ca-842f-e84e51d3b939" providerId="ADAL" clId="{0D9F327F-8620-4E21-BCB1-CB1981AD2903}" dt="2023-03-03T07:40:33.949" v="1" actId="478"/>
          <ac:spMkLst>
            <pc:docMk/>
            <pc:sldMk cId="2863541397" sldId="2147469983"/>
            <ac:spMk id="20" creationId="{AA081B00-50B6-A18B-6500-9FEB77619E3F}"/>
          </ac:spMkLst>
        </pc:spChg>
        <pc:spChg chg="del">
          <ac:chgData name="Frédéric NGUYEN KIM" userId="91a3dcbd-d60c-40ca-842f-e84e51d3b939" providerId="ADAL" clId="{0D9F327F-8620-4E21-BCB1-CB1981AD2903}" dt="2023-03-03T07:40:33.949" v="1" actId="478"/>
          <ac:spMkLst>
            <pc:docMk/>
            <pc:sldMk cId="2863541397" sldId="2147469983"/>
            <ac:spMk id="21" creationId="{CE7191A5-2FC4-3492-A6B8-BA3E8C65D576}"/>
          </ac:spMkLst>
        </pc:spChg>
        <pc:spChg chg="add mod">
          <ac:chgData name="Frédéric NGUYEN KIM" userId="91a3dcbd-d60c-40ca-842f-e84e51d3b939" providerId="ADAL" clId="{0D9F327F-8620-4E21-BCB1-CB1981AD2903}" dt="2023-03-03T07:45:35.589" v="150" actId="1038"/>
          <ac:spMkLst>
            <pc:docMk/>
            <pc:sldMk cId="2863541397" sldId="2147469983"/>
            <ac:spMk id="23" creationId="{674A7CE3-F4DF-9D89-C877-ACCBB56473E0}"/>
          </ac:spMkLst>
        </pc:spChg>
        <pc:spChg chg="del">
          <ac:chgData name="Frédéric NGUYEN KIM" userId="91a3dcbd-d60c-40ca-842f-e84e51d3b939" providerId="ADAL" clId="{0D9F327F-8620-4E21-BCB1-CB1981AD2903}" dt="2023-03-03T07:40:33.949" v="1" actId="478"/>
          <ac:spMkLst>
            <pc:docMk/>
            <pc:sldMk cId="2863541397" sldId="2147469983"/>
            <ac:spMk id="24" creationId="{B059CAB1-8684-A7D5-6C90-520EF6287F94}"/>
          </ac:spMkLst>
        </pc:spChg>
        <pc:spChg chg="add mod">
          <ac:chgData name="Frédéric NGUYEN KIM" userId="91a3dcbd-d60c-40ca-842f-e84e51d3b939" providerId="ADAL" clId="{0D9F327F-8620-4E21-BCB1-CB1981AD2903}" dt="2023-03-03T07:45:28.035" v="140" actId="1037"/>
          <ac:spMkLst>
            <pc:docMk/>
            <pc:sldMk cId="2863541397" sldId="2147469983"/>
            <ac:spMk id="26" creationId="{E9402F14-6A66-0D83-6516-18BE19923872}"/>
          </ac:spMkLst>
        </pc:spChg>
        <pc:spChg chg="del">
          <ac:chgData name="Frédéric NGUYEN KIM" userId="91a3dcbd-d60c-40ca-842f-e84e51d3b939" providerId="ADAL" clId="{0D9F327F-8620-4E21-BCB1-CB1981AD2903}" dt="2023-03-03T07:40:33.949" v="1" actId="478"/>
          <ac:spMkLst>
            <pc:docMk/>
            <pc:sldMk cId="2863541397" sldId="2147469983"/>
            <ac:spMk id="27" creationId="{0BEF3F4B-E618-1494-3421-260AB0EC87CF}"/>
          </ac:spMkLst>
        </pc:spChg>
        <pc:spChg chg="del">
          <ac:chgData name="Frédéric NGUYEN KIM" userId="91a3dcbd-d60c-40ca-842f-e84e51d3b939" providerId="ADAL" clId="{0D9F327F-8620-4E21-BCB1-CB1981AD2903}" dt="2023-03-03T07:40:33.949" v="1" actId="478"/>
          <ac:spMkLst>
            <pc:docMk/>
            <pc:sldMk cId="2863541397" sldId="2147469983"/>
            <ac:spMk id="28" creationId="{A9D8506C-ACDA-53A9-3ECC-1553B5A1AD47}"/>
          </ac:spMkLst>
        </pc:spChg>
        <pc:spChg chg="del">
          <ac:chgData name="Frédéric NGUYEN KIM" userId="91a3dcbd-d60c-40ca-842f-e84e51d3b939" providerId="ADAL" clId="{0D9F327F-8620-4E21-BCB1-CB1981AD2903}" dt="2023-03-03T07:40:33.949" v="1" actId="478"/>
          <ac:spMkLst>
            <pc:docMk/>
            <pc:sldMk cId="2863541397" sldId="2147469983"/>
            <ac:spMk id="29" creationId="{B54F31AE-AFB7-514D-4F49-9EB53C412810}"/>
          </ac:spMkLst>
        </pc:spChg>
        <pc:spChg chg="add mod">
          <ac:chgData name="Frédéric NGUYEN KIM" userId="91a3dcbd-d60c-40ca-842f-e84e51d3b939" providerId="ADAL" clId="{0D9F327F-8620-4E21-BCB1-CB1981AD2903}" dt="2023-03-03T07:45:28.035" v="140" actId="1037"/>
          <ac:spMkLst>
            <pc:docMk/>
            <pc:sldMk cId="2863541397" sldId="2147469983"/>
            <ac:spMk id="30" creationId="{1E672B2A-A249-F4DE-50E3-A8CF2AA72AD2}"/>
          </ac:spMkLst>
        </pc:spChg>
        <pc:spChg chg="del">
          <ac:chgData name="Frédéric NGUYEN KIM" userId="91a3dcbd-d60c-40ca-842f-e84e51d3b939" providerId="ADAL" clId="{0D9F327F-8620-4E21-BCB1-CB1981AD2903}" dt="2023-03-03T07:40:33.949" v="1" actId="478"/>
          <ac:spMkLst>
            <pc:docMk/>
            <pc:sldMk cId="2863541397" sldId="2147469983"/>
            <ac:spMk id="31" creationId="{7D855857-B854-9CE9-D239-CF3F02B1F8FF}"/>
          </ac:spMkLst>
        </pc:spChg>
        <pc:spChg chg="del">
          <ac:chgData name="Frédéric NGUYEN KIM" userId="91a3dcbd-d60c-40ca-842f-e84e51d3b939" providerId="ADAL" clId="{0D9F327F-8620-4E21-BCB1-CB1981AD2903}" dt="2023-03-03T07:40:33.949" v="1" actId="478"/>
          <ac:spMkLst>
            <pc:docMk/>
            <pc:sldMk cId="2863541397" sldId="2147469983"/>
            <ac:spMk id="32" creationId="{459273FE-0A67-EA52-C1C1-8157F8DEE7FB}"/>
          </ac:spMkLst>
        </pc:spChg>
        <pc:spChg chg="del">
          <ac:chgData name="Frédéric NGUYEN KIM" userId="91a3dcbd-d60c-40ca-842f-e84e51d3b939" providerId="ADAL" clId="{0D9F327F-8620-4E21-BCB1-CB1981AD2903}" dt="2023-03-03T07:40:33.949" v="1" actId="478"/>
          <ac:spMkLst>
            <pc:docMk/>
            <pc:sldMk cId="2863541397" sldId="2147469983"/>
            <ac:spMk id="33" creationId="{528BEFE3-04F8-F05B-0218-E36BA59F9C53}"/>
          </ac:spMkLst>
        </pc:spChg>
        <pc:spChg chg="del">
          <ac:chgData name="Frédéric NGUYEN KIM" userId="91a3dcbd-d60c-40ca-842f-e84e51d3b939" providerId="ADAL" clId="{0D9F327F-8620-4E21-BCB1-CB1981AD2903}" dt="2023-03-03T07:40:33.949" v="1" actId="478"/>
          <ac:spMkLst>
            <pc:docMk/>
            <pc:sldMk cId="2863541397" sldId="2147469983"/>
            <ac:spMk id="36" creationId="{BD6FA088-1500-7AF2-7627-B765B6C7DFE0}"/>
          </ac:spMkLst>
        </pc:spChg>
        <pc:spChg chg="mod">
          <ac:chgData name="Frédéric NGUYEN KIM" userId="91a3dcbd-d60c-40ca-842f-e84e51d3b939" providerId="ADAL" clId="{0D9F327F-8620-4E21-BCB1-CB1981AD2903}" dt="2023-03-03T07:44:22.664" v="118" actId="208"/>
          <ac:spMkLst>
            <pc:docMk/>
            <pc:sldMk cId="2863541397" sldId="2147469983"/>
            <ac:spMk id="37" creationId="{DFF44D84-D23C-7EBB-DE95-8E49AFE53454}"/>
          </ac:spMkLst>
        </pc:spChg>
        <pc:spChg chg="del">
          <ac:chgData name="Frédéric NGUYEN KIM" userId="91a3dcbd-d60c-40ca-842f-e84e51d3b939" providerId="ADAL" clId="{0D9F327F-8620-4E21-BCB1-CB1981AD2903}" dt="2023-03-03T07:40:33.949" v="1" actId="478"/>
          <ac:spMkLst>
            <pc:docMk/>
            <pc:sldMk cId="2863541397" sldId="2147469983"/>
            <ac:spMk id="38" creationId="{9DD087BD-8C3A-4A3E-09C3-00952E1EA2EB}"/>
          </ac:spMkLst>
        </pc:spChg>
        <pc:spChg chg="mod">
          <ac:chgData name="Frédéric NGUYEN KIM" userId="91a3dcbd-d60c-40ca-842f-e84e51d3b939" providerId="ADAL" clId="{0D9F327F-8620-4E21-BCB1-CB1981AD2903}" dt="2023-03-03T07:44:22.664" v="118" actId="208"/>
          <ac:spMkLst>
            <pc:docMk/>
            <pc:sldMk cId="2863541397" sldId="2147469983"/>
            <ac:spMk id="39" creationId="{297778D4-B39B-3024-D44C-515EB753C2E2}"/>
          </ac:spMkLst>
        </pc:spChg>
        <pc:spChg chg="mod">
          <ac:chgData name="Frédéric NGUYEN KIM" userId="91a3dcbd-d60c-40ca-842f-e84e51d3b939" providerId="ADAL" clId="{0D9F327F-8620-4E21-BCB1-CB1981AD2903}" dt="2023-03-03T07:44:22.664" v="118" actId="208"/>
          <ac:spMkLst>
            <pc:docMk/>
            <pc:sldMk cId="2863541397" sldId="2147469983"/>
            <ac:spMk id="40" creationId="{D42FF544-429B-21ED-FA7C-E411254DF8CD}"/>
          </ac:spMkLst>
        </pc:spChg>
        <pc:spChg chg="mod">
          <ac:chgData name="Frédéric NGUYEN KIM" userId="91a3dcbd-d60c-40ca-842f-e84e51d3b939" providerId="ADAL" clId="{0D9F327F-8620-4E21-BCB1-CB1981AD2903}" dt="2023-03-03T07:44:22.664" v="118" actId="208"/>
          <ac:spMkLst>
            <pc:docMk/>
            <pc:sldMk cId="2863541397" sldId="2147469983"/>
            <ac:spMk id="41" creationId="{78BE2F78-6D1F-8820-E36C-9E17411E180A}"/>
          </ac:spMkLst>
        </pc:spChg>
        <pc:spChg chg="mod">
          <ac:chgData name="Frédéric NGUYEN KIM" userId="91a3dcbd-d60c-40ca-842f-e84e51d3b939" providerId="ADAL" clId="{0D9F327F-8620-4E21-BCB1-CB1981AD2903}" dt="2023-03-03T07:44:22.664" v="118" actId="208"/>
          <ac:spMkLst>
            <pc:docMk/>
            <pc:sldMk cId="2863541397" sldId="2147469983"/>
            <ac:spMk id="42" creationId="{65392DB3-F2E9-7923-50DE-B31D4AA9FEB0}"/>
          </ac:spMkLst>
        </pc:spChg>
        <pc:spChg chg="mod">
          <ac:chgData name="Frédéric NGUYEN KIM" userId="91a3dcbd-d60c-40ca-842f-e84e51d3b939" providerId="ADAL" clId="{0D9F327F-8620-4E21-BCB1-CB1981AD2903}" dt="2023-03-03T07:44:22.664" v="118" actId="208"/>
          <ac:spMkLst>
            <pc:docMk/>
            <pc:sldMk cId="2863541397" sldId="2147469983"/>
            <ac:spMk id="43" creationId="{A4A008DE-578A-0E2E-9F74-B9D353E416DD}"/>
          </ac:spMkLst>
        </pc:spChg>
        <pc:spChg chg="mod">
          <ac:chgData name="Frédéric NGUYEN KIM" userId="91a3dcbd-d60c-40ca-842f-e84e51d3b939" providerId="ADAL" clId="{0D9F327F-8620-4E21-BCB1-CB1981AD2903}" dt="2023-03-03T07:44:22.664" v="118" actId="208"/>
          <ac:spMkLst>
            <pc:docMk/>
            <pc:sldMk cId="2863541397" sldId="2147469983"/>
            <ac:spMk id="44" creationId="{36B60B2E-5D40-84F1-8505-55CC868EBD0F}"/>
          </ac:spMkLst>
        </pc:spChg>
        <pc:spChg chg="mod">
          <ac:chgData name="Frédéric NGUYEN KIM" userId="91a3dcbd-d60c-40ca-842f-e84e51d3b939" providerId="ADAL" clId="{0D9F327F-8620-4E21-BCB1-CB1981AD2903}" dt="2023-03-03T07:44:22.664" v="118" actId="208"/>
          <ac:spMkLst>
            <pc:docMk/>
            <pc:sldMk cId="2863541397" sldId="2147469983"/>
            <ac:spMk id="45" creationId="{7CF66A5E-626B-E99D-E688-5D9DE8BB7936}"/>
          </ac:spMkLst>
        </pc:spChg>
        <pc:spChg chg="del">
          <ac:chgData name="Frédéric NGUYEN KIM" userId="91a3dcbd-d60c-40ca-842f-e84e51d3b939" providerId="ADAL" clId="{0D9F327F-8620-4E21-BCB1-CB1981AD2903}" dt="2023-03-03T07:40:33.949" v="1" actId="478"/>
          <ac:spMkLst>
            <pc:docMk/>
            <pc:sldMk cId="2863541397" sldId="2147469983"/>
            <ac:spMk id="52" creationId="{81A49D45-97C4-1B65-8E17-7BA505A2960F}"/>
          </ac:spMkLst>
        </pc:spChg>
        <pc:spChg chg="del">
          <ac:chgData name="Frédéric NGUYEN KIM" userId="91a3dcbd-d60c-40ca-842f-e84e51d3b939" providerId="ADAL" clId="{0D9F327F-8620-4E21-BCB1-CB1981AD2903}" dt="2023-03-03T07:40:33.949" v="1" actId="478"/>
          <ac:spMkLst>
            <pc:docMk/>
            <pc:sldMk cId="2863541397" sldId="2147469983"/>
            <ac:spMk id="54" creationId="{E3CE89A1-A135-73F5-4042-F24952E33E1E}"/>
          </ac:spMkLst>
        </pc:spChg>
        <pc:spChg chg="mod">
          <ac:chgData name="Frédéric NGUYEN KIM" userId="91a3dcbd-d60c-40ca-842f-e84e51d3b939" providerId="ADAL" clId="{0D9F327F-8620-4E21-BCB1-CB1981AD2903}" dt="2023-03-03T07:41:42.844" v="71" actId="6549"/>
          <ac:spMkLst>
            <pc:docMk/>
            <pc:sldMk cId="2863541397" sldId="2147469983"/>
            <ac:spMk id="217" creationId="{ACBEB19E-2E70-897B-2656-D08F301B74D3}"/>
          </ac:spMkLst>
        </pc:spChg>
        <pc:grpChg chg="add mod">
          <ac:chgData name="Frédéric NGUYEN KIM" userId="91a3dcbd-d60c-40ca-842f-e84e51d3b939" providerId="ADAL" clId="{0D9F327F-8620-4E21-BCB1-CB1981AD2903}" dt="2023-03-03T07:45:28.035" v="140" actId="1037"/>
          <ac:grpSpMkLst>
            <pc:docMk/>
            <pc:sldMk cId="2863541397" sldId="2147469983"/>
            <ac:grpSpMk id="34" creationId="{F96D1735-10FE-A959-B6E3-9DD7C13BD595}"/>
          </ac:grpSpMkLst>
        </pc:grpChg>
        <pc:grpChg chg="del">
          <ac:chgData name="Frédéric NGUYEN KIM" userId="91a3dcbd-d60c-40ca-842f-e84e51d3b939" providerId="ADAL" clId="{0D9F327F-8620-4E21-BCB1-CB1981AD2903}" dt="2023-03-03T07:40:33.949" v="1" actId="478"/>
          <ac:grpSpMkLst>
            <pc:docMk/>
            <pc:sldMk cId="2863541397" sldId="2147469983"/>
            <ac:grpSpMk id="35" creationId="{3303A056-8AD0-3799-CE11-75F7348B4975}"/>
          </ac:grpSpMkLst>
        </pc:grpChg>
        <pc:grpChg chg="del">
          <ac:chgData name="Frédéric NGUYEN KIM" userId="91a3dcbd-d60c-40ca-842f-e84e51d3b939" providerId="ADAL" clId="{0D9F327F-8620-4E21-BCB1-CB1981AD2903}" dt="2023-03-03T07:40:33.949" v="1" actId="478"/>
          <ac:grpSpMkLst>
            <pc:docMk/>
            <pc:sldMk cId="2863541397" sldId="2147469983"/>
            <ac:grpSpMk id="46" creationId="{0283FBDD-5329-90C6-51B9-874F4EF6D6AA}"/>
          </ac:grpSpMkLst>
        </pc:grpChg>
        <pc:picChg chg="add mod">
          <ac:chgData name="Frédéric NGUYEN KIM" userId="91a3dcbd-d60c-40ca-842f-e84e51d3b939" providerId="ADAL" clId="{0D9F327F-8620-4E21-BCB1-CB1981AD2903}" dt="2023-03-03T07:43:07.151" v="98" actId="465"/>
          <ac:picMkLst>
            <pc:docMk/>
            <pc:sldMk cId="2863541397" sldId="2147469983"/>
            <ac:picMk id="19" creationId="{FC68B495-3ADA-E18C-C9C1-1FF12B7DFD2A}"/>
          </ac:picMkLst>
        </pc:picChg>
        <pc:picChg chg="add mod">
          <ac:chgData name="Frédéric NGUYEN KIM" userId="91a3dcbd-d60c-40ca-842f-e84e51d3b939" providerId="ADAL" clId="{0D9F327F-8620-4E21-BCB1-CB1981AD2903}" dt="2023-03-03T07:43:02.559" v="97" actId="14100"/>
          <ac:picMkLst>
            <pc:docMk/>
            <pc:sldMk cId="2863541397" sldId="2147469983"/>
            <ac:picMk id="22" creationId="{F962FF3F-B3BE-6C5D-EE9F-8884440BC2F8}"/>
          </ac:picMkLst>
        </pc:picChg>
        <pc:picChg chg="add mod">
          <ac:chgData name="Frédéric NGUYEN KIM" userId="91a3dcbd-d60c-40ca-842f-e84e51d3b939" providerId="ADAL" clId="{0D9F327F-8620-4E21-BCB1-CB1981AD2903}" dt="2023-03-03T07:42:56.136" v="95" actId="14100"/>
          <ac:picMkLst>
            <pc:docMk/>
            <pc:sldMk cId="2863541397" sldId="2147469983"/>
            <ac:picMk id="25" creationId="{BA8C1800-75DB-72A0-BD37-CB1EEE87F1BE}"/>
          </ac:picMkLst>
        </pc:picChg>
        <pc:cxnChg chg="del mod">
          <ac:chgData name="Frédéric NGUYEN KIM" userId="91a3dcbd-d60c-40ca-842f-e84e51d3b939" providerId="ADAL" clId="{0D9F327F-8620-4E21-BCB1-CB1981AD2903}" dt="2023-03-03T07:40:33.949" v="1" actId="478"/>
          <ac:cxnSpMkLst>
            <pc:docMk/>
            <pc:sldMk cId="2863541397" sldId="2147469983"/>
            <ac:cxnSpMk id="11" creationId="{762012A7-FCA6-9A08-1A77-D16D4F1FC073}"/>
          </ac:cxnSpMkLst>
        </pc:cxnChg>
      </pc:sldChg>
    </pc:docChg>
  </pc:docChgLst>
  <pc:docChgLst>
    <pc:chgData name="Frédéric NGUYEN KIM" userId="S::frederic.nguyen-kim@talan.com::91a3dcbd-d60c-40ca-842f-e84e51d3b939" providerId="AD" clId="Web-{68ADD3E2-5827-CB6D-D63F-006C63E762C5}"/>
    <pc:docChg chg="addSld delSld modSld addMainMaster modSection">
      <pc:chgData name="Frédéric NGUYEN KIM" userId="S::frederic.nguyen-kim@talan.com::91a3dcbd-d60c-40ca-842f-e84e51d3b939" providerId="AD" clId="Web-{68ADD3E2-5827-CB6D-D63F-006C63E762C5}" dt="2023-02-27T21:24:03.663" v="30" actId="20577"/>
      <pc:docMkLst>
        <pc:docMk/>
      </pc:docMkLst>
      <pc:sldChg chg="addSp delSp modSp">
        <pc:chgData name="Frédéric NGUYEN KIM" userId="S::frederic.nguyen-kim@talan.com::91a3dcbd-d60c-40ca-842f-e84e51d3b939" providerId="AD" clId="Web-{68ADD3E2-5827-CB6D-D63F-006C63E762C5}" dt="2023-02-27T21:24:03.663" v="30" actId="20577"/>
        <pc:sldMkLst>
          <pc:docMk/>
          <pc:sldMk cId="3144834754" sldId="2147469909"/>
        </pc:sldMkLst>
        <pc:spChg chg="add mod">
          <ac:chgData name="Frédéric NGUYEN KIM" userId="S::frederic.nguyen-kim@talan.com::91a3dcbd-d60c-40ca-842f-e84e51d3b939" providerId="AD" clId="Web-{68ADD3E2-5827-CB6D-D63F-006C63E762C5}" dt="2023-02-27T21:21:09.121" v="14" actId="1076"/>
          <ac:spMkLst>
            <pc:docMk/>
            <pc:sldMk cId="3144834754" sldId="2147469909"/>
            <ac:spMk id="5" creationId="{DB73424A-75E1-B1A8-EB0E-DED83E3FC931}"/>
          </ac:spMkLst>
        </pc:spChg>
        <pc:spChg chg="mod">
          <ac:chgData name="Frédéric NGUYEN KIM" userId="S::frederic.nguyen-kim@talan.com::91a3dcbd-d60c-40ca-842f-e84e51d3b939" providerId="AD" clId="Web-{68ADD3E2-5827-CB6D-D63F-006C63E762C5}" dt="2023-02-27T21:24:03.663" v="30" actId="20577"/>
          <ac:spMkLst>
            <pc:docMk/>
            <pc:sldMk cId="3144834754" sldId="2147469909"/>
            <ac:spMk id="25" creationId="{ED42A14E-AA65-2244-0FAC-744C00CCE5DB}"/>
          </ac:spMkLst>
        </pc:spChg>
        <pc:grpChg chg="del">
          <ac:chgData name="Frédéric NGUYEN KIM" userId="S::frederic.nguyen-kim@talan.com::91a3dcbd-d60c-40ca-842f-e84e51d3b939" providerId="AD" clId="Web-{68ADD3E2-5827-CB6D-D63F-006C63E762C5}" dt="2023-02-27T21:21:02.371" v="12"/>
          <ac:grpSpMkLst>
            <pc:docMk/>
            <pc:sldMk cId="3144834754" sldId="2147469909"/>
            <ac:grpSpMk id="15" creationId="{5FB461E4-4C28-8393-4057-981443D31666}"/>
          </ac:grpSpMkLst>
        </pc:grpChg>
        <pc:grpChg chg="mod">
          <ac:chgData name="Frédéric NGUYEN KIM" userId="S::frederic.nguyen-kim@talan.com::91a3dcbd-d60c-40ca-842f-e84e51d3b939" providerId="AD" clId="Web-{68ADD3E2-5827-CB6D-D63F-006C63E762C5}" dt="2023-02-27T21:21:20.497" v="16" actId="1076"/>
          <ac:grpSpMkLst>
            <pc:docMk/>
            <pc:sldMk cId="3144834754" sldId="2147469909"/>
            <ac:grpSpMk id="35" creationId="{3303A056-8AD0-3799-CE11-75F7348B4975}"/>
          </ac:grpSpMkLst>
        </pc:grpChg>
        <pc:grpChg chg="mod">
          <ac:chgData name="Frédéric NGUYEN KIM" userId="S::frederic.nguyen-kim@talan.com::91a3dcbd-d60c-40ca-842f-e84e51d3b939" providerId="AD" clId="Web-{68ADD3E2-5827-CB6D-D63F-006C63E762C5}" dt="2023-02-27T21:21:26.325" v="17" actId="1076"/>
          <ac:grpSpMkLst>
            <pc:docMk/>
            <pc:sldMk cId="3144834754" sldId="2147469909"/>
            <ac:grpSpMk id="46" creationId="{0283FBDD-5329-90C6-51B9-874F4EF6D6AA}"/>
          </ac:grpSpMkLst>
        </pc:grpChg>
      </pc:sldChg>
      <pc:sldChg chg="addSp delSp modSp">
        <pc:chgData name="Frédéric NGUYEN KIM" userId="S::frederic.nguyen-kim@talan.com::91a3dcbd-d60c-40ca-842f-e84e51d3b939" providerId="AD" clId="Web-{68ADD3E2-5827-CB6D-D63F-006C63E762C5}" dt="2023-02-27T21:23:53.850" v="27" actId="20577"/>
        <pc:sldMkLst>
          <pc:docMk/>
          <pc:sldMk cId="975935074" sldId="2147469910"/>
        </pc:sldMkLst>
        <pc:spChg chg="add mod">
          <ac:chgData name="Frédéric NGUYEN KIM" userId="S::frederic.nguyen-kim@talan.com::91a3dcbd-d60c-40ca-842f-e84e51d3b939" providerId="AD" clId="Web-{68ADD3E2-5827-CB6D-D63F-006C63E762C5}" dt="2023-02-27T21:20:54.667" v="11" actId="1076"/>
          <ac:spMkLst>
            <pc:docMk/>
            <pc:sldMk cId="975935074" sldId="2147469910"/>
            <ac:spMk id="18" creationId="{0368DCE4-FDAB-CB05-F24B-95690AA6316A}"/>
          </ac:spMkLst>
        </pc:spChg>
        <pc:spChg chg="mod">
          <ac:chgData name="Frédéric NGUYEN KIM" userId="S::frederic.nguyen-kim@talan.com::91a3dcbd-d60c-40ca-842f-e84e51d3b939" providerId="AD" clId="Web-{68ADD3E2-5827-CB6D-D63F-006C63E762C5}" dt="2023-02-27T21:23:53.850" v="27" actId="20577"/>
          <ac:spMkLst>
            <pc:docMk/>
            <pc:sldMk cId="975935074" sldId="2147469910"/>
            <ac:spMk id="36" creationId="{BD6FA088-1500-7AF2-7627-B765B6C7DFE0}"/>
          </ac:spMkLst>
        </pc:spChg>
        <pc:grpChg chg="del">
          <ac:chgData name="Frédéric NGUYEN KIM" userId="S::frederic.nguyen-kim@talan.com::91a3dcbd-d60c-40ca-842f-e84e51d3b939" providerId="AD" clId="Web-{68ADD3E2-5827-CB6D-D63F-006C63E762C5}" dt="2023-02-27T21:19:36.960" v="6"/>
          <ac:grpSpMkLst>
            <pc:docMk/>
            <pc:sldMk cId="975935074" sldId="2147469910"/>
            <ac:grpSpMk id="15" creationId="{5FB461E4-4C28-8393-4057-981443D31666}"/>
          </ac:grpSpMkLst>
        </pc:grpChg>
        <pc:grpChg chg="mod">
          <ac:chgData name="Frédéric NGUYEN KIM" userId="S::frederic.nguyen-kim@talan.com::91a3dcbd-d60c-40ca-842f-e84e51d3b939" providerId="AD" clId="Web-{68ADD3E2-5827-CB6D-D63F-006C63E762C5}" dt="2023-02-27T21:18:16.189" v="1" actId="1076"/>
          <ac:grpSpMkLst>
            <pc:docMk/>
            <pc:sldMk cId="975935074" sldId="2147469910"/>
            <ac:grpSpMk id="35" creationId="{3303A056-8AD0-3799-CE11-75F7348B4975}"/>
          </ac:grpSpMkLst>
        </pc:grpChg>
        <pc:grpChg chg="mod">
          <ac:chgData name="Frédéric NGUYEN KIM" userId="S::frederic.nguyen-kim@talan.com::91a3dcbd-d60c-40ca-842f-e84e51d3b939" providerId="AD" clId="Web-{68ADD3E2-5827-CB6D-D63F-006C63E762C5}" dt="2023-02-27T21:18:26.613" v="2" actId="1076"/>
          <ac:grpSpMkLst>
            <pc:docMk/>
            <pc:sldMk cId="975935074" sldId="2147469910"/>
            <ac:grpSpMk id="46" creationId="{0283FBDD-5329-90C6-51B9-874F4EF6D6AA}"/>
          </ac:grpSpMkLst>
        </pc:grpChg>
        <pc:picChg chg="add del mod">
          <ac:chgData name="Frédéric NGUYEN KIM" userId="S::frederic.nguyen-kim@talan.com::91a3dcbd-d60c-40ca-842f-e84e51d3b939" providerId="AD" clId="Web-{68ADD3E2-5827-CB6D-D63F-006C63E762C5}" dt="2023-02-27T21:19:49.038" v="8"/>
          <ac:picMkLst>
            <pc:docMk/>
            <pc:sldMk cId="975935074" sldId="2147469910"/>
            <ac:picMk id="3" creationId="{C7B0D8CC-8742-4AC0-6C0A-01BA152D1CA1}"/>
          </ac:picMkLst>
        </pc:picChg>
      </pc:sldChg>
      <pc:sldChg chg="add del">
        <pc:chgData name="Frédéric NGUYEN KIM" userId="S::frederic.nguyen-kim@talan.com::91a3dcbd-d60c-40ca-842f-e84e51d3b939" providerId="AD" clId="Web-{68ADD3E2-5827-CB6D-D63F-006C63E762C5}" dt="2023-02-27T21:21:41.873" v="18"/>
        <pc:sldMkLst>
          <pc:docMk/>
          <pc:sldMk cId="3508865993" sldId="2147469911"/>
        </pc:sldMkLst>
      </pc:sldChg>
      <pc:sldMasterChg chg="add addSldLayout">
        <pc:chgData name="Frédéric NGUYEN KIM" userId="S::frederic.nguyen-kim@talan.com::91a3dcbd-d60c-40ca-842f-e84e51d3b939" providerId="AD" clId="Web-{68ADD3E2-5827-CB6D-D63F-006C63E762C5}" dt="2023-02-27T21:20:38.791" v="9"/>
        <pc:sldMasterMkLst>
          <pc:docMk/>
          <pc:sldMasterMk cId="2290518370" sldId="2147483690"/>
        </pc:sldMasterMkLst>
        <pc:sldLayoutChg chg="add">
          <pc:chgData name="Frédéric NGUYEN KIM" userId="S::frederic.nguyen-kim@talan.com::91a3dcbd-d60c-40ca-842f-e84e51d3b939" providerId="AD" clId="Web-{68ADD3E2-5827-CB6D-D63F-006C63E762C5}" dt="2023-02-27T21:20:38.791" v="9"/>
          <pc:sldLayoutMkLst>
            <pc:docMk/>
            <pc:sldMasterMk cId="2290518370" sldId="2147483690"/>
            <pc:sldLayoutMk cId="2607318801" sldId="2147483691"/>
          </pc:sldLayoutMkLst>
        </pc:sldLayoutChg>
        <pc:sldLayoutChg chg="add">
          <pc:chgData name="Frédéric NGUYEN KIM" userId="S::frederic.nguyen-kim@talan.com::91a3dcbd-d60c-40ca-842f-e84e51d3b939" providerId="AD" clId="Web-{68ADD3E2-5827-CB6D-D63F-006C63E762C5}" dt="2023-02-27T21:20:38.791" v="9"/>
          <pc:sldLayoutMkLst>
            <pc:docMk/>
            <pc:sldMasterMk cId="2290518370" sldId="2147483690"/>
            <pc:sldLayoutMk cId="3194609206" sldId="2147483692"/>
          </pc:sldLayoutMkLst>
        </pc:sldLayoutChg>
        <pc:sldLayoutChg chg="add">
          <pc:chgData name="Frédéric NGUYEN KIM" userId="S::frederic.nguyen-kim@talan.com::91a3dcbd-d60c-40ca-842f-e84e51d3b939" providerId="AD" clId="Web-{68ADD3E2-5827-CB6D-D63F-006C63E762C5}" dt="2023-02-27T21:20:38.791" v="9"/>
          <pc:sldLayoutMkLst>
            <pc:docMk/>
            <pc:sldMasterMk cId="2290518370" sldId="2147483690"/>
            <pc:sldLayoutMk cId="4196943498" sldId="2147483693"/>
          </pc:sldLayoutMkLst>
        </pc:sldLayoutChg>
        <pc:sldLayoutChg chg="add">
          <pc:chgData name="Frédéric NGUYEN KIM" userId="S::frederic.nguyen-kim@talan.com::91a3dcbd-d60c-40ca-842f-e84e51d3b939" providerId="AD" clId="Web-{68ADD3E2-5827-CB6D-D63F-006C63E762C5}" dt="2023-02-27T21:20:38.791" v="9"/>
          <pc:sldLayoutMkLst>
            <pc:docMk/>
            <pc:sldMasterMk cId="2290518370" sldId="2147483690"/>
            <pc:sldLayoutMk cId="1018498181" sldId="2147483694"/>
          </pc:sldLayoutMkLst>
        </pc:sldLayoutChg>
        <pc:sldLayoutChg chg="add">
          <pc:chgData name="Frédéric NGUYEN KIM" userId="S::frederic.nguyen-kim@talan.com::91a3dcbd-d60c-40ca-842f-e84e51d3b939" providerId="AD" clId="Web-{68ADD3E2-5827-CB6D-D63F-006C63E762C5}" dt="2023-02-27T21:20:38.791" v="9"/>
          <pc:sldLayoutMkLst>
            <pc:docMk/>
            <pc:sldMasterMk cId="2290518370" sldId="2147483690"/>
            <pc:sldLayoutMk cId="3658429009" sldId="2147483695"/>
          </pc:sldLayoutMkLst>
        </pc:sldLayoutChg>
        <pc:sldLayoutChg chg="add">
          <pc:chgData name="Frédéric NGUYEN KIM" userId="S::frederic.nguyen-kim@talan.com::91a3dcbd-d60c-40ca-842f-e84e51d3b939" providerId="AD" clId="Web-{68ADD3E2-5827-CB6D-D63F-006C63E762C5}" dt="2023-02-27T21:20:38.791" v="9"/>
          <pc:sldLayoutMkLst>
            <pc:docMk/>
            <pc:sldMasterMk cId="2290518370" sldId="2147483690"/>
            <pc:sldLayoutMk cId="3783389040" sldId="2147483696"/>
          </pc:sldLayoutMkLst>
        </pc:sldLayoutChg>
        <pc:sldLayoutChg chg="add">
          <pc:chgData name="Frédéric NGUYEN KIM" userId="S::frederic.nguyen-kim@talan.com::91a3dcbd-d60c-40ca-842f-e84e51d3b939" providerId="AD" clId="Web-{68ADD3E2-5827-CB6D-D63F-006C63E762C5}" dt="2023-02-27T21:20:38.791" v="9"/>
          <pc:sldLayoutMkLst>
            <pc:docMk/>
            <pc:sldMasterMk cId="2290518370" sldId="2147483690"/>
            <pc:sldLayoutMk cId="3594670789" sldId="2147483697"/>
          </pc:sldLayoutMkLst>
        </pc:sldLayoutChg>
        <pc:sldLayoutChg chg="add">
          <pc:chgData name="Frédéric NGUYEN KIM" userId="S::frederic.nguyen-kim@talan.com::91a3dcbd-d60c-40ca-842f-e84e51d3b939" providerId="AD" clId="Web-{68ADD3E2-5827-CB6D-D63F-006C63E762C5}" dt="2023-02-27T21:20:38.791" v="9"/>
          <pc:sldLayoutMkLst>
            <pc:docMk/>
            <pc:sldMasterMk cId="2290518370" sldId="2147483690"/>
            <pc:sldLayoutMk cId="2019066691" sldId="2147483698"/>
          </pc:sldLayoutMkLst>
        </pc:sldLayoutChg>
      </pc:sldMasterChg>
    </pc:docChg>
  </pc:docChgLst>
  <pc:docChgLst>
    <pc:chgData name="Jean GRANDEMANGE" userId="faf07584-8716-430e-b66d-4ceae2fe8450" providerId="ADAL" clId="{5342A714-4FE6-4219-9F6F-BC15D1F861B7}"/>
    <pc:docChg chg="undo redo custSel addSld delSld modSld sldOrd delMainMaster modMainMaster addSection delSection modSection">
      <pc:chgData name="Jean GRANDEMANGE" userId="faf07584-8716-430e-b66d-4ceae2fe8450" providerId="ADAL" clId="{5342A714-4FE6-4219-9F6F-BC15D1F861B7}" dt="2023-03-08T12:00:08.099" v="5718" actId="313"/>
      <pc:docMkLst>
        <pc:docMk/>
      </pc:docMkLst>
      <pc:sldChg chg="del">
        <pc:chgData name="Jean GRANDEMANGE" userId="faf07584-8716-430e-b66d-4ceae2fe8450" providerId="ADAL" clId="{5342A714-4FE6-4219-9F6F-BC15D1F861B7}" dt="2023-03-07T15:10:24.668" v="3697" actId="47"/>
        <pc:sldMkLst>
          <pc:docMk/>
          <pc:sldMk cId="3026091508" sldId="333"/>
        </pc:sldMkLst>
      </pc:sldChg>
      <pc:sldChg chg="del">
        <pc:chgData name="Jean GRANDEMANGE" userId="faf07584-8716-430e-b66d-4ceae2fe8450" providerId="ADAL" clId="{5342A714-4FE6-4219-9F6F-BC15D1F861B7}" dt="2023-03-07T15:10:24.668" v="3697" actId="47"/>
        <pc:sldMkLst>
          <pc:docMk/>
          <pc:sldMk cId="4253203289" sldId="335"/>
        </pc:sldMkLst>
      </pc:sldChg>
      <pc:sldChg chg="addSp delSp modSp mod">
        <pc:chgData name="Jean GRANDEMANGE" userId="faf07584-8716-430e-b66d-4ceae2fe8450" providerId="ADAL" clId="{5342A714-4FE6-4219-9F6F-BC15D1F861B7}" dt="2023-03-07T15:39:35.582" v="4026" actId="403"/>
        <pc:sldMkLst>
          <pc:docMk/>
          <pc:sldMk cId="2027156521" sldId="2012"/>
        </pc:sldMkLst>
        <pc:spChg chg="mod">
          <ac:chgData name="Jean GRANDEMANGE" userId="faf07584-8716-430e-b66d-4ceae2fe8450" providerId="ADAL" clId="{5342A714-4FE6-4219-9F6F-BC15D1F861B7}" dt="2023-02-27T16:27:05.642" v="10" actId="14100"/>
          <ac:spMkLst>
            <pc:docMk/>
            <pc:sldMk cId="2027156521" sldId="2012"/>
            <ac:spMk id="2" creationId="{AD939AEA-D027-407A-A661-2AECA2B047D7}"/>
          </ac:spMkLst>
        </pc:spChg>
        <pc:spChg chg="mod">
          <ac:chgData name="Jean GRANDEMANGE" userId="faf07584-8716-430e-b66d-4ceae2fe8450" providerId="ADAL" clId="{5342A714-4FE6-4219-9F6F-BC15D1F861B7}" dt="2023-03-07T15:39:35.582" v="4026" actId="403"/>
          <ac:spMkLst>
            <pc:docMk/>
            <pc:sldMk cId="2027156521" sldId="2012"/>
            <ac:spMk id="4" creationId="{644F088C-37E3-40D5-A235-5EF9113E81EF}"/>
          </ac:spMkLst>
        </pc:spChg>
        <pc:picChg chg="add del mod">
          <ac:chgData name="Jean GRANDEMANGE" userId="faf07584-8716-430e-b66d-4ceae2fe8450" providerId="ADAL" clId="{5342A714-4FE6-4219-9F6F-BC15D1F861B7}" dt="2023-02-27T16:26:52.729" v="8" actId="21"/>
          <ac:picMkLst>
            <pc:docMk/>
            <pc:sldMk cId="2027156521" sldId="2012"/>
            <ac:picMk id="6" creationId="{2CD33AEC-E81E-594C-F4D2-8065B24BD9BB}"/>
          </ac:picMkLst>
        </pc:picChg>
      </pc:sldChg>
      <pc:sldChg chg="del">
        <pc:chgData name="Jean GRANDEMANGE" userId="faf07584-8716-430e-b66d-4ceae2fe8450" providerId="ADAL" clId="{5342A714-4FE6-4219-9F6F-BC15D1F861B7}" dt="2023-03-06T08:44:13.808" v="1263" actId="47"/>
        <pc:sldMkLst>
          <pc:docMk/>
          <pc:sldMk cId="402122101" sldId="5007"/>
        </pc:sldMkLst>
      </pc:sldChg>
      <pc:sldChg chg="del">
        <pc:chgData name="Jean GRANDEMANGE" userId="faf07584-8716-430e-b66d-4ceae2fe8450" providerId="ADAL" clId="{5342A714-4FE6-4219-9F6F-BC15D1F861B7}" dt="2023-03-06T08:44:13.808" v="1263" actId="47"/>
        <pc:sldMkLst>
          <pc:docMk/>
          <pc:sldMk cId="3676508015" sldId="5014"/>
        </pc:sldMkLst>
      </pc:sldChg>
      <pc:sldChg chg="del">
        <pc:chgData name="Jean GRANDEMANGE" userId="faf07584-8716-430e-b66d-4ceae2fe8450" providerId="ADAL" clId="{5342A714-4FE6-4219-9F6F-BC15D1F861B7}" dt="2023-02-28T08:20:00.551" v="460" actId="47"/>
        <pc:sldMkLst>
          <pc:docMk/>
          <pc:sldMk cId="1441563078" sldId="2076137167"/>
        </pc:sldMkLst>
      </pc:sldChg>
      <pc:sldChg chg="del">
        <pc:chgData name="Jean GRANDEMANGE" userId="faf07584-8716-430e-b66d-4ceae2fe8450" providerId="ADAL" clId="{5342A714-4FE6-4219-9F6F-BC15D1F861B7}" dt="2023-02-28T08:20:00.551" v="460" actId="47"/>
        <pc:sldMkLst>
          <pc:docMk/>
          <pc:sldMk cId="1820006873" sldId="2076137168"/>
        </pc:sldMkLst>
      </pc:sldChg>
      <pc:sldChg chg="addSp delSp modSp add mod modClrScheme delCm modCm chgLayout">
        <pc:chgData name="Jean GRANDEMANGE" userId="faf07584-8716-430e-b66d-4ceae2fe8450" providerId="ADAL" clId="{5342A714-4FE6-4219-9F6F-BC15D1F861B7}" dt="2023-03-08T10:32:43.715" v="4873" actId="478"/>
        <pc:sldMkLst>
          <pc:docMk/>
          <pc:sldMk cId="2383861275" sldId="2076138044"/>
        </pc:sldMkLst>
        <pc:spChg chg="mod ord">
          <ac:chgData name="Jean GRANDEMANGE" userId="faf07584-8716-430e-b66d-4ceae2fe8450" providerId="ADAL" clId="{5342A714-4FE6-4219-9F6F-BC15D1F861B7}" dt="2023-03-06T08:50:49.298" v="1283" actId="700"/>
          <ac:spMkLst>
            <pc:docMk/>
            <pc:sldMk cId="2383861275" sldId="2076138044"/>
            <ac:spMk id="2" creationId="{4BEB377E-74CD-1214-ACD3-B4289D738B76}"/>
          </ac:spMkLst>
        </pc:spChg>
        <pc:spChg chg="add del mod ord">
          <ac:chgData name="Jean GRANDEMANGE" userId="faf07584-8716-430e-b66d-4ceae2fe8450" providerId="ADAL" clId="{5342A714-4FE6-4219-9F6F-BC15D1F861B7}" dt="2023-03-06T08:50:56.882" v="1284" actId="478"/>
          <ac:spMkLst>
            <pc:docMk/>
            <pc:sldMk cId="2383861275" sldId="2076138044"/>
            <ac:spMk id="4" creationId="{7DA0A310-57BB-CB43-108F-E9B51C399097}"/>
          </ac:spMkLst>
        </pc:spChg>
        <pc:spChg chg="del">
          <ac:chgData name="Jean GRANDEMANGE" userId="faf07584-8716-430e-b66d-4ceae2fe8450" providerId="ADAL" clId="{5342A714-4FE6-4219-9F6F-BC15D1F861B7}" dt="2023-03-08T10:32:43.715" v="4873" actId="478"/>
          <ac:spMkLst>
            <pc:docMk/>
            <pc:sldMk cId="2383861275" sldId="2076138044"/>
            <ac:spMk id="9" creationId="{2EC9C8D5-B09A-5AB2-F045-3256B0F29B90}"/>
          </ac:spMkLst>
        </pc:spChg>
        <pc:spChg chg="del mod">
          <ac:chgData name="Jean GRANDEMANGE" userId="faf07584-8716-430e-b66d-4ceae2fe8450" providerId="ADAL" clId="{5342A714-4FE6-4219-9F6F-BC15D1F861B7}" dt="2023-03-06T08:51:07.209" v="1287" actId="478"/>
          <ac:spMkLst>
            <pc:docMk/>
            <pc:sldMk cId="2383861275" sldId="2076138044"/>
            <ac:spMk id="9" creationId="{8C1D4D3D-C5DA-8D10-353A-33FC295E1200}"/>
          </ac:spMkLst>
        </pc:spChg>
        <pc:spChg chg="add del mod">
          <ac:chgData name="Jean GRANDEMANGE" userId="faf07584-8716-430e-b66d-4ceae2fe8450" providerId="ADAL" clId="{5342A714-4FE6-4219-9F6F-BC15D1F861B7}" dt="2023-03-08T10:32:43.274" v="4872" actId="478"/>
          <ac:spMkLst>
            <pc:docMk/>
            <pc:sldMk cId="2383861275" sldId="2076138044"/>
            <ac:spMk id="10" creationId="{C60B4CC3-9811-C990-17E7-CBA6D90ACE54}"/>
          </ac:spMkLst>
        </pc:spChg>
        <pc:graphicFrameChg chg="mod">
          <ac:chgData name="Jean GRANDEMANGE" userId="faf07584-8716-430e-b66d-4ceae2fe8450" providerId="ADAL" clId="{5342A714-4FE6-4219-9F6F-BC15D1F861B7}" dt="2023-03-06T08:51:00.619" v="1285" actId="1076"/>
          <ac:graphicFrameMkLst>
            <pc:docMk/>
            <pc:sldMk cId="2383861275" sldId="2076138044"/>
            <ac:graphicFrameMk id="13" creationId="{712C7C49-BC0B-D91A-9738-DA6089A85CD6}"/>
          </ac:graphicFrameMkLst>
        </pc:graphicFrameChg>
        <pc:picChg chg="add mod">
          <ac:chgData name="Jean GRANDEMANGE" userId="faf07584-8716-430e-b66d-4ceae2fe8450" providerId="ADAL" clId="{5342A714-4FE6-4219-9F6F-BC15D1F861B7}" dt="2023-03-07T13:56:33.768" v="3691" actId="1076"/>
          <ac:picMkLst>
            <pc:docMk/>
            <pc:sldMk cId="2383861275" sldId="2076138044"/>
            <ac:picMk id="4" creationId="{9A37A736-E41A-8D68-A952-B2FFF36A11D8}"/>
          </ac:picMkLst>
        </pc:picChg>
        <pc:extLst>
          <p:ext xmlns:p="http://schemas.openxmlformats.org/presentationml/2006/main" uri="{D6D511B9-2390-475A-947B-AFAB55BFBCF1}">
            <pc226:cmChg xmlns:pc226="http://schemas.microsoft.com/office/powerpoint/2022/06/main/command" chg="del">
              <pc226:chgData name="Jean GRANDEMANGE" userId="faf07584-8716-430e-b66d-4ceae2fe8450" providerId="ADAL" clId="{5342A714-4FE6-4219-9F6F-BC15D1F861B7}" dt="2023-03-07T15:35:38.926" v="4021"/>
              <pc2:cmMkLst xmlns:pc2="http://schemas.microsoft.com/office/powerpoint/2019/9/main/command">
                <pc:docMk/>
                <pc:sldMk cId="2383861275" sldId="2076138044"/>
                <pc2:cmMk id="{F34E62C1-439F-418A-9ACF-388F8F5D0F5E}"/>
              </pc2:cmMkLst>
              <pc226:cmRplyChg chg="add">
                <pc226:chgData name="Jean GRANDEMANGE" userId="faf07584-8716-430e-b66d-4ceae2fe8450" providerId="ADAL" clId="{5342A714-4FE6-4219-9F6F-BC15D1F861B7}" dt="2023-03-07T13:56:18.779" v="3684"/>
                <pc2:cmRplyMkLst xmlns:pc2="http://schemas.microsoft.com/office/powerpoint/2019/9/main/command">
                  <pc:docMk/>
                  <pc:sldMk cId="2383861275" sldId="2076138044"/>
                  <pc2:cmMk id="{F34E62C1-439F-418A-9ACF-388F8F5D0F5E}"/>
                  <pc2:cmRplyMk id="{C99F2B54-E815-441D-B2E5-626CF786450F}"/>
                </pc2:cmRplyMkLst>
              </pc226:cmRplyChg>
            </pc226:cmChg>
          </p:ext>
        </pc:extLst>
      </pc:sldChg>
      <pc:sldChg chg="addSp delSp modSp add del mod modClrScheme chgLayout">
        <pc:chgData name="Jean GRANDEMANGE" userId="faf07584-8716-430e-b66d-4ceae2fe8450" providerId="ADAL" clId="{5342A714-4FE6-4219-9F6F-BC15D1F861B7}" dt="2023-03-08T10:03:10.585" v="4564" actId="2696"/>
        <pc:sldMkLst>
          <pc:docMk/>
          <pc:sldMk cId="2353512255" sldId="2076138045"/>
        </pc:sldMkLst>
        <pc:spChg chg="mod ord">
          <ac:chgData name="Jean GRANDEMANGE" userId="faf07584-8716-430e-b66d-4ceae2fe8450" providerId="ADAL" clId="{5342A714-4FE6-4219-9F6F-BC15D1F861B7}" dt="2023-03-06T08:51:36.934" v="1289" actId="700"/>
          <ac:spMkLst>
            <pc:docMk/>
            <pc:sldMk cId="2353512255" sldId="2076138045"/>
            <ac:spMk id="2" creationId="{2649C0DD-2C87-F7DA-4F4F-0C94A41EFC46}"/>
          </ac:spMkLst>
        </pc:spChg>
        <pc:spChg chg="mod">
          <ac:chgData name="Jean GRANDEMANGE" userId="faf07584-8716-430e-b66d-4ceae2fe8450" providerId="ADAL" clId="{5342A714-4FE6-4219-9F6F-BC15D1F861B7}" dt="2023-03-06T08:51:54.612" v="1292" actId="207"/>
          <ac:spMkLst>
            <pc:docMk/>
            <pc:sldMk cId="2353512255" sldId="2076138045"/>
            <ac:spMk id="3" creationId="{06640372-43FE-3652-9D78-76EAB0F787A3}"/>
          </ac:spMkLst>
        </pc:spChg>
        <pc:spChg chg="mod">
          <ac:chgData name="Jean GRANDEMANGE" userId="faf07584-8716-430e-b66d-4ceae2fe8450" providerId="ADAL" clId="{5342A714-4FE6-4219-9F6F-BC15D1F861B7}" dt="2023-03-06T08:51:54.612" v="1292" actId="207"/>
          <ac:spMkLst>
            <pc:docMk/>
            <pc:sldMk cId="2353512255" sldId="2076138045"/>
            <ac:spMk id="4" creationId="{268A378F-EE13-EC2A-1BCB-9FE9290DF506}"/>
          </ac:spMkLst>
        </pc:spChg>
        <pc:spChg chg="mod">
          <ac:chgData name="Jean GRANDEMANGE" userId="faf07584-8716-430e-b66d-4ceae2fe8450" providerId="ADAL" clId="{5342A714-4FE6-4219-9F6F-BC15D1F861B7}" dt="2023-03-06T08:51:54.612" v="1292" actId="207"/>
          <ac:spMkLst>
            <pc:docMk/>
            <pc:sldMk cId="2353512255" sldId="2076138045"/>
            <ac:spMk id="6" creationId="{25C8F54A-BD38-065B-43EE-21BF969C1D90}"/>
          </ac:spMkLst>
        </pc:spChg>
        <pc:spChg chg="mod">
          <ac:chgData name="Jean GRANDEMANGE" userId="faf07584-8716-430e-b66d-4ceae2fe8450" providerId="ADAL" clId="{5342A714-4FE6-4219-9F6F-BC15D1F861B7}" dt="2023-03-06T08:51:54.612" v="1292" actId="207"/>
          <ac:spMkLst>
            <pc:docMk/>
            <pc:sldMk cId="2353512255" sldId="2076138045"/>
            <ac:spMk id="7" creationId="{382D2580-1324-AA63-2FE8-F4A63239A782}"/>
          </ac:spMkLst>
        </pc:spChg>
        <pc:spChg chg="mod">
          <ac:chgData name="Jean GRANDEMANGE" userId="faf07584-8716-430e-b66d-4ceae2fe8450" providerId="ADAL" clId="{5342A714-4FE6-4219-9F6F-BC15D1F861B7}" dt="2023-03-06T08:51:54.612" v="1292" actId="207"/>
          <ac:spMkLst>
            <pc:docMk/>
            <pc:sldMk cId="2353512255" sldId="2076138045"/>
            <ac:spMk id="8" creationId="{3323E853-2F3E-24BF-AEB6-75124E43085D}"/>
          </ac:spMkLst>
        </pc:spChg>
        <pc:spChg chg="mod">
          <ac:chgData name="Jean GRANDEMANGE" userId="faf07584-8716-430e-b66d-4ceae2fe8450" providerId="ADAL" clId="{5342A714-4FE6-4219-9F6F-BC15D1F861B7}" dt="2023-03-06T08:51:54.612" v="1292" actId="207"/>
          <ac:spMkLst>
            <pc:docMk/>
            <pc:sldMk cId="2353512255" sldId="2076138045"/>
            <ac:spMk id="9" creationId="{A58667E3-B47F-8325-59D4-ED98DF465F97}"/>
          </ac:spMkLst>
        </pc:spChg>
        <pc:spChg chg="add del mod ord">
          <ac:chgData name="Jean GRANDEMANGE" userId="faf07584-8716-430e-b66d-4ceae2fe8450" providerId="ADAL" clId="{5342A714-4FE6-4219-9F6F-BC15D1F861B7}" dt="2023-03-06T08:51:36.934" v="1289" actId="700"/>
          <ac:spMkLst>
            <pc:docMk/>
            <pc:sldMk cId="2353512255" sldId="2076138045"/>
            <ac:spMk id="10" creationId="{3C0FB8E9-147A-8B72-ECB3-BD3E0E4FBF0D}"/>
          </ac:spMkLst>
        </pc:spChg>
        <pc:spChg chg="add del mod ord">
          <ac:chgData name="Jean GRANDEMANGE" userId="faf07584-8716-430e-b66d-4ceae2fe8450" providerId="ADAL" clId="{5342A714-4FE6-4219-9F6F-BC15D1F861B7}" dt="2023-03-06T08:51:36.934" v="1289" actId="700"/>
          <ac:spMkLst>
            <pc:docMk/>
            <pc:sldMk cId="2353512255" sldId="2076138045"/>
            <ac:spMk id="11" creationId="{F5633502-9E35-219E-D7EB-75E64DAEB172}"/>
          </ac:spMkLst>
        </pc:spChg>
        <pc:spChg chg="add del mod ord">
          <ac:chgData name="Jean GRANDEMANGE" userId="faf07584-8716-430e-b66d-4ceae2fe8450" providerId="ADAL" clId="{5342A714-4FE6-4219-9F6F-BC15D1F861B7}" dt="2023-03-06T08:51:40.261" v="1290" actId="478"/>
          <ac:spMkLst>
            <pc:docMk/>
            <pc:sldMk cId="2353512255" sldId="2076138045"/>
            <ac:spMk id="12" creationId="{FEFD0F08-40F2-FA2B-5681-13BB3C47DAF3}"/>
          </ac:spMkLst>
        </pc:spChg>
        <pc:spChg chg="add mod">
          <ac:chgData name="Jean GRANDEMANGE" userId="faf07584-8716-430e-b66d-4ceae2fe8450" providerId="ADAL" clId="{5342A714-4FE6-4219-9F6F-BC15D1F861B7}" dt="2023-03-07T10:05:37.646" v="3591" actId="20577"/>
          <ac:spMkLst>
            <pc:docMk/>
            <pc:sldMk cId="2353512255" sldId="2076138045"/>
            <ac:spMk id="13" creationId="{B5301F70-A70C-A904-B05E-E86484EE1997}"/>
          </ac:spMkLst>
        </pc:spChg>
        <pc:spChg chg="mod">
          <ac:chgData name="Jean GRANDEMANGE" userId="faf07584-8716-430e-b66d-4ceae2fe8450" providerId="ADAL" clId="{5342A714-4FE6-4219-9F6F-BC15D1F861B7}" dt="2023-03-06T08:52:33.231" v="1293" actId="1076"/>
          <ac:spMkLst>
            <pc:docMk/>
            <pc:sldMk cId="2353512255" sldId="2076138045"/>
            <ac:spMk id="15" creationId="{CAA21C8E-0E9E-0344-15B8-668D718C3221}"/>
          </ac:spMkLst>
        </pc:spChg>
      </pc:sldChg>
      <pc:sldChg chg="del">
        <pc:chgData name="Jean GRANDEMANGE" userId="faf07584-8716-430e-b66d-4ceae2fe8450" providerId="ADAL" clId="{5342A714-4FE6-4219-9F6F-BC15D1F861B7}" dt="2023-03-06T08:37:42.022" v="1259" actId="47"/>
        <pc:sldMkLst>
          <pc:docMk/>
          <pc:sldMk cId="4006172058" sldId="2142532750"/>
        </pc:sldMkLst>
      </pc:sldChg>
      <pc:sldChg chg="addSp delSp modSp add mod modClrScheme delCm modCm chgLayout">
        <pc:chgData name="Jean GRANDEMANGE" userId="faf07584-8716-430e-b66d-4ceae2fe8450" providerId="ADAL" clId="{5342A714-4FE6-4219-9F6F-BC15D1F861B7}" dt="2023-03-08T10:32:40.573" v="4871" actId="478"/>
        <pc:sldMkLst>
          <pc:docMk/>
          <pc:sldMk cId="2388790830" sldId="2142532846"/>
        </pc:sldMkLst>
        <pc:spChg chg="mod ord">
          <ac:chgData name="Jean GRANDEMANGE" userId="faf07584-8716-430e-b66d-4ceae2fe8450" providerId="ADAL" clId="{5342A714-4FE6-4219-9F6F-BC15D1F861B7}" dt="2023-03-06T08:49:40.942" v="1277" actId="700"/>
          <ac:spMkLst>
            <pc:docMk/>
            <pc:sldMk cId="2388790830" sldId="2142532846"/>
            <ac:spMk id="2" creationId="{076F8D2C-9E2A-CB2B-ED41-84327704F679}"/>
          </ac:spMkLst>
        </pc:spChg>
        <pc:spChg chg="mod">
          <ac:chgData name="Jean GRANDEMANGE" userId="faf07584-8716-430e-b66d-4ceae2fe8450" providerId="ADAL" clId="{5342A714-4FE6-4219-9F6F-BC15D1F861B7}" dt="2023-03-06T08:49:52.664" v="1279" actId="1076"/>
          <ac:spMkLst>
            <pc:docMk/>
            <pc:sldMk cId="2388790830" sldId="2142532846"/>
            <ac:spMk id="3" creationId="{27F8CC0C-3965-87CE-1E2D-733E1FC398B0}"/>
          </ac:spMkLst>
        </pc:spChg>
        <pc:spChg chg="add del mod ord">
          <ac:chgData name="Jean GRANDEMANGE" userId="faf07584-8716-430e-b66d-4ceae2fe8450" providerId="ADAL" clId="{5342A714-4FE6-4219-9F6F-BC15D1F861B7}" dt="2023-03-06T08:49:45.080" v="1278" actId="478"/>
          <ac:spMkLst>
            <pc:docMk/>
            <pc:sldMk cId="2388790830" sldId="2142532846"/>
            <ac:spMk id="4" creationId="{39E4026C-CE04-8029-4248-2FFFD7092B12}"/>
          </ac:spMkLst>
        </pc:spChg>
        <pc:spChg chg="del">
          <ac:chgData name="Jean GRANDEMANGE" userId="faf07584-8716-430e-b66d-4ceae2fe8450" providerId="ADAL" clId="{5342A714-4FE6-4219-9F6F-BC15D1F861B7}" dt="2023-03-08T10:32:40.573" v="4871" actId="478"/>
          <ac:spMkLst>
            <pc:docMk/>
            <pc:sldMk cId="2388790830" sldId="2142532846"/>
            <ac:spMk id="4" creationId="{A83C67D8-E559-C9E8-0888-1676985350B6}"/>
          </ac:spMkLst>
        </pc:spChg>
        <pc:spChg chg="mod">
          <ac:chgData name="Jean GRANDEMANGE" userId="faf07584-8716-430e-b66d-4ceae2fe8450" providerId="ADAL" clId="{5342A714-4FE6-4219-9F6F-BC15D1F861B7}" dt="2023-03-06T08:49:30.509" v="1276" actId="208"/>
          <ac:spMkLst>
            <pc:docMk/>
            <pc:sldMk cId="2388790830" sldId="2142532846"/>
            <ac:spMk id="5" creationId="{4EECC8A0-6027-18F3-1A73-0F8F6C21AADE}"/>
          </ac:spMkLst>
        </pc:spChg>
        <pc:spChg chg="add del mod">
          <ac:chgData name="Jean GRANDEMANGE" userId="faf07584-8716-430e-b66d-4ceae2fe8450" providerId="ADAL" clId="{5342A714-4FE6-4219-9F6F-BC15D1F861B7}" dt="2023-03-08T10:32:40.573" v="4871" actId="478"/>
          <ac:spMkLst>
            <pc:docMk/>
            <pc:sldMk cId="2388790830" sldId="2142532846"/>
            <ac:spMk id="6" creationId="{5C152509-1922-BA77-D29B-B5EAA7410F93}"/>
          </ac:spMkLst>
        </pc:spChg>
        <pc:spChg chg="mod">
          <ac:chgData name="Jean GRANDEMANGE" userId="faf07584-8716-430e-b66d-4ceae2fe8450" providerId="ADAL" clId="{5342A714-4FE6-4219-9F6F-BC15D1F861B7}" dt="2023-03-06T08:49:52.664" v="1279" actId="1076"/>
          <ac:spMkLst>
            <pc:docMk/>
            <pc:sldMk cId="2388790830" sldId="2142532846"/>
            <ac:spMk id="9" creationId="{C8D2514E-E0FE-4C79-3C9E-49DA34216579}"/>
          </ac:spMkLst>
        </pc:spChg>
        <pc:spChg chg="mod">
          <ac:chgData name="Jean GRANDEMANGE" userId="faf07584-8716-430e-b66d-4ceae2fe8450" providerId="ADAL" clId="{5342A714-4FE6-4219-9F6F-BC15D1F861B7}" dt="2023-03-06T08:47:56.031" v="1266" actId="207"/>
          <ac:spMkLst>
            <pc:docMk/>
            <pc:sldMk cId="2388790830" sldId="2142532846"/>
            <ac:spMk id="56" creationId="{7E2786C0-0B7D-E26F-91B3-A27CDCE4AC8E}"/>
          </ac:spMkLst>
        </pc:spChg>
        <pc:spChg chg="mod">
          <ac:chgData name="Jean GRANDEMANGE" userId="faf07584-8716-430e-b66d-4ceae2fe8450" providerId="ADAL" clId="{5342A714-4FE6-4219-9F6F-BC15D1F861B7}" dt="2023-03-06T08:47:53.082" v="1265" actId="207"/>
          <ac:spMkLst>
            <pc:docMk/>
            <pc:sldMk cId="2388790830" sldId="2142532846"/>
            <ac:spMk id="57" creationId="{5E3E9802-5C4A-FF5E-C083-657988179ED3}"/>
          </ac:spMkLst>
        </pc:spChg>
        <pc:spChg chg="mod">
          <ac:chgData name="Jean GRANDEMANGE" userId="faf07584-8716-430e-b66d-4ceae2fe8450" providerId="ADAL" clId="{5342A714-4FE6-4219-9F6F-BC15D1F861B7}" dt="2023-03-06T08:50:03.077" v="1282" actId="1076"/>
          <ac:spMkLst>
            <pc:docMk/>
            <pc:sldMk cId="2388790830" sldId="2142532846"/>
            <ac:spMk id="59" creationId="{17DF959D-0FA3-785B-FB15-5ABA5717FF1C}"/>
          </ac:spMkLst>
        </pc:spChg>
        <pc:spChg chg="mod">
          <ac:chgData name="Jean GRANDEMANGE" userId="faf07584-8716-430e-b66d-4ceae2fe8450" providerId="ADAL" clId="{5342A714-4FE6-4219-9F6F-BC15D1F861B7}" dt="2023-03-06T08:49:52.664" v="1279" actId="1076"/>
          <ac:spMkLst>
            <pc:docMk/>
            <pc:sldMk cId="2388790830" sldId="2142532846"/>
            <ac:spMk id="62" creationId="{47F33927-798C-6900-80A7-4BEBB1C45B27}"/>
          </ac:spMkLst>
        </pc:spChg>
        <pc:spChg chg="mod">
          <ac:chgData name="Jean GRANDEMANGE" userId="faf07584-8716-430e-b66d-4ceae2fe8450" providerId="ADAL" clId="{5342A714-4FE6-4219-9F6F-BC15D1F861B7}" dt="2023-03-06T08:49:52.664" v="1279" actId="1076"/>
          <ac:spMkLst>
            <pc:docMk/>
            <pc:sldMk cId="2388790830" sldId="2142532846"/>
            <ac:spMk id="64" creationId="{3AFE85F5-BA51-C7EC-9194-A683C4D603D6}"/>
          </ac:spMkLst>
        </pc:spChg>
        <pc:spChg chg="mod">
          <ac:chgData name="Jean GRANDEMANGE" userId="faf07584-8716-430e-b66d-4ceae2fe8450" providerId="ADAL" clId="{5342A714-4FE6-4219-9F6F-BC15D1F861B7}" dt="2023-03-06T08:49:52.664" v="1279" actId="1076"/>
          <ac:spMkLst>
            <pc:docMk/>
            <pc:sldMk cId="2388790830" sldId="2142532846"/>
            <ac:spMk id="65" creationId="{0C391306-8356-9069-4AF1-B04708D653B5}"/>
          </ac:spMkLst>
        </pc:spChg>
        <pc:spChg chg="mod">
          <ac:chgData name="Jean GRANDEMANGE" userId="faf07584-8716-430e-b66d-4ceae2fe8450" providerId="ADAL" clId="{5342A714-4FE6-4219-9F6F-BC15D1F861B7}" dt="2023-03-06T08:49:52.664" v="1279" actId="1076"/>
          <ac:spMkLst>
            <pc:docMk/>
            <pc:sldMk cId="2388790830" sldId="2142532846"/>
            <ac:spMk id="66" creationId="{5E2B8246-93EB-22BA-D3C0-BD7BC0AD9693}"/>
          </ac:spMkLst>
        </pc:spChg>
        <pc:spChg chg="mod">
          <ac:chgData name="Jean GRANDEMANGE" userId="faf07584-8716-430e-b66d-4ceae2fe8450" providerId="ADAL" clId="{5342A714-4FE6-4219-9F6F-BC15D1F861B7}" dt="2023-03-06T08:49:52.664" v="1279" actId="1076"/>
          <ac:spMkLst>
            <pc:docMk/>
            <pc:sldMk cId="2388790830" sldId="2142532846"/>
            <ac:spMk id="68" creationId="{1175F2F6-CF1A-4BF1-EC14-6B40A47E16A8}"/>
          </ac:spMkLst>
        </pc:spChg>
        <pc:spChg chg="mod">
          <ac:chgData name="Jean GRANDEMANGE" userId="faf07584-8716-430e-b66d-4ceae2fe8450" providerId="ADAL" clId="{5342A714-4FE6-4219-9F6F-BC15D1F861B7}" dt="2023-03-06T08:49:52.664" v="1279" actId="1076"/>
          <ac:spMkLst>
            <pc:docMk/>
            <pc:sldMk cId="2388790830" sldId="2142532846"/>
            <ac:spMk id="69" creationId="{FA8A9E30-7C05-2F5F-2B4B-4909D9B338C8}"/>
          </ac:spMkLst>
        </pc:spChg>
        <pc:spChg chg="mod">
          <ac:chgData name="Jean GRANDEMANGE" userId="faf07584-8716-430e-b66d-4ceae2fe8450" providerId="ADAL" clId="{5342A714-4FE6-4219-9F6F-BC15D1F861B7}" dt="2023-03-06T08:49:52.664" v="1279" actId="1076"/>
          <ac:spMkLst>
            <pc:docMk/>
            <pc:sldMk cId="2388790830" sldId="2142532846"/>
            <ac:spMk id="71" creationId="{0509D187-8796-AE64-3A2B-E7A8631266EB}"/>
          </ac:spMkLst>
        </pc:spChg>
        <pc:spChg chg="mod">
          <ac:chgData name="Jean GRANDEMANGE" userId="faf07584-8716-430e-b66d-4ceae2fe8450" providerId="ADAL" clId="{5342A714-4FE6-4219-9F6F-BC15D1F861B7}" dt="2023-03-06T08:49:52.664" v="1279" actId="1076"/>
          <ac:spMkLst>
            <pc:docMk/>
            <pc:sldMk cId="2388790830" sldId="2142532846"/>
            <ac:spMk id="72" creationId="{F59CCA35-22DF-2A39-67DB-0A12F5B3C13B}"/>
          </ac:spMkLst>
        </pc:spChg>
        <pc:spChg chg="mod">
          <ac:chgData name="Jean GRANDEMANGE" userId="faf07584-8716-430e-b66d-4ceae2fe8450" providerId="ADAL" clId="{5342A714-4FE6-4219-9F6F-BC15D1F861B7}" dt="2023-03-06T08:49:30.509" v="1276" actId="208"/>
          <ac:spMkLst>
            <pc:docMk/>
            <pc:sldMk cId="2388790830" sldId="2142532846"/>
            <ac:spMk id="75" creationId="{F9895A45-3E80-34AF-F0F8-237D2425A303}"/>
          </ac:spMkLst>
        </pc:spChg>
        <pc:spChg chg="mod">
          <ac:chgData name="Jean GRANDEMANGE" userId="faf07584-8716-430e-b66d-4ceae2fe8450" providerId="ADAL" clId="{5342A714-4FE6-4219-9F6F-BC15D1F861B7}" dt="2023-03-06T08:49:30.509" v="1276" actId="208"/>
          <ac:spMkLst>
            <pc:docMk/>
            <pc:sldMk cId="2388790830" sldId="2142532846"/>
            <ac:spMk id="78" creationId="{10D7ABD0-2D26-0B76-7B34-D6306F66BB01}"/>
          </ac:spMkLst>
        </pc:spChg>
        <pc:spChg chg="mod">
          <ac:chgData name="Jean GRANDEMANGE" userId="faf07584-8716-430e-b66d-4ceae2fe8450" providerId="ADAL" clId="{5342A714-4FE6-4219-9F6F-BC15D1F861B7}" dt="2023-03-06T08:49:30.509" v="1276" actId="208"/>
          <ac:spMkLst>
            <pc:docMk/>
            <pc:sldMk cId="2388790830" sldId="2142532846"/>
            <ac:spMk id="79" creationId="{05C1A145-4992-38DF-FF24-7D674076BF05}"/>
          </ac:spMkLst>
        </pc:spChg>
        <pc:spChg chg="mod">
          <ac:chgData name="Jean GRANDEMANGE" userId="faf07584-8716-430e-b66d-4ceae2fe8450" providerId="ADAL" clId="{5342A714-4FE6-4219-9F6F-BC15D1F861B7}" dt="2023-03-06T08:49:52.664" v="1279" actId="1076"/>
          <ac:spMkLst>
            <pc:docMk/>
            <pc:sldMk cId="2388790830" sldId="2142532846"/>
            <ac:spMk id="80" creationId="{1E58469F-5EA1-B448-623F-1B951463843C}"/>
          </ac:spMkLst>
        </pc:spChg>
        <pc:spChg chg="mod">
          <ac:chgData name="Jean GRANDEMANGE" userId="faf07584-8716-430e-b66d-4ceae2fe8450" providerId="ADAL" clId="{5342A714-4FE6-4219-9F6F-BC15D1F861B7}" dt="2023-03-06T08:49:52.664" v="1279" actId="1076"/>
          <ac:spMkLst>
            <pc:docMk/>
            <pc:sldMk cId="2388790830" sldId="2142532846"/>
            <ac:spMk id="81" creationId="{0508947C-1A80-571D-44AB-3F86865EFB3C}"/>
          </ac:spMkLst>
        </pc:spChg>
        <pc:spChg chg="mod">
          <ac:chgData name="Jean GRANDEMANGE" userId="faf07584-8716-430e-b66d-4ceae2fe8450" providerId="ADAL" clId="{5342A714-4FE6-4219-9F6F-BC15D1F861B7}" dt="2023-03-06T08:49:52.664" v="1279" actId="1076"/>
          <ac:spMkLst>
            <pc:docMk/>
            <pc:sldMk cId="2388790830" sldId="2142532846"/>
            <ac:spMk id="83" creationId="{CE3D3161-58F5-A8C5-785A-17922B4B28ED}"/>
          </ac:spMkLst>
        </pc:spChg>
        <pc:spChg chg="mod">
          <ac:chgData name="Jean GRANDEMANGE" userId="faf07584-8716-430e-b66d-4ceae2fe8450" providerId="ADAL" clId="{5342A714-4FE6-4219-9F6F-BC15D1F861B7}" dt="2023-03-06T08:49:52.664" v="1279" actId="1076"/>
          <ac:spMkLst>
            <pc:docMk/>
            <pc:sldMk cId="2388790830" sldId="2142532846"/>
            <ac:spMk id="84" creationId="{5F7E78C9-3CA1-2554-7324-926B816A4297}"/>
          </ac:spMkLst>
        </pc:spChg>
        <pc:spChg chg="mod">
          <ac:chgData name="Jean GRANDEMANGE" userId="faf07584-8716-430e-b66d-4ceae2fe8450" providerId="ADAL" clId="{5342A714-4FE6-4219-9F6F-BC15D1F861B7}" dt="2023-03-06T08:49:52.664" v="1279" actId="1076"/>
          <ac:spMkLst>
            <pc:docMk/>
            <pc:sldMk cId="2388790830" sldId="2142532846"/>
            <ac:spMk id="102" creationId="{40750017-943A-A139-CCAF-5E45382B7A04}"/>
          </ac:spMkLst>
        </pc:spChg>
        <pc:spChg chg="mod">
          <ac:chgData name="Jean GRANDEMANGE" userId="faf07584-8716-430e-b66d-4ceae2fe8450" providerId="ADAL" clId="{5342A714-4FE6-4219-9F6F-BC15D1F861B7}" dt="2023-03-07T13:55:42.648" v="3680" actId="20577"/>
          <ac:spMkLst>
            <pc:docMk/>
            <pc:sldMk cId="2388790830" sldId="2142532846"/>
            <ac:spMk id="103" creationId="{6A0952E1-5649-028A-9D22-1A2BA889F30C}"/>
          </ac:spMkLst>
        </pc:spChg>
        <pc:spChg chg="mod">
          <ac:chgData name="Jean GRANDEMANGE" userId="faf07584-8716-430e-b66d-4ceae2fe8450" providerId="ADAL" clId="{5342A714-4FE6-4219-9F6F-BC15D1F861B7}" dt="2023-03-06T08:49:52.664" v="1279" actId="1076"/>
          <ac:spMkLst>
            <pc:docMk/>
            <pc:sldMk cId="2388790830" sldId="2142532846"/>
            <ac:spMk id="104" creationId="{1F333425-16A8-99E6-59B0-1BB4957420C4}"/>
          </ac:spMkLst>
        </pc:spChg>
        <pc:spChg chg="mod">
          <ac:chgData name="Jean GRANDEMANGE" userId="faf07584-8716-430e-b66d-4ceae2fe8450" providerId="ADAL" clId="{5342A714-4FE6-4219-9F6F-BC15D1F861B7}" dt="2023-03-06T08:49:52.664" v="1279" actId="1076"/>
          <ac:spMkLst>
            <pc:docMk/>
            <pc:sldMk cId="2388790830" sldId="2142532846"/>
            <ac:spMk id="105" creationId="{8383CE85-A910-B611-93D0-FCC24DEAF4DA}"/>
          </ac:spMkLst>
        </pc:spChg>
        <pc:spChg chg="mod">
          <ac:chgData name="Jean GRANDEMANGE" userId="faf07584-8716-430e-b66d-4ceae2fe8450" providerId="ADAL" clId="{5342A714-4FE6-4219-9F6F-BC15D1F861B7}" dt="2023-03-06T08:49:52.664" v="1279" actId="1076"/>
          <ac:spMkLst>
            <pc:docMk/>
            <pc:sldMk cId="2388790830" sldId="2142532846"/>
            <ac:spMk id="106" creationId="{DF362A5A-096E-9D29-E15A-3CBBBB9A6175}"/>
          </ac:spMkLst>
        </pc:spChg>
        <pc:spChg chg="mod">
          <ac:chgData name="Jean GRANDEMANGE" userId="faf07584-8716-430e-b66d-4ceae2fe8450" providerId="ADAL" clId="{5342A714-4FE6-4219-9F6F-BC15D1F861B7}" dt="2023-03-06T08:49:52.664" v="1279" actId="1076"/>
          <ac:spMkLst>
            <pc:docMk/>
            <pc:sldMk cId="2388790830" sldId="2142532846"/>
            <ac:spMk id="107" creationId="{FB1FA702-C903-4597-40FE-24BCA1E0211D}"/>
          </ac:spMkLst>
        </pc:spChg>
        <pc:spChg chg="mod">
          <ac:chgData name="Jean GRANDEMANGE" userId="faf07584-8716-430e-b66d-4ceae2fe8450" providerId="ADAL" clId="{5342A714-4FE6-4219-9F6F-BC15D1F861B7}" dt="2023-03-06T08:49:52.664" v="1279" actId="1076"/>
          <ac:spMkLst>
            <pc:docMk/>
            <pc:sldMk cId="2388790830" sldId="2142532846"/>
            <ac:spMk id="108" creationId="{DD3AE652-760D-4994-074B-2ECB8339E0BF}"/>
          </ac:spMkLst>
        </pc:spChg>
        <pc:spChg chg="mod">
          <ac:chgData name="Jean GRANDEMANGE" userId="faf07584-8716-430e-b66d-4ceae2fe8450" providerId="ADAL" clId="{5342A714-4FE6-4219-9F6F-BC15D1F861B7}" dt="2023-03-06T08:49:52.664" v="1279" actId="1076"/>
          <ac:spMkLst>
            <pc:docMk/>
            <pc:sldMk cId="2388790830" sldId="2142532846"/>
            <ac:spMk id="109" creationId="{471914D3-40EB-2EC1-14B5-BFEF34087744}"/>
          </ac:spMkLst>
        </pc:spChg>
        <pc:grpChg chg="mod">
          <ac:chgData name="Jean GRANDEMANGE" userId="faf07584-8716-430e-b66d-4ceae2fe8450" providerId="ADAL" clId="{5342A714-4FE6-4219-9F6F-BC15D1F861B7}" dt="2023-03-06T08:49:52.664" v="1279" actId="1076"/>
          <ac:grpSpMkLst>
            <pc:docMk/>
            <pc:sldMk cId="2388790830" sldId="2142532846"/>
            <ac:grpSpMk id="14" creationId="{B71A9C82-8374-9042-976D-0A2EF735C6F1}"/>
          </ac:grpSpMkLst>
        </pc:grpChg>
        <pc:grpChg chg="mod">
          <ac:chgData name="Jean GRANDEMANGE" userId="faf07584-8716-430e-b66d-4ceae2fe8450" providerId="ADAL" clId="{5342A714-4FE6-4219-9F6F-BC15D1F861B7}" dt="2023-03-06T08:49:52.664" v="1279" actId="1076"/>
          <ac:grpSpMkLst>
            <pc:docMk/>
            <pc:sldMk cId="2388790830" sldId="2142532846"/>
            <ac:grpSpMk id="74" creationId="{C4B8B8A9-BBB3-A668-D9E8-9E7582B62604}"/>
          </ac:grpSpMkLst>
        </pc:grpChg>
        <pc:grpChg chg="mod">
          <ac:chgData name="Jean GRANDEMANGE" userId="faf07584-8716-430e-b66d-4ceae2fe8450" providerId="ADAL" clId="{5342A714-4FE6-4219-9F6F-BC15D1F861B7}" dt="2023-03-06T08:49:52.664" v="1279" actId="1076"/>
          <ac:grpSpMkLst>
            <pc:docMk/>
            <pc:sldMk cId="2388790830" sldId="2142532846"/>
            <ac:grpSpMk id="77" creationId="{D703A5AA-B419-40C0-EA53-B2FDDC080647}"/>
          </ac:grpSpMkLst>
        </pc:grpChg>
        <pc:picChg chg="add del mod">
          <ac:chgData name="Jean GRANDEMANGE" userId="faf07584-8716-430e-b66d-4ceae2fe8450" providerId="ADAL" clId="{5342A714-4FE6-4219-9F6F-BC15D1F861B7}" dt="2023-03-07T10:05:28.658" v="3586" actId="478"/>
          <ac:picMkLst>
            <pc:docMk/>
            <pc:sldMk cId="2388790830" sldId="2142532846"/>
            <ac:picMk id="7" creationId="{F3E26E73-FDD8-C26F-BFA9-2AFA647644AF}"/>
          </ac:picMkLst>
        </pc:picChg>
        <pc:picChg chg="mod">
          <ac:chgData name="Jean GRANDEMANGE" userId="faf07584-8716-430e-b66d-4ceae2fe8450" providerId="ADAL" clId="{5342A714-4FE6-4219-9F6F-BC15D1F861B7}" dt="2023-03-06T08:49:30.509" v="1276" actId="208"/>
          <ac:picMkLst>
            <pc:docMk/>
            <pc:sldMk cId="2388790830" sldId="2142532846"/>
            <ac:picMk id="8" creationId="{F4597B89-A32F-2916-69EB-64658ABCEFB3}"/>
          </ac:picMkLst>
        </pc:picChg>
        <pc:picChg chg="mod">
          <ac:chgData name="Jean GRANDEMANGE" userId="faf07584-8716-430e-b66d-4ceae2fe8450" providerId="ADAL" clId="{5342A714-4FE6-4219-9F6F-BC15D1F861B7}" dt="2023-03-06T08:49:52.664" v="1279" actId="1076"/>
          <ac:picMkLst>
            <pc:docMk/>
            <pc:sldMk cId="2388790830" sldId="2142532846"/>
            <ac:picMk id="63" creationId="{70519A0F-CD2C-19EC-2ABC-CE58C5D3055D}"/>
          </ac:picMkLst>
        </pc:picChg>
        <pc:picChg chg="mod">
          <ac:chgData name="Jean GRANDEMANGE" userId="faf07584-8716-430e-b66d-4ceae2fe8450" providerId="ADAL" clId="{5342A714-4FE6-4219-9F6F-BC15D1F861B7}" dt="2023-03-06T08:49:52.664" v="1279" actId="1076"/>
          <ac:picMkLst>
            <pc:docMk/>
            <pc:sldMk cId="2388790830" sldId="2142532846"/>
            <ac:picMk id="67" creationId="{4443B359-9762-1333-2CF5-0CB90C6F674B}"/>
          </ac:picMkLst>
        </pc:picChg>
        <pc:picChg chg="mod">
          <ac:chgData name="Jean GRANDEMANGE" userId="faf07584-8716-430e-b66d-4ceae2fe8450" providerId="ADAL" clId="{5342A714-4FE6-4219-9F6F-BC15D1F861B7}" dt="2023-03-06T08:49:52.664" v="1279" actId="1076"/>
          <ac:picMkLst>
            <pc:docMk/>
            <pc:sldMk cId="2388790830" sldId="2142532846"/>
            <ac:picMk id="70" creationId="{94DB82F7-1796-E99D-E3B5-AB31D98F094D}"/>
          </ac:picMkLst>
        </pc:picChg>
        <pc:picChg chg="mod">
          <ac:chgData name="Jean GRANDEMANGE" userId="faf07584-8716-430e-b66d-4ceae2fe8450" providerId="ADAL" clId="{5342A714-4FE6-4219-9F6F-BC15D1F861B7}" dt="2023-03-06T08:49:52.664" v="1279" actId="1076"/>
          <ac:picMkLst>
            <pc:docMk/>
            <pc:sldMk cId="2388790830" sldId="2142532846"/>
            <ac:picMk id="73" creationId="{4B8FDACE-0D9F-3453-84E0-6D13DECEF5C1}"/>
          </ac:picMkLst>
        </pc:picChg>
        <pc:picChg chg="mod">
          <ac:chgData name="Jean GRANDEMANGE" userId="faf07584-8716-430e-b66d-4ceae2fe8450" providerId="ADAL" clId="{5342A714-4FE6-4219-9F6F-BC15D1F861B7}" dt="2023-03-06T08:49:30.509" v="1276" actId="208"/>
          <ac:picMkLst>
            <pc:docMk/>
            <pc:sldMk cId="2388790830" sldId="2142532846"/>
            <ac:picMk id="76" creationId="{E4C21074-FE06-F82C-01FB-FF3EFAA297A0}"/>
          </ac:picMkLst>
        </pc:picChg>
        <pc:cxnChg chg="mod">
          <ac:chgData name="Jean GRANDEMANGE" userId="faf07584-8716-430e-b66d-4ceae2fe8450" providerId="ADAL" clId="{5342A714-4FE6-4219-9F6F-BC15D1F861B7}" dt="2023-03-06T08:49:55.922" v="1280" actId="208"/>
          <ac:cxnSpMkLst>
            <pc:docMk/>
            <pc:sldMk cId="2388790830" sldId="2142532846"/>
            <ac:cxnSpMk id="58" creationId="{FAC0C200-9F33-8013-573E-ADA6F2D75A34}"/>
          </ac:cxnSpMkLst>
        </pc:cxnChg>
        <pc:cxnChg chg="mod">
          <ac:chgData name="Jean GRANDEMANGE" userId="faf07584-8716-430e-b66d-4ceae2fe8450" providerId="ADAL" clId="{5342A714-4FE6-4219-9F6F-BC15D1F861B7}" dt="2023-03-06T08:49:52.664" v="1279" actId="1076"/>
          <ac:cxnSpMkLst>
            <pc:docMk/>
            <pc:sldMk cId="2388790830" sldId="2142532846"/>
            <ac:cxnSpMk id="85" creationId="{E03A3DEF-E006-8120-CD71-FBB4219AEA22}"/>
          </ac:cxnSpMkLst>
        </pc:cxnChg>
        <pc:cxnChg chg="mod">
          <ac:chgData name="Jean GRANDEMANGE" userId="faf07584-8716-430e-b66d-4ceae2fe8450" providerId="ADAL" clId="{5342A714-4FE6-4219-9F6F-BC15D1F861B7}" dt="2023-03-06T08:49:52.664" v="1279" actId="1076"/>
          <ac:cxnSpMkLst>
            <pc:docMk/>
            <pc:sldMk cId="2388790830" sldId="2142532846"/>
            <ac:cxnSpMk id="86" creationId="{6FAAF09F-DCBC-800E-6DF2-0F0CB1E91A7C}"/>
          </ac:cxnSpMkLst>
        </pc:cxnChg>
        <pc:cxnChg chg="mod">
          <ac:chgData name="Jean GRANDEMANGE" userId="faf07584-8716-430e-b66d-4ceae2fe8450" providerId="ADAL" clId="{5342A714-4FE6-4219-9F6F-BC15D1F861B7}" dt="2023-03-06T08:49:52.664" v="1279" actId="1076"/>
          <ac:cxnSpMkLst>
            <pc:docMk/>
            <pc:sldMk cId="2388790830" sldId="2142532846"/>
            <ac:cxnSpMk id="87" creationId="{706FB435-AB65-ED33-8C57-DDD8E6BF713A}"/>
          </ac:cxnSpMkLst>
        </pc:cxnChg>
        <pc:cxnChg chg="mod">
          <ac:chgData name="Jean GRANDEMANGE" userId="faf07584-8716-430e-b66d-4ceae2fe8450" providerId="ADAL" clId="{5342A714-4FE6-4219-9F6F-BC15D1F861B7}" dt="2023-03-06T08:49:52.664" v="1279" actId="1076"/>
          <ac:cxnSpMkLst>
            <pc:docMk/>
            <pc:sldMk cId="2388790830" sldId="2142532846"/>
            <ac:cxnSpMk id="88" creationId="{90EC46A2-34DC-A7FB-BAAC-ED9B66E3524A}"/>
          </ac:cxnSpMkLst>
        </pc:cxnChg>
        <pc:cxnChg chg="mod">
          <ac:chgData name="Jean GRANDEMANGE" userId="faf07584-8716-430e-b66d-4ceae2fe8450" providerId="ADAL" clId="{5342A714-4FE6-4219-9F6F-BC15D1F861B7}" dt="2023-03-06T08:49:52.664" v="1279" actId="1076"/>
          <ac:cxnSpMkLst>
            <pc:docMk/>
            <pc:sldMk cId="2388790830" sldId="2142532846"/>
            <ac:cxnSpMk id="100" creationId="{D25199C2-1573-9353-FB55-280805D6FC85}"/>
          </ac:cxnSpMkLst>
        </pc:cxnChg>
        <pc:extLst>
          <p:ext xmlns:p="http://schemas.openxmlformats.org/presentationml/2006/main" uri="{D6D511B9-2390-475A-947B-AFAB55BFBCF1}">
            <pc226:cmChg xmlns:pc226="http://schemas.microsoft.com/office/powerpoint/2022/06/main/command" chg="del mod">
              <pc226:chgData name="Jean GRANDEMANGE" userId="faf07584-8716-430e-b66d-4ceae2fe8450" providerId="ADAL" clId="{5342A714-4FE6-4219-9F6F-BC15D1F861B7}" dt="2023-03-07T15:35:31.864" v="4020"/>
              <pc2:cmMkLst xmlns:pc2="http://schemas.microsoft.com/office/powerpoint/2019/9/main/command">
                <pc:docMk/>
                <pc:sldMk cId="2388790830" sldId="2142532846"/>
                <pc2:cmMk id="{A0ED2C78-4A4F-432B-9CD0-F9317BE03B7A}"/>
              </pc2:cmMkLst>
              <pc226:cmRplyChg chg="add">
                <pc226:chgData name="Jean GRANDEMANGE" userId="faf07584-8716-430e-b66d-4ceae2fe8450" providerId="ADAL" clId="{5342A714-4FE6-4219-9F6F-BC15D1F861B7}" dt="2023-03-07T13:55:39.604" v="3677"/>
                <pc2:cmRplyMkLst xmlns:pc2="http://schemas.microsoft.com/office/powerpoint/2019/9/main/command">
                  <pc:docMk/>
                  <pc:sldMk cId="2388790830" sldId="2142532846"/>
                  <pc2:cmMk id="{A0ED2C78-4A4F-432B-9CD0-F9317BE03B7A}"/>
                  <pc2:cmRplyMk id="{281252CC-BFEE-4A4B-9FFC-E01EC1D645DC}"/>
                </pc2:cmRplyMkLst>
              </pc226:cmRplyChg>
            </pc226:cmChg>
          </p:ext>
        </pc:extLst>
      </pc:sldChg>
      <pc:sldChg chg="delSp mod">
        <pc:chgData name="Jean GRANDEMANGE" userId="faf07584-8716-430e-b66d-4ceae2fe8450" providerId="ADAL" clId="{5342A714-4FE6-4219-9F6F-BC15D1F861B7}" dt="2023-03-08T10:37:09.698" v="4960" actId="478"/>
        <pc:sldMkLst>
          <pc:docMk/>
          <pc:sldMk cId="1629102341" sldId="2142532888"/>
        </pc:sldMkLst>
        <pc:spChg chg="del">
          <ac:chgData name="Jean GRANDEMANGE" userId="faf07584-8716-430e-b66d-4ceae2fe8450" providerId="ADAL" clId="{5342A714-4FE6-4219-9F6F-BC15D1F861B7}" dt="2023-03-08T10:37:09.698" v="4960" actId="478"/>
          <ac:spMkLst>
            <pc:docMk/>
            <pc:sldMk cId="1629102341" sldId="2142532888"/>
            <ac:spMk id="3" creationId="{480E2CAF-8B83-AEC6-9791-96CAC394E6B2}"/>
          </ac:spMkLst>
        </pc:spChg>
        <pc:spChg chg="del">
          <ac:chgData name="Jean GRANDEMANGE" userId="faf07584-8716-430e-b66d-4ceae2fe8450" providerId="ADAL" clId="{5342A714-4FE6-4219-9F6F-BC15D1F861B7}" dt="2023-03-08T10:37:09.698" v="4960" actId="478"/>
          <ac:spMkLst>
            <pc:docMk/>
            <pc:sldMk cId="1629102341" sldId="2142532888"/>
            <ac:spMk id="13" creationId="{2BCDE059-CC0F-0EDE-86CC-ED2BC15CB89D}"/>
          </ac:spMkLst>
        </pc:spChg>
      </pc:sldChg>
      <pc:sldChg chg="del">
        <pc:chgData name="Jean GRANDEMANGE" userId="faf07584-8716-430e-b66d-4ceae2fe8450" providerId="ADAL" clId="{5342A714-4FE6-4219-9F6F-BC15D1F861B7}" dt="2023-02-28T08:20:00.551" v="460" actId="47"/>
        <pc:sldMkLst>
          <pc:docMk/>
          <pc:sldMk cId="296671653" sldId="2147376733"/>
        </pc:sldMkLst>
      </pc:sldChg>
      <pc:sldChg chg="del">
        <pc:chgData name="Jean GRANDEMANGE" userId="faf07584-8716-430e-b66d-4ceae2fe8450" providerId="ADAL" clId="{5342A714-4FE6-4219-9F6F-BC15D1F861B7}" dt="2023-02-28T08:20:00.551" v="460" actId="47"/>
        <pc:sldMkLst>
          <pc:docMk/>
          <pc:sldMk cId="2833638216" sldId="2147376740"/>
        </pc:sldMkLst>
      </pc:sldChg>
      <pc:sldChg chg="del">
        <pc:chgData name="Jean GRANDEMANGE" userId="faf07584-8716-430e-b66d-4ceae2fe8450" providerId="ADAL" clId="{5342A714-4FE6-4219-9F6F-BC15D1F861B7}" dt="2023-02-28T08:20:00.551" v="460" actId="47"/>
        <pc:sldMkLst>
          <pc:docMk/>
          <pc:sldMk cId="3078606242" sldId="2147376748"/>
        </pc:sldMkLst>
      </pc:sldChg>
      <pc:sldChg chg="ord">
        <pc:chgData name="Jean GRANDEMANGE" userId="faf07584-8716-430e-b66d-4ceae2fe8450" providerId="ADAL" clId="{5342A714-4FE6-4219-9F6F-BC15D1F861B7}" dt="2023-02-28T08:18:08.571" v="405"/>
        <pc:sldMkLst>
          <pc:docMk/>
          <pc:sldMk cId="3465486402" sldId="2147469770"/>
        </pc:sldMkLst>
      </pc:sldChg>
      <pc:sldChg chg="addSp modSp del mod ord">
        <pc:chgData name="Jean GRANDEMANGE" userId="faf07584-8716-430e-b66d-4ceae2fe8450" providerId="ADAL" clId="{5342A714-4FE6-4219-9F6F-BC15D1F861B7}" dt="2023-03-08T09:56:28.330" v="4473" actId="2696"/>
        <pc:sldMkLst>
          <pc:docMk/>
          <pc:sldMk cId="1985396647" sldId="2147469798"/>
        </pc:sldMkLst>
        <pc:spChg chg="add mod">
          <ac:chgData name="Jean GRANDEMANGE" userId="faf07584-8716-430e-b66d-4ceae2fe8450" providerId="ADAL" clId="{5342A714-4FE6-4219-9F6F-BC15D1F861B7}" dt="2023-03-03T14:56:43.168" v="922" actId="20577"/>
          <ac:spMkLst>
            <pc:docMk/>
            <pc:sldMk cId="1985396647" sldId="2147469798"/>
            <ac:spMk id="2" creationId="{5C9D5D56-382E-12E6-5BB7-DEECFC4645E4}"/>
          </ac:spMkLst>
        </pc:spChg>
        <pc:spChg chg="mod">
          <ac:chgData name="Jean GRANDEMANGE" userId="faf07584-8716-430e-b66d-4ceae2fe8450" providerId="ADAL" clId="{5342A714-4FE6-4219-9F6F-BC15D1F861B7}" dt="2023-03-07T10:00:31.061" v="3228" actId="5793"/>
          <ac:spMkLst>
            <pc:docMk/>
            <pc:sldMk cId="1985396647" sldId="2147469798"/>
            <ac:spMk id="4" creationId="{B38E534A-4BFA-B041-C1BB-3E2E2E141A43}"/>
          </ac:spMkLst>
        </pc:spChg>
        <pc:spChg chg="mod">
          <ac:chgData name="Jean GRANDEMANGE" userId="faf07584-8716-430e-b66d-4ceae2fe8450" providerId="ADAL" clId="{5342A714-4FE6-4219-9F6F-BC15D1F861B7}" dt="2023-03-07T09:59:19.911" v="3116" actId="20577"/>
          <ac:spMkLst>
            <pc:docMk/>
            <pc:sldMk cId="1985396647" sldId="2147469798"/>
            <ac:spMk id="5" creationId="{7F0A2287-1975-4B25-9676-F47A069D358D}"/>
          </ac:spMkLst>
        </pc:spChg>
        <pc:spChg chg="mod">
          <ac:chgData name="Jean GRANDEMANGE" userId="faf07584-8716-430e-b66d-4ceae2fe8450" providerId="ADAL" clId="{5342A714-4FE6-4219-9F6F-BC15D1F861B7}" dt="2023-03-07T10:01:43.512" v="3260" actId="20577"/>
          <ac:spMkLst>
            <pc:docMk/>
            <pc:sldMk cId="1985396647" sldId="2147469798"/>
            <ac:spMk id="6" creationId="{EF35A969-8E72-F9E2-E4DF-353E6BF5883F}"/>
          </ac:spMkLst>
        </pc:spChg>
        <pc:spChg chg="mod">
          <ac:chgData name="Jean GRANDEMANGE" userId="faf07584-8716-430e-b66d-4ceae2fe8450" providerId="ADAL" clId="{5342A714-4FE6-4219-9F6F-BC15D1F861B7}" dt="2023-03-07T10:01:51.306" v="3275" actId="20577"/>
          <ac:spMkLst>
            <pc:docMk/>
            <pc:sldMk cId="1985396647" sldId="2147469798"/>
            <ac:spMk id="7" creationId="{244277DC-18FA-43D3-954C-56CECC2F7CE9}"/>
          </ac:spMkLst>
        </pc:spChg>
      </pc:sldChg>
      <pc:sldChg chg="ord">
        <pc:chgData name="Jean GRANDEMANGE" userId="faf07584-8716-430e-b66d-4ceae2fe8450" providerId="ADAL" clId="{5342A714-4FE6-4219-9F6F-BC15D1F861B7}" dt="2023-02-28T08:18:08.571" v="405"/>
        <pc:sldMkLst>
          <pc:docMk/>
          <pc:sldMk cId="2540188229" sldId="2147469802"/>
        </pc:sldMkLst>
      </pc:sldChg>
      <pc:sldChg chg="delSp modSp mod ord">
        <pc:chgData name="Jean GRANDEMANGE" userId="faf07584-8716-430e-b66d-4ceae2fe8450" providerId="ADAL" clId="{5342A714-4FE6-4219-9F6F-BC15D1F861B7}" dt="2023-03-08T10:32:27.445" v="4868" actId="478"/>
        <pc:sldMkLst>
          <pc:docMk/>
          <pc:sldMk cId="41662455" sldId="2147469804"/>
        </pc:sldMkLst>
        <pc:spChg chg="del">
          <ac:chgData name="Jean GRANDEMANGE" userId="faf07584-8716-430e-b66d-4ceae2fe8450" providerId="ADAL" clId="{5342A714-4FE6-4219-9F6F-BC15D1F861B7}" dt="2023-03-08T10:32:27.445" v="4868" actId="478"/>
          <ac:spMkLst>
            <pc:docMk/>
            <pc:sldMk cId="41662455" sldId="2147469804"/>
            <ac:spMk id="2" creationId="{63D62A48-DC98-EA11-8C48-55818DD6AF68}"/>
          </ac:spMkLst>
        </pc:spChg>
        <pc:spChg chg="mod">
          <ac:chgData name="Jean GRANDEMANGE" userId="faf07584-8716-430e-b66d-4ceae2fe8450" providerId="ADAL" clId="{5342A714-4FE6-4219-9F6F-BC15D1F861B7}" dt="2023-03-07T10:03:06.819" v="3435" actId="20577"/>
          <ac:spMkLst>
            <pc:docMk/>
            <pc:sldMk cId="41662455" sldId="2147469804"/>
            <ac:spMk id="3" creationId="{49E04204-AE45-4668-AAC4-25EFEE7BD311}"/>
          </ac:spMkLst>
        </pc:spChg>
        <pc:spChg chg="mod">
          <ac:chgData name="Jean GRANDEMANGE" userId="faf07584-8716-430e-b66d-4ceae2fe8450" providerId="ADAL" clId="{5342A714-4FE6-4219-9F6F-BC15D1F861B7}" dt="2023-03-07T17:06:19.059" v="4351" actId="20577"/>
          <ac:spMkLst>
            <pc:docMk/>
            <pc:sldMk cId="41662455" sldId="2147469804"/>
            <ac:spMk id="16" creationId="{7541CBD0-325B-4294-8AF4-D726AC34B380}"/>
          </ac:spMkLst>
        </pc:spChg>
        <pc:spChg chg="mod">
          <ac:chgData name="Jean GRANDEMANGE" userId="faf07584-8716-430e-b66d-4ceae2fe8450" providerId="ADAL" clId="{5342A714-4FE6-4219-9F6F-BC15D1F861B7}" dt="2023-03-07T10:03:33.651" v="3439" actId="20577"/>
          <ac:spMkLst>
            <pc:docMk/>
            <pc:sldMk cId="41662455" sldId="2147469804"/>
            <ac:spMk id="18" creationId="{EA39920B-A700-47FE-9EDF-B36F1EF4A762}"/>
          </ac:spMkLst>
        </pc:spChg>
        <pc:spChg chg="mod">
          <ac:chgData name="Jean GRANDEMANGE" userId="faf07584-8716-430e-b66d-4ceae2fe8450" providerId="ADAL" clId="{5342A714-4FE6-4219-9F6F-BC15D1F861B7}" dt="2023-03-07T10:04:55.658" v="3566" actId="20577"/>
          <ac:spMkLst>
            <pc:docMk/>
            <pc:sldMk cId="41662455" sldId="2147469804"/>
            <ac:spMk id="20" creationId="{13D1B09E-2F79-402D-A8DD-25C8D1B0DC6A}"/>
          </ac:spMkLst>
        </pc:spChg>
        <pc:spChg chg="del mod">
          <ac:chgData name="Jean GRANDEMANGE" userId="faf07584-8716-430e-b66d-4ceae2fe8450" providerId="ADAL" clId="{5342A714-4FE6-4219-9F6F-BC15D1F861B7}" dt="2023-03-08T10:32:27.445" v="4868" actId="478"/>
          <ac:spMkLst>
            <pc:docMk/>
            <pc:sldMk cId="41662455" sldId="2147469804"/>
            <ac:spMk id="21" creationId="{187C6CEF-58D0-4C02-8541-B88C48C766BA}"/>
          </ac:spMkLst>
        </pc:spChg>
      </pc:sldChg>
      <pc:sldChg chg="addSp delSp modSp mod modClrScheme chgLayout">
        <pc:chgData name="Jean GRANDEMANGE" userId="faf07584-8716-430e-b66d-4ceae2fe8450" providerId="ADAL" clId="{5342A714-4FE6-4219-9F6F-BC15D1F861B7}" dt="2023-03-08T10:34:08.653" v="4896" actId="2711"/>
        <pc:sldMkLst>
          <pc:docMk/>
          <pc:sldMk cId="1946307945" sldId="2147469814"/>
        </pc:sldMkLst>
        <pc:spChg chg="mod ord">
          <ac:chgData name="Jean GRANDEMANGE" userId="faf07584-8716-430e-b66d-4ceae2fe8450" providerId="ADAL" clId="{5342A714-4FE6-4219-9F6F-BC15D1F861B7}" dt="2023-03-08T10:33:31.666" v="4887" actId="700"/>
          <ac:spMkLst>
            <pc:docMk/>
            <pc:sldMk cId="1946307945" sldId="2147469814"/>
            <ac:spMk id="2" creationId="{26FE86CE-D796-92B4-487A-BCCC0D40C12E}"/>
          </ac:spMkLst>
        </pc:spChg>
        <pc:spChg chg="mod">
          <ac:chgData name="Jean GRANDEMANGE" userId="faf07584-8716-430e-b66d-4ceae2fe8450" providerId="ADAL" clId="{5342A714-4FE6-4219-9F6F-BC15D1F861B7}" dt="2023-03-08T10:33:52.593" v="4894" actId="1076"/>
          <ac:spMkLst>
            <pc:docMk/>
            <pc:sldMk cId="1946307945" sldId="2147469814"/>
            <ac:spMk id="4" creationId="{15DD90F7-F451-510E-DC3C-3935270A7118}"/>
          </ac:spMkLst>
        </pc:spChg>
        <pc:spChg chg="mod">
          <ac:chgData name="Jean GRANDEMANGE" userId="faf07584-8716-430e-b66d-4ceae2fe8450" providerId="ADAL" clId="{5342A714-4FE6-4219-9F6F-BC15D1F861B7}" dt="2023-03-08T10:33:52.593" v="4894" actId="1076"/>
          <ac:spMkLst>
            <pc:docMk/>
            <pc:sldMk cId="1946307945" sldId="2147469814"/>
            <ac:spMk id="6" creationId="{5C4F8E70-E6D1-E0EA-856E-1A1F458B1CDD}"/>
          </ac:spMkLst>
        </pc:spChg>
        <pc:spChg chg="add del mod ord">
          <ac:chgData name="Jean GRANDEMANGE" userId="faf07584-8716-430e-b66d-4ceae2fe8450" providerId="ADAL" clId="{5342A714-4FE6-4219-9F6F-BC15D1F861B7}" dt="2023-03-08T10:33:35.314" v="4889" actId="478"/>
          <ac:spMkLst>
            <pc:docMk/>
            <pc:sldMk cId="1946307945" sldId="2147469814"/>
            <ac:spMk id="7" creationId="{EA97E481-FB57-991B-01D8-F278A7D4A8AA}"/>
          </ac:spMkLst>
        </pc:spChg>
        <pc:spChg chg="mod">
          <ac:chgData name="Jean GRANDEMANGE" userId="faf07584-8716-430e-b66d-4ceae2fe8450" providerId="ADAL" clId="{5342A714-4FE6-4219-9F6F-BC15D1F861B7}" dt="2023-03-08T10:33:52.593" v="4894" actId="1076"/>
          <ac:spMkLst>
            <pc:docMk/>
            <pc:sldMk cId="1946307945" sldId="2147469814"/>
            <ac:spMk id="8" creationId="{02DAB6A1-D026-D451-EB2C-75643147F2BC}"/>
          </ac:spMkLst>
        </pc:spChg>
        <pc:spChg chg="mod">
          <ac:chgData name="Jean GRANDEMANGE" userId="faf07584-8716-430e-b66d-4ceae2fe8450" providerId="ADAL" clId="{5342A714-4FE6-4219-9F6F-BC15D1F861B7}" dt="2023-03-08T10:33:52.593" v="4894" actId="1076"/>
          <ac:spMkLst>
            <pc:docMk/>
            <pc:sldMk cId="1946307945" sldId="2147469814"/>
            <ac:spMk id="9" creationId="{ED65A0BA-C8F8-1E43-E4C3-0F1CAB6297C4}"/>
          </ac:spMkLst>
        </pc:spChg>
        <pc:spChg chg="mod">
          <ac:chgData name="Jean GRANDEMANGE" userId="faf07584-8716-430e-b66d-4ceae2fe8450" providerId="ADAL" clId="{5342A714-4FE6-4219-9F6F-BC15D1F861B7}" dt="2023-03-08T10:33:52.593" v="4894" actId="1076"/>
          <ac:spMkLst>
            <pc:docMk/>
            <pc:sldMk cId="1946307945" sldId="2147469814"/>
            <ac:spMk id="10" creationId="{C85AAFC8-045B-02F1-5FA7-0B2F8C3EB371}"/>
          </ac:spMkLst>
        </pc:spChg>
        <pc:spChg chg="mod">
          <ac:chgData name="Jean GRANDEMANGE" userId="faf07584-8716-430e-b66d-4ceae2fe8450" providerId="ADAL" clId="{5342A714-4FE6-4219-9F6F-BC15D1F861B7}" dt="2023-03-08T10:33:52.593" v="4894" actId="1076"/>
          <ac:spMkLst>
            <pc:docMk/>
            <pc:sldMk cId="1946307945" sldId="2147469814"/>
            <ac:spMk id="11" creationId="{AF7C7458-5737-11A4-8D8E-9B9FA411B313}"/>
          </ac:spMkLst>
        </pc:spChg>
        <pc:spChg chg="mod">
          <ac:chgData name="Jean GRANDEMANGE" userId="faf07584-8716-430e-b66d-4ceae2fe8450" providerId="ADAL" clId="{5342A714-4FE6-4219-9F6F-BC15D1F861B7}" dt="2023-03-08T10:33:52.593" v="4894" actId="1076"/>
          <ac:spMkLst>
            <pc:docMk/>
            <pc:sldMk cId="1946307945" sldId="2147469814"/>
            <ac:spMk id="12" creationId="{6BA7DB66-CBE9-5AD8-2838-C095C4BB2EB3}"/>
          </ac:spMkLst>
        </pc:spChg>
        <pc:spChg chg="del">
          <ac:chgData name="Jean GRANDEMANGE" userId="faf07584-8716-430e-b66d-4ceae2fe8450" providerId="ADAL" clId="{5342A714-4FE6-4219-9F6F-BC15D1F861B7}" dt="2023-03-08T10:33:37.213" v="4891" actId="478"/>
          <ac:spMkLst>
            <pc:docMk/>
            <pc:sldMk cId="1946307945" sldId="2147469814"/>
            <ac:spMk id="13" creationId="{FE66EC15-244B-BCB7-C3E0-29858556DE67}"/>
          </ac:spMkLst>
        </pc:spChg>
        <pc:spChg chg="del">
          <ac:chgData name="Jean GRANDEMANGE" userId="faf07584-8716-430e-b66d-4ceae2fe8450" providerId="ADAL" clId="{5342A714-4FE6-4219-9F6F-BC15D1F861B7}" dt="2023-03-08T10:33:36.644" v="4890" actId="478"/>
          <ac:spMkLst>
            <pc:docMk/>
            <pc:sldMk cId="1946307945" sldId="2147469814"/>
            <ac:spMk id="17" creationId="{E33E4C86-016F-D9BE-006C-362E33BEFD29}"/>
          </ac:spMkLst>
        </pc:spChg>
        <pc:spChg chg="mod">
          <ac:chgData name="Jean GRANDEMANGE" userId="faf07584-8716-430e-b66d-4ceae2fe8450" providerId="ADAL" clId="{5342A714-4FE6-4219-9F6F-BC15D1F861B7}" dt="2023-03-08T10:33:52.593" v="4894" actId="1076"/>
          <ac:spMkLst>
            <pc:docMk/>
            <pc:sldMk cId="1946307945" sldId="2147469814"/>
            <ac:spMk id="19" creationId="{E64885A3-B9BD-DAFB-5011-117DD36AF717}"/>
          </ac:spMkLst>
        </pc:spChg>
        <pc:graphicFrameChg chg="mod modGraphic">
          <ac:chgData name="Jean GRANDEMANGE" userId="faf07584-8716-430e-b66d-4ceae2fe8450" providerId="ADAL" clId="{5342A714-4FE6-4219-9F6F-BC15D1F861B7}" dt="2023-03-08T10:34:00.948" v="4895" actId="2711"/>
          <ac:graphicFrameMkLst>
            <pc:docMk/>
            <pc:sldMk cId="1946307945" sldId="2147469814"/>
            <ac:graphicFrameMk id="3" creationId="{81992096-3CCB-79FC-B948-7A4A1C42BBD8}"/>
          </ac:graphicFrameMkLst>
        </pc:graphicFrameChg>
        <pc:graphicFrameChg chg="mod modGraphic">
          <ac:chgData name="Jean GRANDEMANGE" userId="faf07584-8716-430e-b66d-4ceae2fe8450" providerId="ADAL" clId="{5342A714-4FE6-4219-9F6F-BC15D1F861B7}" dt="2023-03-08T10:34:08.653" v="4896" actId="2711"/>
          <ac:graphicFrameMkLst>
            <pc:docMk/>
            <pc:sldMk cId="1946307945" sldId="2147469814"/>
            <ac:graphicFrameMk id="5" creationId="{B9B1D6E0-DD50-8430-A71B-3AFD3F68ECC5}"/>
          </ac:graphicFrameMkLst>
        </pc:graphicFrameChg>
      </pc:sldChg>
      <pc:sldChg chg="addSp delSp modSp mod">
        <pc:chgData name="Jean GRANDEMANGE" userId="faf07584-8716-430e-b66d-4ceae2fe8450" providerId="ADAL" clId="{5342A714-4FE6-4219-9F6F-BC15D1F861B7}" dt="2023-03-08T10:05:24.158" v="4650" actId="6549"/>
        <pc:sldMkLst>
          <pc:docMk/>
          <pc:sldMk cId="4289527151" sldId="2147469829"/>
        </pc:sldMkLst>
        <pc:spChg chg="add del mod">
          <ac:chgData name="Jean GRANDEMANGE" userId="faf07584-8716-430e-b66d-4ceae2fe8450" providerId="ADAL" clId="{5342A714-4FE6-4219-9F6F-BC15D1F861B7}" dt="2023-03-08T10:03:52.891" v="4607" actId="478"/>
          <ac:spMkLst>
            <pc:docMk/>
            <pc:sldMk cId="4289527151" sldId="2147469829"/>
            <ac:spMk id="2" creationId="{EB04591E-22BF-5FA1-6455-93AA3811EE9A}"/>
          </ac:spMkLst>
        </pc:spChg>
        <pc:spChg chg="mod">
          <ac:chgData name="Jean GRANDEMANGE" userId="faf07584-8716-430e-b66d-4ceae2fe8450" providerId="ADAL" clId="{5342A714-4FE6-4219-9F6F-BC15D1F861B7}" dt="2023-03-08T10:04:02.620" v="4634" actId="20577"/>
          <ac:spMkLst>
            <pc:docMk/>
            <pc:sldMk cId="4289527151" sldId="2147469829"/>
            <ac:spMk id="5" creationId="{F42F9A6C-578C-477B-8E16-1AA32ACD65D9}"/>
          </ac:spMkLst>
        </pc:spChg>
        <pc:spChg chg="mod">
          <ac:chgData name="Jean GRANDEMANGE" userId="faf07584-8716-430e-b66d-4ceae2fe8450" providerId="ADAL" clId="{5342A714-4FE6-4219-9F6F-BC15D1F861B7}" dt="2023-03-08T10:05:24.158" v="4650" actId="6549"/>
          <ac:spMkLst>
            <pc:docMk/>
            <pc:sldMk cId="4289527151" sldId="2147469829"/>
            <ac:spMk id="11" creationId="{3A236E1F-8FDB-4C57-9571-5A1A8872F69F}"/>
          </ac:spMkLst>
        </pc:spChg>
        <pc:spChg chg="mod">
          <ac:chgData name="Jean GRANDEMANGE" userId="faf07584-8716-430e-b66d-4ceae2fe8450" providerId="ADAL" clId="{5342A714-4FE6-4219-9F6F-BC15D1F861B7}" dt="2023-03-08T10:03:39.902" v="4587" actId="20577"/>
          <ac:spMkLst>
            <pc:docMk/>
            <pc:sldMk cId="4289527151" sldId="2147469829"/>
            <ac:spMk id="13" creationId="{2EE1ABDB-642D-4BA6-AF56-7ED187998F26}"/>
          </ac:spMkLst>
        </pc:spChg>
      </pc:sldChg>
      <pc:sldChg chg="addSp delSp modSp mod">
        <pc:chgData name="Jean GRANDEMANGE" userId="faf07584-8716-430e-b66d-4ceae2fe8450" providerId="ADAL" clId="{5342A714-4FE6-4219-9F6F-BC15D1F861B7}" dt="2023-03-08T10:50:27.987" v="5233" actId="20577"/>
        <pc:sldMkLst>
          <pc:docMk/>
          <pc:sldMk cId="1301648618" sldId="2147469831"/>
        </pc:sldMkLst>
        <pc:spChg chg="mod">
          <ac:chgData name="Jean GRANDEMANGE" userId="faf07584-8716-430e-b66d-4ceae2fe8450" providerId="ADAL" clId="{5342A714-4FE6-4219-9F6F-BC15D1F861B7}" dt="2023-03-08T10:50:27.987" v="5233" actId="20577"/>
          <ac:spMkLst>
            <pc:docMk/>
            <pc:sldMk cId="1301648618" sldId="2147469831"/>
            <ac:spMk id="7" creationId="{8FFDA8EC-8B79-4111-9A54-1FBA6FF78689}"/>
          </ac:spMkLst>
        </pc:spChg>
        <pc:spChg chg="mod">
          <ac:chgData name="Jean GRANDEMANGE" userId="faf07584-8716-430e-b66d-4ceae2fe8450" providerId="ADAL" clId="{5342A714-4FE6-4219-9F6F-BC15D1F861B7}" dt="2023-03-06T10:49:41.966" v="2243" actId="20577"/>
          <ac:spMkLst>
            <pc:docMk/>
            <pc:sldMk cId="1301648618" sldId="2147469831"/>
            <ac:spMk id="8" creationId="{7EE3A62C-16BD-4386-A32F-A24CCFC7199D}"/>
          </ac:spMkLst>
        </pc:spChg>
        <pc:spChg chg="mod">
          <ac:chgData name="Jean GRANDEMANGE" userId="faf07584-8716-430e-b66d-4ceae2fe8450" providerId="ADAL" clId="{5342A714-4FE6-4219-9F6F-BC15D1F861B7}" dt="2023-03-08T10:49:48.599" v="5189" actId="20577"/>
          <ac:spMkLst>
            <pc:docMk/>
            <pc:sldMk cId="1301648618" sldId="2147469831"/>
            <ac:spMk id="9" creationId="{BD6433EC-D9EB-4716-B094-2038D14B5EE7}"/>
          </ac:spMkLst>
        </pc:spChg>
        <pc:picChg chg="add del mod modCrop">
          <ac:chgData name="Jean GRANDEMANGE" userId="faf07584-8716-430e-b66d-4ceae2fe8450" providerId="ADAL" clId="{5342A714-4FE6-4219-9F6F-BC15D1F861B7}" dt="2023-03-06T10:44:41.481" v="2022" actId="21"/>
          <ac:picMkLst>
            <pc:docMk/>
            <pc:sldMk cId="1301648618" sldId="2147469831"/>
            <ac:picMk id="2" creationId="{AABC9876-C46B-F668-7D0C-055C147DDEBD}"/>
          </ac:picMkLst>
        </pc:picChg>
      </pc:sldChg>
      <pc:sldChg chg="ord">
        <pc:chgData name="Jean GRANDEMANGE" userId="faf07584-8716-430e-b66d-4ceae2fe8450" providerId="ADAL" clId="{5342A714-4FE6-4219-9F6F-BC15D1F861B7}" dt="2023-02-28T08:20:09.227" v="464"/>
        <pc:sldMkLst>
          <pc:docMk/>
          <pc:sldMk cId="256183737" sldId="2147469842"/>
        </pc:sldMkLst>
      </pc:sldChg>
      <pc:sldChg chg="addSp delSp modSp add mod">
        <pc:chgData name="Jean GRANDEMANGE" userId="faf07584-8716-430e-b66d-4ceae2fe8450" providerId="ADAL" clId="{5342A714-4FE6-4219-9F6F-BC15D1F861B7}" dt="2023-03-08T11:59:30.729" v="5706" actId="20577"/>
        <pc:sldMkLst>
          <pc:docMk/>
          <pc:sldMk cId="326061754" sldId="2147469843"/>
        </pc:sldMkLst>
        <pc:spChg chg="add del mod">
          <ac:chgData name="Jean GRANDEMANGE" userId="faf07584-8716-430e-b66d-4ceae2fe8450" providerId="ADAL" clId="{5342A714-4FE6-4219-9F6F-BC15D1F861B7}" dt="2023-03-08T10:32:57.777" v="4879" actId="478"/>
          <ac:spMkLst>
            <pc:docMk/>
            <pc:sldMk cId="326061754" sldId="2147469843"/>
            <ac:spMk id="2" creationId="{59D1532C-E32A-E90F-9C28-925FF8E6CE3C}"/>
          </ac:spMkLst>
        </pc:spChg>
        <pc:spChg chg="del">
          <ac:chgData name="Jean GRANDEMANGE" userId="faf07584-8716-430e-b66d-4ceae2fe8450" providerId="ADAL" clId="{5342A714-4FE6-4219-9F6F-BC15D1F861B7}" dt="2023-03-08T10:32:58.454" v="4880" actId="478"/>
          <ac:spMkLst>
            <pc:docMk/>
            <pc:sldMk cId="326061754" sldId="2147469843"/>
            <ac:spMk id="3" creationId="{75F4717C-A60E-95C8-9D67-9F9CAADDE926}"/>
          </ac:spMkLst>
        </pc:spChg>
        <pc:spChg chg="mod">
          <ac:chgData name="Jean GRANDEMANGE" userId="faf07584-8716-430e-b66d-4ceae2fe8450" providerId="ADAL" clId="{5342A714-4FE6-4219-9F6F-BC15D1F861B7}" dt="2023-03-08T11:59:30.729" v="5706" actId="20577"/>
          <ac:spMkLst>
            <pc:docMk/>
            <pc:sldMk cId="326061754" sldId="2147469843"/>
            <ac:spMk id="4" creationId="{C21CD22A-FC5F-4D67-8AB2-923DB2AD5B9A}"/>
          </ac:spMkLst>
        </pc:spChg>
        <pc:spChg chg="mod">
          <ac:chgData name="Jean GRANDEMANGE" userId="faf07584-8716-430e-b66d-4ceae2fe8450" providerId="ADAL" clId="{5342A714-4FE6-4219-9F6F-BC15D1F861B7}" dt="2023-03-07T15:20:15.325" v="3758" actId="20577"/>
          <ac:spMkLst>
            <pc:docMk/>
            <pc:sldMk cId="326061754" sldId="2147469843"/>
            <ac:spMk id="6" creationId="{8A88337F-C6B5-43D7-BAFD-2A01BE57E6CF}"/>
          </ac:spMkLst>
        </pc:spChg>
        <pc:graphicFrameChg chg="mod modGraphic">
          <ac:chgData name="Jean GRANDEMANGE" userId="faf07584-8716-430e-b66d-4ceae2fe8450" providerId="ADAL" clId="{5342A714-4FE6-4219-9F6F-BC15D1F861B7}" dt="2023-03-07T15:33:26.906" v="3845" actId="1076"/>
          <ac:graphicFrameMkLst>
            <pc:docMk/>
            <pc:sldMk cId="326061754" sldId="2147469843"/>
            <ac:graphicFrameMk id="5" creationId="{E247BD5F-6119-4BE9-9391-766AF3CC0E43}"/>
          </ac:graphicFrameMkLst>
        </pc:graphicFrameChg>
      </pc:sldChg>
      <pc:sldChg chg="del">
        <pc:chgData name="Jean GRANDEMANGE" userId="faf07584-8716-430e-b66d-4ceae2fe8450" providerId="ADAL" clId="{5342A714-4FE6-4219-9F6F-BC15D1F861B7}" dt="2023-03-06T10:49:17.714" v="2217" actId="2696"/>
        <pc:sldMkLst>
          <pc:docMk/>
          <pc:sldMk cId="1055855095" sldId="2147469843"/>
        </pc:sldMkLst>
      </pc:sldChg>
      <pc:sldChg chg="ord">
        <pc:chgData name="Jean GRANDEMANGE" userId="faf07584-8716-430e-b66d-4ceae2fe8450" providerId="ADAL" clId="{5342A714-4FE6-4219-9F6F-BC15D1F861B7}" dt="2023-02-28T08:18:08.571" v="405"/>
        <pc:sldMkLst>
          <pc:docMk/>
          <pc:sldMk cId="1656768796" sldId="2147469851"/>
        </pc:sldMkLst>
      </pc:sldChg>
      <pc:sldChg chg="ord">
        <pc:chgData name="Jean GRANDEMANGE" userId="faf07584-8716-430e-b66d-4ceae2fe8450" providerId="ADAL" clId="{5342A714-4FE6-4219-9F6F-BC15D1F861B7}" dt="2023-02-28T08:20:09.227" v="464"/>
        <pc:sldMkLst>
          <pc:docMk/>
          <pc:sldMk cId="1530490193" sldId="2147469853"/>
        </pc:sldMkLst>
      </pc:sldChg>
      <pc:sldChg chg="del">
        <pc:chgData name="Jean GRANDEMANGE" userId="faf07584-8716-430e-b66d-4ceae2fe8450" providerId="ADAL" clId="{5342A714-4FE6-4219-9F6F-BC15D1F861B7}" dt="2023-03-06T08:44:13.808" v="1263" actId="47"/>
        <pc:sldMkLst>
          <pc:docMk/>
          <pc:sldMk cId="2555663358" sldId="2147469855"/>
        </pc:sldMkLst>
      </pc:sldChg>
      <pc:sldChg chg="modSp del mod ord">
        <pc:chgData name="Jean GRANDEMANGE" userId="faf07584-8716-430e-b66d-4ceae2fe8450" providerId="ADAL" clId="{5342A714-4FE6-4219-9F6F-BC15D1F861B7}" dt="2023-02-28T08:23:17.765" v="503" actId="47"/>
        <pc:sldMkLst>
          <pc:docMk/>
          <pc:sldMk cId="524880113" sldId="2147469856"/>
        </pc:sldMkLst>
        <pc:spChg chg="mod">
          <ac:chgData name="Jean GRANDEMANGE" userId="faf07584-8716-430e-b66d-4ceae2fe8450" providerId="ADAL" clId="{5342A714-4FE6-4219-9F6F-BC15D1F861B7}" dt="2023-02-28T08:21:04.784" v="502" actId="20577"/>
          <ac:spMkLst>
            <pc:docMk/>
            <pc:sldMk cId="524880113" sldId="2147469856"/>
            <ac:spMk id="2" creationId="{6F2E6D00-8047-4760-9239-06C0A3B71ECE}"/>
          </ac:spMkLst>
        </pc:spChg>
      </pc:sldChg>
      <pc:sldChg chg="del">
        <pc:chgData name="Jean GRANDEMANGE" userId="faf07584-8716-430e-b66d-4ceae2fe8450" providerId="ADAL" clId="{5342A714-4FE6-4219-9F6F-BC15D1F861B7}" dt="2023-03-06T08:44:13.808" v="1263" actId="47"/>
        <pc:sldMkLst>
          <pc:docMk/>
          <pc:sldMk cId="610653500" sldId="2147469858"/>
        </pc:sldMkLst>
      </pc:sldChg>
      <pc:sldChg chg="del">
        <pc:chgData name="Jean GRANDEMANGE" userId="faf07584-8716-430e-b66d-4ceae2fe8450" providerId="ADAL" clId="{5342A714-4FE6-4219-9F6F-BC15D1F861B7}" dt="2023-03-06T08:44:13.808" v="1263" actId="47"/>
        <pc:sldMkLst>
          <pc:docMk/>
          <pc:sldMk cId="3123767572" sldId="2147469860"/>
        </pc:sldMkLst>
      </pc:sldChg>
      <pc:sldChg chg="addSp delSp modSp add mod">
        <pc:chgData name="Jean GRANDEMANGE" userId="faf07584-8716-430e-b66d-4ceae2fe8450" providerId="ADAL" clId="{5342A714-4FE6-4219-9F6F-BC15D1F861B7}" dt="2023-03-08T10:48:06.609" v="5170" actId="478"/>
        <pc:sldMkLst>
          <pc:docMk/>
          <pc:sldMk cId="4150546240" sldId="2147469861"/>
        </pc:sldMkLst>
        <pc:spChg chg="add del mod">
          <ac:chgData name="Jean GRANDEMANGE" userId="faf07584-8716-430e-b66d-4ceae2fe8450" providerId="ADAL" clId="{5342A714-4FE6-4219-9F6F-BC15D1F861B7}" dt="2023-03-08T10:48:06.609" v="5170" actId="478"/>
          <ac:spMkLst>
            <pc:docMk/>
            <pc:sldMk cId="4150546240" sldId="2147469861"/>
            <ac:spMk id="3" creationId="{3CD609EF-32C3-F08E-E93D-9A8A0F30C0C9}"/>
          </ac:spMkLst>
        </pc:spChg>
        <pc:spChg chg="mod">
          <ac:chgData name="Jean GRANDEMANGE" userId="faf07584-8716-430e-b66d-4ceae2fe8450" providerId="ADAL" clId="{5342A714-4FE6-4219-9F6F-BC15D1F861B7}" dt="2023-03-06T08:24:00.717" v="1040" actId="20577"/>
          <ac:spMkLst>
            <pc:docMk/>
            <pc:sldMk cId="4150546240" sldId="2147469861"/>
            <ac:spMk id="4" creationId="{C5EE2D1F-6A72-4C17-B44A-C84E47A1D174}"/>
          </ac:spMkLst>
        </pc:spChg>
      </pc:sldChg>
      <pc:sldChg chg="addSp delSp modSp add mod">
        <pc:chgData name="Jean GRANDEMANGE" userId="faf07584-8716-430e-b66d-4ceae2fe8450" providerId="ADAL" clId="{5342A714-4FE6-4219-9F6F-BC15D1F861B7}" dt="2023-03-08T10:51:02.712" v="5275" actId="207"/>
        <pc:sldMkLst>
          <pc:docMk/>
          <pc:sldMk cId="2860466465" sldId="2147469862"/>
        </pc:sldMkLst>
        <pc:spChg chg="add del mod">
          <ac:chgData name="Jean GRANDEMANGE" userId="faf07584-8716-430e-b66d-4ceae2fe8450" providerId="ADAL" clId="{5342A714-4FE6-4219-9F6F-BC15D1F861B7}" dt="2023-03-08T10:48:08.790" v="5172" actId="478"/>
          <ac:spMkLst>
            <pc:docMk/>
            <pc:sldMk cId="2860466465" sldId="2147469862"/>
            <ac:spMk id="3" creationId="{3A315812-877C-B287-B6D3-7E7510055771}"/>
          </ac:spMkLst>
        </pc:spChg>
        <pc:spChg chg="mod">
          <ac:chgData name="Jean GRANDEMANGE" userId="faf07584-8716-430e-b66d-4ceae2fe8450" providerId="ADAL" clId="{5342A714-4FE6-4219-9F6F-BC15D1F861B7}" dt="2023-03-08T10:51:02.712" v="5275" actId="207"/>
          <ac:spMkLst>
            <pc:docMk/>
            <pc:sldMk cId="2860466465" sldId="2147469862"/>
            <ac:spMk id="26" creationId="{C5A5162C-CB6B-44F9-A3D6-D49674B01B03}"/>
          </ac:spMkLst>
        </pc:spChg>
      </pc:sldChg>
      <pc:sldChg chg="del">
        <pc:chgData name="Jean GRANDEMANGE" userId="faf07584-8716-430e-b66d-4ceae2fe8450" providerId="ADAL" clId="{5342A714-4FE6-4219-9F6F-BC15D1F861B7}" dt="2023-03-08T09:57:00.747" v="4531" actId="2696"/>
        <pc:sldMkLst>
          <pc:docMk/>
          <pc:sldMk cId="2704744056" sldId="2147469863"/>
        </pc:sldMkLst>
      </pc:sldChg>
      <pc:sldChg chg="delSp modSp mod">
        <pc:chgData name="Jean GRANDEMANGE" userId="faf07584-8716-430e-b66d-4ceae2fe8450" providerId="ADAL" clId="{5342A714-4FE6-4219-9F6F-BC15D1F861B7}" dt="2023-03-08T10:37:03.592" v="4959" actId="2711"/>
        <pc:sldMkLst>
          <pc:docMk/>
          <pc:sldMk cId="814698274" sldId="2147469864"/>
        </pc:sldMkLst>
        <pc:spChg chg="del">
          <ac:chgData name="Jean GRANDEMANGE" userId="faf07584-8716-430e-b66d-4ceae2fe8450" providerId="ADAL" clId="{5342A714-4FE6-4219-9F6F-BC15D1F861B7}" dt="2023-03-07T15:44:19.865" v="4033" actId="478"/>
          <ac:spMkLst>
            <pc:docMk/>
            <pc:sldMk cId="814698274" sldId="2147469864"/>
            <ac:spMk id="3" creationId="{01092B56-C754-D90B-88CD-CF26713A3F27}"/>
          </ac:spMkLst>
        </pc:spChg>
        <pc:spChg chg="del">
          <ac:chgData name="Jean GRANDEMANGE" userId="faf07584-8716-430e-b66d-4ceae2fe8450" providerId="ADAL" clId="{5342A714-4FE6-4219-9F6F-BC15D1F861B7}" dt="2023-03-08T10:36:56.260" v="4958" actId="478"/>
          <ac:spMkLst>
            <pc:docMk/>
            <pc:sldMk cId="814698274" sldId="2147469864"/>
            <ac:spMk id="3" creationId="{325AC317-43EB-16A9-7815-0828B5914DED}"/>
          </ac:spMkLst>
        </pc:spChg>
        <pc:spChg chg="mod">
          <ac:chgData name="Jean GRANDEMANGE" userId="faf07584-8716-430e-b66d-4ceae2fe8450" providerId="ADAL" clId="{5342A714-4FE6-4219-9F6F-BC15D1F861B7}" dt="2023-03-08T10:37:03.592" v="4959" actId="2711"/>
          <ac:spMkLst>
            <pc:docMk/>
            <pc:sldMk cId="814698274" sldId="2147469864"/>
            <ac:spMk id="42" creationId="{DE75694F-4B5C-407B-A1CD-064713131879}"/>
          </ac:spMkLst>
        </pc:spChg>
      </pc:sldChg>
      <pc:sldChg chg="del">
        <pc:chgData name="Jean GRANDEMANGE" userId="faf07584-8716-430e-b66d-4ceae2fe8450" providerId="ADAL" clId="{5342A714-4FE6-4219-9F6F-BC15D1F861B7}" dt="2023-03-06T08:44:13.808" v="1263" actId="47"/>
        <pc:sldMkLst>
          <pc:docMk/>
          <pc:sldMk cId="3894415295" sldId="2147469865"/>
        </pc:sldMkLst>
      </pc:sldChg>
      <pc:sldChg chg="addSp delSp modSp mod">
        <pc:chgData name="Jean GRANDEMANGE" userId="faf07584-8716-430e-b66d-4ceae2fe8450" providerId="ADAL" clId="{5342A714-4FE6-4219-9F6F-BC15D1F861B7}" dt="2023-03-08T11:47:12.659" v="5695" actId="20577"/>
        <pc:sldMkLst>
          <pc:docMk/>
          <pc:sldMk cId="3764256714" sldId="2147469867"/>
        </pc:sldMkLst>
        <pc:spChg chg="mod">
          <ac:chgData name="Jean GRANDEMANGE" userId="faf07584-8716-430e-b66d-4ceae2fe8450" providerId="ADAL" clId="{5342A714-4FE6-4219-9F6F-BC15D1F861B7}" dt="2023-03-08T11:42:57.185" v="5499" actId="1076"/>
          <ac:spMkLst>
            <pc:docMk/>
            <pc:sldMk cId="3764256714" sldId="2147469867"/>
            <ac:spMk id="3" creationId="{4D2DE1AD-B527-53FE-10FF-0ACE360C6AEE}"/>
          </ac:spMkLst>
        </pc:spChg>
        <pc:spChg chg="mod">
          <ac:chgData name="Jean GRANDEMANGE" userId="faf07584-8716-430e-b66d-4ceae2fe8450" providerId="ADAL" clId="{5342A714-4FE6-4219-9F6F-BC15D1F861B7}" dt="2023-03-08T11:46:51.017" v="5679" actId="20577"/>
          <ac:spMkLst>
            <pc:docMk/>
            <pc:sldMk cId="3764256714" sldId="2147469867"/>
            <ac:spMk id="4" creationId="{9B1F2532-D901-5314-8B90-028F7A75E45B}"/>
          </ac:spMkLst>
        </pc:spChg>
        <pc:spChg chg="mod">
          <ac:chgData name="Jean GRANDEMANGE" userId="faf07584-8716-430e-b66d-4ceae2fe8450" providerId="ADAL" clId="{5342A714-4FE6-4219-9F6F-BC15D1F861B7}" dt="2023-03-08T11:46:22.867" v="5678" actId="20577"/>
          <ac:spMkLst>
            <pc:docMk/>
            <pc:sldMk cId="3764256714" sldId="2147469867"/>
            <ac:spMk id="5" creationId="{E33F71B4-C046-98B8-43D5-DE44C8EC5268}"/>
          </ac:spMkLst>
        </pc:spChg>
        <pc:spChg chg="mod">
          <ac:chgData name="Jean GRANDEMANGE" userId="faf07584-8716-430e-b66d-4ceae2fe8450" providerId="ADAL" clId="{5342A714-4FE6-4219-9F6F-BC15D1F861B7}" dt="2023-03-08T10:56:18.567" v="5399" actId="1076"/>
          <ac:spMkLst>
            <pc:docMk/>
            <pc:sldMk cId="3764256714" sldId="2147469867"/>
            <ac:spMk id="7" creationId="{72CFDD98-C303-B246-7482-B03D637021D8}"/>
          </ac:spMkLst>
        </pc:spChg>
        <pc:spChg chg="mod">
          <ac:chgData name="Jean GRANDEMANGE" userId="faf07584-8716-430e-b66d-4ceae2fe8450" providerId="ADAL" clId="{5342A714-4FE6-4219-9F6F-BC15D1F861B7}" dt="2023-03-08T10:56:18.567" v="5399" actId="1076"/>
          <ac:spMkLst>
            <pc:docMk/>
            <pc:sldMk cId="3764256714" sldId="2147469867"/>
            <ac:spMk id="9" creationId="{9746C02B-99E1-5123-7191-A73F711393D6}"/>
          </ac:spMkLst>
        </pc:spChg>
        <pc:spChg chg="mod">
          <ac:chgData name="Jean GRANDEMANGE" userId="faf07584-8716-430e-b66d-4ceae2fe8450" providerId="ADAL" clId="{5342A714-4FE6-4219-9F6F-BC15D1F861B7}" dt="2023-03-08T11:43:17.601" v="5519" actId="1076"/>
          <ac:spMkLst>
            <pc:docMk/>
            <pc:sldMk cId="3764256714" sldId="2147469867"/>
            <ac:spMk id="11" creationId="{09014BD0-F3D8-FC02-1D97-C3F555D54B95}"/>
          </ac:spMkLst>
        </pc:spChg>
        <pc:spChg chg="mod">
          <ac:chgData name="Jean GRANDEMANGE" userId="faf07584-8716-430e-b66d-4ceae2fe8450" providerId="ADAL" clId="{5342A714-4FE6-4219-9F6F-BC15D1F861B7}" dt="2023-03-08T11:45:42.012" v="5665" actId="113"/>
          <ac:spMkLst>
            <pc:docMk/>
            <pc:sldMk cId="3764256714" sldId="2147469867"/>
            <ac:spMk id="12" creationId="{C23FA211-632F-3313-64B9-937C27CDB373}"/>
          </ac:spMkLst>
        </pc:spChg>
        <pc:spChg chg="mod">
          <ac:chgData name="Jean GRANDEMANGE" userId="faf07584-8716-430e-b66d-4ceae2fe8450" providerId="ADAL" clId="{5342A714-4FE6-4219-9F6F-BC15D1F861B7}" dt="2023-03-08T11:45:48.017" v="5672" actId="20577"/>
          <ac:spMkLst>
            <pc:docMk/>
            <pc:sldMk cId="3764256714" sldId="2147469867"/>
            <ac:spMk id="13" creationId="{ACA975F1-11D8-DA05-24ED-50B1698908EE}"/>
          </ac:spMkLst>
        </pc:spChg>
        <pc:spChg chg="add del mod">
          <ac:chgData name="Jean GRANDEMANGE" userId="faf07584-8716-430e-b66d-4ceae2fe8450" providerId="ADAL" clId="{5342A714-4FE6-4219-9F6F-BC15D1F861B7}" dt="2023-03-07T17:05:06.418" v="4292" actId="478"/>
          <ac:spMkLst>
            <pc:docMk/>
            <pc:sldMk cId="3764256714" sldId="2147469867"/>
            <ac:spMk id="16" creationId="{BD14F4AA-C164-6EE9-ACB1-42E197469EAE}"/>
          </ac:spMkLst>
        </pc:spChg>
        <pc:spChg chg="add mod">
          <ac:chgData name="Jean GRANDEMANGE" userId="faf07584-8716-430e-b66d-4ceae2fe8450" providerId="ADAL" clId="{5342A714-4FE6-4219-9F6F-BC15D1F861B7}" dt="2023-03-08T10:53:32.193" v="5346" actId="14100"/>
          <ac:spMkLst>
            <pc:docMk/>
            <pc:sldMk cId="3764256714" sldId="2147469867"/>
            <ac:spMk id="16" creationId="{C59CD93B-D894-1D40-6C2F-3F5E615D5616}"/>
          </ac:spMkLst>
        </pc:spChg>
        <pc:spChg chg="add del mod">
          <ac:chgData name="Jean GRANDEMANGE" userId="faf07584-8716-430e-b66d-4ceae2fe8450" providerId="ADAL" clId="{5342A714-4FE6-4219-9F6F-BC15D1F861B7}" dt="2023-03-08T11:42:30.677" v="5487" actId="478"/>
          <ac:spMkLst>
            <pc:docMk/>
            <pc:sldMk cId="3764256714" sldId="2147469867"/>
            <ac:spMk id="17" creationId="{52D18A00-A2C2-6319-FE3A-AB1988A2C58F}"/>
          </ac:spMkLst>
        </pc:spChg>
        <pc:spChg chg="add mod">
          <ac:chgData name="Jean GRANDEMANGE" userId="faf07584-8716-430e-b66d-4ceae2fe8450" providerId="ADAL" clId="{5342A714-4FE6-4219-9F6F-BC15D1F861B7}" dt="2023-03-08T10:53:34.534" v="5347" actId="14100"/>
          <ac:spMkLst>
            <pc:docMk/>
            <pc:sldMk cId="3764256714" sldId="2147469867"/>
            <ac:spMk id="18" creationId="{C0DA3F0E-A9C7-9DF5-040C-9778BCB95D12}"/>
          </ac:spMkLst>
        </pc:spChg>
        <pc:spChg chg="add mod">
          <ac:chgData name="Jean GRANDEMANGE" userId="faf07584-8716-430e-b66d-4ceae2fe8450" providerId="ADAL" clId="{5342A714-4FE6-4219-9F6F-BC15D1F861B7}" dt="2023-03-08T10:53:21.178" v="5343" actId="404"/>
          <ac:spMkLst>
            <pc:docMk/>
            <pc:sldMk cId="3764256714" sldId="2147469867"/>
            <ac:spMk id="19" creationId="{6DE291A9-1D8F-470A-1EB9-B6A574092981}"/>
          </ac:spMkLst>
        </pc:spChg>
        <pc:spChg chg="add mod">
          <ac:chgData name="Jean GRANDEMANGE" userId="faf07584-8716-430e-b66d-4ceae2fe8450" providerId="ADAL" clId="{5342A714-4FE6-4219-9F6F-BC15D1F861B7}" dt="2023-03-08T10:53:21.178" v="5343" actId="404"/>
          <ac:spMkLst>
            <pc:docMk/>
            <pc:sldMk cId="3764256714" sldId="2147469867"/>
            <ac:spMk id="21" creationId="{0E319491-7025-1A4D-1FD2-D9FF088795A3}"/>
          </ac:spMkLst>
        </pc:spChg>
        <pc:spChg chg="add mod">
          <ac:chgData name="Jean GRANDEMANGE" userId="faf07584-8716-430e-b66d-4ceae2fe8450" providerId="ADAL" clId="{5342A714-4FE6-4219-9F6F-BC15D1F861B7}" dt="2023-03-08T10:53:36.483" v="5348" actId="14100"/>
          <ac:spMkLst>
            <pc:docMk/>
            <pc:sldMk cId="3764256714" sldId="2147469867"/>
            <ac:spMk id="22" creationId="{0EEA1D41-A002-3448-6740-C02B1C0408C8}"/>
          </ac:spMkLst>
        </pc:spChg>
        <pc:spChg chg="del">
          <ac:chgData name="Jean GRANDEMANGE" userId="faf07584-8716-430e-b66d-4ceae2fe8450" providerId="ADAL" clId="{5342A714-4FE6-4219-9F6F-BC15D1F861B7}" dt="2023-03-08T10:53:50.154" v="5351" actId="478"/>
          <ac:spMkLst>
            <pc:docMk/>
            <pc:sldMk cId="3764256714" sldId="2147469867"/>
            <ac:spMk id="23" creationId="{5B6A5863-76AB-2052-A2C6-EFEE53C44445}"/>
          </ac:spMkLst>
        </pc:spChg>
        <pc:spChg chg="add mod">
          <ac:chgData name="Jean GRANDEMANGE" userId="faf07584-8716-430e-b66d-4ceae2fe8450" providerId="ADAL" clId="{5342A714-4FE6-4219-9F6F-BC15D1F861B7}" dt="2023-03-08T10:53:21.178" v="5343" actId="404"/>
          <ac:spMkLst>
            <pc:docMk/>
            <pc:sldMk cId="3764256714" sldId="2147469867"/>
            <ac:spMk id="24" creationId="{BA56F45A-E3AE-5853-84A6-AE49FDA2ED57}"/>
          </ac:spMkLst>
        </pc:spChg>
        <pc:spChg chg="del">
          <ac:chgData name="Jean GRANDEMANGE" userId="faf07584-8716-430e-b66d-4ceae2fe8450" providerId="ADAL" clId="{5342A714-4FE6-4219-9F6F-BC15D1F861B7}" dt="2023-03-08T10:53:27.973" v="5345" actId="478"/>
          <ac:spMkLst>
            <pc:docMk/>
            <pc:sldMk cId="3764256714" sldId="2147469867"/>
            <ac:spMk id="25" creationId="{914F0A5A-F09F-04D2-6BFC-148DAB76BD24}"/>
          </ac:spMkLst>
        </pc:spChg>
        <pc:spChg chg="del">
          <ac:chgData name="Jean GRANDEMANGE" userId="faf07584-8716-430e-b66d-4ceae2fe8450" providerId="ADAL" clId="{5342A714-4FE6-4219-9F6F-BC15D1F861B7}" dt="2023-03-08T10:53:27.973" v="5345" actId="478"/>
          <ac:spMkLst>
            <pc:docMk/>
            <pc:sldMk cId="3764256714" sldId="2147469867"/>
            <ac:spMk id="26" creationId="{D006A0E9-A129-BFDE-73D1-CB0F0352B454}"/>
          </ac:spMkLst>
        </pc:spChg>
        <pc:spChg chg="mod">
          <ac:chgData name="Jean GRANDEMANGE" userId="faf07584-8716-430e-b66d-4ceae2fe8450" providerId="ADAL" clId="{5342A714-4FE6-4219-9F6F-BC15D1F861B7}" dt="2023-03-08T11:47:12.659" v="5695" actId="20577"/>
          <ac:spMkLst>
            <pc:docMk/>
            <pc:sldMk cId="3764256714" sldId="2147469867"/>
            <ac:spMk id="31" creationId="{654D61A4-8399-FF1F-07BB-D3C7678E2C99}"/>
          </ac:spMkLst>
        </pc:spChg>
        <pc:spChg chg="mod">
          <ac:chgData name="Jean GRANDEMANGE" userId="faf07584-8716-430e-b66d-4ceae2fe8450" providerId="ADAL" clId="{5342A714-4FE6-4219-9F6F-BC15D1F861B7}" dt="2023-03-08T10:56:13.532" v="5398" actId="1076"/>
          <ac:spMkLst>
            <pc:docMk/>
            <pc:sldMk cId="3764256714" sldId="2147469867"/>
            <ac:spMk id="32" creationId="{020CB1B0-83B0-7935-7342-5FE81A9F728C}"/>
          </ac:spMkLst>
        </pc:spChg>
        <pc:spChg chg="add mod">
          <ac:chgData name="Jean GRANDEMANGE" userId="faf07584-8716-430e-b66d-4ceae2fe8450" providerId="ADAL" clId="{5342A714-4FE6-4219-9F6F-BC15D1F861B7}" dt="2023-03-08T10:55:01.565" v="5383" actId="1076"/>
          <ac:spMkLst>
            <pc:docMk/>
            <pc:sldMk cId="3764256714" sldId="2147469867"/>
            <ac:spMk id="33" creationId="{1661981C-B1AF-7679-24CC-571C79CCAEAA}"/>
          </ac:spMkLst>
        </pc:spChg>
        <pc:spChg chg="mod">
          <ac:chgData name="Jean GRANDEMANGE" userId="faf07584-8716-430e-b66d-4ceae2fe8450" providerId="ADAL" clId="{5342A714-4FE6-4219-9F6F-BC15D1F861B7}" dt="2023-03-08T10:56:40.324" v="5401" actId="1076"/>
          <ac:spMkLst>
            <pc:docMk/>
            <pc:sldMk cId="3764256714" sldId="2147469867"/>
            <ac:spMk id="34" creationId="{273E1CEA-E561-2EE7-55F2-B445F739303E}"/>
          </ac:spMkLst>
        </pc:spChg>
        <pc:spChg chg="mod">
          <ac:chgData name="Jean GRANDEMANGE" userId="faf07584-8716-430e-b66d-4ceae2fe8450" providerId="ADAL" clId="{5342A714-4FE6-4219-9F6F-BC15D1F861B7}" dt="2023-03-08T10:56:13.532" v="5398" actId="1076"/>
          <ac:spMkLst>
            <pc:docMk/>
            <pc:sldMk cId="3764256714" sldId="2147469867"/>
            <ac:spMk id="35" creationId="{CFCF35D4-1075-37D4-B0CA-A94354BC669C}"/>
          </ac:spMkLst>
        </pc:spChg>
        <pc:spChg chg="del">
          <ac:chgData name="Jean GRANDEMANGE" userId="faf07584-8716-430e-b66d-4ceae2fe8450" providerId="ADAL" clId="{5342A714-4FE6-4219-9F6F-BC15D1F861B7}" dt="2023-03-08T10:53:50.154" v="5351" actId="478"/>
          <ac:spMkLst>
            <pc:docMk/>
            <pc:sldMk cId="3764256714" sldId="2147469867"/>
            <ac:spMk id="38" creationId="{08DFD334-0A2E-AE21-CEBA-8747D797B658}"/>
          </ac:spMkLst>
        </pc:spChg>
        <pc:spChg chg="add mod">
          <ac:chgData name="Jean GRANDEMANGE" userId="faf07584-8716-430e-b66d-4ceae2fe8450" providerId="ADAL" clId="{5342A714-4FE6-4219-9F6F-BC15D1F861B7}" dt="2023-03-08T10:56:01.239" v="5397" actId="1076"/>
          <ac:spMkLst>
            <pc:docMk/>
            <pc:sldMk cId="3764256714" sldId="2147469867"/>
            <ac:spMk id="39" creationId="{C7BCDB27-0913-EAAC-F916-9360F80C0C51}"/>
          </ac:spMkLst>
        </pc:spChg>
        <pc:spChg chg="add mod">
          <ac:chgData name="Jean GRANDEMANGE" userId="faf07584-8716-430e-b66d-4ceae2fe8450" providerId="ADAL" clId="{5342A714-4FE6-4219-9F6F-BC15D1F861B7}" dt="2023-03-08T10:55:49.480" v="5394" actId="1076"/>
          <ac:spMkLst>
            <pc:docMk/>
            <pc:sldMk cId="3764256714" sldId="2147469867"/>
            <ac:spMk id="41" creationId="{7AC9D4FA-A925-D7C4-055F-B49C3CDF6F3F}"/>
          </ac:spMkLst>
        </pc:spChg>
        <pc:spChg chg="add mod">
          <ac:chgData name="Jean GRANDEMANGE" userId="faf07584-8716-430e-b66d-4ceae2fe8450" providerId="ADAL" clId="{5342A714-4FE6-4219-9F6F-BC15D1F861B7}" dt="2023-03-08T10:55:54.574" v="5395" actId="1076"/>
          <ac:spMkLst>
            <pc:docMk/>
            <pc:sldMk cId="3764256714" sldId="2147469867"/>
            <ac:spMk id="42" creationId="{71CD929A-5C25-CE61-32B0-A0608D0EE8D9}"/>
          </ac:spMkLst>
        </pc:spChg>
        <pc:spChg chg="del">
          <ac:chgData name="Jean GRANDEMANGE" userId="faf07584-8716-430e-b66d-4ceae2fe8450" providerId="ADAL" clId="{5342A714-4FE6-4219-9F6F-BC15D1F861B7}" dt="2023-03-08T10:53:50.154" v="5351" actId="478"/>
          <ac:spMkLst>
            <pc:docMk/>
            <pc:sldMk cId="3764256714" sldId="2147469867"/>
            <ac:spMk id="43" creationId="{E5F1817A-A56F-28B8-99E8-2A35895FB7C6}"/>
          </ac:spMkLst>
        </pc:spChg>
        <pc:spChg chg="add mod">
          <ac:chgData name="Jean GRANDEMANGE" userId="faf07584-8716-430e-b66d-4ceae2fe8450" providerId="ADAL" clId="{5342A714-4FE6-4219-9F6F-BC15D1F861B7}" dt="2023-03-08T10:55:54.574" v="5395" actId="1076"/>
          <ac:spMkLst>
            <pc:docMk/>
            <pc:sldMk cId="3764256714" sldId="2147469867"/>
            <ac:spMk id="44" creationId="{513F0FC4-565B-F933-E5A3-18EFF45B3F32}"/>
          </ac:spMkLst>
        </pc:spChg>
        <pc:spChg chg="add mod">
          <ac:chgData name="Jean GRANDEMANGE" userId="faf07584-8716-430e-b66d-4ceae2fe8450" providerId="ADAL" clId="{5342A714-4FE6-4219-9F6F-BC15D1F861B7}" dt="2023-03-08T10:55:44.155" v="5392" actId="14100"/>
          <ac:spMkLst>
            <pc:docMk/>
            <pc:sldMk cId="3764256714" sldId="2147469867"/>
            <ac:spMk id="45" creationId="{144BE61F-9E2E-C052-E094-8E238A5B06C6}"/>
          </ac:spMkLst>
        </pc:spChg>
        <pc:spChg chg="add mod">
          <ac:chgData name="Jean GRANDEMANGE" userId="faf07584-8716-430e-b66d-4ceae2fe8450" providerId="ADAL" clId="{5342A714-4FE6-4219-9F6F-BC15D1F861B7}" dt="2023-03-08T10:55:33.700" v="5390" actId="20577"/>
          <ac:spMkLst>
            <pc:docMk/>
            <pc:sldMk cId="3764256714" sldId="2147469867"/>
            <ac:spMk id="46" creationId="{67DA3964-9068-5A6C-C7BD-24EE37B8F799}"/>
          </ac:spMkLst>
        </pc:spChg>
        <pc:grpChg chg="add mod">
          <ac:chgData name="Jean GRANDEMANGE" userId="faf07584-8716-430e-b66d-4ceae2fe8450" providerId="ADAL" clId="{5342A714-4FE6-4219-9F6F-BC15D1F861B7}" dt="2023-03-08T10:56:38.634" v="5400" actId="1076"/>
          <ac:grpSpMkLst>
            <pc:docMk/>
            <pc:sldMk cId="3764256714" sldId="2147469867"/>
            <ac:grpSpMk id="27" creationId="{A13D1A47-9B54-EBFE-ECF6-A76549B5344D}"/>
          </ac:grpSpMkLst>
        </pc:grpChg>
        <pc:grpChg chg="add mod">
          <ac:chgData name="Jean GRANDEMANGE" userId="faf07584-8716-430e-b66d-4ceae2fe8450" providerId="ADAL" clId="{5342A714-4FE6-4219-9F6F-BC15D1F861B7}" dt="2023-03-08T10:56:13.532" v="5398" actId="1076"/>
          <ac:grpSpMkLst>
            <pc:docMk/>
            <pc:sldMk cId="3764256714" sldId="2147469867"/>
            <ac:grpSpMk id="48" creationId="{90A7017A-3EE0-4D25-5FA1-E2C8DE1D17E6}"/>
          </ac:grpSpMkLst>
        </pc:grpChg>
        <pc:picChg chg="mod">
          <ac:chgData name="Jean GRANDEMANGE" userId="faf07584-8716-430e-b66d-4ceae2fe8450" providerId="ADAL" clId="{5342A714-4FE6-4219-9F6F-BC15D1F861B7}" dt="2023-03-08T11:42:55.773" v="5497" actId="1076"/>
          <ac:picMkLst>
            <pc:docMk/>
            <pc:sldMk cId="3764256714" sldId="2147469867"/>
            <ac:picMk id="14" creationId="{D6856616-6AEC-A685-8062-FF4AAF7553D5}"/>
          </ac:picMkLst>
        </pc:picChg>
        <pc:picChg chg="mod">
          <ac:chgData name="Jean GRANDEMANGE" userId="faf07584-8716-430e-b66d-4ceae2fe8450" providerId="ADAL" clId="{5342A714-4FE6-4219-9F6F-BC15D1F861B7}" dt="2023-03-08T11:42:55.773" v="5497" actId="1076"/>
          <ac:picMkLst>
            <pc:docMk/>
            <pc:sldMk cId="3764256714" sldId="2147469867"/>
            <ac:picMk id="15" creationId="{C82D58AE-FA64-1000-E349-F482F28668AF}"/>
          </ac:picMkLst>
        </pc:picChg>
        <pc:picChg chg="del">
          <ac:chgData name="Jean GRANDEMANGE" userId="faf07584-8716-430e-b66d-4ceae2fe8450" providerId="ADAL" clId="{5342A714-4FE6-4219-9F6F-BC15D1F861B7}" dt="2023-03-08T10:53:50.154" v="5351" actId="478"/>
          <ac:picMkLst>
            <pc:docMk/>
            <pc:sldMk cId="3764256714" sldId="2147469867"/>
            <ac:picMk id="20" creationId="{AF442C93-5A5C-3D9C-AE01-4F1CFA08770A}"/>
          </ac:picMkLst>
        </pc:picChg>
        <pc:picChg chg="del">
          <ac:chgData name="Jean GRANDEMANGE" userId="faf07584-8716-430e-b66d-4ceae2fe8450" providerId="ADAL" clId="{5342A714-4FE6-4219-9F6F-BC15D1F861B7}" dt="2023-03-08T10:53:50.154" v="5351" actId="478"/>
          <ac:picMkLst>
            <pc:docMk/>
            <pc:sldMk cId="3764256714" sldId="2147469867"/>
            <ac:picMk id="36" creationId="{E9649EFD-AC1C-4B0D-DE0F-4A6468D9C8BE}"/>
          </ac:picMkLst>
        </pc:picChg>
        <pc:picChg chg="del">
          <ac:chgData name="Jean GRANDEMANGE" userId="faf07584-8716-430e-b66d-4ceae2fe8450" providerId="ADAL" clId="{5342A714-4FE6-4219-9F6F-BC15D1F861B7}" dt="2023-03-08T10:53:50.154" v="5351" actId="478"/>
          <ac:picMkLst>
            <pc:docMk/>
            <pc:sldMk cId="3764256714" sldId="2147469867"/>
            <ac:picMk id="37" creationId="{93D87EE4-4B2B-93B7-E3CE-45FAE050B58F}"/>
          </ac:picMkLst>
        </pc:picChg>
        <pc:cxnChg chg="mod">
          <ac:chgData name="Jean GRANDEMANGE" userId="faf07584-8716-430e-b66d-4ceae2fe8450" providerId="ADAL" clId="{5342A714-4FE6-4219-9F6F-BC15D1F861B7}" dt="2023-03-08T10:56:18.567" v="5399" actId="1076"/>
          <ac:cxnSpMkLst>
            <pc:docMk/>
            <pc:sldMk cId="3764256714" sldId="2147469867"/>
            <ac:cxnSpMk id="6" creationId="{3F2BC393-83CB-4B9E-7C41-FBCB430CCFA6}"/>
          </ac:cxnSpMkLst>
        </pc:cxnChg>
        <pc:cxnChg chg="mod">
          <ac:chgData name="Jean GRANDEMANGE" userId="faf07584-8716-430e-b66d-4ceae2fe8450" providerId="ADAL" clId="{5342A714-4FE6-4219-9F6F-BC15D1F861B7}" dt="2023-03-08T10:56:18.567" v="5399" actId="1076"/>
          <ac:cxnSpMkLst>
            <pc:docMk/>
            <pc:sldMk cId="3764256714" sldId="2147469867"/>
            <ac:cxnSpMk id="8" creationId="{E5A90866-C485-0D02-53F8-17F37813924E}"/>
          </ac:cxnSpMkLst>
        </pc:cxnChg>
        <pc:cxnChg chg="mod">
          <ac:chgData name="Jean GRANDEMANGE" userId="faf07584-8716-430e-b66d-4ceae2fe8450" providerId="ADAL" clId="{5342A714-4FE6-4219-9F6F-BC15D1F861B7}" dt="2023-03-08T11:43:13.953" v="5518" actId="14100"/>
          <ac:cxnSpMkLst>
            <pc:docMk/>
            <pc:sldMk cId="3764256714" sldId="2147469867"/>
            <ac:cxnSpMk id="10" creationId="{31D51D3E-415E-BD9F-316C-4419D85E3577}"/>
          </ac:cxnSpMkLst>
        </pc:cxnChg>
        <pc:cxnChg chg="mod">
          <ac:chgData name="Jean GRANDEMANGE" userId="faf07584-8716-430e-b66d-4ceae2fe8450" providerId="ADAL" clId="{5342A714-4FE6-4219-9F6F-BC15D1F861B7}" dt="2023-03-08T10:56:13.532" v="5398" actId="1076"/>
          <ac:cxnSpMkLst>
            <pc:docMk/>
            <pc:sldMk cId="3764256714" sldId="2147469867"/>
            <ac:cxnSpMk id="28" creationId="{1D71A94B-2998-471C-38DC-C6B1F21698F5}"/>
          </ac:cxnSpMkLst>
        </pc:cxnChg>
        <pc:cxnChg chg="mod">
          <ac:chgData name="Jean GRANDEMANGE" userId="faf07584-8716-430e-b66d-4ceae2fe8450" providerId="ADAL" clId="{5342A714-4FE6-4219-9F6F-BC15D1F861B7}" dt="2023-03-08T10:56:13.532" v="5398" actId="1076"/>
          <ac:cxnSpMkLst>
            <pc:docMk/>
            <pc:sldMk cId="3764256714" sldId="2147469867"/>
            <ac:cxnSpMk id="29" creationId="{A4F65EBB-4530-EA8C-47AD-F395AE547315}"/>
          </ac:cxnSpMkLst>
        </pc:cxnChg>
        <pc:cxnChg chg="mod">
          <ac:chgData name="Jean GRANDEMANGE" userId="faf07584-8716-430e-b66d-4ceae2fe8450" providerId="ADAL" clId="{5342A714-4FE6-4219-9F6F-BC15D1F861B7}" dt="2023-03-08T10:56:13.532" v="5398" actId="1076"/>
          <ac:cxnSpMkLst>
            <pc:docMk/>
            <pc:sldMk cId="3764256714" sldId="2147469867"/>
            <ac:cxnSpMk id="30" creationId="{757F82DD-9664-4FD2-E6F2-DEA7D5C4E57F}"/>
          </ac:cxnSpMkLst>
        </pc:cxnChg>
        <pc:cxnChg chg="del">
          <ac:chgData name="Jean GRANDEMANGE" userId="faf07584-8716-430e-b66d-4ceae2fe8450" providerId="ADAL" clId="{5342A714-4FE6-4219-9F6F-BC15D1F861B7}" dt="2023-03-08T10:53:50.154" v="5351" actId="478"/>
          <ac:cxnSpMkLst>
            <pc:docMk/>
            <pc:sldMk cId="3764256714" sldId="2147469867"/>
            <ac:cxnSpMk id="40" creationId="{B0A89304-5492-35A6-B3B5-69198E721646}"/>
          </ac:cxnSpMkLst>
        </pc:cxnChg>
        <pc:cxnChg chg="add mod">
          <ac:chgData name="Jean GRANDEMANGE" userId="faf07584-8716-430e-b66d-4ceae2fe8450" providerId="ADAL" clId="{5342A714-4FE6-4219-9F6F-BC15D1F861B7}" dt="2023-03-08T10:55:04.783" v="5384" actId="1076"/>
          <ac:cxnSpMkLst>
            <pc:docMk/>
            <pc:sldMk cId="3764256714" sldId="2147469867"/>
            <ac:cxnSpMk id="47" creationId="{1A2780FD-923A-98E1-3D0B-2873F075B1ED}"/>
          </ac:cxnSpMkLst>
        </pc:cxnChg>
      </pc:sldChg>
      <pc:sldChg chg="add">
        <pc:chgData name="Jean GRANDEMANGE" userId="faf07584-8716-430e-b66d-4ceae2fe8450" providerId="ADAL" clId="{5342A714-4FE6-4219-9F6F-BC15D1F861B7}" dt="2023-02-28T08:23:19.330" v="504"/>
        <pc:sldMkLst>
          <pc:docMk/>
          <pc:sldMk cId="2749452996" sldId="2147469869"/>
        </pc:sldMkLst>
      </pc:sldChg>
      <pc:sldChg chg="del">
        <pc:chgData name="Jean GRANDEMANGE" userId="faf07584-8716-430e-b66d-4ceae2fe8450" providerId="ADAL" clId="{5342A714-4FE6-4219-9F6F-BC15D1F861B7}" dt="2023-02-28T08:20:00.551" v="460" actId="47"/>
        <pc:sldMkLst>
          <pc:docMk/>
          <pc:sldMk cId="1387257400" sldId="2147469884"/>
        </pc:sldMkLst>
      </pc:sldChg>
      <pc:sldChg chg="del">
        <pc:chgData name="Jean GRANDEMANGE" userId="faf07584-8716-430e-b66d-4ceae2fe8450" providerId="ADAL" clId="{5342A714-4FE6-4219-9F6F-BC15D1F861B7}" dt="2023-03-06T08:37:42.022" v="1259" actId="47"/>
        <pc:sldMkLst>
          <pc:docMk/>
          <pc:sldMk cId="3022317248" sldId="2147469886"/>
        </pc:sldMkLst>
      </pc:sldChg>
      <pc:sldChg chg="del">
        <pc:chgData name="Jean GRANDEMANGE" userId="faf07584-8716-430e-b66d-4ceae2fe8450" providerId="ADAL" clId="{5342A714-4FE6-4219-9F6F-BC15D1F861B7}" dt="2023-03-06T08:44:13.808" v="1263" actId="47"/>
        <pc:sldMkLst>
          <pc:docMk/>
          <pc:sldMk cId="2771380386" sldId="2147469887"/>
        </pc:sldMkLst>
      </pc:sldChg>
      <pc:sldChg chg="del">
        <pc:chgData name="Jean GRANDEMANGE" userId="faf07584-8716-430e-b66d-4ceae2fe8450" providerId="ADAL" clId="{5342A714-4FE6-4219-9F6F-BC15D1F861B7}" dt="2023-03-06T08:44:13.808" v="1263" actId="47"/>
        <pc:sldMkLst>
          <pc:docMk/>
          <pc:sldMk cId="4223880988" sldId="2147469888"/>
        </pc:sldMkLst>
      </pc:sldChg>
      <pc:sldChg chg="del">
        <pc:chgData name="Jean GRANDEMANGE" userId="faf07584-8716-430e-b66d-4ceae2fe8450" providerId="ADAL" clId="{5342A714-4FE6-4219-9F6F-BC15D1F861B7}" dt="2023-03-06T08:44:13.808" v="1263" actId="47"/>
        <pc:sldMkLst>
          <pc:docMk/>
          <pc:sldMk cId="3056375761" sldId="2147469889"/>
        </pc:sldMkLst>
      </pc:sldChg>
      <pc:sldChg chg="del">
        <pc:chgData name="Jean GRANDEMANGE" userId="faf07584-8716-430e-b66d-4ceae2fe8450" providerId="ADAL" clId="{5342A714-4FE6-4219-9F6F-BC15D1F861B7}" dt="2023-03-06T08:44:13.808" v="1263" actId="47"/>
        <pc:sldMkLst>
          <pc:docMk/>
          <pc:sldMk cId="3668960559" sldId="2147469890"/>
        </pc:sldMkLst>
      </pc:sldChg>
      <pc:sldChg chg="del">
        <pc:chgData name="Jean GRANDEMANGE" userId="faf07584-8716-430e-b66d-4ceae2fe8450" providerId="ADAL" clId="{5342A714-4FE6-4219-9F6F-BC15D1F861B7}" dt="2023-03-06T08:44:13.808" v="1263" actId="47"/>
        <pc:sldMkLst>
          <pc:docMk/>
          <pc:sldMk cId="2926241385" sldId="2147469891"/>
        </pc:sldMkLst>
      </pc:sldChg>
      <pc:sldChg chg="del">
        <pc:chgData name="Jean GRANDEMANGE" userId="faf07584-8716-430e-b66d-4ceae2fe8450" providerId="ADAL" clId="{5342A714-4FE6-4219-9F6F-BC15D1F861B7}" dt="2023-03-06T08:44:13.808" v="1263" actId="47"/>
        <pc:sldMkLst>
          <pc:docMk/>
          <pc:sldMk cId="1403616602" sldId="2147469892"/>
        </pc:sldMkLst>
      </pc:sldChg>
      <pc:sldChg chg="del">
        <pc:chgData name="Jean GRANDEMANGE" userId="faf07584-8716-430e-b66d-4ceae2fe8450" providerId="ADAL" clId="{5342A714-4FE6-4219-9F6F-BC15D1F861B7}" dt="2023-03-06T08:44:13.808" v="1263" actId="47"/>
        <pc:sldMkLst>
          <pc:docMk/>
          <pc:sldMk cId="111370079" sldId="2147469905"/>
        </pc:sldMkLst>
      </pc:sldChg>
      <pc:sldChg chg="del">
        <pc:chgData name="Jean GRANDEMANGE" userId="faf07584-8716-430e-b66d-4ceae2fe8450" providerId="ADAL" clId="{5342A714-4FE6-4219-9F6F-BC15D1F861B7}" dt="2023-03-06T08:44:13.808" v="1263" actId="47"/>
        <pc:sldMkLst>
          <pc:docMk/>
          <pc:sldMk cId="1194252908" sldId="2147469906"/>
        </pc:sldMkLst>
      </pc:sldChg>
      <pc:sldChg chg="del">
        <pc:chgData name="Jean GRANDEMANGE" userId="faf07584-8716-430e-b66d-4ceae2fe8450" providerId="ADAL" clId="{5342A714-4FE6-4219-9F6F-BC15D1F861B7}" dt="2023-03-07T17:01:20.248" v="4074" actId="47"/>
        <pc:sldMkLst>
          <pc:docMk/>
          <pc:sldMk cId="794980644" sldId="2147469907"/>
        </pc:sldMkLst>
      </pc:sldChg>
      <pc:sldChg chg="delSp modSp mod">
        <pc:chgData name="Jean GRANDEMANGE" userId="faf07584-8716-430e-b66d-4ceae2fe8450" providerId="ADAL" clId="{5342A714-4FE6-4219-9F6F-BC15D1F861B7}" dt="2023-03-08T10:58:43.505" v="5412" actId="1076"/>
        <pc:sldMkLst>
          <pc:docMk/>
          <pc:sldMk cId="3144834754" sldId="2147469909"/>
        </pc:sldMkLst>
        <pc:spChg chg="del mod">
          <ac:chgData name="Jean GRANDEMANGE" userId="faf07584-8716-430e-b66d-4ceae2fe8450" providerId="ADAL" clId="{5342A714-4FE6-4219-9F6F-BC15D1F861B7}" dt="2023-03-08T10:36:42.799" v="4949" actId="478"/>
          <ac:spMkLst>
            <pc:docMk/>
            <pc:sldMk cId="3144834754" sldId="2147469909"/>
            <ac:spMk id="3" creationId="{8914145C-665B-F43D-7281-42FA4C72F63B}"/>
          </ac:spMkLst>
        </pc:spChg>
        <pc:spChg chg="del">
          <ac:chgData name="Jean GRANDEMANGE" userId="faf07584-8716-430e-b66d-4ceae2fe8450" providerId="ADAL" clId="{5342A714-4FE6-4219-9F6F-BC15D1F861B7}" dt="2023-03-08T10:36:42.799" v="4949" actId="478"/>
          <ac:spMkLst>
            <pc:docMk/>
            <pc:sldMk cId="3144834754" sldId="2147469909"/>
            <ac:spMk id="6" creationId="{F2F196BA-F630-E5BF-F8AF-60A393002CA1}"/>
          </ac:spMkLst>
        </pc:spChg>
        <pc:spChg chg="mod">
          <ac:chgData name="Jean GRANDEMANGE" userId="faf07584-8716-430e-b66d-4ceae2fe8450" providerId="ADAL" clId="{5342A714-4FE6-4219-9F6F-BC15D1F861B7}" dt="2023-03-08T10:58:43.505" v="5412" actId="1076"/>
          <ac:spMkLst>
            <pc:docMk/>
            <pc:sldMk cId="3144834754" sldId="2147469909"/>
            <ac:spMk id="8" creationId="{6ACD68C6-1ABC-FA7F-17D5-86EBD19A9E65}"/>
          </ac:spMkLst>
        </pc:spChg>
        <pc:spChg chg="del">
          <ac:chgData name="Jean GRANDEMANGE" userId="faf07584-8716-430e-b66d-4ceae2fe8450" providerId="ADAL" clId="{5342A714-4FE6-4219-9F6F-BC15D1F861B7}" dt="2023-03-08T10:36:44.821" v="4950" actId="478"/>
          <ac:spMkLst>
            <pc:docMk/>
            <pc:sldMk cId="3144834754" sldId="2147469909"/>
            <ac:spMk id="19" creationId="{6ECA1E0C-821E-7F18-5339-06BB3471EC45}"/>
          </ac:spMkLst>
        </pc:spChg>
      </pc:sldChg>
      <pc:sldChg chg="modSp add mod ord">
        <pc:chgData name="Jean GRANDEMANGE" userId="faf07584-8716-430e-b66d-4ceae2fe8450" providerId="ADAL" clId="{5342A714-4FE6-4219-9F6F-BC15D1F861B7}" dt="2023-03-08T10:50:44.182" v="5274"/>
        <pc:sldMkLst>
          <pc:docMk/>
          <pc:sldMk cId="1457605986" sldId="2147469911"/>
        </pc:sldMkLst>
        <pc:spChg chg="mod">
          <ac:chgData name="Jean GRANDEMANGE" userId="faf07584-8716-430e-b66d-4ceae2fe8450" providerId="ADAL" clId="{5342A714-4FE6-4219-9F6F-BC15D1F861B7}" dt="2023-03-08T10:50:44.182" v="5274"/>
          <ac:spMkLst>
            <pc:docMk/>
            <pc:sldMk cId="1457605986" sldId="2147469911"/>
            <ac:spMk id="2" creationId="{3C5E6956-A15D-4B0C-879A-780E301A6FD2}"/>
          </ac:spMkLst>
        </pc:spChg>
      </pc:sldChg>
      <pc:sldChg chg="add del">
        <pc:chgData name="Jean GRANDEMANGE" userId="faf07584-8716-430e-b66d-4ceae2fe8450" providerId="ADAL" clId="{5342A714-4FE6-4219-9F6F-BC15D1F861B7}" dt="2023-03-06T10:49:19.192" v="2218" actId="47"/>
        <pc:sldMkLst>
          <pc:docMk/>
          <pc:sldMk cId="2783656208" sldId="2147469912"/>
        </pc:sldMkLst>
      </pc:sldChg>
      <pc:sldChg chg="modSp add">
        <pc:chgData name="Jean GRANDEMANGE" userId="faf07584-8716-430e-b66d-4ceae2fe8450" providerId="ADAL" clId="{5342A714-4FE6-4219-9F6F-BC15D1F861B7}" dt="2023-02-28T08:23:31.809" v="505"/>
        <pc:sldMkLst>
          <pc:docMk/>
          <pc:sldMk cId="8666208" sldId="2147469913"/>
        </pc:sldMkLst>
        <pc:spChg chg="mod">
          <ac:chgData name="Jean GRANDEMANGE" userId="faf07584-8716-430e-b66d-4ceae2fe8450" providerId="ADAL" clId="{5342A714-4FE6-4219-9F6F-BC15D1F861B7}" dt="2023-02-28T08:23:31.809" v="505"/>
          <ac:spMkLst>
            <pc:docMk/>
            <pc:sldMk cId="8666208" sldId="2147469913"/>
            <ac:spMk id="4" creationId="{EC726EFD-207E-D242-96A7-386378208842}"/>
          </ac:spMkLst>
        </pc:spChg>
      </pc:sldChg>
      <pc:sldChg chg="addSp delSp modSp add mod">
        <pc:chgData name="Jean GRANDEMANGE" userId="faf07584-8716-430e-b66d-4ceae2fe8450" providerId="ADAL" clId="{5342A714-4FE6-4219-9F6F-BC15D1F861B7}" dt="2023-03-08T10:48:03.578" v="5169" actId="478"/>
        <pc:sldMkLst>
          <pc:docMk/>
          <pc:sldMk cId="2536183223" sldId="2147469914"/>
        </pc:sldMkLst>
        <pc:spChg chg="add del mod">
          <ac:chgData name="Jean GRANDEMANGE" userId="faf07584-8716-430e-b66d-4ceae2fe8450" providerId="ADAL" clId="{5342A714-4FE6-4219-9F6F-BC15D1F861B7}" dt="2023-03-06T08:22:20.976" v="923" actId="478"/>
          <ac:spMkLst>
            <pc:docMk/>
            <pc:sldMk cId="2536183223" sldId="2147469914"/>
            <ac:spMk id="2" creationId="{687EDE68-E157-C6D9-BB81-FCE07B4B5F08}"/>
          </ac:spMkLst>
        </pc:spChg>
        <pc:spChg chg="add del mod">
          <ac:chgData name="Jean GRANDEMANGE" userId="faf07584-8716-430e-b66d-4ceae2fe8450" providerId="ADAL" clId="{5342A714-4FE6-4219-9F6F-BC15D1F861B7}" dt="2023-03-08T10:48:03.578" v="5169" actId="478"/>
          <ac:spMkLst>
            <pc:docMk/>
            <pc:sldMk cId="2536183223" sldId="2147469914"/>
            <ac:spMk id="3" creationId="{ECE4553C-463A-818E-86AF-5EA35FF55739}"/>
          </ac:spMkLst>
        </pc:spChg>
        <pc:spChg chg="mod">
          <ac:chgData name="Jean GRANDEMANGE" userId="faf07584-8716-430e-b66d-4ceae2fe8450" providerId="ADAL" clId="{5342A714-4FE6-4219-9F6F-BC15D1F861B7}" dt="2023-03-06T08:22:43.074" v="958" actId="20577"/>
          <ac:spMkLst>
            <pc:docMk/>
            <pc:sldMk cId="2536183223" sldId="2147469914"/>
            <ac:spMk id="5" creationId="{F5781F5D-A46B-498D-9BCE-84C0FDBA25EE}"/>
          </ac:spMkLst>
        </pc:spChg>
      </pc:sldChg>
      <pc:sldChg chg="delSp add mod">
        <pc:chgData name="Jean GRANDEMANGE" userId="faf07584-8716-430e-b66d-4ceae2fe8450" providerId="ADAL" clId="{5342A714-4FE6-4219-9F6F-BC15D1F861B7}" dt="2023-03-08T10:48:13.600" v="5174" actId="478"/>
        <pc:sldMkLst>
          <pc:docMk/>
          <pc:sldMk cId="2537092080" sldId="2147469915"/>
        </pc:sldMkLst>
        <pc:spChg chg="del">
          <ac:chgData name="Jean GRANDEMANGE" userId="faf07584-8716-430e-b66d-4ceae2fe8450" providerId="ADAL" clId="{5342A714-4FE6-4219-9F6F-BC15D1F861B7}" dt="2023-03-08T10:48:13.600" v="5174" actId="478"/>
          <ac:spMkLst>
            <pc:docMk/>
            <pc:sldMk cId="2537092080" sldId="2147469915"/>
            <ac:spMk id="8" creationId="{D1A0BC56-5570-830B-F337-BC9B2349E334}"/>
          </ac:spMkLst>
        </pc:spChg>
        <pc:spChg chg="del">
          <ac:chgData name="Jean GRANDEMANGE" userId="faf07584-8716-430e-b66d-4ceae2fe8450" providerId="ADAL" clId="{5342A714-4FE6-4219-9F6F-BC15D1F861B7}" dt="2023-03-08T10:48:12.362" v="5173" actId="478"/>
          <ac:spMkLst>
            <pc:docMk/>
            <pc:sldMk cId="2537092080" sldId="2147469915"/>
            <ac:spMk id="22" creationId="{620F35FE-A089-12AD-3E29-472DAB43DF91}"/>
          </ac:spMkLst>
        </pc:spChg>
      </pc:sldChg>
      <pc:sldChg chg="add">
        <pc:chgData name="Jean GRANDEMANGE" userId="faf07584-8716-430e-b66d-4ceae2fe8450" providerId="ADAL" clId="{5342A714-4FE6-4219-9F6F-BC15D1F861B7}" dt="2023-02-28T08:23:19.330" v="504"/>
        <pc:sldMkLst>
          <pc:docMk/>
          <pc:sldMk cId="4203705604" sldId="2147469916"/>
        </pc:sldMkLst>
      </pc:sldChg>
      <pc:sldChg chg="add">
        <pc:chgData name="Jean GRANDEMANGE" userId="faf07584-8716-430e-b66d-4ceae2fe8450" providerId="ADAL" clId="{5342A714-4FE6-4219-9F6F-BC15D1F861B7}" dt="2023-02-28T08:23:19.330" v="504"/>
        <pc:sldMkLst>
          <pc:docMk/>
          <pc:sldMk cId="531415365" sldId="2147469927"/>
        </pc:sldMkLst>
      </pc:sldChg>
      <pc:sldChg chg="del">
        <pc:chgData name="Jean GRANDEMANGE" userId="faf07584-8716-430e-b66d-4ceae2fe8450" providerId="ADAL" clId="{5342A714-4FE6-4219-9F6F-BC15D1F861B7}" dt="2023-03-06T08:44:13.808" v="1263" actId="47"/>
        <pc:sldMkLst>
          <pc:docMk/>
          <pc:sldMk cId="86000251" sldId="2147469954"/>
        </pc:sldMkLst>
      </pc:sldChg>
      <pc:sldChg chg="del">
        <pc:chgData name="Jean GRANDEMANGE" userId="faf07584-8716-430e-b66d-4ceae2fe8450" providerId="ADAL" clId="{5342A714-4FE6-4219-9F6F-BC15D1F861B7}" dt="2023-03-06T08:44:13.808" v="1263" actId="47"/>
        <pc:sldMkLst>
          <pc:docMk/>
          <pc:sldMk cId="3680308212" sldId="2147469959"/>
        </pc:sldMkLst>
      </pc:sldChg>
      <pc:sldChg chg="del">
        <pc:chgData name="Jean GRANDEMANGE" userId="faf07584-8716-430e-b66d-4ceae2fe8450" providerId="ADAL" clId="{5342A714-4FE6-4219-9F6F-BC15D1F861B7}" dt="2023-03-06T08:44:13.808" v="1263" actId="47"/>
        <pc:sldMkLst>
          <pc:docMk/>
          <pc:sldMk cId="2368134167" sldId="2147469960"/>
        </pc:sldMkLst>
      </pc:sldChg>
      <pc:sldChg chg="addSp delSp modSp add mod">
        <pc:chgData name="Jean GRANDEMANGE" userId="faf07584-8716-430e-b66d-4ceae2fe8450" providerId="ADAL" clId="{5342A714-4FE6-4219-9F6F-BC15D1F861B7}" dt="2023-03-08T11:59:16.679" v="5697"/>
        <pc:sldMkLst>
          <pc:docMk/>
          <pc:sldMk cId="404304486" sldId="2147469961"/>
        </pc:sldMkLst>
        <pc:spChg chg="add del mod">
          <ac:chgData name="Jean GRANDEMANGE" userId="faf07584-8716-430e-b66d-4ceae2fe8450" providerId="ADAL" clId="{5342A714-4FE6-4219-9F6F-BC15D1F861B7}" dt="2023-03-08T10:32:45.448" v="4874" actId="478"/>
          <ac:spMkLst>
            <pc:docMk/>
            <pc:sldMk cId="404304486" sldId="2147469961"/>
            <ac:spMk id="3" creationId="{7C8C93EE-44FA-6024-D32F-38347D7DA17E}"/>
          </ac:spMkLst>
        </pc:spChg>
        <pc:spChg chg="del">
          <ac:chgData name="Jean GRANDEMANGE" userId="faf07584-8716-430e-b66d-4ceae2fe8450" providerId="ADAL" clId="{5342A714-4FE6-4219-9F6F-BC15D1F861B7}" dt="2023-03-08T10:32:46.025" v="4875" actId="478"/>
          <ac:spMkLst>
            <pc:docMk/>
            <pc:sldMk cId="404304486" sldId="2147469961"/>
            <ac:spMk id="6" creationId="{7AE21BCE-9C87-DFAE-52CD-0DFE56672E2B}"/>
          </ac:spMkLst>
        </pc:spChg>
        <pc:spChg chg="del">
          <ac:chgData name="Jean GRANDEMANGE" userId="faf07584-8716-430e-b66d-4ceae2fe8450" providerId="ADAL" clId="{5342A714-4FE6-4219-9F6F-BC15D1F861B7}" dt="2023-03-07T15:19:20.812" v="3698" actId="478"/>
          <ac:spMkLst>
            <pc:docMk/>
            <pc:sldMk cId="404304486" sldId="2147469961"/>
            <ac:spMk id="6" creationId="{D21872A7-FA51-4AE1-9BE0-641C7428361A}"/>
          </ac:spMkLst>
        </pc:spChg>
        <pc:spChg chg="del">
          <ac:chgData name="Jean GRANDEMANGE" userId="faf07584-8716-430e-b66d-4ceae2fe8450" providerId="ADAL" clId="{5342A714-4FE6-4219-9F6F-BC15D1F861B7}" dt="2023-03-07T15:19:20.812" v="3698" actId="478"/>
          <ac:spMkLst>
            <pc:docMk/>
            <pc:sldMk cId="404304486" sldId="2147469961"/>
            <ac:spMk id="9" creationId="{0520A868-5049-425D-B679-4BA221E97D54}"/>
          </ac:spMkLst>
        </pc:spChg>
        <pc:spChg chg="del">
          <ac:chgData name="Jean GRANDEMANGE" userId="faf07584-8716-430e-b66d-4ceae2fe8450" providerId="ADAL" clId="{5342A714-4FE6-4219-9F6F-BC15D1F861B7}" dt="2023-03-07T15:19:20.812" v="3698" actId="478"/>
          <ac:spMkLst>
            <pc:docMk/>
            <pc:sldMk cId="404304486" sldId="2147469961"/>
            <ac:spMk id="10" creationId="{266D93E3-C205-4C7E-B123-F4184ABE181A}"/>
          </ac:spMkLst>
        </pc:spChg>
        <pc:spChg chg="add mod">
          <ac:chgData name="Jean GRANDEMANGE" userId="faf07584-8716-430e-b66d-4ceae2fe8450" providerId="ADAL" clId="{5342A714-4FE6-4219-9F6F-BC15D1F861B7}" dt="2023-03-07T15:19:22.063" v="3699"/>
          <ac:spMkLst>
            <pc:docMk/>
            <pc:sldMk cId="404304486" sldId="2147469961"/>
            <ac:spMk id="12" creationId="{228CD6C0-079B-37A8-56AB-893F00A0B521}"/>
          </ac:spMkLst>
        </pc:spChg>
        <pc:spChg chg="mod">
          <ac:chgData name="Jean GRANDEMANGE" userId="faf07584-8716-430e-b66d-4ceae2fe8450" providerId="ADAL" clId="{5342A714-4FE6-4219-9F6F-BC15D1F861B7}" dt="2023-03-08T11:59:16.679" v="5697"/>
          <ac:spMkLst>
            <pc:docMk/>
            <pc:sldMk cId="404304486" sldId="2147469961"/>
            <ac:spMk id="37" creationId="{7AF0E430-CDB8-4B45-8379-46CBA595C178}"/>
          </ac:spMkLst>
        </pc:spChg>
        <pc:spChg chg="add mod">
          <ac:chgData name="Jean GRANDEMANGE" userId="faf07584-8716-430e-b66d-4ceae2fe8450" providerId="ADAL" clId="{5342A714-4FE6-4219-9F6F-BC15D1F861B7}" dt="2023-03-07T15:19:22.063" v="3699"/>
          <ac:spMkLst>
            <pc:docMk/>
            <pc:sldMk cId="404304486" sldId="2147469961"/>
            <ac:spMk id="50" creationId="{D94F6DC9-1210-0954-31CF-8C886AA92838}"/>
          </ac:spMkLst>
        </pc:spChg>
        <pc:spChg chg="add mod">
          <ac:chgData name="Jean GRANDEMANGE" userId="faf07584-8716-430e-b66d-4ceae2fe8450" providerId="ADAL" clId="{5342A714-4FE6-4219-9F6F-BC15D1F861B7}" dt="2023-03-07T15:19:22.063" v="3699"/>
          <ac:spMkLst>
            <pc:docMk/>
            <pc:sldMk cId="404304486" sldId="2147469961"/>
            <ac:spMk id="51" creationId="{C7E1A2B9-EE4C-7749-04FA-BF2C7FA2C84D}"/>
          </ac:spMkLst>
        </pc:spChg>
        <pc:spChg chg="add mod">
          <ac:chgData name="Jean GRANDEMANGE" userId="faf07584-8716-430e-b66d-4ceae2fe8450" providerId="ADAL" clId="{5342A714-4FE6-4219-9F6F-BC15D1F861B7}" dt="2023-03-07T15:19:22.063" v="3699"/>
          <ac:spMkLst>
            <pc:docMk/>
            <pc:sldMk cId="404304486" sldId="2147469961"/>
            <ac:spMk id="52" creationId="{F0B7785A-F08A-30C2-502C-D4FCC66364A4}"/>
          </ac:spMkLst>
        </pc:spChg>
        <pc:cxnChg chg="del">
          <ac:chgData name="Jean GRANDEMANGE" userId="faf07584-8716-430e-b66d-4ceae2fe8450" providerId="ADAL" clId="{5342A714-4FE6-4219-9F6F-BC15D1F861B7}" dt="2023-03-07T15:19:20.812" v="3698" actId="478"/>
          <ac:cxnSpMkLst>
            <pc:docMk/>
            <pc:sldMk cId="404304486" sldId="2147469961"/>
            <ac:cxnSpMk id="7" creationId="{D3449B44-710C-43BE-ADD9-DD9BFB56579E}"/>
          </ac:cxnSpMkLst>
        </pc:cxnChg>
        <pc:cxnChg chg="add mod">
          <ac:chgData name="Jean GRANDEMANGE" userId="faf07584-8716-430e-b66d-4ceae2fe8450" providerId="ADAL" clId="{5342A714-4FE6-4219-9F6F-BC15D1F861B7}" dt="2023-03-07T15:19:22.063" v="3699"/>
          <ac:cxnSpMkLst>
            <pc:docMk/>
            <pc:sldMk cId="404304486" sldId="2147469961"/>
            <ac:cxnSpMk id="49" creationId="{1250E0AD-B7A7-F4A0-B863-50A01C527B80}"/>
          </ac:cxnSpMkLst>
        </pc:cxnChg>
      </pc:sldChg>
      <pc:sldChg chg="addSp delSp modSp mod">
        <pc:chgData name="Jean GRANDEMANGE" userId="faf07584-8716-430e-b66d-4ceae2fe8450" providerId="ADAL" clId="{5342A714-4FE6-4219-9F6F-BC15D1F861B7}" dt="2023-03-08T11:58:54.128" v="5696" actId="1076"/>
        <pc:sldMkLst>
          <pc:docMk/>
          <pc:sldMk cId="2990160546" sldId="2147469966"/>
        </pc:sldMkLst>
        <pc:spChg chg="del">
          <ac:chgData name="Jean GRANDEMANGE" userId="faf07584-8716-430e-b66d-4ceae2fe8450" providerId="ADAL" clId="{5342A714-4FE6-4219-9F6F-BC15D1F861B7}" dt="2023-03-08T10:26:02.284" v="4668" actId="478"/>
          <ac:spMkLst>
            <pc:docMk/>
            <pc:sldMk cId="2990160546" sldId="2147469966"/>
            <ac:spMk id="2" creationId="{9D2B7B90-ACBE-3AAB-2D9B-8F5CF7CFDFA5}"/>
          </ac:spMkLst>
        </pc:spChg>
        <pc:spChg chg="add del mod">
          <ac:chgData name="Jean GRANDEMANGE" userId="faf07584-8716-430e-b66d-4ceae2fe8450" providerId="ADAL" clId="{5342A714-4FE6-4219-9F6F-BC15D1F861B7}" dt="2023-03-08T10:26:01.545" v="4667" actId="478"/>
          <ac:spMkLst>
            <pc:docMk/>
            <pc:sldMk cId="2990160546" sldId="2147469966"/>
            <ac:spMk id="3" creationId="{91A0B524-40D1-7EB3-0CFB-20F0E9CC8376}"/>
          </ac:spMkLst>
        </pc:spChg>
        <pc:spChg chg="add mod">
          <ac:chgData name="Jean GRANDEMANGE" userId="faf07584-8716-430e-b66d-4ceae2fe8450" providerId="ADAL" clId="{5342A714-4FE6-4219-9F6F-BC15D1F861B7}" dt="2023-03-08T11:58:54.128" v="5696" actId="1076"/>
          <ac:spMkLst>
            <pc:docMk/>
            <pc:sldMk cId="2990160546" sldId="2147469966"/>
            <ac:spMk id="5" creationId="{D7D4DCE0-2343-6614-8F45-84741A063779}"/>
          </ac:spMkLst>
        </pc:spChg>
        <pc:spChg chg="mod">
          <ac:chgData name="Jean GRANDEMANGE" userId="faf07584-8716-430e-b66d-4ceae2fe8450" providerId="ADAL" clId="{5342A714-4FE6-4219-9F6F-BC15D1F861B7}" dt="2023-03-08T10:25:29.633" v="4656" actId="404"/>
          <ac:spMkLst>
            <pc:docMk/>
            <pc:sldMk cId="2990160546" sldId="2147469966"/>
            <ac:spMk id="7" creationId="{75642BAA-E008-43F4-AF5E-933D0F2B6D1F}"/>
          </ac:spMkLst>
        </pc:spChg>
        <pc:spChg chg="add mod">
          <ac:chgData name="Jean GRANDEMANGE" userId="faf07584-8716-430e-b66d-4ceae2fe8450" providerId="ADAL" clId="{5342A714-4FE6-4219-9F6F-BC15D1F861B7}" dt="2023-03-08T11:58:54.128" v="5696" actId="1076"/>
          <ac:spMkLst>
            <pc:docMk/>
            <pc:sldMk cId="2990160546" sldId="2147469966"/>
            <ac:spMk id="8" creationId="{A398E915-1539-876E-30E1-71A2403955F6}"/>
          </ac:spMkLst>
        </pc:spChg>
        <pc:spChg chg="add mod">
          <ac:chgData name="Jean GRANDEMANGE" userId="faf07584-8716-430e-b66d-4ceae2fe8450" providerId="ADAL" clId="{5342A714-4FE6-4219-9F6F-BC15D1F861B7}" dt="2023-03-08T11:58:54.128" v="5696" actId="1076"/>
          <ac:spMkLst>
            <pc:docMk/>
            <pc:sldMk cId="2990160546" sldId="2147469966"/>
            <ac:spMk id="9" creationId="{70BEE6C8-B520-4BEC-A1B4-A7A98941AA3C}"/>
          </ac:spMkLst>
        </pc:spChg>
        <pc:spChg chg="add mod">
          <ac:chgData name="Jean GRANDEMANGE" userId="faf07584-8716-430e-b66d-4ceae2fe8450" providerId="ADAL" clId="{5342A714-4FE6-4219-9F6F-BC15D1F861B7}" dt="2023-03-08T11:58:54.128" v="5696" actId="1076"/>
          <ac:spMkLst>
            <pc:docMk/>
            <pc:sldMk cId="2990160546" sldId="2147469966"/>
            <ac:spMk id="10" creationId="{63362135-6F3C-0E04-008E-E38CFE0E62A4}"/>
          </ac:spMkLst>
        </pc:spChg>
        <pc:spChg chg="mod">
          <ac:chgData name="Jean GRANDEMANGE" userId="faf07584-8716-430e-b66d-4ceae2fe8450" providerId="ADAL" clId="{5342A714-4FE6-4219-9F6F-BC15D1F861B7}" dt="2023-03-08T10:29:22.144" v="4707" actId="255"/>
          <ac:spMkLst>
            <pc:docMk/>
            <pc:sldMk cId="2990160546" sldId="2147469966"/>
            <ac:spMk id="11" creationId="{1D6431AA-35A9-4FBF-8DB6-C40CEE84C234}"/>
          </ac:spMkLst>
        </pc:spChg>
        <pc:spChg chg="mod">
          <ac:chgData name="Jean GRANDEMANGE" userId="faf07584-8716-430e-b66d-4ceae2fe8450" providerId="ADAL" clId="{5342A714-4FE6-4219-9F6F-BC15D1F861B7}" dt="2023-03-08T10:29:22.144" v="4707" actId="255"/>
          <ac:spMkLst>
            <pc:docMk/>
            <pc:sldMk cId="2990160546" sldId="2147469966"/>
            <ac:spMk id="12" creationId="{61D6BD56-42EB-4AAC-A2D4-5CBA2AD98308}"/>
          </ac:spMkLst>
        </pc:spChg>
        <pc:spChg chg="mod">
          <ac:chgData name="Jean GRANDEMANGE" userId="faf07584-8716-430e-b66d-4ceae2fe8450" providerId="ADAL" clId="{5342A714-4FE6-4219-9F6F-BC15D1F861B7}" dt="2023-03-08T10:29:22.144" v="4707" actId="255"/>
          <ac:spMkLst>
            <pc:docMk/>
            <pc:sldMk cId="2990160546" sldId="2147469966"/>
            <ac:spMk id="13" creationId="{E21103B8-F1DC-484A-96A2-36CAE3D4C83F}"/>
          </ac:spMkLst>
        </pc:spChg>
        <pc:spChg chg="add mod">
          <ac:chgData name="Jean GRANDEMANGE" userId="faf07584-8716-430e-b66d-4ceae2fe8450" providerId="ADAL" clId="{5342A714-4FE6-4219-9F6F-BC15D1F861B7}" dt="2023-03-08T11:58:54.128" v="5696" actId="1076"/>
          <ac:spMkLst>
            <pc:docMk/>
            <pc:sldMk cId="2990160546" sldId="2147469966"/>
            <ac:spMk id="14" creationId="{99DD9790-030F-DA9F-82E1-134E50533EC6}"/>
          </ac:spMkLst>
        </pc:spChg>
        <pc:spChg chg="mod">
          <ac:chgData name="Jean GRANDEMANGE" userId="faf07584-8716-430e-b66d-4ceae2fe8450" providerId="ADAL" clId="{5342A714-4FE6-4219-9F6F-BC15D1F861B7}" dt="2023-03-08T10:30:53.904" v="4763" actId="20577"/>
          <ac:spMkLst>
            <pc:docMk/>
            <pc:sldMk cId="2990160546" sldId="2147469966"/>
            <ac:spMk id="15" creationId="{2790E4C7-0DD8-4A44-94D9-064E930B105C}"/>
          </ac:spMkLst>
        </pc:spChg>
        <pc:spChg chg="mod">
          <ac:chgData name="Jean GRANDEMANGE" userId="faf07584-8716-430e-b66d-4ceae2fe8450" providerId="ADAL" clId="{5342A714-4FE6-4219-9F6F-BC15D1F861B7}" dt="2023-03-08T10:29:22.144" v="4707" actId="255"/>
          <ac:spMkLst>
            <pc:docMk/>
            <pc:sldMk cId="2990160546" sldId="2147469966"/>
            <ac:spMk id="16" creationId="{1A2C2A87-EAFC-41FD-8BEA-82841040AAA1}"/>
          </ac:spMkLst>
        </pc:spChg>
        <pc:spChg chg="mod">
          <ac:chgData name="Jean GRANDEMANGE" userId="faf07584-8716-430e-b66d-4ceae2fe8450" providerId="ADAL" clId="{5342A714-4FE6-4219-9F6F-BC15D1F861B7}" dt="2023-03-08T10:29:22.144" v="4707" actId="255"/>
          <ac:spMkLst>
            <pc:docMk/>
            <pc:sldMk cId="2990160546" sldId="2147469966"/>
            <ac:spMk id="17" creationId="{B65662DE-B27D-49F8-BCB6-8CE698D7A879}"/>
          </ac:spMkLst>
        </pc:spChg>
        <pc:spChg chg="mod">
          <ac:chgData name="Jean GRANDEMANGE" userId="faf07584-8716-430e-b66d-4ceae2fe8450" providerId="ADAL" clId="{5342A714-4FE6-4219-9F6F-BC15D1F861B7}" dt="2023-03-08T10:29:22.144" v="4707" actId="255"/>
          <ac:spMkLst>
            <pc:docMk/>
            <pc:sldMk cId="2990160546" sldId="2147469966"/>
            <ac:spMk id="18" creationId="{D186E9D9-91CF-44C5-AEE2-E05BBCA6AC9C}"/>
          </ac:spMkLst>
        </pc:spChg>
        <pc:spChg chg="mod">
          <ac:chgData name="Jean GRANDEMANGE" userId="faf07584-8716-430e-b66d-4ceae2fe8450" providerId="ADAL" clId="{5342A714-4FE6-4219-9F6F-BC15D1F861B7}" dt="2023-03-08T10:25:29.633" v="4656" actId="404"/>
          <ac:spMkLst>
            <pc:docMk/>
            <pc:sldMk cId="2990160546" sldId="2147469966"/>
            <ac:spMk id="19" creationId="{71C2FDFE-0CF7-43A3-AC02-C559E03F471C}"/>
          </ac:spMkLst>
        </pc:spChg>
        <pc:spChg chg="mod">
          <ac:chgData name="Jean GRANDEMANGE" userId="faf07584-8716-430e-b66d-4ceae2fe8450" providerId="ADAL" clId="{5342A714-4FE6-4219-9F6F-BC15D1F861B7}" dt="2023-03-08T10:25:29.633" v="4656" actId="404"/>
          <ac:spMkLst>
            <pc:docMk/>
            <pc:sldMk cId="2990160546" sldId="2147469966"/>
            <ac:spMk id="20" creationId="{0E484EC2-FE6B-40BD-8354-6464E8555F45}"/>
          </ac:spMkLst>
        </pc:spChg>
        <pc:spChg chg="mod">
          <ac:chgData name="Jean GRANDEMANGE" userId="faf07584-8716-430e-b66d-4ceae2fe8450" providerId="ADAL" clId="{5342A714-4FE6-4219-9F6F-BC15D1F861B7}" dt="2023-03-08T11:58:54.128" v="5696" actId="1076"/>
          <ac:spMkLst>
            <pc:docMk/>
            <pc:sldMk cId="2990160546" sldId="2147469966"/>
            <ac:spMk id="21" creationId="{613F941B-E09F-4E91-9C75-F074E7D538F6}"/>
          </ac:spMkLst>
        </pc:spChg>
        <pc:spChg chg="mod">
          <ac:chgData name="Jean GRANDEMANGE" userId="faf07584-8716-430e-b66d-4ceae2fe8450" providerId="ADAL" clId="{5342A714-4FE6-4219-9F6F-BC15D1F861B7}" dt="2023-03-08T10:25:29.633" v="4656" actId="404"/>
          <ac:spMkLst>
            <pc:docMk/>
            <pc:sldMk cId="2990160546" sldId="2147469966"/>
            <ac:spMk id="23" creationId="{E1114F1F-1C91-4E34-AC47-135CE4A8B3F5}"/>
          </ac:spMkLst>
        </pc:spChg>
        <pc:spChg chg="del mod">
          <ac:chgData name="Jean GRANDEMANGE" userId="faf07584-8716-430e-b66d-4ceae2fe8450" providerId="ADAL" clId="{5342A714-4FE6-4219-9F6F-BC15D1F861B7}" dt="2023-03-08T10:26:01.545" v="4667" actId="478"/>
          <ac:spMkLst>
            <pc:docMk/>
            <pc:sldMk cId="2990160546" sldId="2147469966"/>
            <ac:spMk id="24" creationId="{10150C31-4FDE-4090-B322-313A79F6C38C}"/>
          </ac:spMkLst>
        </pc:spChg>
        <pc:spChg chg="mod">
          <ac:chgData name="Jean GRANDEMANGE" userId="faf07584-8716-430e-b66d-4ceae2fe8450" providerId="ADAL" clId="{5342A714-4FE6-4219-9F6F-BC15D1F861B7}" dt="2023-03-08T10:29:22.144" v="4707" actId="255"/>
          <ac:spMkLst>
            <pc:docMk/>
            <pc:sldMk cId="2990160546" sldId="2147469966"/>
            <ac:spMk id="26" creationId="{B6EC0E25-6939-4A2E-B56C-5E2F44FE6572}"/>
          </ac:spMkLst>
        </pc:spChg>
        <pc:grpChg chg="add mod">
          <ac:chgData name="Jean GRANDEMANGE" userId="faf07584-8716-430e-b66d-4ceae2fe8450" providerId="ADAL" clId="{5342A714-4FE6-4219-9F6F-BC15D1F861B7}" dt="2023-03-08T11:58:54.128" v="5696" actId="1076"/>
          <ac:grpSpMkLst>
            <pc:docMk/>
            <pc:sldMk cId="2990160546" sldId="2147469966"/>
            <ac:grpSpMk id="4" creationId="{40F084C2-B9E4-EF5C-D3B8-B44115748AD4}"/>
          </ac:grpSpMkLst>
        </pc:grpChg>
      </pc:sldChg>
      <pc:sldChg chg="delSp modSp mod">
        <pc:chgData name="Jean GRANDEMANGE" userId="faf07584-8716-430e-b66d-4ceae2fe8450" providerId="ADAL" clId="{5342A714-4FE6-4219-9F6F-BC15D1F861B7}" dt="2023-03-08T10:35:49.986" v="4909" actId="1582"/>
        <pc:sldMkLst>
          <pc:docMk/>
          <pc:sldMk cId="2966111978" sldId="2147469968"/>
        </pc:sldMkLst>
        <pc:spChg chg="mod">
          <ac:chgData name="Jean GRANDEMANGE" userId="faf07584-8716-430e-b66d-4ceae2fe8450" providerId="ADAL" clId="{5342A714-4FE6-4219-9F6F-BC15D1F861B7}" dt="2023-03-08T10:35:49.986" v="4909" actId="1582"/>
          <ac:spMkLst>
            <pc:docMk/>
            <pc:sldMk cId="2966111978" sldId="2147469968"/>
            <ac:spMk id="20" creationId="{80199D23-5ABE-8C68-32FF-386CC63C6FFB}"/>
          </ac:spMkLst>
        </pc:spChg>
        <pc:spChg chg="del">
          <ac:chgData name="Jean GRANDEMANGE" userId="faf07584-8716-430e-b66d-4ceae2fe8450" providerId="ADAL" clId="{5342A714-4FE6-4219-9F6F-BC15D1F861B7}" dt="2023-03-08T10:33:15.477" v="4886" actId="478"/>
          <ac:spMkLst>
            <pc:docMk/>
            <pc:sldMk cId="2966111978" sldId="2147469968"/>
            <ac:spMk id="21" creationId="{644EB278-9CD3-5494-CC1C-6D524FA4FBE3}"/>
          </ac:spMkLst>
        </pc:spChg>
        <pc:spChg chg="del">
          <ac:chgData name="Jean GRANDEMANGE" userId="faf07584-8716-430e-b66d-4ceae2fe8450" providerId="ADAL" clId="{5342A714-4FE6-4219-9F6F-BC15D1F861B7}" dt="2023-03-08T10:33:12.188" v="4883" actId="478"/>
          <ac:spMkLst>
            <pc:docMk/>
            <pc:sldMk cId="2966111978" sldId="2147469968"/>
            <ac:spMk id="24" creationId="{D08465D6-F162-8078-BC09-B3AC48192AAF}"/>
          </ac:spMkLst>
        </pc:spChg>
        <pc:spChg chg="del">
          <ac:chgData name="Jean GRANDEMANGE" userId="faf07584-8716-430e-b66d-4ceae2fe8450" providerId="ADAL" clId="{5342A714-4FE6-4219-9F6F-BC15D1F861B7}" dt="2023-03-08T10:33:14.287" v="4884" actId="478"/>
          <ac:spMkLst>
            <pc:docMk/>
            <pc:sldMk cId="2966111978" sldId="2147469968"/>
            <ac:spMk id="61" creationId="{F05E58FD-C2C7-DC73-DCA1-0100A95D2D74}"/>
          </ac:spMkLst>
        </pc:spChg>
        <pc:spChg chg="del">
          <ac:chgData name="Jean GRANDEMANGE" userId="faf07584-8716-430e-b66d-4ceae2fe8450" providerId="ADAL" clId="{5342A714-4FE6-4219-9F6F-BC15D1F861B7}" dt="2023-03-08T10:33:14.828" v="4885" actId="478"/>
          <ac:spMkLst>
            <pc:docMk/>
            <pc:sldMk cId="2966111978" sldId="2147469968"/>
            <ac:spMk id="62" creationId="{A744192B-F90E-9850-74A6-5789B2870D24}"/>
          </ac:spMkLst>
        </pc:spChg>
      </pc:sldChg>
      <pc:sldChg chg="delSp mod">
        <pc:chgData name="Jean GRANDEMANGE" userId="faf07584-8716-430e-b66d-4ceae2fe8450" providerId="ADAL" clId="{5342A714-4FE6-4219-9F6F-BC15D1F861B7}" dt="2023-03-08T10:35:07.604" v="4908" actId="478"/>
        <pc:sldMkLst>
          <pc:docMk/>
          <pc:sldMk cId="3159731328" sldId="2147469969"/>
        </pc:sldMkLst>
        <pc:spChg chg="del">
          <ac:chgData name="Jean GRANDEMANGE" userId="faf07584-8716-430e-b66d-4ceae2fe8450" providerId="ADAL" clId="{5342A714-4FE6-4219-9F6F-BC15D1F861B7}" dt="2023-03-08T10:35:07.604" v="4908" actId="478"/>
          <ac:spMkLst>
            <pc:docMk/>
            <pc:sldMk cId="3159731328" sldId="2147469969"/>
            <ac:spMk id="3" creationId="{2BA9E322-DC74-3F02-31D6-2F4DC5759650}"/>
          </ac:spMkLst>
        </pc:spChg>
        <pc:spChg chg="del">
          <ac:chgData name="Jean GRANDEMANGE" userId="faf07584-8716-430e-b66d-4ceae2fe8450" providerId="ADAL" clId="{5342A714-4FE6-4219-9F6F-BC15D1F861B7}" dt="2023-03-08T10:35:06.939" v="4907" actId="478"/>
          <ac:spMkLst>
            <pc:docMk/>
            <pc:sldMk cId="3159731328" sldId="2147469969"/>
            <ac:spMk id="64" creationId="{D18489B3-318E-BCF7-163E-21C7A6BB5398}"/>
          </ac:spMkLst>
        </pc:spChg>
      </pc:sldChg>
      <pc:sldChg chg="addSp delSp modSp del mod modClrScheme chgLayout">
        <pc:chgData name="Jean GRANDEMANGE" userId="faf07584-8716-430e-b66d-4ceae2fe8450" providerId="ADAL" clId="{5342A714-4FE6-4219-9F6F-BC15D1F861B7}" dt="2023-03-08T09:54:22.377" v="4472" actId="2696"/>
        <pc:sldMkLst>
          <pc:docMk/>
          <pc:sldMk cId="4116724848" sldId="2147469970"/>
        </pc:sldMkLst>
        <pc:spChg chg="add del mod ord">
          <ac:chgData name="Jean GRANDEMANGE" userId="faf07584-8716-430e-b66d-4ceae2fe8450" providerId="ADAL" clId="{5342A714-4FE6-4219-9F6F-BC15D1F861B7}" dt="2023-03-06T10:37:47.393" v="1718" actId="478"/>
          <ac:spMkLst>
            <pc:docMk/>
            <pc:sldMk cId="4116724848" sldId="2147469970"/>
            <ac:spMk id="3" creationId="{5BFA667A-EEBC-D51E-C80B-6C010070D0F4}"/>
          </ac:spMkLst>
        </pc:spChg>
        <pc:spChg chg="add del mod ord">
          <ac:chgData name="Jean GRANDEMANGE" userId="faf07584-8716-430e-b66d-4ceae2fe8450" providerId="ADAL" clId="{5342A714-4FE6-4219-9F6F-BC15D1F861B7}" dt="2023-03-06T10:37:45.780" v="1716" actId="478"/>
          <ac:spMkLst>
            <pc:docMk/>
            <pc:sldMk cId="4116724848" sldId="2147469970"/>
            <ac:spMk id="5" creationId="{1A54846D-7DBA-D203-7468-C83EAA552C75}"/>
          </ac:spMkLst>
        </pc:spChg>
        <pc:graphicFrameChg chg="mod modGraphic">
          <ac:chgData name="Jean GRANDEMANGE" userId="faf07584-8716-430e-b66d-4ceae2fe8450" providerId="ADAL" clId="{5342A714-4FE6-4219-9F6F-BC15D1F861B7}" dt="2023-03-07T17:08:18.862" v="4356" actId="20577"/>
          <ac:graphicFrameMkLst>
            <pc:docMk/>
            <pc:sldMk cId="4116724848" sldId="2147469970"/>
            <ac:graphicFrameMk id="2" creationId="{7F94D593-277D-3A59-B987-BD85E51AB418}"/>
          </ac:graphicFrameMkLst>
        </pc:graphicFrameChg>
      </pc:sldChg>
      <pc:sldChg chg="delSp modSp mod">
        <pc:chgData name="Jean GRANDEMANGE" userId="faf07584-8716-430e-b66d-4ceae2fe8450" providerId="ADAL" clId="{5342A714-4FE6-4219-9F6F-BC15D1F861B7}" dt="2023-03-08T10:33:07.797" v="4882" actId="478"/>
        <pc:sldMkLst>
          <pc:docMk/>
          <pc:sldMk cId="1771392329" sldId="2147469971"/>
        </pc:sldMkLst>
        <pc:spChg chg="del">
          <ac:chgData name="Jean GRANDEMANGE" userId="faf07584-8716-430e-b66d-4ceae2fe8450" providerId="ADAL" clId="{5342A714-4FE6-4219-9F6F-BC15D1F861B7}" dt="2023-03-08T10:33:07.797" v="4882" actId="478"/>
          <ac:spMkLst>
            <pc:docMk/>
            <pc:sldMk cId="1771392329" sldId="2147469971"/>
            <ac:spMk id="4" creationId="{1BD75E50-8ED8-1620-4E76-F38480FA3B23}"/>
          </ac:spMkLst>
        </pc:spChg>
        <pc:spChg chg="mod">
          <ac:chgData name="Jean GRANDEMANGE" userId="faf07584-8716-430e-b66d-4ceae2fe8450" providerId="ADAL" clId="{5342A714-4FE6-4219-9F6F-BC15D1F861B7}" dt="2023-03-07T15:35:57.576" v="4022" actId="20577"/>
          <ac:spMkLst>
            <pc:docMk/>
            <pc:sldMk cId="1771392329" sldId="2147469971"/>
            <ac:spMk id="13" creationId="{3897D5CC-92F1-B331-7B4C-E01530575557}"/>
          </ac:spMkLst>
        </pc:spChg>
        <pc:spChg chg="del">
          <ac:chgData name="Jean GRANDEMANGE" userId="faf07584-8716-430e-b66d-4ceae2fe8450" providerId="ADAL" clId="{5342A714-4FE6-4219-9F6F-BC15D1F861B7}" dt="2023-03-08T10:33:07.287" v="4881" actId="478"/>
          <ac:spMkLst>
            <pc:docMk/>
            <pc:sldMk cId="1771392329" sldId="2147469971"/>
            <ac:spMk id="14" creationId="{588F8358-2B82-12F2-E7DB-DA89D9FE7A01}"/>
          </ac:spMkLst>
        </pc:spChg>
      </pc:sldChg>
      <pc:sldChg chg="delSp mod">
        <pc:chgData name="Jean GRANDEMANGE" userId="faf07584-8716-430e-b66d-4ceae2fe8450" providerId="ADAL" clId="{5342A714-4FE6-4219-9F6F-BC15D1F861B7}" dt="2023-03-08T10:34:56.098" v="4904" actId="478"/>
        <pc:sldMkLst>
          <pc:docMk/>
          <pc:sldMk cId="1895821880" sldId="2147469978"/>
        </pc:sldMkLst>
        <pc:spChg chg="del">
          <ac:chgData name="Jean GRANDEMANGE" userId="faf07584-8716-430e-b66d-4ceae2fe8450" providerId="ADAL" clId="{5342A714-4FE6-4219-9F6F-BC15D1F861B7}" dt="2023-03-08T10:34:55.670" v="4903" actId="478"/>
          <ac:spMkLst>
            <pc:docMk/>
            <pc:sldMk cId="1895821880" sldId="2147469978"/>
            <ac:spMk id="3" creationId="{592E8EDC-4278-5C67-4580-18FFCFAC667E}"/>
          </ac:spMkLst>
        </pc:spChg>
        <pc:spChg chg="del">
          <ac:chgData name="Jean GRANDEMANGE" userId="faf07584-8716-430e-b66d-4ceae2fe8450" providerId="ADAL" clId="{5342A714-4FE6-4219-9F6F-BC15D1F861B7}" dt="2023-03-08T10:34:56.098" v="4904" actId="478"/>
          <ac:spMkLst>
            <pc:docMk/>
            <pc:sldMk cId="1895821880" sldId="2147469978"/>
            <ac:spMk id="19" creationId="{8642027C-EC03-B36F-0299-31FAE1BF8454}"/>
          </ac:spMkLst>
        </pc:spChg>
      </pc:sldChg>
      <pc:sldChg chg="delSp mod">
        <pc:chgData name="Jean GRANDEMANGE" userId="faf07584-8716-430e-b66d-4ceae2fe8450" providerId="ADAL" clId="{5342A714-4FE6-4219-9F6F-BC15D1F861B7}" dt="2023-03-08T10:34:52.939" v="4902" actId="478"/>
        <pc:sldMkLst>
          <pc:docMk/>
          <pc:sldMk cId="3714264415" sldId="2147469979"/>
        </pc:sldMkLst>
        <pc:spChg chg="del">
          <ac:chgData name="Jean GRANDEMANGE" userId="faf07584-8716-430e-b66d-4ceae2fe8450" providerId="ADAL" clId="{5342A714-4FE6-4219-9F6F-BC15D1F861B7}" dt="2023-03-08T10:34:52.537" v="4901" actId="478"/>
          <ac:spMkLst>
            <pc:docMk/>
            <pc:sldMk cId="3714264415" sldId="2147469979"/>
            <ac:spMk id="18" creationId="{F5B28F1D-4658-667A-8C29-23FAD0C80711}"/>
          </ac:spMkLst>
        </pc:spChg>
        <pc:spChg chg="del">
          <ac:chgData name="Jean GRANDEMANGE" userId="faf07584-8716-430e-b66d-4ceae2fe8450" providerId="ADAL" clId="{5342A714-4FE6-4219-9F6F-BC15D1F861B7}" dt="2023-03-08T10:34:52.939" v="4902" actId="478"/>
          <ac:spMkLst>
            <pc:docMk/>
            <pc:sldMk cId="3714264415" sldId="2147469979"/>
            <ac:spMk id="32" creationId="{4F151E51-FBB0-163B-F586-EB5B8BEE8BB9}"/>
          </ac:spMkLst>
        </pc:spChg>
      </pc:sldChg>
      <pc:sldChg chg="delSp mod">
        <pc:chgData name="Jean GRANDEMANGE" userId="faf07584-8716-430e-b66d-4ceae2fe8450" providerId="ADAL" clId="{5342A714-4FE6-4219-9F6F-BC15D1F861B7}" dt="2023-03-08T10:34:48.677" v="4900" actId="478"/>
        <pc:sldMkLst>
          <pc:docMk/>
          <pc:sldMk cId="1679491866" sldId="2147469982"/>
        </pc:sldMkLst>
        <pc:spChg chg="del">
          <ac:chgData name="Jean GRANDEMANGE" userId="faf07584-8716-430e-b66d-4ceae2fe8450" providerId="ADAL" clId="{5342A714-4FE6-4219-9F6F-BC15D1F861B7}" dt="2023-03-08T10:34:48.677" v="4900" actId="478"/>
          <ac:spMkLst>
            <pc:docMk/>
            <pc:sldMk cId="1679491866" sldId="2147469982"/>
            <ac:spMk id="3" creationId="{C6D11B48-4CD3-0725-31D1-FA0F8535A05E}"/>
          </ac:spMkLst>
        </pc:spChg>
        <pc:spChg chg="del">
          <ac:chgData name="Jean GRANDEMANGE" userId="faf07584-8716-430e-b66d-4ceae2fe8450" providerId="ADAL" clId="{5342A714-4FE6-4219-9F6F-BC15D1F861B7}" dt="2023-03-08T10:34:48.030" v="4899" actId="478"/>
          <ac:spMkLst>
            <pc:docMk/>
            <pc:sldMk cId="1679491866" sldId="2147469982"/>
            <ac:spMk id="26" creationId="{32A4B72D-D719-1603-1F3F-8B546BA3A932}"/>
          </ac:spMkLst>
        </pc:spChg>
      </pc:sldChg>
      <pc:sldChg chg="addSp delSp modSp mod">
        <pc:chgData name="Jean GRANDEMANGE" userId="faf07584-8716-430e-b66d-4ceae2fe8450" providerId="ADAL" clId="{5342A714-4FE6-4219-9F6F-BC15D1F861B7}" dt="2023-03-08T10:36:53.001" v="4957" actId="478"/>
        <pc:sldMkLst>
          <pc:docMk/>
          <pc:sldMk cId="2863541397" sldId="2147469983"/>
        </pc:sldMkLst>
        <pc:spChg chg="del">
          <ac:chgData name="Jean GRANDEMANGE" userId="faf07584-8716-430e-b66d-4ceae2fe8450" providerId="ADAL" clId="{5342A714-4FE6-4219-9F6F-BC15D1F861B7}" dt="2023-03-08T10:36:47.089" v="4951" actId="478"/>
          <ac:spMkLst>
            <pc:docMk/>
            <pc:sldMk cId="2863541397" sldId="2147469983"/>
            <ac:spMk id="3" creationId="{485D1B8A-0B1E-1E73-E092-DC6223BE4826}"/>
          </ac:spMkLst>
        </pc:spChg>
        <pc:spChg chg="del">
          <ac:chgData name="Jean GRANDEMANGE" userId="faf07584-8716-430e-b66d-4ceae2fe8450" providerId="ADAL" clId="{5342A714-4FE6-4219-9F6F-BC15D1F861B7}" dt="2023-03-08T10:36:50.442" v="4954" actId="478"/>
          <ac:spMkLst>
            <pc:docMk/>
            <pc:sldMk cId="2863541397" sldId="2147469983"/>
            <ac:spMk id="4" creationId="{3473298D-CC7F-093A-1B03-CF72A15B03CD}"/>
          </ac:spMkLst>
        </pc:spChg>
        <pc:spChg chg="add del mod">
          <ac:chgData name="Jean GRANDEMANGE" userId="faf07584-8716-430e-b66d-4ceae2fe8450" providerId="ADAL" clId="{5342A714-4FE6-4219-9F6F-BC15D1F861B7}" dt="2023-03-08T10:36:53.001" v="4957" actId="478"/>
          <ac:spMkLst>
            <pc:docMk/>
            <pc:sldMk cId="2863541397" sldId="2147469983"/>
            <ac:spMk id="6" creationId="{F2F196BA-F630-E5BF-F8AF-60A393002CA1}"/>
          </ac:spMkLst>
        </pc:spChg>
      </pc:sldChg>
      <pc:sldChg chg="delSp mod">
        <pc:chgData name="Jean GRANDEMANGE" userId="faf07584-8716-430e-b66d-4ceae2fe8450" providerId="ADAL" clId="{5342A714-4FE6-4219-9F6F-BC15D1F861B7}" dt="2023-03-08T10:34:41.811" v="4898" actId="478"/>
        <pc:sldMkLst>
          <pc:docMk/>
          <pc:sldMk cId="290774258" sldId="2147469984"/>
        </pc:sldMkLst>
        <pc:spChg chg="del">
          <ac:chgData name="Jean GRANDEMANGE" userId="faf07584-8716-430e-b66d-4ceae2fe8450" providerId="ADAL" clId="{5342A714-4FE6-4219-9F6F-BC15D1F861B7}" dt="2023-03-08T10:34:41.811" v="4898" actId="478"/>
          <ac:spMkLst>
            <pc:docMk/>
            <pc:sldMk cId="290774258" sldId="2147469984"/>
            <ac:spMk id="3" creationId="{C0739F68-8509-84FA-24F0-1CC278B69D93}"/>
          </ac:spMkLst>
        </pc:spChg>
        <pc:spChg chg="del">
          <ac:chgData name="Jean GRANDEMANGE" userId="faf07584-8716-430e-b66d-4ceae2fe8450" providerId="ADAL" clId="{5342A714-4FE6-4219-9F6F-BC15D1F861B7}" dt="2023-03-08T10:34:41.098" v="4897" actId="478"/>
          <ac:spMkLst>
            <pc:docMk/>
            <pc:sldMk cId="290774258" sldId="2147469984"/>
            <ac:spMk id="7" creationId="{7A7E9BCF-7418-7461-E6A5-E180094C4211}"/>
          </ac:spMkLst>
        </pc:spChg>
      </pc:sldChg>
      <pc:sldChg chg="delSp mod">
        <pc:chgData name="Jean GRANDEMANGE" userId="faf07584-8716-430e-b66d-4ceae2fe8450" providerId="ADAL" clId="{5342A714-4FE6-4219-9F6F-BC15D1F861B7}" dt="2023-03-08T10:48:15.648" v="5175" actId="478"/>
        <pc:sldMkLst>
          <pc:docMk/>
          <pc:sldMk cId="4257343342" sldId="2147469987"/>
        </pc:sldMkLst>
        <pc:spChg chg="del">
          <ac:chgData name="Jean GRANDEMANGE" userId="faf07584-8716-430e-b66d-4ceae2fe8450" providerId="ADAL" clId="{5342A714-4FE6-4219-9F6F-BC15D1F861B7}" dt="2023-03-08T10:48:15.648" v="5175" actId="478"/>
          <ac:spMkLst>
            <pc:docMk/>
            <pc:sldMk cId="4257343342" sldId="2147469987"/>
            <ac:spMk id="53" creationId="{4296DB54-3EDD-F5CE-9FB3-DAA27F492FCA}"/>
          </ac:spMkLst>
        </pc:spChg>
      </pc:sldChg>
      <pc:sldChg chg="delSp mod">
        <pc:chgData name="Jean GRANDEMANGE" userId="faf07584-8716-430e-b66d-4ceae2fe8450" providerId="ADAL" clId="{5342A714-4FE6-4219-9F6F-BC15D1F861B7}" dt="2023-03-08T10:48:17.542" v="5176" actId="478"/>
        <pc:sldMkLst>
          <pc:docMk/>
          <pc:sldMk cId="2077101343" sldId="2147469988"/>
        </pc:sldMkLst>
        <pc:spChg chg="del">
          <ac:chgData name="Jean GRANDEMANGE" userId="faf07584-8716-430e-b66d-4ceae2fe8450" providerId="ADAL" clId="{5342A714-4FE6-4219-9F6F-BC15D1F861B7}" dt="2023-03-08T10:48:17.542" v="5176" actId="478"/>
          <ac:spMkLst>
            <pc:docMk/>
            <pc:sldMk cId="2077101343" sldId="2147469988"/>
            <ac:spMk id="40" creationId="{0A4C59AB-CA89-7471-2F78-6B835DAFAD1C}"/>
          </ac:spMkLst>
        </pc:spChg>
      </pc:sldChg>
      <pc:sldChg chg="addSp delSp modSp add mod ord">
        <pc:chgData name="Jean GRANDEMANGE" userId="faf07584-8716-430e-b66d-4ceae2fe8450" providerId="ADAL" clId="{5342A714-4FE6-4219-9F6F-BC15D1F861B7}" dt="2023-03-08T11:59:20.359" v="5698"/>
        <pc:sldMkLst>
          <pc:docMk/>
          <pc:sldMk cId="1741760903" sldId="2147469989"/>
        </pc:sldMkLst>
        <pc:spChg chg="add mod">
          <ac:chgData name="Jean GRANDEMANGE" userId="faf07584-8716-430e-b66d-4ceae2fe8450" providerId="ADAL" clId="{5342A714-4FE6-4219-9F6F-BC15D1F861B7}" dt="2023-03-06T10:26:00.685" v="1385" actId="1076"/>
          <ac:spMkLst>
            <pc:docMk/>
            <pc:sldMk cId="1741760903" sldId="2147469989"/>
            <ac:spMk id="2" creationId="{3E133D4A-0ADE-AE1D-F37E-93B019F045DC}"/>
          </ac:spMkLst>
        </pc:spChg>
        <pc:spChg chg="mod">
          <ac:chgData name="Jean GRANDEMANGE" userId="faf07584-8716-430e-b66d-4ceae2fe8450" providerId="ADAL" clId="{5342A714-4FE6-4219-9F6F-BC15D1F861B7}" dt="2023-03-06T10:25:07.552" v="1377" actId="14100"/>
          <ac:spMkLst>
            <pc:docMk/>
            <pc:sldMk cId="1741760903" sldId="2147469989"/>
            <ac:spMk id="4" creationId="{51A5D56B-DC75-4304-91E8-1A160DBEEB3E}"/>
          </ac:spMkLst>
        </pc:spChg>
        <pc:spChg chg="mod">
          <ac:chgData name="Jean GRANDEMANGE" userId="faf07584-8716-430e-b66d-4ceae2fe8450" providerId="ADAL" clId="{5342A714-4FE6-4219-9F6F-BC15D1F861B7}" dt="2023-03-06T10:28:15.642" v="1546" actId="20577"/>
          <ac:spMkLst>
            <pc:docMk/>
            <pc:sldMk cId="1741760903" sldId="2147469989"/>
            <ac:spMk id="5" creationId="{86003A0A-DB97-4C93-A824-76C33B7B9C82}"/>
          </ac:spMkLst>
        </pc:spChg>
        <pc:spChg chg="del">
          <ac:chgData name="Jean GRANDEMANGE" userId="faf07584-8716-430e-b66d-4ceae2fe8450" providerId="ADAL" clId="{5342A714-4FE6-4219-9F6F-BC15D1F861B7}" dt="2023-03-08T10:32:50.152" v="4877" actId="478"/>
          <ac:spMkLst>
            <pc:docMk/>
            <pc:sldMk cId="1741760903" sldId="2147469989"/>
            <ac:spMk id="6" creationId="{B5F6ED0B-914B-5B0F-5368-9928BD32C699}"/>
          </ac:spMkLst>
        </pc:spChg>
        <pc:spChg chg="del">
          <ac:chgData name="Jean GRANDEMANGE" userId="faf07584-8716-430e-b66d-4ceae2fe8450" providerId="ADAL" clId="{5342A714-4FE6-4219-9F6F-BC15D1F861B7}" dt="2023-03-06T10:22:03.231" v="1349" actId="478"/>
          <ac:spMkLst>
            <pc:docMk/>
            <pc:sldMk cId="1741760903" sldId="2147469989"/>
            <ac:spMk id="6" creationId="{D21872A7-FA51-4AE1-9BE0-641C7428361A}"/>
          </ac:spMkLst>
        </pc:spChg>
        <pc:spChg chg="mod">
          <ac:chgData name="Jean GRANDEMANGE" userId="faf07584-8716-430e-b66d-4ceae2fe8450" providerId="ADAL" clId="{5342A714-4FE6-4219-9F6F-BC15D1F861B7}" dt="2023-03-06T10:25:45.455" v="1383" actId="20577"/>
          <ac:spMkLst>
            <pc:docMk/>
            <pc:sldMk cId="1741760903" sldId="2147469989"/>
            <ac:spMk id="8" creationId="{40FDCFEB-94C1-4364-8A24-8CF1F4E5ACD6}"/>
          </ac:spMkLst>
        </pc:spChg>
        <pc:spChg chg="del mod">
          <ac:chgData name="Jean GRANDEMANGE" userId="faf07584-8716-430e-b66d-4ceae2fe8450" providerId="ADAL" clId="{5342A714-4FE6-4219-9F6F-BC15D1F861B7}" dt="2023-03-06T10:22:03.231" v="1349" actId="478"/>
          <ac:spMkLst>
            <pc:docMk/>
            <pc:sldMk cId="1741760903" sldId="2147469989"/>
            <ac:spMk id="9" creationId="{0520A868-5049-425D-B679-4BA221E97D54}"/>
          </ac:spMkLst>
        </pc:spChg>
        <pc:spChg chg="del mod">
          <ac:chgData name="Jean GRANDEMANGE" userId="faf07584-8716-430e-b66d-4ceae2fe8450" providerId="ADAL" clId="{5342A714-4FE6-4219-9F6F-BC15D1F861B7}" dt="2023-03-06T10:22:03.231" v="1349" actId="478"/>
          <ac:spMkLst>
            <pc:docMk/>
            <pc:sldMk cId="1741760903" sldId="2147469989"/>
            <ac:spMk id="10" creationId="{266D93E3-C205-4C7E-B123-F4184ABE181A}"/>
          </ac:spMkLst>
        </pc:spChg>
        <pc:spChg chg="del">
          <ac:chgData name="Jean GRANDEMANGE" userId="faf07584-8716-430e-b66d-4ceae2fe8450" providerId="ADAL" clId="{5342A714-4FE6-4219-9F6F-BC15D1F861B7}" dt="2023-03-06T08:30:22.803" v="1253" actId="478"/>
          <ac:spMkLst>
            <pc:docMk/>
            <pc:sldMk cId="1741760903" sldId="2147469989"/>
            <ac:spMk id="11" creationId="{9C7B3D68-58D9-47BA-A8BF-B0C65E88364F}"/>
          </ac:spMkLst>
        </pc:spChg>
        <pc:spChg chg="mod">
          <ac:chgData name="Jean GRANDEMANGE" userId="faf07584-8716-430e-b66d-4ceae2fe8450" providerId="ADAL" clId="{5342A714-4FE6-4219-9F6F-BC15D1F861B7}" dt="2023-03-06T10:26:28.202" v="1394" actId="1076"/>
          <ac:spMkLst>
            <pc:docMk/>
            <pc:sldMk cId="1741760903" sldId="2147469989"/>
            <ac:spMk id="21" creationId="{1D3EA3B3-0152-49A7-B342-314106F9328B}"/>
          </ac:spMkLst>
        </pc:spChg>
        <pc:spChg chg="mod">
          <ac:chgData name="Jean GRANDEMANGE" userId="faf07584-8716-430e-b66d-4ceae2fe8450" providerId="ADAL" clId="{5342A714-4FE6-4219-9F6F-BC15D1F861B7}" dt="2023-03-08T11:59:20.359" v="5698"/>
          <ac:spMkLst>
            <pc:docMk/>
            <pc:sldMk cId="1741760903" sldId="2147469989"/>
            <ac:spMk id="37" creationId="{7AF0E430-CDB8-4B45-8379-46CBA595C178}"/>
          </ac:spMkLst>
        </pc:spChg>
        <pc:spChg chg="mod">
          <ac:chgData name="Jean GRANDEMANGE" userId="faf07584-8716-430e-b66d-4ceae2fe8450" providerId="ADAL" clId="{5342A714-4FE6-4219-9F6F-BC15D1F861B7}" dt="2023-03-06T10:25:57.220" v="1384"/>
          <ac:spMkLst>
            <pc:docMk/>
            <pc:sldMk cId="1741760903" sldId="2147469989"/>
            <ac:spMk id="39" creationId="{79339183-0722-4C64-A1CF-A021ABD95820}"/>
          </ac:spMkLst>
        </pc:spChg>
        <pc:spChg chg="add mod">
          <ac:chgData name="Jean GRANDEMANGE" userId="faf07584-8716-430e-b66d-4ceae2fe8450" providerId="ADAL" clId="{5342A714-4FE6-4219-9F6F-BC15D1F861B7}" dt="2023-03-06T10:26:43.178" v="1397"/>
          <ac:spMkLst>
            <pc:docMk/>
            <pc:sldMk cId="1741760903" sldId="2147469989"/>
            <ac:spMk id="49" creationId="{547AAC6B-797A-EAE4-17ED-B2D26AD4ED7E}"/>
          </ac:spMkLst>
        </pc:spChg>
        <pc:spChg chg="add mod">
          <ac:chgData name="Jean GRANDEMANGE" userId="faf07584-8716-430e-b66d-4ceae2fe8450" providerId="ADAL" clId="{5342A714-4FE6-4219-9F6F-BC15D1F861B7}" dt="2023-03-06T10:32:50.729" v="1649" actId="6549"/>
          <ac:spMkLst>
            <pc:docMk/>
            <pc:sldMk cId="1741760903" sldId="2147469989"/>
            <ac:spMk id="50" creationId="{6AB56375-56DD-150A-525D-7F015DA7A767}"/>
          </ac:spMkLst>
        </pc:spChg>
        <pc:spChg chg="add mod">
          <ac:chgData name="Jean GRANDEMANGE" userId="faf07584-8716-430e-b66d-4ceae2fe8450" providerId="ADAL" clId="{5342A714-4FE6-4219-9F6F-BC15D1F861B7}" dt="2023-03-06T10:32:32.358" v="1636" actId="20577"/>
          <ac:spMkLst>
            <pc:docMk/>
            <pc:sldMk cId="1741760903" sldId="2147469989"/>
            <ac:spMk id="51" creationId="{4F416E8E-F2EF-63E8-0073-9D8623651818}"/>
          </ac:spMkLst>
        </pc:spChg>
        <pc:spChg chg="add del mod">
          <ac:chgData name="Jean GRANDEMANGE" userId="faf07584-8716-430e-b66d-4ceae2fe8450" providerId="ADAL" clId="{5342A714-4FE6-4219-9F6F-BC15D1F861B7}" dt="2023-03-08T10:32:49.693" v="4876" actId="478"/>
          <ac:spMkLst>
            <pc:docMk/>
            <pc:sldMk cId="1741760903" sldId="2147469989"/>
            <ac:spMk id="52" creationId="{59D1624C-7D27-5595-8261-A69A25FBE4D7}"/>
          </ac:spMkLst>
        </pc:spChg>
        <pc:grpChg chg="mod">
          <ac:chgData name="Jean GRANDEMANGE" userId="faf07584-8716-430e-b66d-4ceae2fe8450" providerId="ADAL" clId="{5342A714-4FE6-4219-9F6F-BC15D1F861B7}" dt="2023-03-06T10:26:28.202" v="1394" actId="1076"/>
          <ac:grpSpMkLst>
            <pc:docMk/>
            <pc:sldMk cId="1741760903" sldId="2147469989"/>
            <ac:grpSpMk id="22" creationId="{C8D42E14-7E5F-488E-B43D-EED9604FB1F6}"/>
          </ac:grpSpMkLst>
        </pc:grpChg>
        <pc:picChg chg="del">
          <ac:chgData name="Jean GRANDEMANGE" userId="faf07584-8716-430e-b66d-4ceae2fe8450" providerId="ADAL" clId="{5342A714-4FE6-4219-9F6F-BC15D1F861B7}" dt="2023-03-06T08:27:06.156" v="1076" actId="478"/>
          <ac:picMkLst>
            <pc:docMk/>
            <pc:sldMk cId="1741760903" sldId="2147469989"/>
            <ac:picMk id="12" creationId="{2EEFA8BC-16B3-459E-9C93-51220AFA23B8}"/>
          </ac:picMkLst>
        </pc:picChg>
        <pc:picChg chg="add del mod">
          <ac:chgData name="Jean GRANDEMANGE" userId="faf07584-8716-430e-b66d-4ceae2fe8450" providerId="ADAL" clId="{5342A714-4FE6-4219-9F6F-BC15D1F861B7}" dt="2023-03-06T08:29:54.688" v="1246" actId="478"/>
          <ac:picMkLst>
            <pc:docMk/>
            <pc:sldMk cId="1741760903" sldId="2147469989"/>
            <ac:picMk id="1026" creationId="{20DC7DF8-C157-F458-E828-8C938C8D8162}"/>
          </ac:picMkLst>
        </pc:picChg>
        <pc:picChg chg="add mod">
          <ac:chgData name="Jean GRANDEMANGE" userId="faf07584-8716-430e-b66d-4ceae2fe8450" providerId="ADAL" clId="{5342A714-4FE6-4219-9F6F-BC15D1F861B7}" dt="2023-03-06T08:30:25.186" v="1254" actId="1076"/>
          <ac:picMkLst>
            <pc:docMk/>
            <pc:sldMk cId="1741760903" sldId="2147469989"/>
            <ac:picMk id="1028" creationId="{25093F2A-D273-84EC-83C4-5CE606DDE1EE}"/>
          </ac:picMkLst>
        </pc:picChg>
        <pc:cxnChg chg="add mod">
          <ac:chgData name="Jean GRANDEMANGE" userId="faf07584-8716-430e-b66d-4ceae2fe8450" providerId="ADAL" clId="{5342A714-4FE6-4219-9F6F-BC15D1F861B7}" dt="2023-03-06T10:26:00.685" v="1385" actId="1076"/>
          <ac:cxnSpMkLst>
            <pc:docMk/>
            <pc:sldMk cId="1741760903" sldId="2147469989"/>
            <ac:cxnSpMk id="3" creationId="{6EA4C6E3-BF80-EF6F-80D5-44BB95831FC3}"/>
          </ac:cxnSpMkLst>
        </pc:cxnChg>
        <pc:cxnChg chg="del">
          <ac:chgData name="Jean GRANDEMANGE" userId="faf07584-8716-430e-b66d-4ceae2fe8450" providerId="ADAL" clId="{5342A714-4FE6-4219-9F6F-BC15D1F861B7}" dt="2023-03-06T10:22:03.231" v="1349" actId="478"/>
          <ac:cxnSpMkLst>
            <pc:docMk/>
            <pc:sldMk cId="1741760903" sldId="2147469989"/>
            <ac:cxnSpMk id="7" creationId="{D3449B44-710C-43BE-ADD9-DD9BFB56579E}"/>
          </ac:cxnSpMkLst>
        </pc:cxnChg>
        <pc:cxnChg chg="mod">
          <ac:chgData name="Jean GRANDEMANGE" userId="faf07584-8716-430e-b66d-4ceae2fe8450" providerId="ADAL" clId="{5342A714-4FE6-4219-9F6F-BC15D1F861B7}" dt="2023-03-06T10:26:28.202" v="1394" actId="1076"/>
          <ac:cxnSpMkLst>
            <pc:docMk/>
            <pc:sldMk cId="1741760903" sldId="2147469989"/>
            <ac:cxnSpMk id="38" creationId="{91025DE0-102C-4CF5-AB7C-EB7281E6D5CE}"/>
          </ac:cxnSpMkLst>
        </pc:cxnChg>
      </pc:sldChg>
      <pc:sldChg chg="addSp delSp modSp add mod ord">
        <pc:chgData name="Jean GRANDEMANGE" userId="faf07584-8716-430e-b66d-4ceae2fe8450" providerId="ADAL" clId="{5342A714-4FE6-4219-9F6F-BC15D1F861B7}" dt="2023-03-08T11:59:23.500" v="5699"/>
        <pc:sldMkLst>
          <pc:docMk/>
          <pc:sldMk cId="1961901940" sldId="2147469990"/>
        </pc:sldMkLst>
        <pc:spChg chg="add mod">
          <ac:chgData name="Jean GRANDEMANGE" userId="faf07584-8716-430e-b66d-4ceae2fe8450" providerId="ADAL" clId="{5342A714-4FE6-4219-9F6F-BC15D1F861B7}" dt="2023-03-06T10:33:50.639" v="1700" actId="20577"/>
          <ac:spMkLst>
            <pc:docMk/>
            <pc:sldMk cId="1961901940" sldId="2147469990"/>
            <ac:spMk id="3" creationId="{EC48ED7E-9F58-9F45-3CB6-A3C02E719B86}"/>
          </ac:spMkLst>
        </pc:spChg>
        <pc:spChg chg="mod">
          <ac:chgData name="Jean GRANDEMANGE" userId="faf07584-8716-430e-b66d-4ceae2fe8450" providerId="ADAL" clId="{5342A714-4FE6-4219-9F6F-BC15D1F861B7}" dt="2023-03-06T10:08:09.720" v="1298" actId="1076"/>
          <ac:spMkLst>
            <pc:docMk/>
            <pc:sldMk cId="1961901940" sldId="2147469990"/>
            <ac:spMk id="6" creationId="{D21872A7-FA51-4AE1-9BE0-641C7428361A}"/>
          </ac:spMkLst>
        </pc:spChg>
        <pc:spChg chg="mod">
          <ac:chgData name="Jean GRANDEMANGE" userId="faf07584-8716-430e-b66d-4ceae2fe8450" providerId="ADAL" clId="{5342A714-4FE6-4219-9F6F-BC15D1F861B7}" dt="2023-03-06T10:08:09.720" v="1298" actId="1076"/>
          <ac:spMkLst>
            <pc:docMk/>
            <pc:sldMk cId="1961901940" sldId="2147469990"/>
            <ac:spMk id="9" creationId="{0520A868-5049-425D-B679-4BA221E97D54}"/>
          </ac:spMkLst>
        </pc:spChg>
        <pc:spChg chg="mod">
          <ac:chgData name="Jean GRANDEMANGE" userId="faf07584-8716-430e-b66d-4ceae2fe8450" providerId="ADAL" clId="{5342A714-4FE6-4219-9F6F-BC15D1F861B7}" dt="2023-03-06T10:32:56.989" v="1656" actId="20577"/>
          <ac:spMkLst>
            <pc:docMk/>
            <pc:sldMk cId="1961901940" sldId="2147469990"/>
            <ac:spMk id="10" creationId="{266D93E3-C205-4C7E-B123-F4184ABE181A}"/>
          </ac:spMkLst>
        </pc:spChg>
        <pc:spChg chg="del">
          <ac:chgData name="Jean GRANDEMANGE" userId="faf07584-8716-430e-b66d-4ceae2fe8450" providerId="ADAL" clId="{5342A714-4FE6-4219-9F6F-BC15D1F861B7}" dt="2023-03-06T08:30:29.056" v="1256" actId="478"/>
          <ac:spMkLst>
            <pc:docMk/>
            <pc:sldMk cId="1961901940" sldId="2147469990"/>
            <ac:spMk id="11" creationId="{9C7B3D68-58D9-47BA-A8BF-B0C65E88364F}"/>
          </ac:spMkLst>
        </pc:spChg>
        <pc:spChg chg="add del mod">
          <ac:chgData name="Jean GRANDEMANGE" userId="faf07584-8716-430e-b66d-4ceae2fe8450" providerId="ADAL" clId="{5342A714-4FE6-4219-9F6F-BC15D1F861B7}" dt="2023-03-08T10:32:54.056" v="4878" actId="478"/>
          <ac:spMkLst>
            <pc:docMk/>
            <pc:sldMk cId="1961901940" sldId="2147469990"/>
            <ac:spMk id="12" creationId="{104060D2-4B85-458C-EC99-EA1AAAF8D16B}"/>
          </ac:spMkLst>
        </pc:spChg>
        <pc:spChg chg="mod">
          <ac:chgData name="Jean GRANDEMANGE" userId="faf07584-8716-430e-b66d-4ceae2fe8450" providerId="ADAL" clId="{5342A714-4FE6-4219-9F6F-BC15D1F861B7}" dt="2023-03-08T11:59:23.500" v="5699"/>
          <ac:spMkLst>
            <pc:docMk/>
            <pc:sldMk cId="1961901940" sldId="2147469990"/>
            <ac:spMk id="37" creationId="{7AF0E430-CDB8-4B45-8379-46CBA595C178}"/>
          </ac:spMkLst>
        </pc:spChg>
        <pc:picChg chg="mod">
          <ac:chgData name="Jean GRANDEMANGE" userId="faf07584-8716-430e-b66d-4ceae2fe8450" providerId="ADAL" clId="{5342A714-4FE6-4219-9F6F-BC15D1F861B7}" dt="2023-03-06T08:30:31.393" v="1258" actId="1076"/>
          <ac:picMkLst>
            <pc:docMk/>
            <pc:sldMk cId="1961901940" sldId="2147469990"/>
            <ac:picMk id="1026" creationId="{20DC7DF8-C157-F458-E828-8C938C8D8162}"/>
          </ac:picMkLst>
        </pc:picChg>
        <pc:cxnChg chg="mod">
          <ac:chgData name="Jean GRANDEMANGE" userId="faf07584-8716-430e-b66d-4ceae2fe8450" providerId="ADAL" clId="{5342A714-4FE6-4219-9F6F-BC15D1F861B7}" dt="2023-03-06T10:08:09.720" v="1298" actId="1076"/>
          <ac:cxnSpMkLst>
            <pc:docMk/>
            <pc:sldMk cId="1961901940" sldId="2147469990"/>
            <ac:cxnSpMk id="7" creationId="{D3449B44-710C-43BE-ADD9-DD9BFB56579E}"/>
          </ac:cxnSpMkLst>
        </pc:cxnChg>
      </pc:sldChg>
      <pc:sldChg chg="addSp delSp modSp new del mod modClrScheme chgLayout">
        <pc:chgData name="Jean GRANDEMANGE" userId="faf07584-8716-430e-b66d-4ceae2fe8450" providerId="ADAL" clId="{5342A714-4FE6-4219-9F6F-BC15D1F861B7}" dt="2023-03-08T09:58:32.410" v="4532" actId="47"/>
        <pc:sldMkLst>
          <pc:docMk/>
          <pc:sldMk cId="3757990446" sldId="2147469991"/>
        </pc:sldMkLst>
        <pc:spChg chg="del mod ord">
          <ac:chgData name="Jean GRANDEMANGE" userId="faf07584-8716-430e-b66d-4ceae2fe8450" providerId="ADAL" clId="{5342A714-4FE6-4219-9F6F-BC15D1F861B7}" dt="2023-03-06T10:45:19.918" v="2031" actId="700"/>
          <ac:spMkLst>
            <pc:docMk/>
            <pc:sldMk cId="3757990446" sldId="2147469991"/>
            <ac:spMk id="2" creationId="{C8FEFA01-210B-6226-8AE6-8683B8CF43A7}"/>
          </ac:spMkLst>
        </pc:spChg>
        <pc:spChg chg="del">
          <ac:chgData name="Jean GRANDEMANGE" userId="faf07584-8716-430e-b66d-4ceae2fe8450" providerId="ADAL" clId="{5342A714-4FE6-4219-9F6F-BC15D1F861B7}" dt="2023-03-06T10:45:19.918" v="2031" actId="700"/>
          <ac:spMkLst>
            <pc:docMk/>
            <pc:sldMk cId="3757990446" sldId="2147469991"/>
            <ac:spMk id="3" creationId="{E30EC582-D91D-35DC-4F6D-B6440C25FAB6}"/>
          </ac:spMkLst>
        </pc:spChg>
        <pc:spChg chg="add mod ord">
          <ac:chgData name="Jean GRANDEMANGE" userId="faf07584-8716-430e-b66d-4ceae2fe8450" providerId="ADAL" clId="{5342A714-4FE6-4219-9F6F-BC15D1F861B7}" dt="2023-03-06T10:45:28.036" v="2074" actId="20577"/>
          <ac:spMkLst>
            <pc:docMk/>
            <pc:sldMk cId="3757990446" sldId="2147469991"/>
            <ac:spMk id="4" creationId="{B78901B4-EFF5-6059-89AF-501F70FD87A7}"/>
          </ac:spMkLst>
        </pc:spChg>
      </pc:sldChg>
      <pc:sldChg chg="delSp modSp mod modCm">
        <pc:chgData name="Jean GRANDEMANGE" userId="faf07584-8716-430e-b66d-4ceae2fe8450" providerId="ADAL" clId="{5342A714-4FE6-4219-9F6F-BC15D1F861B7}" dt="2023-03-08T12:00:08.099" v="5718" actId="313"/>
        <pc:sldMkLst>
          <pc:docMk/>
          <pc:sldMk cId="3239217406" sldId="2147469993"/>
        </pc:sldMkLst>
        <pc:spChg chg="mod">
          <ac:chgData name="Jean GRANDEMANGE" userId="faf07584-8716-430e-b66d-4ceae2fe8450" providerId="ADAL" clId="{5342A714-4FE6-4219-9F6F-BC15D1F861B7}" dt="2023-03-08T12:00:08.099" v="5718" actId="313"/>
          <ac:spMkLst>
            <pc:docMk/>
            <pc:sldMk cId="3239217406" sldId="2147469993"/>
            <ac:spMk id="2" creationId="{E11BF5BD-75C4-4E77-9598-7225EFF82CC5}"/>
          </ac:spMkLst>
        </pc:spChg>
        <pc:spChg chg="del">
          <ac:chgData name="Jean GRANDEMANGE" userId="faf07584-8716-430e-b66d-4ceae2fe8450" providerId="ADAL" clId="{5342A714-4FE6-4219-9F6F-BC15D1F861B7}" dt="2023-03-08T10:34:59.463" v="4905" actId="478"/>
          <ac:spMkLst>
            <pc:docMk/>
            <pc:sldMk cId="3239217406" sldId="2147469993"/>
            <ac:spMk id="3" creationId="{EAE0D751-6FAD-D84F-48E1-757DD154C2EE}"/>
          </ac:spMkLst>
        </pc:spChg>
        <pc:spChg chg="del">
          <ac:chgData name="Jean GRANDEMANGE" userId="faf07584-8716-430e-b66d-4ceae2fe8450" providerId="ADAL" clId="{5342A714-4FE6-4219-9F6F-BC15D1F861B7}" dt="2023-03-08T10:35:00.570" v="4906" actId="478"/>
          <ac:spMkLst>
            <pc:docMk/>
            <pc:sldMk cId="3239217406" sldId="2147469993"/>
            <ac:spMk id="5" creationId="{F06E1DE0-D520-154D-4C7C-E27F25F8B32D}"/>
          </ac:spMkLst>
        </pc:spChg>
        <pc:extLst>
          <p:ext xmlns:p="http://schemas.openxmlformats.org/presentationml/2006/main" uri="{D6D511B9-2390-475A-947B-AFAB55BFBCF1}">
            <pc226:cmChg xmlns:pc226="http://schemas.microsoft.com/office/powerpoint/2022/06/main/command" chg="mod">
              <pc226:chgData name="Jean GRANDEMANGE" userId="faf07584-8716-430e-b66d-4ceae2fe8450" providerId="ADAL" clId="{5342A714-4FE6-4219-9F6F-BC15D1F861B7}" dt="2023-03-08T12:00:08.099" v="5718" actId="313"/>
              <pc2:cmMkLst xmlns:pc2="http://schemas.microsoft.com/office/powerpoint/2019/9/main/command">
                <pc:docMk/>
                <pc:sldMk cId="3239217406" sldId="2147469993"/>
                <pc2:cmMk id="{066D37CF-F56E-4381-A2E8-A67115426352}"/>
              </pc2:cmMkLst>
            </pc226:cmChg>
          </p:ext>
        </pc:extLst>
      </pc:sldChg>
      <pc:sldChg chg="addSp delSp modSp mod">
        <pc:chgData name="Jean GRANDEMANGE" userId="faf07584-8716-430e-b66d-4ceae2fe8450" providerId="ADAL" clId="{5342A714-4FE6-4219-9F6F-BC15D1F861B7}" dt="2023-03-08T10:47:04.611" v="5167" actId="1076"/>
        <pc:sldMkLst>
          <pc:docMk/>
          <pc:sldMk cId="3779820847" sldId="2147469994"/>
        </pc:sldMkLst>
        <pc:spChg chg="mod">
          <ac:chgData name="Jean GRANDEMANGE" userId="faf07584-8716-430e-b66d-4ceae2fe8450" providerId="ADAL" clId="{5342A714-4FE6-4219-9F6F-BC15D1F861B7}" dt="2023-03-08T10:37:39.090" v="4975" actId="20577"/>
          <ac:spMkLst>
            <pc:docMk/>
            <pc:sldMk cId="3779820847" sldId="2147469994"/>
            <ac:spMk id="4" creationId="{4A508FF4-FB7F-1647-9EC4-35A7CFA8AA2E}"/>
          </ac:spMkLst>
        </pc:spChg>
        <pc:spChg chg="del">
          <ac:chgData name="Jean GRANDEMANGE" userId="faf07584-8716-430e-b66d-4ceae2fe8450" providerId="ADAL" clId="{5342A714-4FE6-4219-9F6F-BC15D1F861B7}" dt="2023-03-08T10:37:14.270" v="4961" actId="478"/>
          <ac:spMkLst>
            <pc:docMk/>
            <pc:sldMk cId="3779820847" sldId="2147469994"/>
            <ac:spMk id="5" creationId="{954A9DC3-288D-E8FD-C8FF-3CF0EE0E20E2}"/>
          </ac:spMkLst>
        </pc:spChg>
        <pc:spChg chg="mod">
          <ac:chgData name="Jean GRANDEMANGE" userId="faf07584-8716-430e-b66d-4ceae2fe8450" providerId="ADAL" clId="{5342A714-4FE6-4219-9F6F-BC15D1F861B7}" dt="2023-03-08T10:47:01.191" v="5165" actId="1076"/>
          <ac:spMkLst>
            <pc:docMk/>
            <pc:sldMk cId="3779820847" sldId="2147469994"/>
            <ac:spMk id="175" creationId="{82C9C8E9-95AD-A43A-9725-68B89FB66ABC}"/>
          </ac:spMkLst>
        </pc:spChg>
        <pc:spChg chg="mod">
          <ac:chgData name="Jean GRANDEMANGE" userId="faf07584-8716-430e-b66d-4ceae2fe8450" providerId="ADAL" clId="{5342A714-4FE6-4219-9F6F-BC15D1F861B7}" dt="2023-03-08T10:38:13.964" v="5014" actId="113"/>
          <ac:spMkLst>
            <pc:docMk/>
            <pc:sldMk cId="3779820847" sldId="2147469994"/>
            <ac:spMk id="182" creationId="{399B1F8B-7642-6EBA-1CA1-3BD719B10579}"/>
          </ac:spMkLst>
        </pc:spChg>
        <pc:spChg chg="mod">
          <ac:chgData name="Jean GRANDEMANGE" userId="faf07584-8716-430e-b66d-4ceae2fe8450" providerId="ADAL" clId="{5342A714-4FE6-4219-9F6F-BC15D1F861B7}" dt="2023-03-08T10:37:49.777" v="4976" actId="1076"/>
          <ac:spMkLst>
            <pc:docMk/>
            <pc:sldMk cId="3779820847" sldId="2147469994"/>
            <ac:spMk id="183" creationId="{D319A40A-D3DD-533C-9C1A-34DD5E26ED6D}"/>
          </ac:spMkLst>
        </pc:spChg>
        <pc:spChg chg="mod">
          <ac:chgData name="Jean GRANDEMANGE" userId="faf07584-8716-430e-b66d-4ceae2fe8450" providerId="ADAL" clId="{5342A714-4FE6-4219-9F6F-BC15D1F861B7}" dt="2023-03-08T10:37:49.777" v="4976" actId="1076"/>
          <ac:spMkLst>
            <pc:docMk/>
            <pc:sldMk cId="3779820847" sldId="2147469994"/>
            <ac:spMk id="188" creationId="{54538CF1-F291-A8D9-20A1-8BD083FAC185}"/>
          </ac:spMkLst>
        </pc:spChg>
        <pc:spChg chg="mod">
          <ac:chgData name="Jean GRANDEMANGE" userId="faf07584-8716-430e-b66d-4ceae2fe8450" providerId="ADAL" clId="{5342A714-4FE6-4219-9F6F-BC15D1F861B7}" dt="2023-03-08T10:38:49.464" v="5045" actId="1076"/>
          <ac:spMkLst>
            <pc:docMk/>
            <pc:sldMk cId="3779820847" sldId="2147469994"/>
            <ac:spMk id="189" creationId="{3EB916B9-A83F-9A16-EA67-076D39DB2E60}"/>
          </ac:spMkLst>
        </pc:spChg>
        <pc:spChg chg="mod">
          <ac:chgData name="Jean GRANDEMANGE" userId="faf07584-8716-430e-b66d-4ceae2fe8450" providerId="ADAL" clId="{5342A714-4FE6-4219-9F6F-BC15D1F861B7}" dt="2023-03-08T10:38:49.464" v="5045" actId="1076"/>
          <ac:spMkLst>
            <pc:docMk/>
            <pc:sldMk cId="3779820847" sldId="2147469994"/>
            <ac:spMk id="190" creationId="{1D84F161-1E47-8DF4-D818-6DA36E041C70}"/>
          </ac:spMkLst>
        </pc:spChg>
        <pc:spChg chg="mod">
          <ac:chgData name="Jean GRANDEMANGE" userId="faf07584-8716-430e-b66d-4ceae2fe8450" providerId="ADAL" clId="{5342A714-4FE6-4219-9F6F-BC15D1F861B7}" dt="2023-03-08T10:38:49.464" v="5045" actId="1076"/>
          <ac:spMkLst>
            <pc:docMk/>
            <pc:sldMk cId="3779820847" sldId="2147469994"/>
            <ac:spMk id="191" creationId="{2C44FE29-3C3D-C7FE-B92C-7C93684EFEC9}"/>
          </ac:spMkLst>
        </pc:spChg>
        <pc:spChg chg="mod">
          <ac:chgData name="Jean GRANDEMANGE" userId="faf07584-8716-430e-b66d-4ceae2fe8450" providerId="ADAL" clId="{5342A714-4FE6-4219-9F6F-BC15D1F861B7}" dt="2023-03-08T10:38:49.464" v="5045" actId="1076"/>
          <ac:spMkLst>
            <pc:docMk/>
            <pc:sldMk cId="3779820847" sldId="2147469994"/>
            <ac:spMk id="192" creationId="{9471BBAE-37A4-F385-4642-775F9AE2AC13}"/>
          </ac:spMkLst>
        </pc:spChg>
        <pc:spChg chg="mod">
          <ac:chgData name="Jean GRANDEMANGE" userId="faf07584-8716-430e-b66d-4ceae2fe8450" providerId="ADAL" clId="{5342A714-4FE6-4219-9F6F-BC15D1F861B7}" dt="2023-03-08T10:38:42.159" v="5044" actId="20577"/>
          <ac:spMkLst>
            <pc:docMk/>
            <pc:sldMk cId="3779820847" sldId="2147469994"/>
            <ac:spMk id="193" creationId="{C76F6737-62DF-1C1A-2E27-2CA8BDA6206A}"/>
          </ac:spMkLst>
        </pc:spChg>
        <pc:spChg chg="del">
          <ac:chgData name="Jean GRANDEMANGE" userId="faf07584-8716-430e-b66d-4ceae2fe8450" providerId="ADAL" clId="{5342A714-4FE6-4219-9F6F-BC15D1F861B7}" dt="2023-03-08T10:37:14.270" v="4961" actId="478"/>
          <ac:spMkLst>
            <pc:docMk/>
            <pc:sldMk cId="3779820847" sldId="2147469994"/>
            <ac:spMk id="221" creationId="{A4BC7538-4AD0-147C-34E8-C6B0291232DB}"/>
          </ac:spMkLst>
        </pc:spChg>
        <pc:picChg chg="mod">
          <ac:chgData name="Jean GRANDEMANGE" userId="faf07584-8716-430e-b66d-4ceae2fe8450" providerId="ADAL" clId="{5342A714-4FE6-4219-9F6F-BC15D1F861B7}" dt="2023-03-08T10:47:02.602" v="5166" actId="1076"/>
          <ac:picMkLst>
            <pc:docMk/>
            <pc:sldMk cId="3779820847" sldId="2147469994"/>
            <ac:picMk id="2" creationId="{A87DFF64-C970-FE23-20F7-8C7A48308486}"/>
          </ac:picMkLst>
        </pc:picChg>
        <pc:picChg chg="add mod">
          <ac:chgData name="Jean GRANDEMANGE" userId="faf07584-8716-430e-b66d-4ceae2fe8450" providerId="ADAL" clId="{5342A714-4FE6-4219-9F6F-BC15D1F861B7}" dt="2023-03-08T10:47:04.611" v="5167" actId="1076"/>
          <ac:picMkLst>
            <pc:docMk/>
            <pc:sldMk cId="3779820847" sldId="2147469994"/>
            <ac:picMk id="7" creationId="{6A1CB753-DF93-0663-FE4F-BB450C8BFD23}"/>
          </ac:picMkLst>
        </pc:picChg>
      </pc:sldChg>
      <pc:sldChg chg="modSp mod">
        <pc:chgData name="Jean GRANDEMANGE" userId="faf07584-8716-430e-b66d-4ceae2fe8450" providerId="ADAL" clId="{5342A714-4FE6-4219-9F6F-BC15D1F861B7}" dt="2023-03-08T10:47:57.431" v="5168" actId="20577"/>
        <pc:sldMkLst>
          <pc:docMk/>
          <pc:sldMk cId="217003757" sldId="2147469995"/>
        </pc:sldMkLst>
        <pc:spChg chg="mod">
          <ac:chgData name="Jean GRANDEMANGE" userId="faf07584-8716-430e-b66d-4ceae2fe8450" providerId="ADAL" clId="{5342A714-4FE6-4219-9F6F-BC15D1F861B7}" dt="2023-03-08T10:47:57.431" v="5168" actId="20577"/>
          <ac:spMkLst>
            <pc:docMk/>
            <pc:sldMk cId="217003757" sldId="2147469995"/>
            <ac:spMk id="32" creationId="{6220B362-D7EC-1D35-64B8-1026221F8A06}"/>
          </ac:spMkLst>
        </pc:spChg>
      </pc:sldChg>
      <pc:sldMasterChg chg="delSldLayout modSldLayout">
        <pc:chgData name="Jean GRANDEMANGE" userId="faf07584-8716-430e-b66d-4ceae2fe8450" providerId="ADAL" clId="{5342A714-4FE6-4219-9F6F-BC15D1F861B7}" dt="2023-03-07T15:10:24.668" v="3697" actId="47"/>
        <pc:sldMasterMkLst>
          <pc:docMk/>
          <pc:sldMasterMk cId="0" sldId="2147483648"/>
        </pc:sldMasterMkLst>
        <pc:sldLayoutChg chg="modSp mod">
          <pc:chgData name="Jean GRANDEMANGE" userId="faf07584-8716-430e-b66d-4ceae2fe8450" providerId="ADAL" clId="{5342A714-4FE6-4219-9F6F-BC15D1F861B7}" dt="2023-02-27T16:27:54.089" v="37" actId="20577"/>
          <pc:sldLayoutMkLst>
            <pc:docMk/>
            <pc:sldMasterMk cId="0" sldId="2147483648"/>
            <pc:sldLayoutMk cId="1647409443" sldId="2147483709"/>
          </pc:sldLayoutMkLst>
          <pc:spChg chg="mod">
            <ac:chgData name="Jean GRANDEMANGE" userId="faf07584-8716-430e-b66d-4ceae2fe8450" providerId="ADAL" clId="{5342A714-4FE6-4219-9F6F-BC15D1F861B7}" dt="2023-02-27T16:27:54.089" v="37" actId="20577"/>
            <ac:spMkLst>
              <pc:docMk/>
              <pc:sldMasterMk cId="0" sldId="2147483648"/>
              <pc:sldLayoutMk cId="1647409443" sldId="2147483709"/>
              <ac:spMk id="20" creationId="{89836314-192C-2C46-9D6B-0859522374E6}"/>
            </ac:spMkLst>
          </pc:spChg>
        </pc:sldLayoutChg>
        <pc:sldLayoutChg chg="modSp mod">
          <pc:chgData name="Jean GRANDEMANGE" userId="faf07584-8716-430e-b66d-4ceae2fe8450" providerId="ADAL" clId="{5342A714-4FE6-4219-9F6F-BC15D1F861B7}" dt="2023-02-27T16:28:01.149" v="40"/>
          <pc:sldLayoutMkLst>
            <pc:docMk/>
            <pc:sldMasterMk cId="0" sldId="2147483648"/>
            <pc:sldLayoutMk cId="3332995177" sldId="2147483711"/>
          </pc:sldLayoutMkLst>
          <pc:spChg chg="mod">
            <ac:chgData name="Jean GRANDEMANGE" userId="faf07584-8716-430e-b66d-4ceae2fe8450" providerId="ADAL" clId="{5342A714-4FE6-4219-9F6F-BC15D1F861B7}" dt="2023-02-27T16:28:01.149" v="40"/>
            <ac:spMkLst>
              <pc:docMk/>
              <pc:sldMasterMk cId="0" sldId="2147483648"/>
              <pc:sldLayoutMk cId="3332995177" sldId="2147483711"/>
              <ac:spMk id="13" creationId="{0E7AEF66-C84B-B6C5-8D34-B6EBA35D3519}"/>
            </ac:spMkLst>
          </pc:spChg>
        </pc:sldLayoutChg>
        <pc:sldLayoutChg chg="del">
          <pc:chgData name="Jean GRANDEMANGE" userId="faf07584-8716-430e-b66d-4ceae2fe8450" providerId="ADAL" clId="{5342A714-4FE6-4219-9F6F-BC15D1F861B7}" dt="2023-03-07T15:10:24.668" v="3697" actId="47"/>
          <pc:sldLayoutMkLst>
            <pc:docMk/>
            <pc:sldMasterMk cId="0" sldId="2147483648"/>
            <pc:sldLayoutMk cId="530438412" sldId="2147483850"/>
          </pc:sldLayoutMkLst>
        </pc:sldLayoutChg>
        <pc:sldLayoutChg chg="del">
          <pc:chgData name="Jean GRANDEMANGE" userId="faf07584-8716-430e-b66d-4ceae2fe8450" providerId="ADAL" clId="{5342A714-4FE6-4219-9F6F-BC15D1F861B7}" dt="2023-03-06T08:44:13.808" v="1263" actId="47"/>
          <pc:sldLayoutMkLst>
            <pc:docMk/>
            <pc:sldMasterMk cId="0" sldId="2147483648"/>
            <pc:sldLayoutMk cId="3349662061" sldId="2147483859"/>
          </pc:sldLayoutMkLst>
        </pc:sldLayoutChg>
      </pc:sldMasterChg>
      <pc:sldMasterChg chg="del delSldLayout">
        <pc:chgData name="Jean GRANDEMANGE" userId="faf07584-8716-430e-b66d-4ceae2fe8450" providerId="ADAL" clId="{5342A714-4FE6-4219-9F6F-BC15D1F861B7}" dt="2023-03-06T08:44:13.808" v="1263" actId="47"/>
        <pc:sldMasterMkLst>
          <pc:docMk/>
          <pc:sldMasterMk cId="4133506448" sldId="2147483852"/>
        </pc:sldMasterMkLst>
        <pc:sldLayoutChg chg="del">
          <pc:chgData name="Jean GRANDEMANGE" userId="faf07584-8716-430e-b66d-4ceae2fe8450" providerId="ADAL" clId="{5342A714-4FE6-4219-9F6F-BC15D1F861B7}" dt="2023-03-06T08:44:13.808" v="1263" actId="47"/>
          <pc:sldLayoutMkLst>
            <pc:docMk/>
            <pc:sldMasterMk cId="4133506448" sldId="2147483852"/>
            <pc:sldLayoutMk cId="3410118617" sldId="2147483853"/>
          </pc:sldLayoutMkLst>
        </pc:sldLayoutChg>
        <pc:sldLayoutChg chg="del">
          <pc:chgData name="Jean GRANDEMANGE" userId="faf07584-8716-430e-b66d-4ceae2fe8450" providerId="ADAL" clId="{5342A714-4FE6-4219-9F6F-BC15D1F861B7}" dt="2023-03-06T08:44:13.808" v="1263" actId="47"/>
          <pc:sldLayoutMkLst>
            <pc:docMk/>
            <pc:sldMasterMk cId="4133506448" sldId="2147483852"/>
            <pc:sldLayoutMk cId="1521402610" sldId="2147483854"/>
          </pc:sldLayoutMkLst>
        </pc:sldLayoutChg>
        <pc:sldLayoutChg chg="del">
          <pc:chgData name="Jean GRANDEMANGE" userId="faf07584-8716-430e-b66d-4ceae2fe8450" providerId="ADAL" clId="{5342A714-4FE6-4219-9F6F-BC15D1F861B7}" dt="2023-03-06T08:44:13.808" v="1263" actId="47"/>
          <pc:sldLayoutMkLst>
            <pc:docMk/>
            <pc:sldMasterMk cId="4133506448" sldId="2147483852"/>
            <pc:sldLayoutMk cId="4146024251" sldId="2147483855"/>
          </pc:sldLayoutMkLst>
        </pc:sldLayoutChg>
        <pc:sldLayoutChg chg="del">
          <pc:chgData name="Jean GRANDEMANGE" userId="faf07584-8716-430e-b66d-4ceae2fe8450" providerId="ADAL" clId="{5342A714-4FE6-4219-9F6F-BC15D1F861B7}" dt="2023-03-06T08:44:13.808" v="1263" actId="47"/>
          <pc:sldLayoutMkLst>
            <pc:docMk/>
            <pc:sldMasterMk cId="4133506448" sldId="2147483852"/>
            <pc:sldLayoutMk cId="1679871586" sldId="2147483856"/>
          </pc:sldLayoutMkLst>
        </pc:sldLayoutChg>
        <pc:sldLayoutChg chg="del">
          <pc:chgData name="Jean GRANDEMANGE" userId="faf07584-8716-430e-b66d-4ceae2fe8450" providerId="ADAL" clId="{5342A714-4FE6-4219-9F6F-BC15D1F861B7}" dt="2023-03-06T08:44:13.808" v="1263" actId="47"/>
          <pc:sldLayoutMkLst>
            <pc:docMk/>
            <pc:sldMasterMk cId="4133506448" sldId="2147483852"/>
            <pc:sldLayoutMk cId="3698272457" sldId="2147483857"/>
          </pc:sldLayoutMkLst>
        </pc:sldLayoutChg>
        <pc:sldLayoutChg chg="del">
          <pc:chgData name="Jean GRANDEMANGE" userId="faf07584-8716-430e-b66d-4ceae2fe8450" providerId="ADAL" clId="{5342A714-4FE6-4219-9F6F-BC15D1F861B7}" dt="2023-03-06T08:44:13.808" v="1263" actId="47"/>
          <pc:sldLayoutMkLst>
            <pc:docMk/>
            <pc:sldMasterMk cId="4133506448" sldId="2147483852"/>
            <pc:sldLayoutMk cId="2340964990" sldId="2147483858"/>
          </pc:sldLayoutMkLst>
        </pc:sldLayoutChg>
      </pc:sldMasterChg>
    </pc:docChg>
  </pc:docChgLst>
  <pc:docChgLst>
    <pc:chgData name="Sonia KDOUS" userId="S::sonia.kdous@talan.com::922c21f9-520b-4b99-b1eb-529f55231251" providerId="AD" clId="Web-{5E093FBF-841C-46A9-B24E-0195E4D554FB}"/>
    <pc:docChg chg="modSld">
      <pc:chgData name="Sonia KDOUS" userId="S::sonia.kdous@talan.com::922c21f9-520b-4b99-b1eb-529f55231251" providerId="AD" clId="Web-{5E093FBF-841C-46A9-B24E-0195E4D554FB}" dt="2022-11-24T10:55:45.921" v="4" actId="1076"/>
      <pc:docMkLst>
        <pc:docMk/>
      </pc:docMkLst>
      <pc:sldChg chg="modSp">
        <pc:chgData name="Sonia KDOUS" userId="S::sonia.kdous@talan.com::922c21f9-520b-4b99-b1eb-529f55231251" providerId="AD" clId="Web-{5E093FBF-841C-46A9-B24E-0195E4D554FB}" dt="2022-11-24T10:55:45.921" v="4" actId="1076"/>
        <pc:sldMkLst>
          <pc:docMk/>
          <pc:sldMk cId="4202844115" sldId="2076138192"/>
        </pc:sldMkLst>
        <pc:spChg chg="mod">
          <ac:chgData name="Sonia KDOUS" userId="S::sonia.kdous@talan.com::922c21f9-520b-4b99-b1eb-529f55231251" providerId="AD" clId="Web-{5E093FBF-841C-46A9-B24E-0195E4D554FB}" dt="2022-11-24T10:55:26.764" v="2" actId="1076"/>
          <ac:spMkLst>
            <pc:docMk/>
            <pc:sldMk cId="4202844115" sldId="2076138192"/>
            <ac:spMk id="3" creationId="{1DBF77F6-2EA0-CE5A-4D85-D5F7EA41D843}"/>
          </ac:spMkLst>
        </pc:spChg>
        <pc:cxnChg chg="mod">
          <ac:chgData name="Sonia KDOUS" userId="S::sonia.kdous@talan.com::922c21f9-520b-4b99-b1eb-529f55231251" providerId="AD" clId="Web-{5E093FBF-841C-46A9-B24E-0195E4D554FB}" dt="2022-11-24T10:55:45.921" v="4" actId="1076"/>
          <ac:cxnSpMkLst>
            <pc:docMk/>
            <pc:sldMk cId="4202844115" sldId="2076138192"/>
            <ac:cxnSpMk id="8" creationId="{9B35EB87-18EF-4C68-8104-C08FBB737A15}"/>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bg1">
                  <a:lumMod val="65000"/>
                </a:schemeClr>
              </a:solidFill>
              <a:ln w="19050">
                <a:noFill/>
              </a:ln>
              <a:effectLst/>
            </c:spPr>
            <c:extLst>
              <c:ext xmlns:c16="http://schemas.microsoft.com/office/drawing/2014/chart" uri="{C3380CC4-5D6E-409C-BE32-E72D297353CC}">
                <c16:uniqueId val="{00000001-A3BE-471C-99A5-D3170607764F}"/>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A3BE-471C-99A5-D3170607764F}"/>
              </c:ext>
            </c:extLst>
          </c:dPt>
          <c:cat>
            <c:strRef>
              <c:f>Sheet1!$A$2:$A$3</c:f>
              <c:strCache>
                <c:ptCount val="2"/>
                <c:pt idx="0">
                  <c:v>Label 1</c:v>
                </c:pt>
                <c:pt idx="1">
                  <c:v>Label 2</c:v>
                </c:pt>
              </c:strCache>
            </c:strRef>
          </c:cat>
          <c:val>
            <c:numRef>
              <c:f>Sheet1!$B$2:$B$3</c:f>
              <c:numCache>
                <c:formatCode>General</c:formatCode>
                <c:ptCount val="2"/>
                <c:pt idx="0">
                  <c:v>15</c:v>
                </c:pt>
                <c:pt idx="1">
                  <c:v>27</c:v>
                </c:pt>
              </c:numCache>
            </c:numRef>
          </c:val>
          <c:extLst>
            <c:ext xmlns:c16="http://schemas.microsoft.com/office/drawing/2014/chart" uri="{C3380CC4-5D6E-409C-BE32-E72D297353CC}">
              <c16:uniqueId val="{00000004-A3BE-471C-99A5-D3170607764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bg1">
                  <a:lumMod val="65000"/>
                </a:schemeClr>
              </a:solidFill>
              <a:ln w="19050">
                <a:noFill/>
              </a:ln>
              <a:effectLst/>
            </c:spPr>
            <c:extLst>
              <c:ext xmlns:c16="http://schemas.microsoft.com/office/drawing/2014/chart" uri="{C3380CC4-5D6E-409C-BE32-E72D297353CC}">
                <c16:uniqueId val="{00000001-A3BE-471C-99A5-D3170607764F}"/>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A3BE-471C-99A5-D3170607764F}"/>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A3BE-471C-99A5-D3170607764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solidFill>
              <a:schemeClr val="accent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D853-47DE-B79F-EDA3F3A90378}"/>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D853-47DE-B79F-EDA3F3A90378}"/>
              </c:ext>
            </c:extLst>
          </c:dPt>
          <c:cat>
            <c:strRef>
              <c:f>Sheet1!$A$2:$A$3</c:f>
              <c:strCache>
                <c:ptCount val="2"/>
                <c:pt idx="0">
                  <c:v>1st Qtr</c:v>
                </c:pt>
                <c:pt idx="1">
                  <c:v>2nd Qtr</c:v>
                </c:pt>
              </c:strCache>
            </c:strRef>
          </c:cat>
          <c:val>
            <c:numRef>
              <c:f>Sheet1!$B$2:$B$3</c:f>
              <c:numCache>
                <c:formatCode>General</c:formatCode>
                <c:ptCount val="2"/>
                <c:pt idx="0">
                  <c:v>68</c:v>
                </c:pt>
                <c:pt idx="1">
                  <c:v>32</c:v>
                </c:pt>
              </c:numCache>
            </c:numRef>
          </c:val>
          <c:extLst>
            <c:ext xmlns:c16="http://schemas.microsoft.com/office/drawing/2014/chart" uri="{C3380CC4-5D6E-409C-BE32-E72D297353CC}">
              <c16:uniqueId val="{00000004-D853-47DE-B79F-EDA3F3A9037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A3BE-471C-99A5-D3170607764F}"/>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A3BE-471C-99A5-D3170607764F}"/>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A3BE-471C-99A5-D3170607764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FECA-41BE-B7B6-BA6650DD162D}"/>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FECA-41BE-B7B6-BA6650DD162D}"/>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FECA-41BE-B7B6-BA6650DD162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bg1">
                  <a:lumMod val="65000"/>
                </a:schemeClr>
              </a:solidFill>
              <a:ln w="19050">
                <a:noFill/>
              </a:ln>
              <a:effectLst/>
            </c:spPr>
            <c:extLst>
              <c:ext xmlns:c16="http://schemas.microsoft.com/office/drawing/2014/chart" uri="{C3380CC4-5D6E-409C-BE32-E72D297353CC}">
                <c16:uniqueId val="{00000001-4E16-4C05-AC32-23AD18F36835}"/>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4E16-4C05-AC32-23AD18F36835}"/>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4E16-4C05-AC32-23AD18F3683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FAE5-4DB2-853C-913F00C05AB3}"/>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FAE5-4DB2-853C-913F00C05AB3}"/>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FAE5-4DB2-853C-913F00C05AB3}"/>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E2F1-4572-9219-D62718A4B27B}"/>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E2F1-4572-9219-D62718A4B27B}"/>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E2F1-4572-9219-D62718A4B27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1FB76C-5279-43E8-930C-6B61BA874ED8}"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fr-FR"/>
        </a:p>
      </dgm:t>
    </dgm:pt>
    <dgm:pt modelId="{6B51DB17-7B52-4964-B906-347EF7220235}">
      <dgm:prSet phldrT="[Texte]" custT="1"/>
      <dgm:spPr>
        <a:solidFill>
          <a:schemeClr val="bg2">
            <a:lumMod val="40000"/>
            <a:lumOff val="60000"/>
          </a:schemeClr>
        </a:solidFill>
        <a:ln w="12700">
          <a:solidFill>
            <a:schemeClr val="bg1"/>
          </a:solidFill>
        </a:ln>
      </dgm:spPr>
      <dgm:t>
        <a:bodyPr spcFirstLastPara="1" wrap="square" lIns="91425" tIns="91425" rIns="91425" bIns="91425" anchor="ctr" anchorCtr="0"/>
        <a:lstStyle/>
        <a:p>
          <a:pPr marL="0" marR="0" lvl="0" indent="0" algn="ctr" rtl="0">
            <a:lnSpc>
              <a:spcPct val="100000"/>
            </a:lnSpc>
            <a:spcBef>
              <a:spcPts val="0"/>
            </a:spcBef>
            <a:spcAft>
              <a:spcPts val="0"/>
            </a:spcAft>
            <a:buClr>
              <a:srgbClr val="000000"/>
            </a:buClr>
            <a:buFont typeface="Arial"/>
            <a:buNone/>
          </a:pPr>
          <a:r>
            <a:rPr lang="fr-FR" sz="1050" b="0" i="0" u="none" strike="noStrike" cap="none">
              <a:solidFill>
                <a:schemeClr val="bg1"/>
              </a:solidFill>
              <a:latin typeface="Arial"/>
              <a:ea typeface="Arial"/>
              <a:cs typeface="Arial"/>
              <a:sym typeface="Arial"/>
            </a:rPr>
            <a:t>Analyse de la demande*</a:t>
          </a:r>
          <a:endParaRPr lang="fr-FR" sz="1050" b="0" i="0" u="none" strike="noStrike" cap="none" dirty="0">
            <a:solidFill>
              <a:schemeClr val="bg1"/>
            </a:solidFill>
            <a:latin typeface="Arial"/>
            <a:ea typeface="Arial"/>
            <a:cs typeface="Arial"/>
            <a:sym typeface="Arial"/>
          </a:endParaRPr>
        </a:p>
      </dgm:t>
    </dgm:pt>
    <dgm:pt modelId="{CBF852DC-B9A8-4D91-A830-7BCB068BB665}" type="parTrans" cxnId="{3C618074-FF1F-40BE-9DF4-27EF135DB51B}">
      <dgm:prSet/>
      <dgm:spPr/>
      <dgm:t>
        <a:bodyPr/>
        <a:lstStyle/>
        <a:p>
          <a:endParaRPr lang="fr-FR"/>
        </a:p>
      </dgm:t>
    </dgm:pt>
    <dgm:pt modelId="{3B2DDD38-A1F3-4B16-BE5B-E22645FC3B52}" type="sibTrans" cxnId="{3C618074-FF1F-40BE-9DF4-27EF135DB51B}">
      <dgm:prSet/>
      <dgm:spPr/>
      <dgm:t>
        <a:bodyPr/>
        <a:lstStyle/>
        <a:p>
          <a:endParaRPr lang="fr-FR"/>
        </a:p>
      </dgm:t>
    </dgm:pt>
    <dgm:pt modelId="{510FA32E-F53F-4A7F-BFBD-6D407CF70495}">
      <dgm:prSet phldrT="[Texte]" custT="1"/>
      <dgm:spPr>
        <a:solidFill>
          <a:schemeClr val="bg2">
            <a:lumMod val="60000"/>
            <a:lumOff val="40000"/>
          </a:schemeClr>
        </a:solidFill>
        <a:ln w="12700" cap="flat" cmpd="sng">
          <a:solidFill>
            <a:schemeClr val="bg1"/>
          </a:solidFill>
          <a:prstDash val="solid"/>
          <a:round/>
          <a:headEnd type="none" w="sm" len="sm"/>
          <a:tailEnd type="none" w="sm" len="sm"/>
        </a:ln>
      </dgm:spPr>
      <dgm:t>
        <a:bodyPr spcFirstLastPara="1" wrap="square" lIns="0" tIns="91425" rIns="0" bIns="91425" anchor="ctr" anchorCtr="0"/>
        <a:lstStyle/>
        <a:p>
          <a:r>
            <a:rPr lang="fr-FR" sz="1050">
              <a:solidFill>
                <a:schemeClr val="bg1"/>
              </a:solidFill>
            </a:rPr>
            <a:t>Définition des objectifs </a:t>
          </a:r>
          <a:r>
            <a:rPr lang="fr-FR" sz="1050" b="0" i="0" u="none" strike="noStrike" cap="none">
              <a:solidFill>
                <a:schemeClr val="bg1"/>
              </a:solidFill>
              <a:latin typeface="Arial"/>
              <a:ea typeface="Arial"/>
              <a:cs typeface="Arial"/>
              <a:sym typeface="Arial"/>
            </a:rPr>
            <a:t>pédagogiques*</a:t>
          </a:r>
          <a:endParaRPr lang="fr-FR" sz="1050" b="0" i="0" u="none" strike="noStrike" cap="none" dirty="0">
            <a:solidFill>
              <a:schemeClr val="bg1"/>
            </a:solidFill>
            <a:latin typeface="Arial"/>
            <a:ea typeface="Arial"/>
            <a:cs typeface="Arial"/>
            <a:sym typeface="Arial"/>
          </a:endParaRPr>
        </a:p>
      </dgm:t>
    </dgm:pt>
    <dgm:pt modelId="{D95DB402-46E3-464A-90BC-59611FA776A2}" type="parTrans" cxnId="{C710B82F-CD0B-4736-897A-54F3A36536DB}">
      <dgm:prSet/>
      <dgm:spPr/>
      <dgm:t>
        <a:bodyPr/>
        <a:lstStyle/>
        <a:p>
          <a:endParaRPr lang="fr-FR"/>
        </a:p>
      </dgm:t>
    </dgm:pt>
    <dgm:pt modelId="{E80F9E3B-5D9B-4678-866A-F5C509790E76}" type="sibTrans" cxnId="{C710B82F-CD0B-4736-897A-54F3A36536DB}">
      <dgm:prSet/>
      <dgm:spPr/>
      <dgm:t>
        <a:bodyPr/>
        <a:lstStyle/>
        <a:p>
          <a:endParaRPr lang="fr-FR"/>
        </a:p>
      </dgm:t>
    </dgm:pt>
    <dgm:pt modelId="{835C0FDD-C296-47BF-9F77-A23521AAEE0F}">
      <dgm:prSet phldrT="[Texte]" custT="1"/>
      <dgm:spPr>
        <a:solidFill>
          <a:srgbClr val="44398A">
            <a:lumMod val="60000"/>
            <a:lumOff val="40000"/>
          </a:srgbClr>
        </a:solidFill>
        <a:ln w="12700" cap="flat" cmpd="sng" algn="ctr">
          <a:solidFill>
            <a:srgbClr val="FFFFFF"/>
          </a:solidFill>
          <a:prstDash val="solid"/>
          <a:round/>
          <a:headEnd type="none" w="sm" len="sm"/>
          <a:tailEnd type="none" w="sm" len="sm"/>
        </a:ln>
        <a:effectLst/>
      </dgm:spPr>
      <dgm:t>
        <a:bodyPr spcFirstLastPara="0" vert="horz" wrap="square" lIns="0" tIns="91425" rIns="0" bIns="91425" numCol="1" spcCol="1270" anchor="ctr" anchorCtr="0"/>
        <a:lstStyle/>
        <a:p>
          <a:r>
            <a:rPr lang="fr-FR" sz="1050" kern="1200">
              <a:latin typeface="+mj-lt"/>
            </a:rPr>
            <a:t>Ingénierie </a:t>
          </a:r>
          <a:r>
            <a:rPr lang="fr-FR" sz="1050" kern="1200">
              <a:solidFill>
                <a:srgbClr val="FFFFFF"/>
              </a:solidFill>
              <a:latin typeface="+mj-lt"/>
              <a:ea typeface="+mn-ea"/>
              <a:cs typeface="+mn-cs"/>
            </a:rPr>
            <a:t>pédagogique*</a:t>
          </a:r>
          <a:endParaRPr lang="fr-FR" sz="1050" kern="1200" dirty="0">
            <a:solidFill>
              <a:srgbClr val="FFFFFF"/>
            </a:solidFill>
            <a:latin typeface="+mj-lt"/>
            <a:ea typeface="+mn-ea"/>
            <a:cs typeface="+mn-cs"/>
          </a:endParaRPr>
        </a:p>
      </dgm:t>
    </dgm:pt>
    <dgm:pt modelId="{A5FACEB8-B3FC-4617-8C63-8CB17C635282}" type="parTrans" cxnId="{5264CF33-FAFD-47A9-B144-C22F14306F04}">
      <dgm:prSet/>
      <dgm:spPr/>
      <dgm:t>
        <a:bodyPr/>
        <a:lstStyle/>
        <a:p>
          <a:endParaRPr lang="fr-FR"/>
        </a:p>
      </dgm:t>
    </dgm:pt>
    <dgm:pt modelId="{05708C52-C54D-4B38-B542-4F9DAA240F85}" type="sibTrans" cxnId="{5264CF33-FAFD-47A9-B144-C22F14306F04}">
      <dgm:prSet/>
      <dgm:spPr/>
      <dgm:t>
        <a:bodyPr/>
        <a:lstStyle/>
        <a:p>
          <a:endParaRPr lang="fr-FR"/>
        </a:p>
      </dgm:t>
    </dgm:pt>
    <dgm:pt modelId="{219F71E5-61FB-4725-B873-5BFD68F229D4}">
      <dgm:prSet phldrT="[Texte]" custT="1"/>
      <dgm:spPr>
        <a:solidFill>
          <a:schemeClr val="bg2"/>
        </a:solidFill>
        <a:ln w="12700" cap="flat" cmpd="sng">
          <a:solidFill>
            <a:schemeClr val="bg1"/>
          </a:solidFill>
          <a:prstDash val="solid"/>
          <a:round/>
          <a:headEnd type="none" w="sm" len="sm"/>
          <a:tailEnd type="none" w="sm" len="sm"/>
        </a:ln>
      </dgm:spPr>
      <dgm:t>
        <a:bodyPr spcFirstLastPara="1" wrap="square" lIns="91425" tIns="91425" rIns="91425" bIns="91425" anchor="ctr" anchorCtr="0"/>
        <a:lstStyle/>
        <a:p>
          <a:pPr marL="0" marR="0" lvl="0" indent="0" algn="ctr" rtl="0">
            <a:lnSpc>
              <a:spcPct val="100000"/>
            </a:lnSpc>
            <a:spcBef>
              <a:spcPts val="0"/>
            </a:spcBef>
            <a:spcAft>
              <a:spcPts val="0"/>
            </a:spcAft>
            <a:buClr>
              <a:srgbClr val="000000"/>
            </a:buClr>
            <a:buFont typeface="Arial"/>
            <a:buNone/>
          </a:pPr>
          <a:r>
            <a:rPr lang="fr-FR" sz="1050" b="0" i="0" u="none" strike="noStrike" cap="none">
              <a:solidFill>
                <a:schemeClr val="bg1"/>
              </a:solidFill>
              <a:latin typeface="Arial"/>
              <a:ea typeface="Arial"/>
              <a:cs typeface="Arial"/>
              <a:sym typeface="Arial"/>
            </a:rPr>
            <a:t>Préparation, logistiques</a:t>
          </a:r>
          <a:endParaRPr lang="fr-FR" sz="1050" b="0" i="0" u="none" strike="noStrike" cap="none" dirty="0">
            <a:solidFill>
              <a:schemeClr val="bg1"/>
            </a:solidFill>
            <a:latin typeface="Arial"/>
            <a:ea typeface="Arial"/>
            <a:cs typeface="Arial"/>
            <a:sym typeface="Arial"/>
          </a:endParaRPr>
        </a:p>
      </dgm:t>
    </dgm:pt>
    <dgm:pt modelId="{28C80DFF-F810-4299-A5E7-EBC584681A85}" type="parTrans" cxnId="{37DFD146-07F5-4721-8EE8-298154E2E732}">
      <dgm:prSet/>
      <dgm:spPr/>
      <dgm:t>
        <a:bodyPr/>
        <a:lstStyle/>
        <a:p>
          <a:endParaRPr lang="fr-FR"/>
        </a:p>
      </dgm:t>
    </dgm:pt>
    <dgm:pt modelId="{51CDF6E1-FDD1-409B-9C95-902438C13E02}" type="sibTrans" cxnId="{37DFD146-07F5-4721-8EE8-298154E2E732}">
      <dgm:prSet/>
      <dgm:spPr/>
      <dgm:t>
        <a:bodyPr/>
        <a:lstStyle/>
        <a:p>
          <a:endParaRPr lang="fr-FR"/>
        </a:p>
      </dgm:t>
    </dgm:pt>
    <dgm:pt modelId="{9BA819D2-025E-408B-8850-80A7B48DCB8A}">
      <dgm:prSet phldrT="[Texte]" custT="1"/>
      <dgm:spPr>
        <a:solidFill>
          <a:srgbClr val="8479C8"/>
        </a:solidFill>
      </dgm:spPr>
      <dgm:t>
        <a:bodyPr/>
        <a:lstStyle/>
        <a:p>
          <a:pPr rtl="0"/>
          <a:r>
            <a:rPr lang="fr-FR" sz="1050">
              <a:latin typeface="Arial"/>
            </a:rPr>
            <a:t>Analyse des évaluations</a:t>
          </a:r>
          <a:endParaRPr lang="fr-FR" sz="1050" dirty="0"/>
        </a:p>
      </dgm:t>
    </dgm:pt>
    <dgm:pt modelId="{50F34A53-434B-47B6-83C9-1009C487734F}" type="parTrans" cxnId="{008B6681-2E03-4D37-B1EF-B2A38F1426C3}">
      <dgm:prSet/>
      <dgm:spPr/>
      <dgm:t>
        <a:bodyPr/>
        <a:lstStyle/>
        <a:p>
          <a:endParaRPr lang="fr-FR"/>
        </a:p>
      </dgm:t>
    </dgm:pt>
    <dgm:pt modelId="{8029E6A5-BD32-4A82-AAD2-744BCFEFBF78}" type="sibTrans" cxnId="{008B6681-2E03-4D37-B1EF-B2A38F1426C3}">
      <dgm:prSet/>
      <dgm:spPr/>
      <dgm:t>
        <a:bodyPr/>
        <a:lstStyle/>
        <a:p>
          <a:endParaRPr lang="fr-FR"/>
        </a:p>
      </dgm:t>
    </dgm:pt>
    <dgm:pt modelId="{723FD939-A528-48CC-8D66-DEBCDB7AD2F3}">
      <dgm:prSet phldrT="[Texte]" custT="1"/>
      <dgm:spPr>
        <a:solidFill>
          <a:schemeClr val="bg2">
            <a:lumMod val="40000"/>
            <a:lumOff val="60000"/>
          </a:schemeClr>
        </a:solidFill>
        <a:ln w="12700">
          <a:solidFill>
            <a:schemeClr val="bg1"/>
          </a:solidFill>
        </a:ln>
      </dgm:spPr>
      <dgm:t>
        <a:bodyPr spcFirstLastPara="1" wrap="square" lIns="91425" tIns="91425" rIns="91425" bIns="91425" anchor="ctr" anchorCtr="0"/>
        <a:lstStyle/>
        <a:p>
          <a:r>
            <a:rPr lang="fr-FR" sz="1050"/>
            <a:t>Mise à jour du plan de formation</a:t>
          </a:r>
          <a:endParaRPr lang="fr-FR" sz="1050" dirty="0"/>
        </a:p>
      </dgm:t>
    </dgm:pt>
    <dgm:pt modelId="{3F747573-1DEB-4C38-8B2B-BA8FC43C248F}" type="parTrans" cxnId="{94CC881B-19F4-45BA-8A79-F7C6B7F52EAF}">
      <dgm:prSet/>
      <dgm:spPr/>
      <dgm:t>
        <a:bodyPr/>
        <a:lstStyle/>
        <a:p>
          <a:endParaRPr lang="fr-FR"/>
        </a:p>
      </dgm:t>
    </dgm:pt>
    <dgm:pt modelId="{2DE28238-E325-46B4-B39A-20EBB4DBF9D7}" type="sibTrans" cxnId="{94CC881B-19F4-45BA-8A79-F7C6B7F52EAF}">
      <dgm:prSet/>
      <dgm:spPr/>
      <dgm:t>
        <a:bodyPr/>
        <a:lstStyle/>
        <a:p>
          <a:endParaRPr lang="fr-FR"/>
        </a:p>
      </dgm:t>
    </dgm:pt>
    <dgm:pt modelId="{3AE65479-7036-40C8-90D4-A1317B5B6A07}" type="pres">
      <dgm:prSet presAssocID="{351FB76C-5279-43E8-930C-6B61BA874ED8}" presName="rootnode" presStyleCnt="0">
        <dgm:presLayoutVars>
          <dgm:chMax/>
          <dgm:chPref/>
          <dgm:dir/>
          <dgm:animLvl val="lvl"/>
        </dgm:presLayoutVars>
      </dgm:prSet>
      <dgm:spPr/>
    </dgm:pt>
    <dgm:pt modelId="{C4373D62-9839-40F1-BB8D-1D3E60C11176}" type="pres">
      <dgm:prSet presAssocID="{6B51DB17-7B52-4964-B906-347EF7220235}" presName="composite" presStyleCnt="0"/>
      <dgm:spPr/>
    </dgm:pt>
    <dgm:pt modelId="{DF81F002-A1C5-460F-AB90-718A4FCDFAEB}" type="pres">
      <dgm:prSet presAssocID="{6B51DB17-7B52-4964-B906-347EF7220235}" presName="bentUpArrow1" presStyleLbl="alignImgPlace1" presStyleIdx="0" presStyleCnt="5"/>
      <dgm:spPr/>
    </dgm:pt>
    <dgm:pt modelId="{0F38F462-FBB8-41BD-880E-F9D01209953C}" type="pres">
      <dgm:prSet presAssocID="{6B51DB17-7B52-4964-B906-347EF7220235}" presName="ParentText" presStyleLbl="node1" presStyleIdx="0" presStyleCnt="6">
        <dgm:presLayoutVars>
          <dgm:chMax val="1"/>
          <dgm:chPref val="1"/>
          <dgm:bulletEnabled val="1"/>
        </dgm:presLayoutVars>
      </dgm:prSet>
      <dgm:spPr>
        <a:xfrm>
          <a:off x="1339233" y="33483"/>
          <a:ext cx="1059080" cy="741322"/>
        </a:xfrm>
        <a:prstGeom prst="roundRect">
          <a:avLst>
            <a:gd name="adj" fmla="val 16670"/>
          </a:avLst>
        </a:prstGeom>
      </dgm:spPr>
    </dgm:pt>
    <dgm:pt modelId="{6697B4F9-D0E5-4423-A187-BD32DFB0EBB2}" type="pres">
      <dgm:prSet presAssocID="{6B51DB17-7B52-4964-B906-347EF7220235}" presName="ChildText" presStyleLbl="revTx" presStyleIdx="0" presStyleCnt="5">
        <dgm:presLayoutVars>
          <dgm:chMax val="0"/>
          <dgm:chPref val="0"/>
          <dgm:bulletEnabled val="1"/>
        </dgm:presLayoutVars>
      </dgm:prSet>
      <dgm:spPr/>
    </dgm:pt>
    <dgm:pt modelId="{29CD504D-7560-45B5-80CA-D325E22C3E66}" type="pres">
      <dgm:prSet presAssocID="{3B2DDD38-A1F3-4B16-BE5B-E22645FC3B52}" presName="sibTrans" presStyleCnt="0"/>
      <dgm:spPr/>
    </dgm:pt>
    <dgm:pt modelId="{A1B4AEAC-3D0D-439A-8E29-884DDD521898}" type="pres">
      <dgm:prSet presAssocID="{510FA32E-F53F-4A7F-BFBD-6D407CF70495}" presName="composite" presStyleCnt="0"/>
      <dgm:spPr/>
    </dgm:pt>
    <dgm:pt modelId="{42BFBC8E-8FD9-42A0-86CD-31CA1FEE36E5}" type="pres">
      <dgm:prSet presAssocID="{510FA32E-F53F-4A7F-BFBD-6D407CF70495}" presName="bentUpArrow1" presStyleLbl="alignImgPlace1" presStyleIdx="1" presStyleCnt="5"/>
      <dgm:spPr/>
    </dgm:pt>
    <dgm:pt modelId="{6A8D71EA-B188-4303-9BFF-5EF0ECB4349D}" type="pres">
      <dgm:prSet presAssocID="{510FA32E-F53F-4A7F-BFBD-6D407CF70495}" presName="ParentText" presStyleLbl="node1" presStyleIdx="1" presStyleCnt="6">
        <dgm:presLayoutVars>
          <dgm:chMax val="1"/>
          <dgm:chPref val="1"/>
          <dgm:bulletEnabled val="1"/>
        </dgm:presLayoutVars>
      </dgm:prSet>
      <dgm:spPr>
        <a:xfrm>
          <a:off x="2217324" y="866233"/>
          <a:ext cx="1059080" cy="741322"/>
        </a:xfrm>
        <a:prstGeom prst="roundRect">
          <a:avLst>
            <a:gd name="adj" fmla="val 16670"/>
          </a:avLst>
        </a:prstGeom>
      </dgm:spPr>
    </dgm:pt>
    <dgm:pt modelId="{4D722B5A-988E-48EF-8C98-BE71F5E99009}" type="pres">
      <dgm:prSet presAssocID="{510FA32E-F53F-4A7F-BFBD-6D407CF70495}" presName="ChildText" presStyleLbl="revTx" presStyleIdx="1" presStyleCnt="5">
        <dgm:presLayoutVars>
          <dgm:chMax val="0"/>
          <dgm:chPref val="0"/>
          <dgm:bulletEnabled val="1"/>
        </dgm:presLayoutVars>
      </dgm:prSet>
      <dgm:spPr/>
    </dgm:pt>
    <dgm:pt modelId="{407A7C3B-4957-4E75-BA37-CBF1046E6AE3}" type="pres">
      <dgm:prSet presAssocID="{E80F9E3B-5D9B-4678-866A-F5C509790E76}" presName="sibTrans" presStyleCnt="0"/>
      <dgm:spPr/>
    </dgm:pt>
    <dgm:pt modelId="{E3FF4D14-9C89-46A4-BF99-F7DE20877F9D}" type="pres">
      <dgm:prSet presAssocID="{835C0FDD-C296-47BF-9F77-A23521AAEE0F}" presName="composite" presStyleCnt="0"/>
      <dgm:spPr/>
    </dgm:pt>
    <dgm:pt modelId="{A81A1A90-3FAA-4961-B32A-DB0D44491B30}" type="pres">
      <dgm:prSet presAssocID="{835C0FDD-C296-47BF-9F77-A23521AAEE0F}" presName="bentUpArrow1" presStyleLbl="alignImgPlace1" presStyleIdx="2" presStyleCnt="5"/>
      <dgm:spPr/>
    </dgm:pt>
    <dgm:pt modelId="{B54CD726-CAEF-410F-86E2-319C4E8CCDDF}" type="pres">
      <dgm:prSet presAssocID="{835C0FDD-C296-47BF-9F77-A23521AAEE0F}" presName="ParentText" presStyleLbl="node1" presStyleIdx="2" presStyleCnt="6">
        <dgm:presLayoutVars>
          <dgm:chMax val="1"/>
          <dgm:chPref val="1"/>
          <dgm:bulletEnabled val="1"/>
        </dgm:presLayoutVars>
      </dgm:prSet>
      <dgm:spPr>
        <a:xfrm>
          <a:off x="3095414" y="1698982"/>
          <a:ext cx="1059080" cy="741322"/>
        </a:xfrm>
        <a:prstGeom prst="roundRect">
          <a:avLst>
            <a:gd name="adj" fmla="val 16670"/>
          </a:avLst>
        </a:prstGeom>
      </dgm:spPr>
    </dgm:pt>
    <dgm:pt modelId="{D997CF59-8283-4CA9-9AB3-1DAF5C958501}" type="pres">
      <dgm:prSet presAssocID="{835C0FDD-C296-47BF-9F77-A23521AAEE0F}" presName="ChildText" presStyleLbl="revTx" presStyleIdx="2" presStyleCnt="5">
        <dgm:presLayoutVars>
          <dgm:chMax val="0"/>
          <dgm:chPref val="0"/>
          <dgm:bulletEnabled val="1"/>
        </dgm:presLayoutVars>
      </dgm:prSet>
      <dgm:spPr/>
    </dgm:pt>
    <dgm:pt modelId="{A40266B1-A32D-4099-93E9-6F335789A1FE}" type="pres">
      <dgm:prSet presAssocID="{05708C52-C54D-4B38-B542-4F9DAA240F85}" presName="sibTrans" presStyleCnt="0"/>
      <dgm:spPr/>
    </dgm:pt>
    <dgm:pt modelId="{5FE09AAB-F9F5-46F0-AE33-37A1B4BF4FDE}" type="pres">
      <dgm:prSet presAssocID="{219F71E5-61FB-4725-B873-5BFD68F229D4}" presName="composite" presStyleCnt="0"/>
      <dgm:spPr/>
    </dgm:pt>
    <dgm:pt modelId="{A9A54554-51CE-4279-95A1-7D230F52967F}" type="pres">
      <dgm:prSet presAssocID="{219F71E5-61FB-4725-B873-5BFD68F229D4}" presName="bentUpArrow1" presStyleLbl="alignImgPlace1" presStyleIdx="3" presStyleCnt="5"/>
      <dgm:spPr/>
    </dgm:pt>
    <dgm:pt modelId="{BE9B8CA9-E0CA-4801-B9A7-2E937C58C2A4}" type="pres">
      <dgm:prSet presAssocID="{219F71E5-61FB-4725-B873-5BFD68F229D4}" presName="ParentText" presStyleLbl="node1" presStyleIdx="3" presStyleCnt="6">
        <dgm:presLayoutVars>
          <dgm:chMax val="1"/>
          <dgm:chPref val="1"/>
          <dgm:bulletEnabled val="1"/>
        </dgm:presLayoutVars>
      </dgm:prSet>
      <dgm:spPr>
        <a:xfrm>
          <a:off x="3973504" y="2531731"/>
          <a:ext cx="1059080" cy="741322"/>
        </a:xfrm>
        <a:prstGeom prst="roundRect">
          <a:avLst>
            <a:gd name="adj" fmla="val 16670"/>
          </a:avLst>
        </a:prstGeom>
      </dgm:spPr>
    </dgm:pt>
    <dgm:pt modelId="{A1236D9D-5E48-4D81-B852-5FB9D54B0A85}" type="pres">
      <dgm:prSet presAssocID="{219F71E5-61FB-4725-B873-5BFD68F229D4}" presName="ChildText" presStyleLbl="revTx" presStyleIdx="3" presStyleCnt="5">
        <dgm:presLayoutVars>
          <dgm:chMax val="0"/>
          <dgm:chPref val="0"/>
          <dgm:bulletEnabled val="1"/>
        </dgm:presLayoutVars>
      </dgm:prSet>
      <dgm:spPr/>
    </dgm:pt>
    <dgm:pt modelId="{7A7AEB28-28FA-4BFE-BD6D-8DAEF42FFE12}" type="pres">
      <dgm:prSet presAssocID="{51CDF6E1-FDD1-409B-9C95-902438C13E02}" presName="sibTrans" presStyleCnt="0"/>
      <dgm:spPr/>
    </dgm:pt>
    <dgm:pt modelId="{1E7C5684-131C-45A4-B87F-6F32574ECD46}" type="pres">
      <dgm:prSet presAssocID="{9BA819D2-025E-408B-8850-80A7B48DCB8A}" presName="composite" presStyleCnt="0"/>
      <dgm:spPr/>
    </dgm:pt>
    <dgm:pt modelId="{06809C90-3A95-483C-AB35-AF8200A6AA17}" type="pres">
      <dgm:prSet presAssocID="{9BA819D2-025E-408B-8850-80A7B48DCB8A}" presName="bentUpArrow1" presStyleLbl="alignImgPlace1" presStyleIdx="4" presStyleCnt="5"/>
      <dgm:spPr/>
    </dgm:pt>
    <dgm:pt modelId="{A75255DE-5FA4-47C5-BCCE-7263F9EEDFF7}" type="pres">
      <dgm:prSet presAssocID="{9BA819D2-025E-408B-8850-80A7B48DCB8A}" presName="ParentText" presStyleLbl="node1" presStyleIdx="4" presStyleCnt="6">
        <dgm:presLayoutVars>
          <dgm:chMax val="1"/>
          <dgm:chPref val="1"/>
          <dgm:bulletEnabled val="1"/>
        </dgm:presLayoutVars>
      </dgm:prSet>
      <dgm:spPr/>
    </dgm:pt>
    <dgm:pt modelId="{A265426D-B46D-4C17-9972-B0AA3DAD92EF}" type="pres">
      <dgm:prSet presAssocID="{9BA819D2-025E-408B-8850-80A7B48DCB8A}" presName="ChildText" presStyleLbl="revTx" presStyleIdx="4" presStyleCnt="5">
        <dgm:presLayoutVars>
          <dgm:chMax val="0"/>
          <dgm:chPref val="0"/>
          <dgm:bulletEnabled val="1"/>
        </dgm:presLayoutVars>
      </dgm:prSet>
      <dgm:spPr/>
    </dgm:pt>
    <dgm:pt modelId="{E8FF8BDE-9EE1-4BA1-B4E1-709682C352AB}" type="pres">
      <dgm:prSet presAssocID="{8029E6A5-BD32-4A82-AAD2-744BCFEFBF78}" presName="sibTrans" presStyleCnt="0"/>
      <dgm:spPr/>
    </dgm:pt>
    <dgm:pt modelId="{629E4631-314C-49AD-A73B-42AEFD32023D}" type="pres">
      <dgm:prSet presAssocID="{723FD939-A528-48CC-8D66-DEBCDB7AD2F3}" presName="composite" presStyleCnt="0"/>
      <dgm:spPr/>
    </dgm:pt>
    <dgm:pt modelId="{B27B5622-AEAC-44CD-89F2-DE47097B1C31}" type="pres">
      <dgm:prSet presAssocID="{723FD939-A528-48CC-8D66-DEBCDB7AD2F3}" presName="ParentText" presStyleLbl="node1" presStyleIdx="5" presStyleCnt="6">
        <dgm:presLayoutVars>
          <dgm:chMax val="1"/>
          <dgm:chPref val="1"/>
          <dgm:bulletEnabled val="1"/>
        </dgm:presLayoutVars>
      </dgm:prSet>
      <dgm:spPr>
        <a:xfrm>
          <a:off x="5729685" y="4197230"/>
          <a:ext cx="1059080" cy="741322"/>
        </a:xfrm>
        <a:prstGeom prst="roundRect">
          <a:avLst>
            <a:gd name="adj" fmla="val 16670"/>
          </a:avLst>
        </a:prstGeom>
      </dgm:spPr>
    </dgm:pt>
  </dgm:ptLst>
  <dgm:cxnLst>
    <dgm:cxn modelId="{94CC881B-19F4-45BA-8A79-F7C6B7F52EAF}" srcId="{351FB76C-5279-43E8-930C-6B61BA874ED8}" destId="{723FD939-A528-48CC-8D66-DEBCDB7AD2F3}" srcOrd="5" destOrd="0" parTransId="{3F747573-1DEB-4C38-8B2B-BA8FC43C248F}" sibTransId="{2DE28238-E325-46B4-B39A-20EBB4DBF9D7}"/>
    <dgm:cxn modelId="{45A1B71C-336D-403B-9BA7-3135A052BC86}" type="presOf" srcId="{723FD939-A528-48CC-8D66-DEBCDB7AD2F3}" destId="{B27B5622-AEAC-44CD-89F2-DE47097B1C31}" srcOrd="0" destOrd="0" presId="urn:microsoft.com/office/officeart/2005/8/layout/StepDownProcess"/>
    <dgm:cxn modelId="{035F991D-6509-4DF6-AC79-2ADB31DE4ECF}" type="presOf" srcId="{219F71E5-61FB-4725-B873-5BFD68F229D4}" destId="{BE9B8CA9-E0CA-4801-B9A7-2E937C58C2A4}" srcOrd="0" destOrd="0" presId="urn:microsoft.com/office/officeart/2005/8/layout/StepDownProcess"/>
    <dgm:cxn modelId="{FB7AB921-3586-4ADE-8268-1BD2B67B6C17}" type="presOf" srcId="{835C0FDD-C296-47BF-9F77-A23521AAEE0F}" destId="{B54CD726-CAEF-410F-86E2-319C4E8CCDDF}" srcOrd="0" destOrd="0" presId="urn:microsoft.com/office/officeart/2005/8/layout/StepDownProcess"/>
    <dgm:cxn modelId="{C710B82F-CD0B-4736-897A-54F3A36536DB}" srcId="{351FB76C-5279-43E8-930C-6B61BA874ED8}" destId="{510FA32E-F53F-4A7F-BFBD-6D407CF70495}" srcOrd="1" destOrd="0" parTransId="{D95DB402-46E3-464A-90BC-59611FA776A2}" sibTransId="{E80F9E3B-5D9B-4678-866A-F5C509790E76}"/>
    <dgm:cxn modelId="{5264CF33-FAFD-47A9-B144-C22F14306F04}" srcId="{351FB76C-5279-43E8-930C-6B61BA874ED8}" destId="{835C0FDD-C296-47BF-9F77-A23521AAEE0F}" srcOrd="2" destOrd="0" parTransId="{A5FACEB8-B3FC-4617-8C63-8CB17C635282}" sibTransId="{05708C52-C54D-4B38-B542-4F9DAA240F85}"/>
    <dgm:cxn modelId="{8C67FC3F-61A6-42FC-BD9B-2C91E1FF12F4}" type="presOf" srcId="{6B51DB17-7B52-4964-B906-347EF7220235}" destId="{0F38F462-FBB8-41BD-880E-F9D01209953C}" srcOrd="0" destOrd="0" presId="urn:microsoft.com/office/officeart/2005/8/layout/StepDownProcess"/>
    <dgm:cxn modelId="{37DFD146-07F5-4721-8EE8-298154E2E732}" srcId="{351FB76C-5279-43E8-930C-6B61BA874ED8}" destId="{219F71E5-61FB-4725-B873-5BFD68F229D4}" srcOrd="3" destOrd="0" parTransId="{28C80DFF-F810-4299-A5E7-EBC584681A85}" sibTransId="{51CDF6E1-FDD1-409B-9C95-902438C13E02}"/>
    <dgm:cxn modelId="{E475DE48-3FED-4E89-8FD2-E0AF114B7239}" type="presOf" srcId="{510FA32E-F53F-4A7F-BFBD-6D407CF70495}" destId="{6A8D71EA-B188-4303-9BFF-5EF0ECB4349D}" srcOrd="0" destOrd="0" presId="urn:microsoft.com/office/officeart/2005/8/layout/StepDownProcess"/>
    <dgm:cxn modelId="{3C618074-FF1F-40BE-9DF4-27EF135DB51B}" srcId="{351FB76C-5279-43E8-930C-6B61BA874ED8}" destId="{6B51DB17-7B52-4964-B906-347EF7220235}" srcOrd="0" destOrd="0" parTransId="{CBF852DC-B9A8-4D91-A830-7BCB068BB665}" sibTransId="{3B2DDD38-A1F3-4B16-BE5B-E22645FC3B52}"/>
    <dgm:cxn modelId="{008B6681-2E03-4D37-B1EF-B2A38F1426C3}" srcId="{351FB76C-5279-43E8-930C-6B61BA874ED8}" destId="{9BA819D2-025E-408B-8850-80A7B48DCB8A}" srcOrd="4" destOrd="0" parTransId="{50F34A53-434B-47B6-83C9-1009C487734F}" sibTransId="{8029E6A5-BD32-4A82-AAD2-744BCFEFBF78}"/>
    <dgm:cxn modelId="{9FE1BDC7-C1D7-4779-B07F-244AA26BDA42}" type="presOf" srcId="{9BA819D2-025E-408B-8850-80A7B48DCB8A}" destId="{A75255DE-5FA4-47C5-BCCE-7263F9EEDFF7}" srcOrd="0" destOrd="0" presId="urn:microsoft.com/office/officeart/2005/8/layout/StepDownProcess"/>
    <dgm:cxn modelId="{440CFCE9-7A31-4C58-881A-C071F1530A2C}" type="presOf" srcId="{351FB76C-5279-43E8-930C-6B61BA874ED8}" destId="{3AE65479-7036-40C8-90D4-A1317B5B6A07}" srcOrd="0" destOrd="0" presId="urn:microsoft.com/office/officeart/2005/8/layout/StepDownProcess"/>
    <dgm:cxn modelId="{CF308CE2-840B-4364-ADA6-712556435684}" type="presParOf" srcId="{3AE65479-7036-40C8-90D4-A1317B5B6A07}" destId="{C4373D62-9839-40F1-BB8D-1D3E60C11176}" srcOrd="0" destOrd="0" presId="urn:microsoft.com/office/officeart/2005/8/layout/StepDownProcess"/>
    <dgm:cxn modelId="{0BF17F38-225A-40BC-AED7-D5FBBA6DE663}" type="presParOf" srcId="{C4373D62-9839-40F1-BB8D-1D3E60C11176}" destId="{DF81F002-A1C5-460F-AB90-718A4FCDFAEB}" srcOrd="0" destOrd="0" presId="urn:microsoft.com/office/officeart/2005/8/layout/StepDownProcess"/>
    <dgm:cxn modelId="{7D73F984-D544-4960-A8CA-DC2FBB89E979}" type="presParOf" srcId="{C4373D62-9839-40F1-BB8D-1D3E60C11176}" destId="{0F38F462-FBB8-41BD-880E-F9D01209953C}" srcOrd="1" destOrd="0" presId="urn:microsoft.com/office/officeart/2005/8/layout/StepDownProcess"/>
    <dgm:cxn modelId="{2D92D128-8E2B-4E1A-99EB-B395A7B39008}" type="presParOf" srcId="{C4373D62-9839-40F1-BB8D-1D3E60C11176}" destId="{6697B4F9-D0E5-4423-A187-BD32DFB0EBB2}" srcOrd="2" destOrd="0" presId="urn:microsoft.com/office/officeart/2005/8/layout/StepDownProcess"/>
    <dgm:cxn modelId="{89048071-1D28-4800-B13D-79E0F9FBE4C5}" type="presParOf" srcId="{3AE65479-7036-40C8-90D4-A1317B5B6A07}" destId="{29CD504D-7560-45B5-80CA-D325E22C3E66}" srcOrd="1" destOrd="0" presId="urn:microsoft.com/office/officeart/2005/8/layout/StepDownProcess"/>
    <dgm:cxn modelId="{9CF8ACED-472A-4000-B007-36BB855EE905}" type="presParOf" srcId="{3AE65479-7036-40C8-90D4-A1317B5B6A07}" destId="{A1B4AEAC-3D0D-439A-8E29-884DDD521898}" srcOrd="2" destOrd="0" presId="urn:microsoft.com/office/officeart/2005/8/layout/StepDownProcess"/>
    <dgm:cxn modelId="{1AC9FFDE-8E14-4B0B-A9C5-4CC5C1641279}" type="presParOf" srcId="{A1B4AEAC-3D0D-439A-8E29-884DDD521898}" destId="{42BFBC8E-8FD9-42A0-86CD-31CA1FEE36E5}" srcOrd="0" destOrd="0" presId="urn:microsoft.com/office/officeart/2005/8/layout/StepDownProcess"/>
    <dgm:cxn modelId="{17B7B48A-396F-48E0-B9F9-C69B54657CB5}" type="presParOf" srcId="{A1B4AEAC-3D0D-439A-8E29-884DDD521898}" destId="{6A8D71EA-B188-4303-9BFF-5EF0ECB4349D}" srcOrd="1" destOrd="0" presId="urn:microsoft.com/office/officeart/2005/8/layout/StepDownProcess"/>
    <dgm:cxn modelId="{8DE0B5DC-3AE4-4C04-9915-452D95525932}" type="presParOf" srcId="{A1B4AEAC-3D0D-439A-8E29-884DDD521898}" destId="{4D722B5A-988E-48EF-8C98-BE71F5E99009}" srcOrd="2" destOrd="0" presId="urn:microsoft.com/office/officeart/2005/8/layout/StepDownProcess"/>
    <dgm:cxn modelId="{C1B31F5D-4931-42B2-BA0B-7C5293C5F395}" type="presParOf" srcId="{3AE65479-7036-40C8-90D4-A1317B5B6A07}" destId="{407A7C3B-4957-4E75-BA37-CBF1046E6AE3}" srcOrd="3" destOrd="0" presId="urn:microsoft.com/office/officeart/2005/8/layout/StepDownProcess"/>
    <dgm:cxn modelId="{825F8E24-CD61-47F8-A445-0F5A6AB2F7FC}" type="presParOf" srcId="{3AE65479-7036-40C8-90D4-A1317B5B6A07}" destId="{E3FF4D14-9C89-46A4-BF99-F7DE20877F9D}" srcOrd="4" destOrd="0" presId="urn:microsoft.com/office/officeart/2005/8/layout/StepDownProcess"/>
    <dgm:cxn modelId="{A10F6B9C-4A03-4AAD-814B-02AFAEF6F195}" type="presParOf" srcId="{E3FF4D14-9C89-46A4-BF99-F7DE20877F9D}" destId="{A81A1A90-3FAA-4961-B32A-DB0D44491B30}" srcOrd="0" destOrd="0" presId="urn:microsoft.com/office/officeart/2005/8/layout/StepDownProcess"/>
    <dgm:cxn modelId="{4C4305E3-55F3-4107-A7E8-CDA3FA8EF300}" type="presParOf" srcId="{E3FF4D14-9C89-46A4-BF99-F7DE20877F9D}" destId="{B54CD726-CAEF-410F-86E2-319C4E8CCDDF}" srcOrd="1" destOrd="0" presId="urn:microsoft.com/office/officeart/2005/8/layout/StepDownProcess"/>
    <dgm:cxn modelId="{4BE5392A-61B9-4DD2-867C-685649D39B42}" type="presParOf" srcId="{E3FF4D14-9C89-46A4-BF99-F7DE20877F9D}" destId="{D997CF59-8283-4CA9-9AB3-1DAF5C958501}" srcOrd="2" destOrd="0" presId="urn:microsoft.com/office/officeart/2005/8/layout/StepDownProcess"/>
    <dgm:cxn modelId="{7BB01C85-9435-4A6E-B51A-4950415E2B03}" type="presParOf" srcId="{3AE65479-7036-40C8-90D4-A1317B5B6A07}" destId="{A40266B1-A32D-4099-93E9-6F335789A1FE}" srcOrd="5" destOrd="0" presId="urn:microsoft.com/office/officeart/2005/8/layout/StepDownProcess"/>
    <dgm:cxn modelId="{A2C685A7-DC9C-49BC-AEC7-628136F5C098}" type="presParOf" srcId="{3AE65479-7036-40C8-90D4-A1317B5B6A07}" destId="{5FE09AAB-F9F5-46F0-AE33-37A1B4BF4FDE}" srcOrd="6" destOrd="0" presId="urn:microsoft.com/office/officeart/2005/8/layout/StepDownProcess"/>
    <dgm:cxn modelId="{11C66079-6AB2-4232-A9A9-C0B551509E55}" type="presParOf" srcId="{5FE09AAB-F9F5-46F0-AE33-37A1B4BF4FDE}" destId="{A9A54554-51CE-4279-95A1-7D230F52967F}" srcOrd="0" destOrd="0" presId="urn:microsoft.com/office/officeart/2005/8/layout/StepDownProcess"/>
    <dgm:cxn modelId="{1596CB3E-69B7-4EC9-9C3C-92C0888DA988}" type="presParOf" srcId="{5FE09AAB-F9F5-46F0-AE33-37A1B4BF4FDE}" destId="{BE9B8CA9-E0CA-4801-B9A7-2E937C58C2A4}" srcOrd="1" destOrd="0" presId="urn:microsoft.com/office/officeart/2005/8/layout/StepDownProcess"/>
    <dgm:cxn modelId="{31EDADF1-48C3-4663-90AC-146EC0E843A4}" type="presParOf" srcId="{5FE09AAB-F9F5-46F0-AE33-37A1B4BF4FDE}" destId="{A1236D9D-5E48-4D81-B852-5FB9D54B0A85}" srcOrd="2" destOrd="0" presId="urn:microsoft.com/office/officeart/2005/8/layout/StepDownProcess"/>
    <dgm:cxn modelId="{7B2AB9A6-431D-430B-9A1E-620A166C5DAC}" type="presParOf" srcId="{3AE65479-7036-40C8-90D4-A1317B5B6A07}" destId="{7A7AEB28-28FA-4BFE-BD6D-8DAEF42FFE12}" srcOrd="7" destOrd="0" presId="urn:microsoft.com/office/officeart/2005/8/layout/StepDownProcess"/>
    <dgm:cxn modelId="{219D1319-9E0A-4358-8B13-A7D022CF762D}" type="presParOf" srcId="{3AE65479-7036-40C8-90D4-A1317B5B6A07}" destId="{1E7C5684-131C-45A4-B87F-6F32574ECD46}" srcOrd="8" destOrd="0" presId="urn:microsoft.com/office/officeart/2005/8/layout/StepDownProcess"/>
    <dgm:cxn modelId="{F61EF33C-85D1-424D-81E7-A4D513715311}" type="presParOf" srcId="{1E7C5684-131C-45A4-B87F-6F32574ECD46}" destId="{06809C90-3A95-483C-AB35-AF8200A6AA17}" srcOrd="0" destOrd="0" presId="urn:microsoft.com/office/officeart/2005/8/layout/StepDownProcess"/>
    <dgm:cxn modelId="{75AF46E4-030F-49FD-AB5C-7EF6F5DC2246}" type="presParOf" srcId="{1E7C5684-131C-45A4-B87F-6F32574ECD46}" destId="{A75255DE-5FA4-47C5-BCCE-7263F9EEDFF7}" srcOrd="1" destOrd="0" presId="urn:microsoft.com/office/officeart/2005/8/layout/StepDownProcess"/>
    <dgm:cxn modelId="{5F8308D1-9F69-47C5-B145-C242EF5AEF8B}" type="presParOf" srcId="{1E7C5684-131C-45A4-B87F-6F32574ECD46}" destId="{A265426D-B46D-4C17-9972-B0AA3DAD92EF}" srcOrd="2" destOrd="0" presId="urn:microsoft.com/office/officeart/2005/8/layout/StepDownProcess"/>
    <dgm:cxn modelId="{C24CB176-1D6C-4D9C-B372-D3607922E8BE}" type="presParOf" srcId="{3AE65479-7036-40C8-90D4-A1317B5B6A07}" destId="{E8FF8BDE-9EE1-4BA1-B4E1-709682C352AB}" srcOrd="9" destOrd="0" presId="urn:microsoft.com/office/officeart/2005/8/layout/StepDownProcess"/>
    <dgm:cxn modelId="{5B8C4325-E77A-4E00-8351-9FF7259653FE}" type="presParOf" srcId="{3AE65479-7036-40C8-90D4-A1317B5B6A07}" destId="{629E4631-314C-49AD-A73B-42AEFD32023D}" srcOrd="10" destOrd="0" presId="urn:microsoft.com/office/officeart/2005/8/layout/StepDownProcess"/>
    <dgm:cxn modelId="{65D1B8A0-DA30-4D4D-8619-A69045916B30}" type="presParOf" srcId="{629E4631-314C-49AD-A73B-42AEFD32023D}" destId="{B27B5622-AEAC-44CD-89F2-DE47097B1C31}" srcOrd="0" destOrd="0" presId="urn:microsoft.com/office/officeart/2005/8/layout/StepDown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961561C-C7CA-484A-941F-629063C39FF7}" type="doc">
      <dgm:prSet loTypeId="urn:microsoft.com/office/officeart/2005/8/layout/cycle3" loCatId="cycle" qsTypeId="urn:microsoft.com/office/officeart/2005/8/quickstyle/simple1" qsCatId="simple" csTypeId="urn:microsoft.com/office/officeart/2005/8/colors/colorful1" csCatId="colorful" phldr="1"/>
      <dgm:spPr/>
      <dgm:t>
        <a:bodyPr/>
        <a:lstStyle/>
        <a:p>
          <a:endParaRPr lang="en-US"/>
        </a:p>
      </dgm:t>
    </dgm:pt>
    <dgm:pt modelId="{6517A823-3A7F-4275-86F0-FB5A4B00319A}">
      <dgm:prSet phldrT="[Text]" phldr="0" custT="1"/>
      <dgm:spPr/>
      <dgm:t>
        <a:bodyPr/>
        <a:lstStyle/>
        <a:p>
          <a:pPr rtl="0"/>
          <a:r>
            <a:rPr lang="en-US" sz="1200">
              <a:latin typeface="Arial"/>
            </a:rPr>
            <a:t>Evaluation </a:t>
          </a:r>
          <a:r>
            <a:rPr lang="en-US" sz="1200" err="1">
              <a:latin typeface="Arial"/>
            </a:rPr>
            <a:t>avant</a:t>
          </a:r>
          <a:r>
            <a:rPr lang="en-US" sz="1200">
              <a:latin typeface="Arial"/>
            </a:rPr>
            <a:t> formation</a:t>
          </a:r>
          <a:endParaRPr lang="en-US" sz="1200"/>
        </a:p>
      </dgm:t>
    </dgm:pt>
    <dgm:pt modelId="{E8390250-7232-4DF8-ACF3-9F03BA22A22F}" type="parTrans" cxnId="{9F5584B3-6CFF-4E70-9A79-805012F6C3F9}">
      <dgm:prSet/>
      <dgm:spPr/>
      <dgm:t>
        <a:bodyPr/>
        <a:lstStyle/>
        <a:p>
          <a:endParaRPr lang="en-US" sz="2000"/>
        </a:p>
      </dgm:t>
    </dgm:pt>
    <dgm:pt modelId="{A3200988-B50B-42FB-89AC-EEF24A592684}" type="sibTrans" cxnId="{9F5584B3-6CFF-4E70-9A79-805012F6C3F9}">
      <dgm:prSet/>
      <dgm:spPr/>
      <dgm:t>
        <a:bodyPr/>
        <a:lstStyle/>
        <a:p>
          <a:endParaRPr lang="en-US" sz="2000"/>
        </a:p>
      </dgm:t>
    </dgm:pt>
    <dgm:pt modelId="{E19B1AB3-1558-421F-B922-58EEA4694525}">
      <dgm:prSet phldrT="[Text]" phldr="0" custT="1"/>
      <dgm:spPr/>
      <dgm:t>
        <a:bodyPr/>
        <a:lstStyle/>
        <a:p>
          <a:pPr rtl="0"/>
          <a:r>
            <a:rPr lang="en-US" sz="1200" err="1">
              <a:latin typeface="Arial"/>
            </a:rPr>
            <a:t>Liste</a:t>
          </a:r>
          <a:r>
            <a:rPr lang="en-US" sz="1200">
              <a:latin typeface="Arial"/>
            </a:rPr>
            <a:t> des </a:t>
          </a:r>
          <a:r>
            <a:rPr lang="en-US" sz="1200" err="1">
              <a:latin typeface="Arial"/>
            </a:rPr>
            <a:t>apprenants</a:t>
          </a:r>
          <a:endParaRPr lang="en-US" sz="1200" err="1"/>
        </a:p>
      </dgm:t>
    </dgm:pt>
    <dgm:pt modelId="{1F0ADF9E-7EA3-428A-A355-A23494888E82}" type="parTrans" cxnId="{2AF8E1F5-6420-4F23-84A3-6FAD98D4B463}">
      <dgm:prSet/>
      <dgm:spPr/>
      <dgm:t>
        <a:bodyPr/>
        <a:lstStyle/>
        <a:p>
          <a:endParaRPr lang="en-US" sz="2000"/>
        </a:p>
      </dgm:t>
    </dgm:pt>
    <dgm:pt modelId="{22115692-DF20-4FCA-AD5A-AEEEC6FD5389}" type="sibTrans" cxnId="{2AF8E1F5-6420-4F23-84A3-6FAD98D4B463}">
      <dgm:prSet/>
      <dgm:spPr/>
      <dgm:t>
        <a:bodyPr/>
        <a:lstStyle/>
        <a:p>
          <a:endParaRPr lang="en-US" sz="2000"/>
        </a:p>
      </dgm:t>
    </dgm:pt>
    <dgm:pt modelId="{1226EF5D-3C8F-40D9-9379-0DD59F0AEFDB}">
      <dgm:prSet phldrT="[Text]" phldr="0" custT="1"/>
      <dgm:spPr/>
      <dgm:t>
        <a:bodyPr/>
        <a:lstStyle/>
        <a:p>
          <a:r>
            <a:rPr lang="en-US" sz="1200">
              <a:latin typeface="Arial"/>
            </a:rPr>
            <a:t>Programmes</a:t>
          </a:r>
          <a:endParaRPr lang="en-US" sz="1200"/>
        </a:p>
      </dgm:t>
    </dgm:pt>
    <dgm:pt modelId="{18B48AB5-F714-4143-82C1-1E013C8FCBFA}" type="parTrans" cxnId="{923C50D7-5E95-4F3B-B5F5-C2C14F1BCCE7}">
      <dgm:prSet/>
      <dgm:spPr/>
      <dgm:t>
        <a:bodyPr/>
        <a:lstStyle/>
        <a:p>
          <a:endParaRPr lang="en-US" sz="2000"/>
        </a:p>
      </dgm:t>
    </dgm:pt>
    <dgm:pt modelId="{CEE8232C-4168-4076-A26B-675E174999DA}" type="sibTrans" cxnId="{923C50D7-5E95-4F3B-B5F5-C2C14F1BCCE7}">
      <dgm:prSet/>
      <dgm:spPr/>
      <dgm:t>
        <a:bodyPr/>
        <a:lstStyle/>
        <a:p>
          <a:endParaRPr lang="en-US" sz="2000"/>
        </a:p>
      </dgm:t>
    </dgm:pt>
    <dgm:pt modelId="{B6D23D39-3EAB-4E0A-9A94-E1FC63ECA83D}">
      <dgm:prSet phldrT="[Text]" phldr="0" custT="1"/>
      <dgm:spPr/>
      <dgm:t>
        <a:bodyPr/>
        <a:lstStyle/>
        <a:p>
          <a:r>
            <a:rPr lang="en-US" sz="1200">
              <a:latin typeface="Arial"/>
            </a:rPr>
            <a:t>Conventions</a:t>
          </a:r>
          <a:endParaRPr lang="en-US" sz="1200"/>
        </a:p>
      </dgm:t>
    </dgm:pt>
    <dgm:pt modelId="{771CA3D1-8248-4E8B-AFBD-38B5DDBB1F96}" type="parTrans" cxnId="{985EB363-7E08-4680-8C3D-C5995AB9790E}">
      <dgm:prSet/>
      <dgm:spPr/>
      <dgm:t>
        <a:bodyPr/>
        <a:lstStyle/>
        <a:p>
          <a:endParaRPr lang="en-US" sz="2000"/>
        </a:p>
      </dgm:t>
    </dgm:pt>
    <dgm:pt modelId="{CE22C8EA-E2A9-4ACC-B27D-EAB9D743EC8F}" type="sibTrans" cxnId="{985EB363-7E08-4680-8C3D-C5995AB9790E}">
      <dgm:prSet/>
      <dgm:spPr/>
      <dgm:t>
        <a:bodyPr/>
        <a:lstStyle/>
        <a:p>
          <a:endParaRPr lang="en-US" sz="2000"/>
        </a:p>
      </dgm:t>
    </dgm:pt>
    <dgm:pt modelId="{28F53490-C7F4-4D02-B3C8-E1F2A5B00457}">
      <dgm:prSet phldrT="[Text]" phldr="0" custT="1"/>
      <dgm:spPr/>
      <dgm:t>
        <a:bodyPr/>
        <a:lstStyle/>
        <a:p>
          <a:r>
            <a:rPr lang="en-US" sz="1200">
              <a:latin typeface="Arial"/>
            </a:rPr>
            <a:t>Convocations</a:t>
          </a:r>
          <a:endParaRPr lang="en-US" sz="1200"/>
        </a:p>
      </dgm:t>
    </dgm:pt>
    <dgm:pt modelId="{84753273-2B06-4E9C-898D-8CBB2F4C1B4D}" type="parTrans" cxnId="{261878D6-2D0B-42F3-A53F-7C9365986651}">
      <dgm:prSet/>
      <dgm:spPr/>
      <dgm:t>
        <a:bodyPr/>
        <a:lstStyle/>
        <a:p>
          <a:endParaRPr lang="en-US" sz="2000"/>
        </a:p>
      </dgm:t>
    </dgm:pt>
    <dgm:pt modelId="{5C68C6FB-8A54-4301-B133-28F3D57A5EEB}" type="sibTrans" cxnId="{261878D6-2D0B-42F3-A53F-7C9365986651}">
      <dgm:prSet/>
      <dgm:spPr/>
      <dgm:t>
        <a:bodyPr/>
        <a:lstStyle/>
        <a:p>
          <a:endParaRPr lang="en-US" sz="2000"/>
        </a:p>
      </dgm:t>
    </dgm:pt>
    <dgm:pt modelId="{2A39DD48-68D6-45B7-B18C-BA5959E63E0A}">
      <dgm:prSet phldr="0" custT="1"/>
      <dgm:spPr/>
      <dgm:t>
        <a:bodyPr/>
        <a:lstStyle/>
        <a:p>
          <a:pPr rtl="0"/>
          <a:r>
            <a:rPr lang="en-US" sz="1200" err="1">
              <a:latin typeface="Arial"/>
            </a:rPr>
            <a:t>Emargements</a:t>
          </a:r>
          <a:endParaRPr lang="en-US" sz="1200">
            <a:latin typeface="Arial"/>
          </a:endParaRPr>
        </a:p>
      </dgm:t>
    </dgm:pt>
    <dgm:pt modelId="{5F3F14C2-CF10-4BDD-8570-A8E0D6D87E36}" type="parTrans" cxnId="{B66E39DA-C5A3-4858-8039-946822E2B39C}">
      <dgm:prSet/>
      <dgm:spPr/>
      <dgm:t>
        <a:bodyPr/>
        <a:lstStyle/>
        <a:p>
          <a:endParaRPr lang="fr-FR" sz="2000"/>
        </a:p>
      </dgm:t>
    </dgm:pt>
    <dgm:pt modelId="{D0403338-213E-461C-A9EB-0CA3B526B566}" type="sibTrans" cxnId="{B66E39DA-C5A3-4858-8039-946822E2B39C}">
      <dgm:prSet/>
      <dgm:spPr/>
      <dgm:t>
        <a:bodyPr/>
        <a:lstStyle/>
        <a:p>
          <a:endParaRPr lang="fr-FR" sz="2000"/>
        </a:p>
      </dgm:t>
    </dgm:pt>
    <dgm:pt modelId="{F45D4152-646A-45E9-B4BD-ACFC528F2E0C}">
      <dgm:prSet phldr="0" custT="1"/>
      <dgm:spPr/>
      <dgm:t>
        <a:bodyPr/>
        <a:lstStyle/>
        <a:p>
          <a:pPr rtl="0"/>
          <a:r>
            <a:rPr lang="en-US" sz="1200">
              <a:latin typeface="Arial"/>
            </a:rPr>
            <a:t>Evaluations à </a:t>
          </a:r>
          <a:r>
            <a:rPr lang="en-US" sz="1200" err="1">
              <a:latin typeface="Arial"/>
            </a:rPr>
            <a:t>chaud</a:t>
          </a:r>
          <a:r>
            <a:rPr lang="en-US" sz="1200">
              <a:latin typeface="Arial"/>
            </a:rPr>
            <a:t> et à froid</a:t>
          </a:r>
        </a:p>
      </dgm:t>
    </dgm:pt>
    <dgm:pt modelId="{7DF4B297-0262-4E18-BBC1-52C089C5FACA}" type="parTrans" cxnId="{8ABF2BCA-2141-4E01-A389-570B11271490}">
      <dgm:prSet/>
      <dgm:spPr/>
      <dgm:t>
        <a:bodyPr/>
        <a:lstStyle/>
        <a:p>
          <a:endParaRPr lang="fr-FR" sz="2000"/>
        </a:p>
      </dgm:t>
    </dgm:pt>
    <dgm:pt modelId="{4874F3E7-6C41-4F81-83D4-F00ACC701E39}" type="sibTrans" cxnId="{8ABF2BCA-2141-4E01-A389-570B11271490}">
      <dgm:prSet/>
      <dgm:spPr/>
      <dgm:t>
        <a:bodyPr/>
        <a:lstStyle/>
        <a:p>
          <a:endParaRPr lang="fr-FR" sz="2000"/>
        </a:p>
      </dgm:t>
    </dgm:pt>
    <dgm:pt modelId="{7EC9E01E-72EC-4024-8040-92447335393C}">
      <dgm:prSet phldr="0" custT="1"/>
      <dgm:spPr/>
      <dgm:t>
        <a:bodyPr/>
        <a:lstStyle/>
        <a:p>
          <a:pPr rtl="0"/>
          <a:r>
            <a:rPr lang="en-US" sz="1200">
              <a:latin typeface="Arial"/>
            </a:rPr>
            <a:t>Suivi des </a:t>
          </a:r>
          <a:r>
            <a:rPr lang="en-US" sz="1200" err="1">
              <a:latin typeface="Arial"/>
            </a:rPr>
            <a:t>apprenants</a:t>
          </a:r>
          <a:endParaRPr lang="en-US" sz="1200"/>
        </a:p>
      </dgm:t>
    </dgm:pt>
    <dgm:pt modelId="{5ABB269C-2C8E-405E-B2B9-6B0983D58B84}" type="parTrans" cxnId="{8AFBD2B4-52D5-4254-98D3-E6EBA3F0A895}">
      <dgm:prSet/>
      <dgm:spPr/>
      <dgm:t>
        <a:bodyPr/>
        <a:lstStyle/>
        <a:p>
          <a:endParaRPr lang="fr-FR" sz="2000"/>
        </a:p>
      </dgm:t>
    </dgm:pt>
    <dgm:pt modelId="{4A9CABCB-2106-4CC1-A3D6-34602269F733}" type="sibTrans" cxnId="{8AFBD2B4-52D5-4254-98D3-E6EBA3F0A895}">
      <dgm:prSet/>
      <dgm:spPr/>
      <dgm:t>
        <a:bodyPr/>
        <a:lstStyle/>
        <a:p>
          <a:endParaRPr lang="fr-FR" sz="2000"/>
        </a:p>
      </dgm:t>
    </dgm:pt>
    <dgm:pt modelId="{53B48C4E-A896-4ADB-A73F-3DCA84D8D8D9}" type="pres">
      <dgm:prSet presAssocID="{D961561C-C7CA-484A-941F-629063C39FF7}" presName="Name0" presStyleCnt="0">
        <dgm:presLayoutVars>
          <dgm:dir/>
          <dgm:resizeHandles val="exact"/>
        </dgm:presLayoutVars>
      </dgm:prSet>
      <dgm:spPr/>
    </dgm:pt>
    <dgm:pt modelId="{A7E09220-9887-40F6-A0DD-ED7ADE038B37}" type="pres">
      <dgm:prSet presAssocID="{D961561C-C7CA-484A-941F-629063C39FF7}" presName="cycle" presStyleCnt="0"/>
      <dgm:spPr/>
    </dgm:pt>
    <dgm:pt modelId="{8485881F-AB63-4CC3-9168-695CB649DD7C}" type="pres">
      <dgm:prSet presAssocID="{6517A823-3A7F-4275-86F0-FB5A4B00319A}" presName="nodeFirstNode" presStyleLbl="node1" presStyleIdx="0" presStyleCnt="8">
        <dgm:presLayoutVars>
          <dgm:bulletEnabled val="1"/>
        </dgm:presLayoutVars>
      </dgm:prSet>
      <dgm:spPr/>
    </dgm:pt>
    <dgm:pt modelId="{9BF241D7-43F2-44F5-8563-CBF0DCF30D2D}" type="pres">
      <dgm:prSet presAssocID="{A3200988-B50B-42FB-89AC-EEF24A592684}" presName="sibTransFirstNode" presStyleLbl="bgShp" presStyleIdx="0" presStyleCnt="1"/>
      <dgm:spPr/>
    </dgm:pt>
    <dgm:pt modelId="{3FC0A02A-7E7A-4FB5-B248-40CECBB6EE10}" type="pres">
      <dgm:prSet presAssocID="{E19B1AB3-1558-421F-B922-58EEA4694525}" presName="nodeFollowingNodes" presStyleLbl="node1" presStyleIdx="1" presStyleCnt="8">
        <dgm:presLayoutVars>
          <dgm:bulletEnabled val="1"/>
        </dgm:presLayoutVars>
      </dgm:prSet>
      <dgm:spPr/>
    </dgm:pt>
    <dgm:pt modelId="{3464DC64-D856-45F7-830A-17072196E7DE}" type="pres">
      <dgm:prSet presAssocID="{1226EF5D-3C8F-40D9-9379-0DD59F0AEFDB}" presName="nodeFollowingNodes" presStyleLbl="node1" presStyleIdx="2" presStyleCnt="8">
        <dgm:presLayoutVars>
          <dgm:bulletEnabled val="1"/>
        </dgm:presLayoutVars>
      </dgm:prSet>
      <dgm:spPr/>
    </dgm:pt>
    <dgm:pt modelId="{6210FEF3-072C-416A-9DD1-E7BDE4F3AF39}" type="pres">
      <dgm:prSet presAssocID="{B6D23D39-3EAB-4E0A-9A94-E1FC63ECA83D}" presName="nodeFollowingNodes" presStyleLbl="node1" presStyleIdx="3" presStyleCnt="8">
        <dgm:presLayoutVars>
          <dgm:bulletEnabled val="1"/>
        </dgm:presLayoutVars>
      </dgm:prSet>
      <dgm:spPr/>
    </dgm:pt>
    <dgm:pt modelId="{03284A7B-42CF-4C32-AC9F-5C8FEBAA9A04}" type="pres">
      <dgm:prSet presAssocID="{28F53490-C7F4-4D02-B3C8-E1F2A5B00457}" presName="nodeFollowingNodes" presStyleLbl="node1" presStyleIdx="4" presStyleCnt="8">
        <dgm:presLayoutVars>
          <dgm:bulletEnabled val="1"/>
        </dgm:presLayoutVars>
      </dgm:prSet>
      <dgm:spPr/>
    </dgm:pt>
    <dgm:pt modelId="{D846B1F5-0FEC-49E7-A983-5AF7DDC8B655}" type="pres">
      <dgm:prSet presAssocID="{2A39DD48-68D6-45B7-B18C-BA5959E63E0A}" presName="nodeFollowingNodes" presStyleLbl="node1" presStyleIdx="5" presStyleCnt="8">
        <dgm:presLayoutVars>
          <dgm:bulletEnabled val="1"/>
        </dgm:presLayoutVars>
      </dgm:prSet>
      <dgm:spPr/>
    </dgm:pt>
    <dgm:pt modelId="{FEE7F679-A353-4CBF-88B0-74AA67FEA3CA}" type="pres">
      <dgm:prSet presAssocID="{F45D4152-646A-45E9-B4BD-ACFC528F2E0C}" presName="nodeFollowingNodes" presStyleLbl="node1" presStyleIdx="6" presStyleCnt="8">
        <dgm:presLayoutVars>
          <dgm:bulletEnabled val="1"/>
        </dgm:presLayoutVars>
      </dgm:prSet>
      <dgm:spPr/>
    </dgm:pt>
    <dgm:pt modelId="{7C74D3DE-1A83-46D0-87EA-25ECE23C6B61}" type="pres">
      <dgm:prSet presAssocID="{7EC9E01E-72EC-4024-8040-92447335393C}" presName="nodeFollowingNodes" presStyleLbl="node1" presStyleIdx="7" presStyleCnt="8">
        <dgm:presLayoutVars>
          <dgm:bulletEnabled val="1"/>
        </dgm:presLayoutVars>
      </dgm:prSet>
      <dgm:spPr/>
    </dgm:pt>
  </dgm:ptLst>
  <dgm:cxnLst>
    <dgm:cxn modelId="{0576AC16-1698-405F-93A8-E86D8894D7C9}" type="presOf" srcId="{E19B1AB3-1558-421F-B922-58EEA4694525}" destId="{3FC0A02A-7E7A-4FB5-B248-40CECBB6EE10}" srcOrd="0" destOrd="0" presId="urn:microsoft.com/office/officeart/2005/8/layout/cycle3"/>
    <dgm:cxn modelId="{985EB363-7E08-4680-8C3D-C5995AB9790E}" srcId="{D961561C-C7CA-484A-941F-629063C39FF7}" destId="{B6D23D39-3EAB-4E0A-9A94-E1FC63ECA83D}" srcOrd="3" destOrd="0" parTransId="{771CA3D1-8248-4E8B-AFBD-38B5DDBB1F96}" sibTransId="{CE22C8EA-E2A9-4ACC-B27D-EAB9D743EC8F}"/>
    <dgm:cxn modelId="{3E284847-047E-4AE2-B8B4-E7880F061B5D}" type="presOf" srcId="{28F53490-C7F4-4D02-B3C8-E1F2A5B00457}" destId="{03284A7B-42CF-4C32-AC9F-5C8FEBAA9A04}" srcOrd="0" destOrd="0" presId="urn:microsoft.com/office/officeart/2005/8/layout/cycle3"/>
    <dgm:cxn modelId="{FB454857-2AB5-411A-9113-BEF5E8A13FC0}" type="presOf" srcId="{6517A823-3A7F-4275-86F0-FB5A4B00319A}" destId="{8485881F-AB63-4CC3-9168-695CB649DD7C}" srcOrd="0" destOrd="0" presId="urn:microsoft.com/office/officeart/2005/8/layout/cycle3"/>
    <dgm:cxn modelId="{D6150458-9EED-43A2-BCF4-3259076326BE}" type="presOf" srcId="{7EC9E01E-72EC-4024-8040-92447335393C}" destId="{7C74D3DE-1A83-46D0-87EA-25ECE23C6B61}" srcOrd="0" destOrd="0" presId="urn:microsoft.com/office/officeart/2005/8/layout/cycle3"/>
    <dgm:cxn modelId="{59D0C578-6598-42C8-B4D4-881E4F134370}" type="presOf" srcId="{B6D23D39-3EAB-4E0A-9A94-E1FC63ECA83D}" destId="{6210FEF3-072C-416A-9DD1-E7BDE4F3AF39}" srcOrd="0" destOrd="0" presId="urn:microsoft.com/office/officeart/2005/8/layout/cycle3"/>
    <dgm:cxn modelId="{5D5E7F7A-C1DE-43D2-9A58-33C1705C8235}" type="presOf" srcId="{F45D4152-646A-45E9-B4BD-ACFC528F2E0C}" destId="{FEE7F679-A353-4CBF-88B0-74AA67FEA3CA}" srcOrd="0" destOrd="0" presId="urn:microsoft.com/office/officeart/2005/8/layout/cycle3"/>
    <dgm:cxn modelId="{163CAC90-7D7C-4E84-850B-7FAAD35C22C1}" type="presOf" srcId="{A3200988-B50B-42FB-89AC-EEF24A592684}" destId="{9BF241D7-43F2-44F5-8563-CBF0DCF30D2D}" srcOrd="0" destOrd="0" presId="urn:microsoft.com/office/officeart/2005/8/layout/cycle3"/>
    <dgm:cxn modelId="{AB820CAF-8421-4653-9665-F042BF996866}" type="presOf" srcId="{1226EF5D-3C8F-40D9-9379-0DD59F0AEFDB}" destId="{3464DC64-D856-45F7-830A-17072196E7DE}" srcOrd="0" destOrd="0" presId="urn:microsoft.com/office/officeart/2005/8/layout/cycle3"/>
    <dgm:cxn modelId="{9F5584B3-6CFF-4E70-9A79-805012F6C3F9}" srcId="{D961561C-C7CA-484A-941F-629063C39FF7}" destId="{6517A823-3A7F-4275-86F0-FB5A4B00319A}" srcOrd="0" destOrd="0" parTransId="{E8390250-7232-4DF8-ACF3-9F03BA22A22F}" sibTransId="{A3200988-B50B-42FB-89AC-EEF24A592684}"/>
    <dgm:cxn modelId="{8AFBD2B4-52D5-4254-98D3-E6EBA3F0A895}" srcId="{D961561C-C7CA-484A-941F-629063C39FF7}" destId="{7EC9E01E-72EC-4024-8040-92447335393C}" srcOrd="7" destOrd="0" parTransId="{5ABB269C-2C8E-405E-B2B9-6B0983D58B84}" sibTransId="{4A9CABCB-2106-4CC1-A3D6-34602269F733}"/>
    <dgm:cxn modelId="{8ABF2BCA-2141-4E01-A389-570B11271490}" srcId="{D961561C-C7CA-484A-941F-629063C39FF7}" destId="{F45D4152-646A-45E9-B4BD-ACFC528F2E0C}" srcOrd="6" destOrd="0" parTransId="{7DF4B297-0262-4E18-BBC1-52C089C5FACA}" sibTransId="{4874F3E7-6C41-4F81-83D4-F00ACC701E39}"/>
    <dgm:cxn modelId="{261878D6-2D0B-42F3-A53F-7C9365986651}" srcId="{D961561C-C7CA-484A-941F-629063C39FF7}" destId="{28F53490-C7F4-4D02-B3C8-E1F2A5B00457}" srcOrd="4" destOrd="0" parTransId="{84753273-2B06-4E9C-898D-8CBB2F4C1B4D}" sibTransId="{5C68C6FB-8A54-4301-B133-28F3D57A5EEB}"/>
    <dgm:cxn modelId="{923C50D7-5E95-4F3B-B5F5-C2C14F1BCCE7}" srcId="{D961561C-C7CA-484A-941F-629063C39FF7}" destId="{1226EF5D-3C8F-40D9-9379-0DD59F0AEFDB}" srcOrd="2" destOrd="0" parTransId="{18B48AB5-F714-4143-82C1-1E013C8FCBFA}" sibTransId="{CEE8232C-4168-4076-A26B-675E174999DA}"/>
    <dgm:cxn modelId="{B66E39DA-C5A3-4858-8039-946822E2B39C}" srcId="{D961561C-C7CA-484A-941F-629063C39FF7}" destId="{2A39DD48-68D6-45B7-B18C-BA5959E63E0A}" srcOrd="5" destOrd="0" parTransId="{5F3F14C2-CF10-4BDD-8570-A8E0D6D87E36}" sibTransId="{D0403338-213E-461C-A9EB-0CA3B526B566}"/>
    <dgm:cxn modelId="{9A65A9EF-DFD3-4B96-985A-976DD9FE32A6}" type="presOf" srcId="{2A39DD48-68D6-45B7-B18C-BA5959E63E0A}" destId="{D846B1F5-0FEC-49E7-A983-5AF7DDC8B655}" srcOrd="0" destOrd="0" presId="urn:microsoft.com/office/officeart/2005/8/layout/cycle3"/>
    <dgm:cxn modelId="{3DC55DF0-E757-46DA-B974-E81F7AFEF5B6}" type="presOf" srcId="{D961561C-C7CA-484A-941F-629063C39FF7}" destId="{53B48C4E-A896-4ADB-A73F-3DCA84D8D8D9}" srcOrd="0" destOrd="0" presId="urn:microsoft.com/office/officeart/2005/8/layout/cycle3"/>
    <dgm:cxn modelId="{2AF8E1F5-6420-4F23-84A3-6FAD98D4B463}" srcId="{D961561C-C7CA-484A-941F-629063C39FF7}" destId="{E19B1AB3-1558-421F-B922-58EEA4694525}" srcOrd="1" destOrd="0" parTransId="{1F0ADF9E-7EA3-428A-A355-A23494888E82}" sibTransId="{22115692-DF20-4FCA-AD5A-AEEEC6FD5389}"/>
    <dgm:cxn modelId="{9E6E359B-FE22-431D-8AB8-254AAA5ECB3A}" type="presParOf" srcId="{53B48C4E-A896-4ADB-A73F-3DCA84D8D8D9}" destId="{A7E09220-9887-40F6-A0DD-ED7ADE038B37}" srcOrd="0" destOrd="0" presId="urn:microsoft.com/office/officeart/2005/8/layout/cycle3"/>
    <dgm:cxn modelId="{9C850954-D169-4029-8015-A54150C531E1}" type="presParOf" srcId="{A7E09220-9887-40F6-A0DD-ED7ADE038B37}" destId="{8485881F-AB63-4CC3-9168-695CB649DD7C}" srcOrd="0" destOrd="0" presId="urn:microsoft.com/office/officeart/2005/8/layout/cycle3"/>
    <dgm:cxn modelId="{612F5CE4-E4C5-4849-92EF-143096567277}" type="presParOf" srcId="{A7E09220-9887-40F6-A0DD-ED7ADE038B37}" destId="{9BF241D7-43F2-44F5-8563-CBF0DCF30D2D}" srcOrd="1" destOrd="0" presId="urn:microsoft.com/office/officeart/2005/8/layout/cycle3"/>
    <dgm:cxn modelId="{B3BCBC8C-6BE9-453C-B137-84B7A329AA66}" type="presParOf" srcId="{A7E09220-9887-40F6-A0DD-ED7ADE038B37}" destId="{3FC0A02A-7E7A-4FB5-B248-40CECBB6EE10}" srcOrd="2" destOrd="0" presId="urn:microsoft.com/office/officeart/2005/8/layout/cycle3"/>
    <dgm:cxn modelId="{91AD7D8A-1BC3-42EF-A8E8-6505E7D8520D}" type="presParOf" srcId="{A7E09220-9887-40F6-A0DD-ED7ADE038B37}" destId="{3464DC64-D856-45F7-830A-17072196E7DE}" srcOrd="3" destOrd="0" presId="urn:microsoft.com/office/officeart/2005/8/layout/cycle3"/>
    <dgm:cxn modelId="{96FA656B-06D2-4831-9E37-337954E311CA}" type="presParOf" srcId="{A7E09220-9887-40F6-A0DD-ED7ADE038B37}" destId="{6210FEF3-072C-416A-9DD1-E7BDE4F3AF39}" srcOrd="4" destOrd="0" presId="urn:microsoft.com/office/officeart/2005/8/layout/cycle3"/>
    <dgm:cxn modelId="{D289D54F-D227-4837-BD77-940E5143264A}" type="presParOf" srcId="{A7E09220-9887-40F6-A0DD-ED7ADE038B37}" destId="{03284A7B-42CF-4C32-AC9F-5C8FEBAA9A04}" srcOrd="5" destOrd="0" presId="urn:microsoft.com/office/officeart/2005/8/layout/cycle3"/>
    <dgm:cxn modelId="{C49711EB-F588-45FC-821C-0B3BD96930F7}" type="presParOf" srcId="{A7E09220-9887-40F6-A0DD-ED7ADE038B37}" destId="{D846B1F5-0FEC-49E7-A983-5AF7DDC8B655}" srcOrd="6" destOrd="0" presId="urn:microsoft.com/office/officeart/2005/8/layout/cycle3"/>
    <dgm:cxn modelId="{F8BC3FA9-0C12-48FF-9A8B-49F5CE208A64}" type="presParOf" srcId="{A7E09220-9887-40F6-A0DD-ED7ADE038B37}" destId="{FEE7F679-A353-4CBF-88B0-74AA67FEA3CA}" srcOrd="7" destOrd="0" presId="urn:microsoft.com/office/officeart/2005/8/layout/cycle3"/>
    <dgm:cxn modelId="{F682768D-E0AB-4BA9-B2C9-311413878387}" type="presParOf" srcId="{A7E09220-9887-40F6-A0DD-ED7ADE038B37}" destId="{7C74D3DE-1A83-46D0-87EA-25ECE23C6B61}" srcOrd="8"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ECC2693-29FC-473E-804A-D3501E3C92A5}" type="doc">
      <dgm:prSet loTypeId="urn:microsoft.com/office/officeart/2005/8/layout/pyramid1" loCatId="pyramid" qsTypeId="urn:microsoft.com/office/officeart/2005/8/quickstyle/simple1" qsCatId="simple" csTypeId="urn:microsoft.com/office/officeart/2005/8/colors/accent1_2" csCatId="accent1" phldr="1"/>
      <dgm:spPr/>
    </dgm:pt>
    <dgm:pt modelId="{94C5D6FE-20A5-407C-AFE0-C0ABD896175C}">
      <dgm:prSet phldrT="[Texte]" custT="1"/>
      <dgm:spPr>
        <a:solidFill>
          <a:srgbClr val="44388A"/>
        </a:solidFill>
      </dgm:spPr>
      <dgm:t>
        <a:bodyPr/>
        <a:lstStyle/>
        <a:p>
          <a:endParaRPr lang="fr-FR" sz="1200">
            <a:solidFill>
              <a:schemeClr val="bg1"/>
            </a:solidFill>
          </a:endParaRPr>
        </a:p>
        <a:p>
          <a:endParaRPr lang="fr-FR" sz="1200">
            <a:solidFill>
              <a:schemeClr val="bg1"/>
            </a:solidFill>
          </a:endParaRPr>
        </a:p>
        <a:p>
          <a:r>
            <a:rPr lang="fr-FR" sz="1200">
              <a:solidFill>
                <a:schemeClr val="bg1"/>
              </a:solidFill>
            </a:rPr>
            <a:t>COPIL</a:t>
          </a:r>
        </a:p>
      </dgm:t>
    </dgm:pt>
    <dgm:pt modelId="{51C502F7-B805-40C2-97F3-8428FC116875}" type="parTrans" cxnId="{17AA9258-FD98-4D51-A18B-2BEC466E48D8}">
      <dgm:prSet/>
      <dgm:spPr/>
      <dgm:t>
        <a:bodyPr/>
        <a:lstStyle/>
        <a:p>
          <a:endParaRPr lang="fr-FR"/>
        </a:p>
      </dgm:t>
    </dgm:pt>
    <dgm:pt modelId="{98B7C4EB-C745-472E-8A66-A05ECE0CD8B5}" type="sibTrans" cxnId="{17AA9258-FD98-4D51-A18B-2BEC466E48D8}">
      <dgm:prSet/>
      <dgm:spPr/>
      <dgm:t>
        <a:bodyPr/>
        <a:lstStyle/>
        <a:p>
          <a:endParaRPr lang="fr-FR"/>
        </a:p>
      </dgm:t>
    </dgm:pt>
    <dgm:pt modelId="{FB1B1AFC-2785-47FA-9A70-93E7091643DB}">
      <dgm:prSet phldrT="[Texte]"/>
      <dgm:spPr>
        <a:solidFill>
          <a:schemeClr val="bg2">
            <a:lumMod val="60000"/>
            <a:lumOff val="40000"/>
          </a:schemeClr>
        </a:solidFill>
      </dgm:spPr>
      <dgm:t>
        <a:bodyPr/>
        <a:lstStyle/>
        <a:p>
          <a:r>
            <a:rPr lang="fr-FR">
              <a:solidFill>
                <a:schemeClr val="bg1"/>
              </a:solidFill>
            </a:rPr>
            <a:t>COMITÉ CHANTIER FORMATION</a:t>
          </a:r>
        </a:p>
      </dgm:t>
    </dgm:pt>
    <dgm:pt modelId="{626A54C2-B031-4FFD-AD8C-2E5012D6441E}" type="parTrans" cxnId="{F6395BC2-F1A4-4514-9152-3D3D4ED5C8CE}">
      <dgm:prSet/>
      <dgm:spPr/>
      <dgm:t>
        <a:bodyPr/>
        <a:lstStyle/>
        <a:p>
          <a:endParaRPr lang="fr-FR"/>
        </a:p>
      </dgm:t>
    </dgm:pt>
    <dgm:pt modelId="{0B14887F-FCD4-4020-86D3-EA00A78ADA75}" type="sibTrans" cxnId="{F6395BC2-F1A4-4514-9152-3D3D4ED5C8CE}">
      <dgm:prSet/>
      <dgm:spPr/>
      <dgm:t>
        <a:bodyPr/>
        <a:lstStyle/>
        <a:p>
          <a:endParaRPr lang="fr-FR"/>
        </a:p>
      </dgm:t>
    </dgm:pt>
    <dgm:pt modelId="{58DA1635-16FE-43A2-B803-59865403DD03}">
      <dgm:prSet phldrT="[Texte]"/>
      <dgm:spPr>
        <a:solidFill>
          <a:srgbClr val="44388A"/>
        </a:solidFill>
      </dgm:spPr>
      <dgm:t>
        <a:bodyPr/>
        <a:lstStyle/>
        <a:p>
          <a:r>
            <a:rPr lang="fr-FR">
              <a:solidFill>
                <a:schemeClr val="bg1"/>
              </a:solidFill>
            </a:rPr>
            <a:t>COMITÉ OPERATIONNEL DES FORMATIONS</a:t>
          </a:r>
        </a:p>
      </dgm:t>
    </dgm:pt>
    <dgm:pt modelId="{F7A91E19-B241-4CA5-A760-93CD4C8FED8B}" type="parTrans" cxnId="{22489B18-571B-4620-A29F-EEFF59AB8C04}">
      <dgm:prSet/>
      <dgm:spPr/>
      <dgm:t>
        <a:bodyPr/>
        <a:lstStyle/>
        <a:p>
          <a:endParaRPr lang="fr-FR"/>
        </a:p>
      </dgm:t>
    </dgm:pt>
    <dgm:pt modelId="{EF6C9B69-DDAE-4080-BDD9-697D3E2EDFDC}" type="sibTrans" cxnId="{22489B18-571B-4620-A29F-EEFF59AB8C04}">
      <dgm:prSet/>
      <dgm:spPr/>
      <dgm:t>
        <a:bodyPr/>
        <a:lstStyle/>
        <a:p>
          <a:endParaRPr lang="fr-FR"/>
        </a:p>
      </dgm:t>
    </dgm:pt>
    <dgm:pt modelId="{B0131A21-0911-4CC2-86E8-672E2BC7C0EA}">
      <dgm:prSet phldrT="[Texte]"/>
      <dgm:spPr>
        <a:solidFill>
          <a:srgbClr val="44388A"/>
        </a:solidFill>
      </dgm:spPr>
      <dgm:t>
        <a:bodyPr/>
        <a:lstStyle/>
        <a:p>
          <a:r>
            <a:rPr lang="fr-FR">
              <a:solidFill>
                <a:schemeClr val="bg1"/>
              </a:solidFill>
            </a:rPr>
            <a:t>COPROJ</a:t>
          </a:r>
        </a:p>
      </dgm:t>
    </dgm:pt>
    <dgm:pt modelId="{2BF77DAB-AC81-4B8E-B3E7-367A77D4F922}" type="parTrans" cxnId="{3B1DF917-BB2D-4E1A-917A-69DD1770E3B1}">
      <dgm:prSet/>
      <dgm:spPr/>
      <dgm:t>
        <a:bodyPr/>
        <a:lstStyle/>
        <a:p>
          <a:endParaRPr lang="fr-FR"/>
        </a:p>
      </dgm:t>
    </dgm:pt>
    <dgm:pt modelId="{48EF24E7-B2C6-4B41-A2C4-BD67BC7A51A4}" type="sibTrans" cxnId="{3B1DF917-BB2D-4E1A-917A-69DD1770E3B1}">
      <dgm:prSet/>
      <dgm:spPr/>
      <dgm:t>
        <a:bodyPr/>
        <a:lstStyle/>
        <a:p>
          <a:endParaRPr lang="fr-FR"/>
        </a:p>
      </dgm:t>
    </dgm:pt>
    <dgm:pt modelId="{AA50AEC2-1173-4BCE-987A-D14B189B60F1}" type="pres">
      <dgm:prSet presAssocID="{9ECC2693-29FC-473E-804A-D3501E3C92A5}" presName="Name0" presStyleCnt="0">
        <dgm:presLayoutVars>
          <dgm:dir/>
          <dgm:animLvl val="lvl"/>
          <dgm:resizeHandles val="exact"/>
        </dgm:presLayoutVars>
      </dgm:prSet>
      <dgm:spPr/>
    </dgm:pt>
    <dgm:pt modelId="{154FB3D2-571D-4788-BD59-F0371C011BDA}" type="pres">
      <dgm:prSet presAssocID="{94C5D6FE-20A5-407C-AFE0-C0ABD896175C}" presName="Name8" presStyleCnt="0"/>
      <dgm:spPr/>
    </dgm:pt>
    <dgm:pt modelId="{0869681B-AA1B-4713-A879-A03E24762343}" type="pres">
      <dgm:prSet presAssocID="{94C5D6FE-20A5-407C-AFE0-C0ABD896175C}" presName="level" presStyleLbl="node1" presStyleIdx="0" presStyleCnt="4" custScaleY="61036">
        <dgm:presLayoutVars>
          <dgm:chMax val="1"/>
          <dgm:bulletEnabled val="1"/>
        </dgm:presLayoutVars>
      </dgm:prSet>
      <dgm:spPr/>
    </dgm:pt>
    <dgm:pt modelId="{6B37388A-31B7-4AA8-85B4-EAAEBE5CEA70}" type="pres">
      <dgm:prSet presAssocID="{94C5D6FE-20A5-407C-AFE0-C0ABD896175C}" presName="levelTx" presStyleLbl="revTx" presStyleIdx="0" presStyleCnt="0">
        <dgm:presLayoutVars>
          <dgm:chMax val="1"/>
          <dgm:bulletEnabled val="1"/>
        </dgm:presLayoutVars>
      </dgm:prSet>
      <dgm:spPr/>
    </dgm:pt>
    <dgm:pt modelId="{19525C88-2827-4456-B0FD-39E9167A58CD}" type="pres">
      <dgm:prSet presAssocID="{B0131A21-0911-4CC2-86E8-672E2BC7C0EA}" presName="Name8" presStyleCnt="0"/>
      <dgm:spPr/>
    </dgm:pt>
    <dgm:pt modelId="{5296B695-3745-42DB-BB37-7879250A0C3F}" type="pres">
      <dgm:prSet presAssocID="{B0131A21-0911-4CC2-86E8-672E2BC7C0EA}" presName="level" presStyleLbl="node1" presStyleIdx="1" presStyleCnt="4" custScaleY="29912">
        <dgm:presLayoutVars>
          <dgm:chMax val="1"/>
          <dgm:bulletEnabled val="1"/>
        </dgm:presLayoutVars>
      </dgm:prSet>
      <dgm:spPr/>
    </dgm:pt>
    <dgm:pt modelId="{6850581F-1ADD-45CA-8518-9AA8F051C4AE}" type="pres">
      <dgm:prSet presAssocID="{B0131A21-0911-4CC2-86E8-672E2BC7C0EA}" presName="levelTx" presStyleLbl="revTx" presStyleIdx="0" presStyleCnt="0">
        <dgm:presLayoutVars>
          <dgm:chMax val="1"/>
          <dgm:bulletEnabled val="1"/>
        </dgm:presLayoutVars>
      </dgm:prSet>
      <dgm:spPr/>
    </dgm:pt>
    <dgm:pt modelId="{368182FB-66F8-469C-BE89-B14F47D01F04}" type="pres">
      <dgm:prSet presAssocID="{FB1B1AFC-2785-47FA-9A70-93E7091643DB}" presName="Name8" presStyleCnt="0"/>
      <dgm:spPr/>
    </dgm:pt>
    <dgm:pt modelId="{6211D416-7D33-4B0C-B8E4-D2D1AD47E636}" type="pres">
      <dgm:prSet presAssocID="{FB1B1AFC-2785-47FA-9A70-93E7091643DB}" presName="level" presStyleLbl="node1" presStyleIdx="2" presStyleCnt="4">
        <dgm:presLayoutVars>
          <dgm:chMax val="1"/>
          <dgm:bulletEnabled val="1"/>
        </dgm:presLayoutVars>
      </dgm:prSet>
      <dgm:spPr/>
    </dgm:pt>
    <dgm:pt modelId="{BB8C5CF6-964F-456F-A583-12BE3B97A4D8}" type="pres">
      <dgm:prSet presAssocID="{FB1B1AFC-2785-47FA-9A70-93E7091643DB}" presName="levelTx" presStyleLbl="revTx" presStyleIdx="0" presStyleCnt="0">
        <dgm:presLayoutVars>
          <dgm:chMax val="1"/>
          <dgm:bulletEnabled val="1"/>
        </dgm:presLayoutVars>
      </dgm:prSet>
      <dgm:spPr/>
    </dgm:pt>
    <dgm:pt modelId="{178DDA6D-18ED-48F8-A84F-1842C5943663}" type="pres">
      <dgm:prSet presAssocID="{58DA1635-16FE-43A2-B803-59865403DD03}" presName="Name8" presStyleCnt="0"/>
      <dgm:spPr/>
    </dgm:pt>
    <dgm:pt modelId="{F13EE039-8E5B-4217-81FD-07D366B31ECB}" type="pres">
      <dgm:prSet presAssocID="{58DA1635-16FE-43A2-B803-59865403DD03}" presName="level" presStyleLbl="node1" presStyleIdx="3" presStyleCnt="4">
        <dgm:presLayoutVars>
          <dgm:chMax val="1"/>
          <dgm:bulletEnabled val="1"/>
        </dgm:presLayoutVars>
      </dgm:prSet>
      <dgm:spPr/>
    </dgm:pt>
    <dgm:pt modelId="{9A88FF74-7BC4-4006-A283-9909E95383B7}" type="pres">
      <dgm:prSet presAssocID="{58DA1635-16FE-43A2-B803-59865403DD03}" presName="levelTx" presStyleLbl="revTx" presStyleIdx="0" presStyleCnt="0">
        <dgm:presLayoutVars>
          <dgm:chMax val="1"/>
          <dgm:bulletEnabled val="1"/>
        </dgm:presLayoutVars>
      </dgm:prSet>
      <dgm:spPr/>
    </dgm:pt>
  </dgm:ptLst>
  <dgm:cxnLst>
    <dgm:cxn modelId="{D5BA1703-907C-49FA-A142-EAA8515F918F}" type="presOf" srcId="{58DA1635-16FE-43A2-B803-59865403DD03}" destId="{9A88FF74-7BC4-4006-A283-9909E95383B7}" srcOrd="1" destOrd="0" presId="urn:microsoft.com/office/officeart/2005/8/layout/pyramid1"/>
    <dgm:cxn modelId="{7292CF16-2772-445B-8A22-A50B9EA40201}" type="presOf" srcId="{B0131A21-0911-4CC2-86E8-672E2BC7C0EA}" destId="{6850581F-1ADD-45CA-8518-9AA8F051C4AE}" srcOrd="1" destOrd="0" presId="urn:microsoft.com/office/officeart/2005/8/layout/pyramid1"/>
    <dgm:cxn modelId="{3B1DF917-BB2D-4E1A-917A-69DD1770E3B1}" srcId="{9ECC2693-29FC-473E-804A-D3501E3C92A5}" destId="{B0131A21-0911-4CC2-86E8-672E2BC7C0EA}" srcOrd="1" destOrd="0" parTransId="{2BF77DAB-AC81-4B8E-B3E7-367A77D4F922}" sibTransId="{48EF24E7-B2C6-4B41-A2C4-BD67BC7A51A4}"/>
    <dgm:cxn modelId="{22489B18-571B-4620-A29F-EEFF59AB8C04}" srcId="{9ECC2693-29FC-473E-804A-D3501E3C92A5}" destId="{58DA1635-16FE-43A2-B803-59865403DD03}" srcOrd="3" destOrd="0" parTransId="{F7A91E19-B241-4CA5-A760-93CD4C8FED8B}" sibTransId="{EF6C9B69-DDAE-4080-BDD9-697D3E2EDFDC}"/>
    <dgm:cxn modelId="{DCFECB39-9731-4D4B-BB4D-0C2EE50EFDD6}" type="presOf" srcId="{FB1B1AFC-2785-47FA-9A70-93E7091643DB}" destId="{6211D416-7D33-4B0C-B8E4-D2D1AD47E636}" srcOrd="0" destOrd="0" presId="urn:microsoft.com/office/officeart/2005/8/layout/pyramid1"/>
    <dgm:cxn modelId="{BEF9793A-6B30-4E81-A5AA-93035FE1AC5D}" type="presOf" srcId="{94C5D6FE-20A5-407C-AFE0-C0ABD896175C}" destId="{0869681B-AA1B-4713-A879-A03E24762343}" srcOrd="0" destOrd="0" presId="urn:microsoft.com/office/officeart/2005/8/layout/pyramid1"/>
    <dgm:cxn modelId="{6F28A748-7D62-464F-A04A-1E0EA4E3CAA3}" type="presOf" srcId="{9ECC2693-29FC-473E-804A-D3501E3C92A5}" destId="{AA50AEC2-1173-4BCE-987A-D14B189B60F1}" srcOrd="0" destOrd="0" presId="urn:microsoft.com/office/officeart/2005/8/layout/pyramid1"/>
    <dgm:cxn modelId="{17AA9258-FD98-4D51-A18B-2BEC466E48D8}" srcId="{9ECC2693-29FC-473E-804A-D3501E3C92A5}" destId="{94C5D6FE-20A5-407C-AFE0-C0ABD896175C}" srcOrd="0" destOrd="0" parTransId="{51C502F7-B805-40C2-97F3-8428FC116875}" sibTransId="{98B7C4EB-C745-472E-8A66-A05ECE0CD8B5}"/>
    <dgm:cxn modelId="{CBD3B381-3071-4636-8A64-549AC6AE4CF5}" type="presOf" srcId="{B0131A21-0911-4CC2-86E8-672E2BC7C0EA}" destId="{5296B695-3745-42DB-BB37-7879250A0C3F}" srcOrd="0" destOrd="0" presId="urn:microsoft.com/office/officeart/2005/8/layout/pyramid1"/>
    <dgm:cxn modelId="{A7A91099-47AA-4C87-9206-2CCD15C9BB72}" type="presOf" srcId="{58DA1635-16FE-43A2-B803-59865403DD03}" destId="{F13EE039-8E5B-4217-81FD-07D366B31ECB}" srcOrd="0" destOrd="0" presId="urn:microsoft.com/office/officeart/2005/8/layout/pyramid1"/>
    <dgm:cxn modelId="{0A288CAB-2BB2-452E-994B-447B9D917AF4}" type="presOf" srcId="{FB1B1AFC-2785-47FA-9A70-93E7091643DB}" destId="{BB8C5CF6-964F-456F-A583-12BE3B97A4D8}" srcOrd="1" destOrd="0" presId="urn:microsoft.com/office/officeart/2005/8/layout/pyramid1"/>
    <dgm:cxn modelId="{F6395BC2-F1A4-4514-9152-3D3D4ED5C8CE}" srcId="{9ECC2693-29FC-473E-804A-D3501E3C92A5}" destId="{FB1B1AFC-2785-47FA-9A70-93E7091643DB}" srcOrd="2" destOrd="0" parTransId="{626A54C2-B031-4FFD-AD8C-2E5012D6441E}" sibTransId="{0B14887F-FCD4-4020-86D3-EA00A78ADA75}"/>
    <dgm:cxn modelId="{2EABE9C5-47DA-4D88-A613-FE1BC9007629}" type="presOf" srcId="{94C5D6FE-20A5-407C-AFE0-C0ABD896175C}" destId="{6B37388A-31B7-4AA8-85B4-EAAEBE5CEA70}" srcOrd="1" destOrd="0" presId="urn:microsoft.com/office/officeart/2005/8/layout/pyramid1"/>
    <dgm:cxn modelId="{F305997C-1D9A-45A7-9377-47D1A6ABCC2D}" type="presParOf" srcId="{AA50AEC2-1173-4BCE-987A-D14B189B60F1}" destId="{154FB3D2-571D-4788-BD59-F0371C011BDA}" srcOrd="0" destOrd="0" presId="urn:microsoft.com/office/officeart/2005/8/layout/pyramid1"/>
    <dgm:cxn modelId="{FCF522C9-AB50-4368-B6A1-6DC684BBBF35}" type="presParOf" srcId="{154FB3D2-571D-4788-BD59-F0371C011BDA}" destId="{0869681B-AA1B-4713-A879-A03E24762343}" srcOrd="0" destOrd="0" presId="urn:microsoft.com/office/officeart/2005/8/layout/pyramid1"/>
    <dgm:cxn modelId="{10D91A4F-1914-4DCD-AB5B-86B93B88DE75}" type="presParOf" srcId="{154FB3D2-571D-4788-BD59-F0371C011BDA}" destId="{6B37388A-31B7-4AA8-85B4-EAAEBE5CEA70}" srcOrd="1" destOrd="0" presId="urn:microsoft.com/office/officeart/2005/8/layout/pyramid1"/>
    <dgm:cxn modelId="{E078B2BA-3B39-4AC3-99F0-43D4800569CC}" type="presParOf" srcId="{AA50AEC2-1173-4BCE-987A-D14B189B60F1}" destId="{19525C88-2827-4456-B0FD-39E9167A58CD}" srcOrd="1" destOrd="0" presId="urn:microsoft.com/office/officeart/2005/8/layout/pyramid1"/>
    <dgm:cxn modelId="{FF2ED6BD-47F6-422B-9E36-4F8ABC7B9316}" type="presParOf" srcId="{19525C88-2827-4456-B0FD-39E9167A58CD}" destId="{5296B695-3745-42DB-BB37-7879250A0C3F}" srcOrd="0" destOrd="0" presId="urn:microsoft.com/office/officeart/2005/8/layout/pyramid1"/>
    <dgm:cxn modelId="{F5AC4994-6769-4A80-A213-39D3BBF28B87}" type="presParOf" srcId="{19525C88-2827-4456-B0FD-39E9167A58CD}" destId="{6850581F-1ADD-45CA-8518-9AA8F051C4AE}" srcOrd="1" destOrd="0" presId="urn:microsoft.com/office/officeart/2005/8/layout/pyramid1"/>
    <dgm:cxn modelId="{352F71F6-5830-4D19-8F20-56E32879057C}" type="presParOf" srcId="{AA50AEC2-1173-4BCE-987A-D14B189B60F1}" destId="{368182FB-66F8-469C-BE89-B14F47D01F04}" srcOrd="2" destOrd="0" presId="urn:microsoft.com/office/officeart/2005/8/layout/pyramid1"/>
    <dgm:cxn modelId="{D634D479-E486-4357-AC1C-7E2D6AC58CD5}" type="presParOf" srcId="{368182FB-66F8-469C-BE89-B14F47D01F04}" destId="{6211D416-7D33-4B0C-B8E4-D2D1AD47E636}" srcOrd="0" destOrd="0" presId="urn:microsoft.com/office/officeart/2005/8/layout/pyramid1"/>
    <dgm:cxn modelId="{CC022003-614D-433B-8FB7-462AB1C517FB}" type="presParOf" srcId="{368182FB-66F8-469C-BE89-B14F47D01F04}" destId="{BB8C5CF6-964F-456F-A583-12BE3B97A4D8}" srcOrd="1" destOrd="0" presId="urn:microsoft.com/office/officeart/2005/8/layout/pyramid1"/>
    <dgm:cxn modelId="{AE932078-3551-4A7F-8C9E-CEE92CA7899A}" type="presParOf" srcId="{AA50AEC2-1173-4BCE-987A-D14B189B60F1}" destId="{178DDA6D-18ED-48F8-A84F-1842C5943663}" srcOrd="3" destOrd="0" presId="urn:microsoft.com/office/officeart/2005/8/layout/pyramid1"/>
    <dgm:cxn modelId="{0E3F09A7-120C-4E31-A937-FB58DBB2673D}" type="presParOf" srcId="{178DDA6D-18ED-48F8-A84F-1842C5943663}" destId="{F13EE039-8E5B-4217-81FD-07D366B31ECB}" srcOrd="0" destOrd="0" presId="urn:microsoft.com/office/officeart/2005/8/layout/pyramid1"/>
    <dgm:cxn modelId="{ACB1EC07-E6BF-4A2A-951D-E1F398FBBC18}" type="presParOf" srcId="{178DDA6D-18ED-48F8-A84F-1842C5943663}" destId="{9A88FF74-7BC4-4006-A283-9909E95383B7}"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81F002-A1C5-460F-AB90-718A4FCDFAEB}">
      <dsp:nvSpPr>
        <dsp:cNvPr id="0" name=""/>
        <dsp:cNvSpPr/>
      </dsp:nvSpPr>
      <dsp:spPr>
        <a:xfrm rot="5400000">
          <a:off x="1505914" y="730884"/>
          <a:ext cx="629127" cy="716239"/>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F38F462-FBB8-41BD-880E-F9D01209953C}">
      <dsp:nvSpPr>
        <dsp:cNvPr id="0" name=""/>
        <dsp:cNvSpPr/>
      </dsp:nvSpPr>
      <dsp:spPr>
        <a:xfrm>
          <a:off x="1339233" y="33483"/>
          <a:ext cx="1059080" cy="741322"/>
        </a:xfrm>
        <a:prstGeom prst="roundRect">
          <a:avLst>
            <a:gd name="adj" fmla="val 16670"/>
          </a:avLst>
        </a:prstGeom>
        <a:solidFill>
          <a:schemeClr val="bg2">
            <a:lumMod val="40000"/>
            <a:lumOff val="60000"/>
          </a:schemeClr>
        </a:solidFill>
        <a:ln w="127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25" tIns="91425" rIns="91425" bIns="91425" numCol="1" spcCol="1270" anchor="ctr" anchorCtr="0">
          <a:noAutofit/>
        </a:bodyPr>
        <a:lstStyle/>
        <a:p>
          <a:pPr marL="0" marR="0" lvl="0" indent="0" algn="ctr" defTabSz="466725" rtl="0">
            <a:lnSpc>
              <a:spcPct val="100000"/>
            </a:lnSpc>
            <a:spcBef>
              <a:spcPct val="0"/>
            </a:spcBef>
            <a:spcAft>
              <a:spcPts val="0"/>
            </a:spcAft>
            <a:buClr>
              <a:srgbClr val="000000"/>
            </a:buClr>
            <a:buFont typeface="Arial"/>
            <a:buNone/>
          </a:pPr>
          <a:r>
            <a:rPr lang="fr-FR" sz="1050" b="0" i="0" u="none" strike="noStrike" kern="1200" cap="none">
              <a:solidFill>
                <a:schemeClr val="bg1"/>
              </a:solidFill>
              <a:latin typeface="Arial"/>
              <a:ea typeface="Arial"/>
              <a:cs typeface="Arial"/>
              <a:sym typeface="Arial"/>
            </a:rPr>
            <a:t>Analyse de la demande*</a:t>
          </a:r>
          <a:endParaRPr lang="fr-FR" sz="1050" b="0" i="0" u="none" strike="noStrike" kern="1200" cap="none" dirty="0">
            <a:solidFill>
              <a:schemeClr val="bg1"/>
            </a:solidFill>
            <a:latin typeface="Arial"/>
            <a:ea typeface="Arial"/>
            <a:cs typeface="Arial"/>
            <a:sym typeface="Arial"/>
          </a:endParaRPr>
        </a:p>
      </dsp:txBody>
      <dsp:txXfrm>
        <a:off x="1375428" y="69678"/>
        <a:ext cx="986690" cy="668932"/>
      </dsp:txXfrm>
    </dsp:sp>
    <dsp:sp modelId="{6697B4F9-D0E5-4423-A187-BD32DFB0EBB2}">
      <dsp:nvSpPr>
        <dsp:cNvPr id="0" name=""/>
        <dsp:cNvSpPr/>
      </dsp:nvSpPr>
      <dsp:spPr>
        <a:xfrm>
          <a:off x="2398314" y="104185"/>
          <a:ext cx="770274" cy="599169"/>
        </a:xfrm>
        <a:prstGeom prst="rect">
          <a:avLst/>
        </a:prstGeom>
        <a:noFill/>
        <a:ln>
          <a:noFill/>
        </a:ln>
        <a:effectLst/>
      </dsp:spPr>
      <dsp:style>
        <a:lnRef idx="0">
          <a:scrgbClr r="0" g="0" b="0"/>
        </a:lnRef>
        <a:fillRef idx="0">
          <a:scrgbClr r="0" g="0" b="0"/>
        </a:fillRef>
        <a:effectRef idx="0">
          <a:scrgbClr r="0" g="0" b="0"/>
        </a:effectRef>
        <a:fontRef idx="minor"/>
      </dsp:style>
    </dsp:sp>
    <dsp:sp modelId="{42BFBC8E-8FD9-42A0-86CD-31CA1FEE36E5}">
      <dsp:nvSpPr>
        <dsp:cNvPr id="0" name=""/>
        <dsp:cNvSpPr/>
      </dsp:nvSpPr>
      <dsp:spPr>
        <a:xfrm rot="5400000">
          <a:off x="2384004" y="1563633"/>
          <a:ext cx="629127" cy="716239"/>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8D71EA-B188-4303-9BFF-5EF0ECB4349D}">
      <dsp:nvSpPr>
        <dsp:cNvPr id="0" name=""/>
        <dsp:cNvSpPr/>
      </dsp:nvSpPr>
      <dsp:spPr>
        <a:xfrm>
          <a:off x="2217324" y="866233"/>
          <a:ext cx="1059080" cy="741322"/>
        </a:xfrm>
        <a:prstGeom prst="roundRect">
          <a:avLst>
            <a:gd name="adj" fmla="val 16670"/>
          </a:avLst>
        </a:prstGeom>
        <a:solidFill>
          <a:schemeClr val="bg2">
            <a:lumMod val="60000"/>
            <a:lumOff val="40000"/>
          </a:schemeClr>
        </a:solidFill>
        <a:ln w="12700" cap="flat" cmpd="sng" algn="ctr">
          <a:solidFill>
            <a:schemeClr val="bg1"/>
          </a:solidFill>
          <a:prstDash val="solid"/>
          <a:round/>
          <a:headEnd type="none" w="sm" len="sm"/>
          <a:tailEnd type="none" w="sm" len="sm"/>
        </a:ln>
        <a:effectLst/>
      </dsp:spPr>
      <dsp:style>
        <a:lnRef idx="2">
          <a:scrgbClr r="0" g="0" b="0"/>
        </a:lnRef>
        <a:fillRef idx="1">
          <a:scrgbClr r="0" g="0" b="0"/>
        </a:fillRef>
        <a:effectRef idx="0">
          <a:scrgbClr r="0" g="0" b="0"/>
        </a:effectRef>
        <a:fontRef idx="minor">
          <a:schemeClr val="lt1"/>
        </a:fontRef>
      </dsp:style>
      <dsp:txBody>
        <a:bodyPr spcFirstLastPara="0" vert="horz" wrap="square" lIns="0" tIns="91425" rIns="0" bIns="91425" numCol="1" spcCol="1270" anchor="ctr" anchorCtr="0">
          <a:noAutofit/>
        </a:bodyPr>
        <a:lstStyle/>
        <a:p>
          <a:pPr marL="0" lvl="0" indent="0" algn="ctr" defTabSz="466725">
            <a:lnSpc>
              <a:spcPct val="90000"/>
            </a:lnSpc>
            <a:spcBef>
              <a:spcPct val="0"/>
            </a:spcBef>
            <a:spcAft>
              <a:spcPct val="35000"/>
            </a:spcAft>
            <a:buNone/>
          </a:pPr>
          <a:r>
            <a:rPr lang="fr-FR" sz="1050" kern="1200">
              <a:solidFill>
                <a:schemeClr val="bg1"/>
              </a:solidFill>
            </a:rPr>
            <a:t>Définition des objectifs </a:t>
          </a:r>
          <a:r>
            <a:rPr lang="fr-FR" sz="1050" b="0" i="0" u="none" strike="noStrike" kern="1200" cap="none">
              <a:solidFill>
                <a:schemeClr val="bg1"/>
              </a:solidFill>
              <a:latin typeface="Arial"/>
              <a:ea typeface="Arial"/>
              <a:cs typeface="Arial"/>
              <a:sym typeface="Arial"/>
            </a:rPr>
            <a:t>pédagogiques*</a:t>
          </a:r>
          <a:endParaRPr lang="fr-FR" sz="1050" b="0" i="0" u="none" strike="noStrike" kern="1200" cap="none" dirty="0">
            <a:solidFill>
              <a:schemeClr val="bg1"/>
            </a:solidFill>
            <a:latin typeface="Arial"/>
            <a:ea typeface="Arial"/>
            <a:cs typeface="Arial"/>
            <a:sym typeface="Arial"/>
          </a:endParaRPr>
        </a:p>
      </dsp:txBody>
      <dsp:txXfrm>
        <a:off x="2253519" y="902428"/>
        <a:ext cx="986690" cy="668932"/>
      </dsp:txXfrm>
    </dsp:sp>
    <dsp:sp modelId="{4D722B5A-988E-48EF-8C98-BE71F5E99009}">
      <dsp:nvSpPr>
        <dsp:cNvPr id="0" name=""/>
        <dsp:cNvSpPr/>
      </dsp:nvSpPr>
      <dsp:spPr>
        <a:xfrm>
          <a:off x="3276404" y="936934"/>
          <a:ext cx="770274" cy="599169"/>
        </a:xfrm>
        <a:prstGeom prst="rect">
          <a:avLst/>
        </a:prstGeom>
        <a:noFill/>
        <a:ln>
          <a:noFill/>
        </a:ln>
        <a:effectLst/>
      </dsp:spPr>
      <dsp:style>
        <a:lnRef idx="0">
          <a:scrgbClr r="0" g="0" b="0"/>
        </a:lnRef>
        <a:fillRef idx="0">
          <a:scrgbClr r="0" g="0" b="0"/>
        </a:fillRef>
        <a:effectRef idx="0">
          <a:scrgbClr r="0" g="0" b="0"/>
        </a:effectRef>
        <a:fontRef idx="minor"/>
      </dsp:style>
    </dsp:sp>
    <dsp:sp modelId="{A81A1A90-3FAA-4961-B32A-DB0D44491B30}">
      <dsp:nvSpPr>
        <dsp:cNvPr id="0" name=""/>
        <dsp:cNvSpPr/>
      </dsp:nvSpPr>
      <dsp:spPr>
        <a:xfrm rot="5400000">
          <a:off x="3262095" y="2396382"/>
          <a:ext cx="629127" cy="716239"/>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54CD726-CAEF-410F-86E2-319C4E8CCDDF}">
      <dsp:nvSpPr>
        <dsp:cNvPr id="0" name=""/>
        <dsp:cNvSpPr/>
      </dsp:nvSpPr>
      <dsp:spPr>
        <a:xfrm>
          <a:off x="3095414" y="1698982"/>
          <a:ext cx="1059080" cy="741322"/>
        </a:xfrm>
        <a:prstGeom prst="roundRect">
          <a:avLst>
            <a:gd name="adj" fmla="val 16670"/>
          </a:avLst>
        </a:prstGeom>
        <a:solidFill>
          <a:srgbClr val="44398A">
            <a:lumMod val="60000"/>
            <a:lumOff val="40000"/>
          </a:srgbClr>
        </a:solidFill>
        <a:ln w="12700" cap="flat" cmpd="sng" algn="ctr">
          <a:solidFill>
            <a:srgbClr val="FFFFFF"/>
          </a:solidFill>
          <a:prstDash val="solid"/>
          <a:round/>
          <a:headEnd type="none" w="sm" len="sm"/>
          <a:tailEnd type="none" w="sm" len="sm"/>
        </a:ln>
        <a:effectLst/>
      </dsp:spPr>
      <dsp:style>
        <a:lnRef idx="2">
          <a:scrgbClr r="0" g="0" b="0"/>
        </a:lnRef>
        <a:fillRef idx="1">
          <a:scrgbClr r="0" g="0" b="0"/>
        </a:fillRef>
        <a:effectRef idx="0">
          <a:scrgbClr r="0" g="0" b="0"/>
        </a:effectRef>
        <a:fontRef idx="minor">
          <a:schemeClr val="lt1"/>
        </a:fontRef>
      </dsp:style>
      <dsp:txBody>
        <a:bodyPr spcFirstLastPara="0" vert="horz" wrap="square" lIns="0" tIns="91425" rIns="0" bIns="91425" numCol="1" spcCol="1270" anchor="ctr" anchorCtr="0">
          <a:noAutofit/>
        </a:bodyPr>
        <a:lstStyle/>
        <a:p>
          <a:pPr marL="0" lvl="0" indent="0" algn="ctr" defTabSz="466725">
            <a:lnSpc>
              <a:spcPct val="90000"/>
            </a:lnSpc>
            <a:spcBef>
              <a:spcPct val="0"/>
            </a:spcBef>
            <a:spcAft>
              <a:spcPct val="35000"/>
            </a:spcAft>
            <a:buNone/>
          </a:pPr>
          <a:r>
            <a:rPr lang="fr-FR" sz="1050" kern="1200">
              <a:latin typeface="+mj-lt"/>
            </a:rPr>
            <a:t>Ingénierie </a:t>
          </a:r>
          <a:r>
            <a:rPr lang="fr-FR" sz="1050" kern="1200">
              <a:solidFill>
                <a:srgbClr val="FFFFFF"/>
              </a:solidFill>
              <a:latin typeface="+mj-lt"/>
              <a:ea typeface="+mn-ea"/>
              <a:cs typeface="+mn-cs"/>
            </a:rPr>
            <a:t>pédagogique*</a:t>
          </a:r>
          <a:endParaRPr lang="fr-FR" sz="1050" kern="1200" dirty="0">
            <a:solidFill>
              <a:srgbClr val="FFFFFF"/>
            </a:solidFill>
            <a:latin typeface="+mj-lt"/>
            <a:ea typeface="+mn-ea"/>
            <a:cs typeface="+mn-cs"/>
          </a:endParaRPr>
        </a:p>
      </dsp:txBody>
      <dsp:txXfrm>
        <a:off x="3131609" y="1735177"/>
        <a:ext cx="986690" cy="668932"/>
      </dsp:txXfrm>
    </dsp:sp>
    <dsp:sp modelId="{D997CF59-8283-4CA9-9AB3-1DAF5C958501}">
      <dsp:nvSpPr>
        <dsp:cNvPr id="0" name=""/>
        <dsp:cNvSpPr/>
      </dsp:nvSpPr>
      <dsp:spPr>
        <a:xfrm>
          <a:off x="4154495" y="1769684"/>
          <a:ext cx="770274" cy="599169"/>
        </a:xfrm>
        <a:prstGeom prst="rect">
          <a:avLst/>
        </a:prstGeom>
        <a:noFill/>
        <a:ln>
          <a:noFill/>
        </a:ln>
        <a:effectLst/>
      </dsp:spPr>
      <dsp:style>
        <a:lnRef idx="0">
          <a:scrgbClr r="0" g="0" b="0"/>
        </a:lnRef>
        <a:fillRef idx="0">
          <a:scrgbClr r="0" g="0" b="0"/>
        </a:fillRef>
        <a:effectRef idx="0">
          <a:scrgbClr r="0" g="0" b="0"/>
        </a:effectRef>
        <a:fontRef idx="minor"/>
      </dsp:style>
    </dsp:sp>
    <dsp:sp modelId="{A9A54554-51CE-4279-95A1-7D230F52967F}">
      <dsp:nvSpPr>
        <dsp:cNvPr id="0" name=""/>
        <dsp:cNvSpPr/>
      </dsp:nvSpPr>
      <dsp:spPr>
        <a:xfrm rot="5400000">
          <a:off x="4140185" y="3229132"/>
          <a:ext cx="629127" cy="716239"/>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E9B8CA9-E0CA-4801-B9A7-2E937C58C2A4}">
      <dsp:nvSpPr>
        <dsp:cNvPr id="0" name=""/>
        <dsp:cNvSpPr/>
      </dsp:nvSpPr>
      <dsp:spPr>
        <a:xfrm>
          <a:off x="3973504" y="2531731"/>
          <a:ext cx="1059080" cy="741322"/>
        </a:xfrm>
        <a:prstGeom prst="roundRect">
          <a:avLst>
            <a:gd name="adj" fmla="val 16670"/>
          </a:avLst>
        </a:prstGeom>
        <a:solidFill>
          <a:schemeClr val="bg2"/>
        </a:solidFill>
        <a:ln w="12700" cap="flat" cmpd="sng" algn="ctr">
          <a:solidFill>
            <a:schemeClr val="bg1"/>
          </a:solidFill>
          <a:prstDash val="solid"/>
          <a:round/>
          <a:headEnd type="none" w="sm" len="sm"/>
          <a:tailEnd type="none" w="sm" len="sm"/>
        </a:ln>
        <a:effectLst/>
      </dsp:spPr>
      <dsp:style>
        <a:lnRef idx="2">
          <a:scrgbClr r="0" g="0" b="0"/>
        </a:lnRef>
        <a:fillRef idx="1">
          <a:scrgbClr r="0" g="0" b="0"/>
        </a:fillRef>
        <a:effectRef idx="0">
          <a:scrgbClr r="0" g="0" b="0"/>
        </a:effectRef>
        <a:fontRef idx="minor">
          <a:schemeClr val="lt1"/>
        </a:fontRef>
      </dsp:style>
      <dsp:txBody>
        <a:bodyPr spcFirstLastPara="0" vert="horz" wrap="square" lIns="91425" tIns="91425" rIns="91425" bIns="91425" numCol="1" spcCol="1270" anchor="ctr" anchorCtr="0">
          <a:noAutofit/>
        </a:bodyPr>
        <a:lstStyle/>
        <a:p>
          <a:pPr marL="0" marR="0" lvl="0" indent="0" algn="ctr" defTabSz="466725" rtl="0">
            <a:lnSpc>
              <a:spcPct val="100000"/>
            </a:lnSpc>
            <a:spcBef>
              <a:spcPct val="0"/>
            </a:spcBef>
            <a:spcAft>
              <a:spcPts val="0"/>
            </a:spcAft>
            <a:buClr>
              <a:srgbClr val="000000"/>
            </a:buClr>
            <a:buFont typeface="Arial"/>
            <a:buNone/>
          </a:pPr>
          <a:r>
            <a:rPr lang="fr-FR" sz="1050" b="0" i="0" u="none" strike="noStrike" kern="1200" cap="none">
              <a:solidFill>
                <a:schemeClr val="bg1"/>
              </a:solidFill>
              <a:latin typeface="Arial"/>
              <a:ea typeface="Arial"/>
              <a:cs typeface="Arial"/>
              <a:sym typeface="Arial"/>
            </a:rPr>
            <a:t>Préparation, logistiques</a:t>
          </a:r>
          <a:endParaRPr lang="fr-FR" sz="1050" b="0" i="0" u="none" strike="noStrike" kern="1200" cap="none" dirty="0">
            <a:solidFill>
              <a:schemeClr val="bg1"/>
            </a:solidFill>
            <a:latin typeface="Arial"/>
            <a:ea typeface="Arial"/>
            <a:cs typeface="Arial"/>
            <a:sym typeface="Arial"/>
          </a:endParaRPr>
        </a:p>
      </dsp:txBody>
      <dsp:txXfrm>
        <a:off x="4009699" y="2567926"/>
        <a:ext cx="986690" cy="668932"/>
      </dsp:txXfrm>
    </dsp:sp>
    <dsp:sp modelId="{A1236D9D-5E48-4D81-B852-5FB9D54B0A85}">
      <dsp:nvSpPr>
        <dsp:cNvPr id="0" name=""/>
        <dsp:cNvSpPr/>
      </dsp:nvSpPr>
      <dsp:spPr>
        <a:xfrm>
          <a:off x="5032585" y="2602433"/>
          <a:ext cx="770274" cy="599169"/>
        </a:xfrm>
        <a:prstGeom prst="rect">
          <a:avLst/>
        </a:prstGeom>
        <a:noFill/>
        <a:ln>
          <a:noFill/>
        </a:ln>
        <a:effectLst/>
      </dsp:spPr>
      <dsp:style>
        <a:lnRef idx="0">
          <a:scrgbClr r="0" g="0" b="0"/>
        </a:lnRef>
        <a:fillRef idx="0">
          <a:scrgbClr r="0" g="0" b="0"/>
        </a:fillRef>
        <a:effectRef idx="0">
          <a:scrgbClr r="0" g="0" b="0"/>
        </a:effectRef>
        <a:fontRef idx="minor"/>
      </dsp:style>
    </dsp:sp>
    <dsp:sp modelId="{06809C90-3A95-483C-AB35-AF8200A6AA17}">
      <dsp:nvSpPr>
        <dsp:cNvPr id="0" name=""/>
        <dsp:cNvSpPr/>
      </dsp:nvSpPr>
      <dsp:spPr>
        <a:xfrm rot="5400000">
          <a:off x="5018275" y="4061881"/>
          <a:ext cx="629127" cy="716239"/>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75255DE-5FA4-47C5-BCCE-7263F9EEDFF7}">
      <dsp:nvSpPr>
        <dsp:cNvPr id="0" name=""/>
        <dsp:cNvSpPr/>
      </dsp:nvSpPr>
      <dsp:spPr>
        <a:xfrm>
          <a:off x="4851595" y="3364480"/>
          <a:ext cx="1059080" cy="741322"/>
        </a:xfrm>
        <a:prstGeom prst="roundRect">
          <a:avLst>
            <a:gd name="adj" fmla="val 16670"/>
          </a:avLst>
        </a:prstGeom>
        <a:solidFill>
          <a:srgbClr val="8479C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rtl="0">
            <a:lnSpc>
              <a:spcPct val="90000"/>
            </a:lnSpc>
            <a:spcBef>
              <a:spcPct val="0"/>
            </a:spcBef>
            <a:spcAft>
              <a:spcPct val="35000"/>
            </a:spcAft>
            <a:buNone/>
          </a:pPr>
          <a:r>
            <a:rPr lang="fr-FR" sz="1050" kern="1200">
              <a:latin typeface="Arial"/>
            </a:rPr>
            <a:t>Analyse des évaluations</a:t>
          </a:r>
          <a:endParaRPr lang="fr-FR" sz="1050" kern="1200" dirty="0"/>
        </a:p>
      </dsp:txBody>
      <dsp:txXfrm>
        <a:off x="4887790" y="3400675"/>
        <a:ext cx="986690" cy="668932"/>
      </dsp:txXfrm>
    </dsp:sp>
    <dsp:sp modelId="{A265426D-B46D-4C17-9972-B0AA3DAD92EF}">
      <dsp:nvSpPr>
        <dsp:cNvPr id="0" name=""/>
        <dsp:cNvSpPr/>
      </dsp:nvSpPr>
      <dsp:spPr>
        <a:xfrm>
          <a:off x="5910675" y="3435182"/>
          <a:ext cx="770274" cy="599169"/>
        </a:xfrm>
        <a:prstGeom prst="rect">
          <a:avLst/>
        </a:prstGeom>
        <a:noFill/>
        <a:ln>
          <a:noFill/>
        </a:ln>
        <a:effectLst/>
      </dsp:spPr>
      <dsp:style>
        <a:lnRef idx="0">
          <a:scrgbClr r="0" g="0" b="0"/>
        </a:lnRef>
        <a:fillRef idx="0">
          <a:scrgbClr r="0" g="0" b="0"/>
        </a:fillRef>
        <a:effectRef idx="0">
          <a:scrgbClr r="0" g="0" b="0"/>
        </a:effectRef>
        <a:fontRef idx="minor"/>
      </dsp:style>
    </dsp:sp>
    <dsp:sp modelId="{B27B5622-AEAC-44CD-89F2-DE47097B1C31}">
      <dsp:nvSpPr>
        <dsp:cNvPr id="0" name=""/>
        <dsp:cNvSpPr/>
      </dsp:nvSpPr>
      <dsp:spPr>
        <a:xfrm>
          <a:off x="5729685" y="4197230"/>
          <a:ext cx="1059080" cy="741322"/>
        </a:xfrm>
        <a:prstGeom prst="roundRect">
          <a:avLst>
            <a:gd name="adj" fmla="val 16670"/>
          </a:avLst>
        </a:prstGeom>
        <a:solidFill>
          <a:schemeClr val="bg2">
            <a:lumMod val="40000"/>
            <a:lumOff val="60000"/>
          </a:schemeClr>
        </a:solidFill>
        <a:ln w="127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25" tIns="91425" rIns="91425" bIns="91425" numCol="1" spcCol="1270" anchor="ctr" anchorCtr="0">
          <a:noAutofit/>
        </a:bodyPr>
        <a:lstStyle/>
        <a:p>
          <a:pPr marL="0" lvl="0" indent="0" algn="ctr" defTabSz="466725">
            <a:lnSpc>
              <a:spcPct val="90000"/>
            </a:lnSpc>
            <a:spcBef>
              <a:spcPct val="0"/>
            </a:spcBef>
            <a:spcAft>
              <a:spcPct val="35000"/>
            </a:spcAft>
            <a:buNone/>
          </a:pPr>
          <a:r>
            <a:rPr lang="fr-FR" sz="1050" kern="1200"/>
            <a:t>Mise à jour du plan de formation</a:t>
          </a:r>
          <a:endParaRPr lang="fr-FR" sz="1050" kern="1200" dirty="0"/>
        </a:p>
      </dsp:txBody>
      <dsp:txXfrm>
        <a:off x="5765880" y="4233425"/>
        <a:ext cx="986690" cy="66893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F241D7-43F2-44F5-8563-CBF0DCF30D2D}">
      <dsp:nvSpPr>
        <dsp:cNvPr id="0" name=""/>
        <dsp:cNvSpPr/>
      </dsp:nvSpPr>
      <dsp:spPr>
        <a:xfrm>
          <a:off x="736233" y="-37531"/>
          <a:ext cx="4208969" cy="4208969"/>
        </a:xfrm>
        <a:prstGeom prst="circularArrow">
          <a:avLst>
            <a:gd name="adj1" fmla="val 5544"/>
            <a:gd name="adj2" fmla="val 330680"/>
            <a:gd name="adj3" fmla="val 14669441"/>
            <a:gd name="adj4" fmla="val 16862795"/>
            <a:gd name="adj5" fmla="val 5757"/>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485881F-AB63-4CC3-9168-695CB649DD7C}">
      <dsp:nvSpPr>
        <dsp:cNvPr id="0" name=""/>
        <dsp:cNvSpPr/>
      </dsp:nvSpPr>
      <dsp:spPr>
        <a:xfrm>
          <a:off x="2257455" y="2121"/>
          <a:ext cx="1166525" cy="583262"/>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kern="1200">
              <a:latin typeface="Arial"/>
            </a:rPr>
            <a:t>Evaluation </a:t>
          </a:r>
          <a:r>
            <a:rPr lang="en-US" sz="1200" kern="1200" err="1">
              <a:latin typeface="Arial"/>
            </a:rPr>
            <a:t>avant</a:t>
          </a:r>
          <a:r>
            <a:rPr lang="en-US" sz="1200" kern="1200">
              <a:latin typeface="Arial"/>
            </a:rPr>
            <a:t> formation</a:t>
          </a:r>
          <a:endParaRPr lang="en-US" sz="1200" kern="1200"/>
        </a:p>
      </dsp:txBody>
      <dsp:txXfrm>
        <a:off x="2285928" y="30594"/>
        <a:ext cx="1109579" cy="526316"/>
      </dsp:txXfrm>
    </dsp:sp>
    <dsp:sp modelId="{3FC0A02A-7E7A-4FB5-B248-40CECBB6EE10}">
      <dsp:nvSpPr>
        <dsp:cNvPr id="0" name=""/>
        <dsp:cNvSpPr/>
      </dsp:nvSpPr>
      <dsp:spPr>
        <a:xfrm>
          <a:off x="3526619" y="527826"/>
          <a:ext cx="1166525" cy="583262"/>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kern="1200" err="1">
              <a:latin typeface="Arial"/>
            </a:rPr>
            <a:t>Liste</a:t>
          </a:r>
          <a:r>
            <a:rPr lang="en-US" sz="1200" kern="1200">
              <a:latin typeface="Arial"/>
            </a:rPr>
            <a:t> des </a:t>
          </a:r>
          <a:r>
            <a:rPr lang="en-US" sz="1200" kern="1200" err="1">
              <a:latin typeface="Arial"/>
            </a:rPr>
            <a:t>apprenants</a:t>
          </a:r>
          <a:endParaRPr lang="en-US" sz="1200" kern="1200" err="1"/>
        </a:p>
      </dsp:txBody>
      <dsp:txXfrm>
        <a:off x="3555092" y="556299"/>
        <a:ext cx="1109579" cy="526316"/>
      </dsp:txXfrm>
    </dsp:sp>
    <dsp:sp modelId="{3464DC64-D856-45F7-830A-17072196E7DE}">
      <dsp:nvSpPr>
        <dsp:cNvPr id="0" name=""/>
        <dsp:cNvSpPr/>
      </dsp:nvSpPr>
      <dsp:spPr>
        <a:xfrm>
          <a:off x="4052324" y="1796990"/>
          <a:ext cx="1166525" cy="583262"/>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latin typeface="Arial"/>
            </a:rPr>
            <a:t>Programmes</a:t>
          </a:r>
          <a:endParaRPr lang="en-US" sz="1200" kern="1200"/>
        </a:p>
      </dsp:txBody>
      <dsp:txXfrm>
        <a:off x="4080797" y="1825463"/>
        <a:ext cx="1109579" cy="526316"/>
      </dsp:txXfrm>
    </dsp:sp>
    <dsp:sp modelId="{6210FEF3-072C-416A-9DD1-E7BDE4F3AF39}">
      <dsp:nvSpPr>
        <dsp:cNvPr id="0" name=""/>
        <dsp:cNvSpPr/>
      </dsp:nvSpPr>
      <dsp:spPr>
        <a:xfrm>
          <a:off x="3526619" y="3066155"/>
          <a:ext cx="1166525" cy="583262"/>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latin typeface="Arial"/>
            </a:rPr>
            <a:t>Conventions</a:t>
          </a:r>
          <a:endParaRPr lang="en-US" sz="1200" kern="1200"/>
        </a:p>
      </dsp:txBody>
      <dsp:txXfrm>
        <a:off x="3555092" y="3094628"/>
        <a:ext cx="1109579" cy="526316"/>
      </dsp:txXfrm>
    </dsp:sp>
    <dsp:sp modelId="{03284A7B-42CF-4C32-AC9F-5C8FEBAA9A04}">
      <dsp:nvSpPr>
        <dsp:cNvPr id="0" name=""/>
        <dsp:cNvSpPr/>
      </dsp:nvSpPr>
      <dsp:spPr>
        <a:xfrm>
          <a:off x="2257455" y="3591860"/>
          <a:ext cx="1166525" cy="583262"/>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latin typeface="Arial"/>
            </a:rPr>
            <a:t>Convocations</a:t>
          </a:r>
          <a:endParaRPr lang="en-US" sz="1200" kern="1200"/>
        </a:p>
      </dsp:txBody>
      <dsp:txXfrm>
        <a:off x="2285928" y="3620333"/>
        <a:ext cx="1109579" cy="526316"/>
      </dsp:txXfrm>
    </dsp:sp>
    <dsp:sp modelId="{D846B1F5-0FEC-49E7-A983-5AF7DDC8B655}">
      <dsp:nvSpPr>
        <dsp:cNvPr id="0" name=""/>
        <dsp:cNvSpPr/>
      </dsp:nvSpPr>
      <dsp:spPr>
        <a:xfrm>
          <a:off x="988290" y="3066155"/>
          <a:ext cx="1166525" cy="583262"/>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kern="1200" err="1">
              <a:latin typeface="Arial"/>
            </a:rPr>
            <a:t>Emargements</a:t>
          </a:r>
          <a:endParaRPr lang="en-US" sz="1200" kern="1200">
            <a:latin typeface="Arial"/>
          </a:endParaRPr>
        </a:p>
      </dsp:txBody>
      <dsp:txXfrm>
        <a:off x="1016763" y="3094628"/>
        <a:ext cx="1109579" cy="526316"/>
      </dsp:txXfrm>
    </dsp:sp>
    <dsp:sp modelId="{FEE7F679-A353-4CBF-88B0-74AA67FEA3CA}">
      <dsp:nvSpPr>
        <dsp:cNvPr id="0" name=""/>
        <dsp:cNvSpPr/>
      </dsp:nvSpPr>
      <dsp:spPr>
        <a:xfrm>
          <a:off x="462585" y="1796990"/>
          <a:ext cx="1166525" cy="583262"/>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kern="1200">
              <a:latin typeface="Arial"/>
            </a:rPr>
            <a:t>Evaluations à </a:t>
          </a:r>
          <a:r>
            <a:rPr lang="en-US" sz="1200" kern="1200" err="1">
              <a:latin typeface="Arial"/>
            </a:rPr>
            <a:t>chaud</a:t>
          </a:r>
          <a:r>
            <a:rPr lang="en-US" sz="1200" kern="1200">
              <a:latin typeface="Arial"/>
            </a:rPr>
            <a:t> et à froid</a:t>
          </a:r>
        </a:p>
      </dsp:txBody>
      <dsp:txXfrm>
        <a:off x="491058" y="1825463"/>
        <a:ext cx="1109579" cy="526316"/>
      </dsp:txXfrm>
    </dsp:sp>
    <dsp:sp modelId="{7C74D3DE-1A83-46D0-87EA-25ECE23C6B61}">
      <dsp:nvSpPr>
        <dsp:cNvPr id="0" name=""/>
        <dsp:cNvSpPr/>
      </dsp:nvSpPr>
      <dsp:spPr>
        <a:xfrm>
          <a:off x="988290" y="527826"/>
          <a:ext cx="1166525" cy="583262"/>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kern="1200">
              <a:latin typeface="Arial"/>
            </a:rPr>
            <a:t>Suivi des </a:t>
          </a:r>
          <a:r>
            <a:rPr lang="en-US" sz="1200" kern="1200" err="1">
              <a:latin typeface="Arial"/>
            </a:rPr>
            <a:t>apprenants</a:t>
          </a:r>
          <a:endParaRPr lang="en-US" sz="1200" kern="1200"/>
        </a:p>
      </dsp:txBody>
      <dsp:txXfrm>
        <a:off x="1016763" y="556299"/>
        <a:ext cx="1109579" cy="52631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69681B-AA1B-4713-A879-A03E24762343}">
      <dsp:nvSpPr>
        <dsp:cNvPr id="0" name=""/>
        <dsp:cNvSpPr/>
      </dsp:nvSpPr>
      <dsp:spPr>
        <a:xfrm>
          <a:off x="1171164" y="0"/>
          <a:ext cx="621830" cy="824996"/>
        </a:xfrm>
        <a:prstGeom prst="trapezoid">
          <a:avLst>
            <a:gd name="adj" fmla="val 50000"/>
          </a:avLst>
        </a:prstGeom>
        <a:solidFill>
          <a:srgbClr val="44388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fr-FR" sz="1200" kern="1200">
            <a:solidFill>
              <a:schemeClr val="bg1"/>
            </a:solidFill>
          </a:endParaRPr>
        </a:p>
        <a:p>
          <a:pPr marL="0" lvl="0" indent="0" algn="ctr" defTabSz="533400">
            <a:lnSpc>
              <a:spcPct val="90000"/>
            </a:lnSpc>
            <a:spcBef>
              <a:spcPct val="0"/>
            </a:spcBef>
            <a:spcAft>
              <a:spcPct val="35000"/>
            </a:spcAft>
            <a:buNone/>
          </a:pPr>
          <a:endParaRPr lang="fr-FR" sz="1200" kern="1200">
            <a:solidFill>
              <a:schemeClr val="bg1"/>
            </a:solidFill>
          </a:endParaRPr>
        </a:p>
        <a:p>
          <a:pPr marL="0" lvl="0" indent="0" algn="ctr" defTabSz="533400">
            <a:lnSpc>
              <a:spcPct val="90000"/>
            </a:lnSpc>
            <a:spcBef>
              <a:spcPct val="0"/>
            </a:spcBef>
            <a:spcAft>
              <a:spcPct val="35000"/>
            </a:spcAft>
            <a:buNone/>
          </a:pPr>
          <a:r>
            <a:rPr lang="fr-FR" sz="1200" kern="1200">
              <a:solidFill>
                <a:schemeClr val="bg1"/>
              </a:solidFill>
            </a:rPr>
            <a:t>COPIL</a:t>
          </a:r>
        </a:p>
      </dsp:txBody>
      <dsp:txXfrm>
        <a:off x="1171164" y="0"/>
        <a:ext cx="621830" cy="824996"/>
      </dsp:txXfrm>
    </dsp:sp>
    <dsp:sp modelId="{5296B695-3745-42DB-BB37-7879250A0C3F}">
      <dsp:nvSpPr>
        <dsp:cNvPr id="0" name=""/>
        <dsp:cNvSpPr/>
      </dsp:nvSpPr>
      <dsp:spPr>
        <a:xfrm>
          <a:off x="1018793" y="824996"/>
          <a:ext cx="926572" cy="404307"/>
        </a:xfrm>
        <a:prstGeom prst="trapezoid">
          <a:avLst>
            <a:gd name="adj" fmla="val 37687"/>
          </a:avLst>
        </a:prstGeom>
        <a:solidFill>
          <a:srgbClr val="44388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fr-FR" sz="1000" kern="1200">
              <a:solidFill>
                <a:schemeClr val="bg1"/>
              </a:solidFill>
            </a:rPr>
            <a:t>COPROJ</a:t>
          </a:r>
        </a:p>
      </dsp:txBody>
      <dsp:txXfrm>
        <a:off x="1180943" y="824996"/>
        <a:ext cx="602272" cy="404307"/>
      </dsp:txXfrm>
    </dsp:sp>
    <dsp:sp modelId="{6211D416-7D33-4B0C-B8E4-D2D1AD47E636}">
      <dsp:nvSpPr>
        <dsp:cNvPr id="0" name=""/>
        <dsp:cNvSpPr/>
      </dsp:nvSpPr>
      <dsp:spPr>
        <a:xfrm>
          <a:off x="509396" y="1229303"/>
          <a:ext cx="1945366" cy="1351655"/>
        </a:xfrm>
        <a:prstGeom prst="trapezoid">
          <a:avLst>
            <a:gd name="adj" fmla="val 37687"/>
          </a:avLst>
        </a:prstGeom>
        <a:solidFill>
          <a:schemeClr val="bg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fr-FR" sz="1000" kern="1200">
              <a:solidFill>
                <a:schemeClr val="bg1"/>
              </a:solidFill>
            </a:rPr>
            <a:t>COMITÉ CHANTIER FORMATION</a:t>
          </a:r>
        </a:p>
      </dsp:txBody>
      <dsp:txXfrm>
        <a:off x="849835" y="1229303"/>
        <a:ext cx="1264488" cy="1351655"/>
      </dsp:txXfrm>
    </dsp:sp>
    <dsp:sp modelId="{F13EE039-8E5B-4217-81FD-07D366B31ECB}">
      <dsp:nvSpPr>
        <dsp:cNvPr id="0" name=""/>
        <dsp:cNvSpPr/>
      </dsp:nvSpPr>
      <dsp:spPr>
        <a:xfrm>
          <a:off x="0" y="2580958"/>
          <a:ext cx="2964159" cy="1351655"/>
        </a:xfrm>
        <a:prstGeom prst="trapezoid">
          <a:avLst>
            <a:gd name="adj" fmla="val 37687"/>
          </a:avLst>
        </a:prstGeom>
        <a:solidFill>
          <a:srgbClr val="44388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fr-FR" sz="1000" kern="1200">
              <a:solidFill>
                <a:schemeClr val="bg1"/>
              </a:solidFill>
            </a:rPr>
            <a:t>COMITÉ OPERATIONNEL DES FORMATIONS</a:t>
          </a:r>
        </a:p>
      </dsp:txBody>
      <dsp:txXfrm>
        <a:off x="518727" y="2580958"/>
        <a:ext cx="1926704" cy="1351655"/>
      </dsp:txXfrm>
    </dsp:sp>
  </dsp:spTree>
</dsp:drawing>
</file>

<file path=ppt/diagrams/layout1.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F2930E6A-AEEB-46F7-80D3-EA733FC26146}"/>
              </a:ext>
            </a:extLst>
          </p:cNvPr>
          <p:cNvSpPr>
            <a:spLocks noGrp="1"/>
          </p:cNvSpPr>
          <p:nvPr>
            <p:ph type="hdr" sz="quarter"/>
          </p:nvPr>
        </p:nvSpPr>
        <p:spPr>
          <a:xfrm>
            <a:off x="0" y="0"/>
            <a:ext cx="2946347" cy="498215"/>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D96BD3E8-86F8-4AA8-ADA6-EEB2AFE4D3F4}"/>
              </a:ext>
            </a:extLst>
          </p:cNvPr>
          <p:cNvSpPr>
            <a:spLocks noGrp="1"/>
          </p:cNvSpPr>
          <p:nvPr>
            <p:ph type="dt" sz="quarter" idx="1"/>
          </p:nvPr>
        </p:nvSpPr>
        <p:spPr>
          <a:xfrm>
            <a:off x="3851342" y="0"/>
            <a:ext cx="2946347" cy="498215"/>
          </a:xfrm>
          <a:prstGeom prst="rect">
            <a:avLst/>
          </a:prstGeom>
        </p:spPr>
        <p:txBody>
          <a:bodyPr vert="horz" lIns="91440" tIns="45720" rIns="91440" bIns="45720" rtlCol="0"/>
          <a:lstStyle>
            <a:lvl1pPr algn="r">
              <a:defRPr sz="1200"/>
            </a:lvl1pPr>
          </a:lstStyle>
          <a:p>
            <a:fld id="{1477176F-6AD1-40E4-946A-DDAA5E4CF578}" type="datetimeFigureOut">
              <a:rPr lang="fr-FR" smtClean="0"/>
              <a:t>20/03/2023</a:t>
            </a:fld>
            <a:endParaRPr lang="fr-FR"/>
          </a:p>
        </p:txBody>
      </p:sp>
      <p:sp>
        <p:nvSpPr>
          <p:cNvPr id="4" name="Espace réservé du pied de page 3">
            <a:extLst>
              <a:ext uri="{FF2B5EF4-FFF2-40B4-BE49-F238E27FC236}">
                <a16:creationId xmlns:a16="http://schemas.microsoft.com/office/drawing/2014/main" id="{BF20E8ED-7232-426D-B652-D158410BC4B5}"/>
              </a:ext>
            </a:extLst>
          </p:cNvPr>
          <p:cNvSpPr>
            <a:spLocks noGrp="1"/>
          </p:cNvSpPr>
          <p:nvPr>
            <p:ph type="ftr" sz="quarter" idx="2"/>
          </p:nvPr>
        </p:nvSpPr>
        <p:spPr>
          <a:xfrm>
            <a:off x="0" y="9431600"/>
            <a:ext cx="2946347" cy="498214"/>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E211BF23-1690-429B-8FB5-60775064DF94}"/>
              </a:ext>
            </a:extLst>
          </p:cNvPr>
          <p:cNvSpPr>
            <a:spLocks noGrp="1"/>
          </p:cNvSpPr>
          <p:nvPr>
            <p:ph type="sldNum" sz="quarter" idx="3"/>
          </p:nvPr>
        </p:nvSpPr>
        <p:spPr>
          <a:xfrm>
            <a:off x="3851342" y="9431600"/>
            <a:ext cx="2946347" cy="498214"/>
          </a:xfrm>
          <a:prstGeom prst="rect">
            <a:avLst/>
          </a:prstGeom>
        </p:spPr>
        <p:txBody>
          <a:bodyPr vert="horz" lIns="91440" tIns="45720" rIns="91440" bIns="45720" rtlCol="0" anchor="b"/>
          <a:lstStyle>
            <a:lvl1pPr algn="r">
              <a:defRPr sz="1200"/>
            </a:lvl1pPr>
          </a:lstStyle>
          <a:p>
            <a:fld id="{A3208220-8061-4C1E-A9DE-27949C6CD1F7}" type="slidenum">
              <a:rPr lang="fr-FR" smtClean="0"/>
              <a:t>‹N°›</a:t>
            </a:fld>
            <a:endParaRPr lang="fr-FR"/>
          </a:p>
        </p:txBody>
      </p:sp>
    </p:spTree>
    <p:extLst>
      <p:ext uri="{BB962C8B-B14F-4D97-AF65-F5344CB8AC3E}">
        <p14:creationId xmlns:p14="http://schemas.microsoft.com/office/powerpoint/2010/main" val="542928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46347" cy="49821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51342" y="0"/>
            <a:ext cx="2946347" cy="498215"/>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422275" y="1241425"/>
            <a:ext cx="5954713" cy="33512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79927" y="4778722"/>
            <a:ext cx="5439410" cy="3909864"/>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9431600"/>
            <a:ext cx="2946347" cy="498214"/>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51342" y="9431600"/>
            <a:ext cx="2946347" cy="498214"/>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63200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228600" indent="0">
              <a:buFontTx/>
              <a:buNone/>
            </a:pPr>
            <a:r>
              <a:rPr lang="fr-FR"/>
              <a:t>Re</a:t>
            </a: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535852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228600" indent="0">
              <a:buFontTx/>
              <a:buNone/>
            </a:pPr>
            <a:r>
              <a:rPr lang="fr-FR"/>
              <a:t>Modifier pour que ça ne ressemble pas trop à la </a:t>
            </a:r>
            <a:r>
              <a:rPr lang="fr-FR" err="1"/>
              <a:t>déma</a:t>
            </a:r>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27906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buFontTx/>
              <a:buChar char="-"/>
            </a:pPr>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834065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1"/>
        <p:cNvGrpSpPr/>
        <p:nvPr/>
      </p:nvGrpSpPr>
      <p:grpSpPr>
        <a:xfrm>
          <a:off x="0" y="0"/>
          <a:ext cx="0" cy="0"/>
          <a:chOff x="0" y="0"/>
          <a:chExt cx="0" cy="0"/>
        </a:xfrm>
      </p:grpSpPr>
      <p:sp>
        <p:nvSpPr>
          <p:cNvPr id="2492" name="Google Shape;2492;p16: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93" name="Google Shape;2493;p16:notes"/>
          <p:cNvSpPr txBox="1">
            <a:spLocks noGrp="1"/>
          </p:cNvSpPr>
          <p:nvPr>
            <p:ph type="body" idx="1"/>
          </p:nvPr>
        </p:nvSpPr>
        <p:spPr>
          <a:xfrm>
            <a:off x="673101" y="4748215"/>
            <a:ext cx="5389563" cy="3884612"/>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a:p>
        </p:txBody>
      </p:sp>
      <p:sp>
        <p:nvSpPr>
          <p:cNvPr id="2494" name="Google Shape;2494;p16:notes"/>
          <p:cNvSpPr txBox="1">
            <a:spLocks noGrp="1"/>
          </p:cNvSpPr>
          <p:nvPr>
            <p:ph type="sldNum" idx="12"/>
          </p:nvPr>
        </p:nvSpPr>
        <p:spPr>
          <a:xfrm>
            <a:off x="3814763" y="9371014"/>
            <a:ext cx="2919412" cy="4953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400"/>
              <a:buFont typeface="Calibri"/>
              <a:buNone/>
            </a:pPr>
            <a:fld id="{00000000-1234-1234-1234-123412341234}" type="slidenum">
              <a:rPr lang="fr-FR" sz="1400" b="0" i="0" u="none" strike="noStrike" cap="none">
                <a:solidFill>
                  <a:srgbClr val="000000"/>
                </a:solidFill>
                <a:latin typeface="Arial"/>
                <a:ea typeface="Arial"/>
                <a:cs typeface="Arial"/>
                <a:sym typeface="Arial"/>
              </a:rPr>
              <a:t>30</a:t>
            </a:fld>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5204539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1"/>
        <p:cNvGrpSpPr/>
        <p:nvPr/>
      </p:nvGrpSpPr>
      <p:grpSpPr>
        <a:xfrm>
          <a:off x="0" y="0"/>
          <a:ext cx="0" cy="0"/>
          <a:chOff x="0" y="0"/>
          <a:chExt cx="0" cy="0"/>
        </a:xfrm>
      </p:grpSpPr>
      <p:sp>
        <p:nvSpPr>
          <p:cNvPr id="2492" name="Google Shape;2492;p16: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93" name="Google Shape;2493;p16:notes"/>
          <p:cNvSpPr txBox="1">
            <a:spLocks noGrp="1"/>
          </p:cNvSpPr>
          <p:nvPr>
            <p:ph type="body" idx="1"/>
          </p:nvPr>
        </p:nvSpPr>
        <p:spPr>
          <a:xfrm>
            <a:off x="673101" y="4748215"/>
            <a:ext cx="5389563" cy="3884612"/>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a:p>
        </p:txBody>
      </p:sp>
      <p:sp>
        <p:nvSpPr>
          <p:cNvPr id="2494" name="Google Shape;2494;p16:notes"/>
          <p:cNvSpPr txBox="1">
            <a:spLocks noGrp="1"/>
          </p:cNvSpPr>
          <p:nvPr>
            <p:ph type="sldNum" idx="12"/>
          </p:nvPr>
        </p:nvSpPr>
        <p:spPr>
          <a:xfrm>
            <a:off x="3814763" y="9371014"/>
            <a:ext cx="2919412" cy="4953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400"/>
              <a:buFont typeface="Calibri"/>
              <a:buNone/>
            </a:pPr>
            <a:fld id="{00000000-1234-1234-1234-123412341234}" type="slidenum">
              <a:rPr lang="fr-FR" sz="1400" b="0" i="0" u="none" strike="noStrike" cap="none">
                <a:solidFill>
                  <a:srgbClr val="000000"/>
                </a:solidFill>
                <a:latin typeface="Arial"/>
                <a:ea typeface="Arial"/>
                <a:cs typeface="Arial"/>
                <a:sym typeface="Arial"/>
              </a:rPr>
              <a:t>31</a:t>
            </a:fld>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2872053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1"/>
        <p:cNvGrpSpPr/>
        <p:nvPr/>
      </p:nvGrpSpPr>
      <p:grpSpPr>
        <a:xfrm>
          <a:off x="0" y="0"/>
          <a:ext cx="0" cy="0"/>
          <a:chOff x="0" y="0"/>
          <a:chExt cx="0" cy="0"/>
        </a:xfrm>
      </p:grpSpPr>
      <p:sp>
        <p:nvSpPr>
          <p:cNvPr id="2492" name="Google Shape;2492;p16: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93" name="Google Shape;2493;p16:notes"/>
          <p:cNvSpPr txBox="1">
            <a:spLocks noGrp="1"/>
          </p:cNvSpPr>
          <p:nvPr>
            <p:ph type="body" idx="1"/>
          </p:nvPr>
        </p:nvSpPr>
        <p:spPr>
          <a:xfrm>
            <a:off x="673101" y="4748215"/>
            <a:ext cx="5389563" cy="3884612"/>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a:p>
        </p:txBody>
      </p:sp>
      <p:sp>
        <p:nvSpPr>
          <p:cNvPr id="2494" name="Google Shape;2494;p16:notes"/>
          <p:cNvSpPr txBox="1">
            <a:spLocks noGrp="1"/>
          </p:cNvSpPr>
          <p:nvPr>
            <p:ph type="sldNum" idx="12"/>
          </p:nvPr>
        </p:nvSpPr>
        <p:spPr>
          <a:xfrm>
            <a:off x="3814763" y="9371014"/>
            <a:ext cx="2919412" cy="4953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400"/>
              <a:buFont typeface="Calibri"/>
              <a:buNone/>
            </a:pPr>
            <a:fld id="{00000000-1234-1234-1234-123412341234}" type="slidenum">
              <a:rPr lang="fr-FR" sz="1400" b="0" i="0" u="none" strike="noStrike" cap="none">
                <a:solidFill>
                  <a:srgbClr val="000000"/>
                </a:solidFill>
                <a:latin typeface="Arial"/>
                <a:ea typeface="Arial"/>
                <a:cs typeface="Arial"/>
                <a:sym typeface="Arial"/>
              </a:rPr>
              <a:t>32</a:t>
            </a:fld>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8824478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488" y="744538"/>
            <a:ext cx="6618287" cy="3724275"/>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AA9425-1A89-4836-950A-30043975CF0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874146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00295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8604652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719405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14512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938974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07428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Reprendre les réf cochées Lot 2</a:t>
            </a:r>
          </a:p>
          <a:p>
            <a:r>
              <a:rPr lang="fr-FR"/>
              <a:t>Insérer des réf plus précises sur le PMO et plus précisément le PMO (ajouter la fiche référence NET)</a:t>
            </a:r>
          </a:p>
          <a:p>
            <a:r>
              <a:rPr lang="fr-FR"/>
              <a:t>Cf dans références du PMO Progrès</a:t>
            </a:r>
          </a:p>
          <a:p>
            <a:r>
              <a:rPr lang="fr-FR"/>
              <a:t>Repartir du </a:t>
            </a:r>
            <a:r>
              <a:rPr lang="fr-FR" err="1"/>
              <a:t>template</a:t>
            </a:r>
            <a:r>
              <a:rPr lang="fr-FR"/>
              <a:t> de ces </a:t>
            </a:r>
            <a:r>
              <a:rPr lang="fr-FR" err="1"/>
              <a:t>ref</a:t>
            </a:r>
            <a:r>
              <a:rPr lang="fr-FR"/>
              <a:t> pour faire la </a:t>
            </a:r>
            <a:r>
              <a:rPr lang="fr-FR" err="1"/>
              <a:t>ref</a:t>
            </a:r>
            <a:r>
              <a:rPr lang="fr-FR"/>
              <a:t> de NET</a:t>
            </a: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95170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A44053B5-2C8B-4120-B91D-9DBB2A5E4B06}" type="slidenum">
              <a:rPr lang="fr-FR" smtClean="0"/>
              <a:t>21</a:t>
            </a:fld>
            <a:endParaRPr lang="fr-FR"/>
          </a:p>
        </p:txBody>
      </p:sp>
    </p:spTree>
    <p:extLst>
      <p:ext uri="{BB962C8B-B14F-4D97-AF65-F5344CB8AC3E}">
        <p14:creationId xmlns:p14="http://schemas.microsoft.com/office/powerpoint/2010/main" val="191394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371374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buFontTx/>
              <a:buChar char="-"/>
            </a:pPr>
            <a:r>
              <a:rPr lang="fr-FR"/>
              <a:t>En même temps qu’on préparer la formation, il y a un go </a:t>
            </a:r>
            <a:r>
              <a:rPr lang="fr-FR" err="1"/>
              <a:t>between</a:t>
            </a:r>
            <a:r>
              <a:rPr lang="fr-FR"/>
              <a:t> entre </a:t>
            </a:r>
          </a:p>
          <a:p>
            <a:pPr>
              <a:buFontTx/>
              <a:buChar char="-"/>
            </a:pPr>
            <a:r>
              <a:rPr lang="fr-FR"/>
              <a:t>Processus d’identification pour nourrir le processus de </a:t>
            </a:r>
            <a:r>
              <a:rPr lang="fr-FR" err="1"/>
              <a:t>résolutione</a:t>
            </a:r>
            <a:r>
              <a:rPr lang="fr-FR"/>
              <a:t> t de prise de décisions.</a:t>
            </a: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956488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buFontTx/>
              <a:buChar char="-"/>
            </a:pPr>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616125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228600" indent="0">
              <a:buFontTx/>
              <a:buNone/>
            </a:pPr>
            <a:r>
              <a:rPr lang="fr-FR"/>
              <a:t>Re</a:t>
            </a: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605933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228600" indent="0">
              <a:buFontTx/>
              <a:buNone/>
            </a:pPr>
            <a:r>
              <a:rPr lang="fr-FR"/>
              <a:t>Re</a:t>
            </a: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166791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3.emf"/><Relationship Id="rId4" Type="http://schemas.openxmlformats.org/officeDocument/2006/relationships/oleObject" Target="../embeddings/oleObject3.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3.emf"/><Relationship Id="rId4" Type="http://schemas.openxmlformats.org/officeDocument/2006/relationships/oleObject" Target="../embeddings/oleObject5.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3.emf"/><Relationship Id="rId4" Type="http://schemas.openxmlformats.org/officeDocument/2006/relationships/oleObject" Target="../embeddings/oleObject7.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3.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3.emf"/><Relationship Id="rId4" Type="http://schemas.openxmlformats.org/officeDocument/2006/relationships/oleObject" Target="../embeddings/oleObject10.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3.emf"/><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ouverture" type="title">
  <p:cSld name="Couverture">
    <p:spTree>
      <p:nvGrpSpPr>
        <p:cNvPr id="1" name="Shape 11"/>
        <p:cNvGrpSpPr/>
        <p:nvPr/>
      </p:nvGrpSpPr>
      <p:grpSpPr>
        <a:xfrm>
          <a:off x="0" y="0"/>
          <a:ext cx="0" cy="0"/>
          <a:chOff x="0" y="0"/>
          <a:chExt cx="0" cy="0"/>
        </a:xfrm>
      </p:grpSpPr>
      <p:pic>
        <p:nvPicPr>
          <p:cNvPr id="12" name="Google Shape;12;p41"/>
          <p:cNvPicPr preferRelativeResize="0"/>
          <p:nvPr/>
        </p:nvPicPr>
        <p:blipFill rotWithShape="1">
          <a:blip r:embed="rId2">
            <a:alphaModFix/>
          </a:blip>
          <a:srcRect/>
          <a:stretch/>
        </p:blipFill>
        <p:spPr>
          <a:xfrm>
            <a:off x="3" y="0"/>
            <a:ext cx="12191999" cy="6858000"/>
          </a:xfrm>
          <a:prstGeom prst="rect">
            <a:avLst/>
          </a:prstGeom>
          <a:noFill/>
          <a:ln>
            <a:noFill/>
          </a:ln>
        </p:spPr>
      </p:pic>
      <p:pic>
        <p:nvPicPr>
          <p:cNvPr id="13" name="Google Shape;13;p41"/>
          <p:cNvPicPr preferRelativeResize="0"/>
          <p:nvPr/>
        </p:nvPicPr>
        <p:blipFill rotWithShape="1">
          <a:blip r:embed="rId3">
            <a:alphaModFix/>
          </a:blip>
          <a:srcRect/>
          <a:stretch/>
        </p:blipFill>
        <p:spPr>
          <a:xfrm>
            <a:off x="0" y="0"/>
            <a:ext cx="12087492" cy="6858000"/>
          </a:xfrm>
          <a:prstGeom prst="rect">
            <a:avLst/>
          </a:prstGeom>
          <a:noFill/>
          <a:ln>
            <a:noFill/>
          </a:ln>
        </p:spPr>
      </p:pic>
      <p:sp>
        <p:nvSpPr>
          <p:cNvPr id="15" name="Google Shape;15;p41"/>
          <p:cNvSpPr txBox="1">
            <a:spLocks noGrp="1"/>
          </p:cNvSpPr>
          <p:nvPr>
            <p:ph type="ctrTitle"/>
          </p:nvPr>
        </p:nvSpPr>
        <p:spPr>
          <a:xfrm>
            <a:off x="350533" y="697581"/>
            <a:ext cx="9144000" cy="443199"/>
          </a:xfrm>
          <a:prstGeom prst="rect">
            <a:avLst/>
          </a:prstGeom>
          <a:noFill/>
          <a:ln>
            <a:noFill/>
          </a:ln>
        </p:spPr>
        <p:txBody>
          <a:bodyPr spcFirstLastPara="1" wrap="square" lIns="0" tIns="0" rIns="0" bIns="0" anchor="b" anchorCtr="0">
            <a:spAutoFit/>
          </a:bodyPr>
          <a:lstStyle>
            <a:lvl1pPr marR="0" lvl="0" algn="l" rtl="0">
              <a:lnSpc>
                <a:spcPct val="90000"/>
              </a:lnSpc>
              <a:spcBef>
                <a:spcPts val="0"/>
              </a:spcBef>
              <a:spcAft>
                <a:spcPts val="0"/>
              </a:spcAft>
              <a:buClr>
                <a:schemeClr val="lt1"/>
              </a:buClr>
              <a:buSzPts val="3200"/>
              <a:buFont typeface="Montserrat"/>
              <a:buNone/>
              <a:defRPr sz="3200" b="1" i="0" u="none" strike="noStrike" cap="none">
                <a:solidFill>
                  <a:schemeClr val="lt1"/>
                </a:solidFill>
                <a:latin typeface="Arial" panose="020B0604020202020204" pitchFamily="34" charset="0"/>
                <a:ea typeface="Arial" panose="020B0604020202020204" pitchFamily="34" charset="0"/>
                <a:cs typeface="Arial" panose="020B0604020202020204" pitchFamily="34" charset="0"/>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fr-FR"/>
              <a:t>Modifiez le style du titre</a:t>
            </a:r>
            <a:endParaRPr/>
          </a:p>
        </p:txBody>
      </p:sp>
      <p:sp>
        <p:nvSpPr>
          <p:cNvPr id="16" name="Google Shape;16;p41"/>
          <p:cNvSpPr txBox="1">
            <a:spLocks noGrp="1"/>
          </p:cNvSpPr>
          <p:nvPr>
            <p:ph type="subTitle" idx="1"/>
          </p:nvPr>
        </p:nvSpPr>
        <p:spPr>
          <a:xfrm>
            <a:off x="350533" y="1687289"/>
            <a:ext cx="9144000" cy="554511"/>
          </a:xfrm>
          <a:prstGeom prst="rect">
            <a:avLst/>
          </a:prstGeom>
          <a:noFill/>
          <a:ln>
            <a:noFill/>
          </a:ln>
        </p:spPr>
        <p:txBody>
          <a:bodyPr spcFirstLastPara="1" wrap="square" lIns="0" tIns="0" rIns="0" bIns="0" anchor="t" anchorCtr="0">
            <a:spAutoFit/>
          </a:bodyPr>
          <a:lstStyle>
            <a:lvl1pPr marR="0" lvl="0" algn="l" rtl="0">
              <a:lnSpc>
                <a:spcPct val="90000"/>
              </a:lnSpc>
              <a:spcBef>
                <a:spcPts val="1333"/>
              </a:spcBef>
              <a:spcAft>
                <a:spcPts val="0"/>
              </a:spcAft>
              <a:buClr>
                <a:schemeClr val="lt1"/>
              </a:buClr>
              <a:buSzPts val="2800"/>
              <a:buFont typeface="Arial"/>
              <a:buNone/>
              <a:defRPr sz="2800" b="0" i="0" u="none" strike="noStrike" cap="none">
                <a:solidFill>
                  <a:schemeClr val="lt1"/>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ctr" rtl="0">
              <a:lnSpc>
                <a:spcPct val="90000"/>
              </a:lnSpc>
              <a:spcBef>
                <a:spcPts val="667"/>
              </a:spcBef>
              <a:spcAft>
                <a:spcPts val="0"/>
              </a:spcAft>
              <a:buClr>
                <a:schemeClr val="dk2"/>
              </a:buClr>
              <a:buSzPts val="2667"/>
              <a:buFont typeface="Arial"/>
              <a:buNone/>
              <a:defRPr sz="2667" b="0" i="0" u="none" strike="noStrike" cap="none">
                <a:solidFill>
                  <a:schemeClr val="dk2"/>
                </a:solidFill>
                <a:latin typeface="Montserrat"/>
                <a:ea typeface="Montserrat"/>
                <a:cs typeface="Montserrat"/>
                <a:sym typeface="Montserrat"/>
              </a:defRPr>
            </a:lvl2pPr>
            <a:lvl3pPr marR="0" lvl="2" algn="ctr" rtl="0">
              <a:lnSpc>
                <a:spcPct val="90000"/>
              </a:lnSpc>
              <a:spcBef>
                <a:spcPts val="667"/>
              </a:spcBef>
              <a:spcAft>
                <a:spcPts val="0"/>
              </a:spcAft>
              <a:buClr>
                <a:schemeClr val="accent1"/>
              </a:buClr>
              <a:buSzPts val="2400"/>
              <a:buFont typeface="Arial"/>
              <a:buNone/>
              <a:defRPr sz="2400" b="0" i="0" u="none" strike="noStrike" cap="none">
                <a:solidFill>
                  <a:schemeClr val="dk2"/>
                </a:solidFill>
                <a:latin typeface="Montserrat"/>
                <a:ea typeface="Montserrat"/>
                <a:cs typeface="Montserrat"/>
                <a:sym typeface="Montserrat"/>
              </a:defRPr>
            </a:lvl3pPr>
            <a:lvl4pPr marR="0" lvl="3"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4pPr>
            <a:lvl5pPr marR="0" lvl="4"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5pPr>
            <a:lvl6pPr marR="0" lvl="5"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6pPr>
            <a:lvl7pPr marR="0" lvl="6"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7pPr>
            <a:lvl8pPr marR="0" lvl="7"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8pPr>
            <a:lvl9pPr marR="0" lvl="8"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9pPr>
          </a:lstStyle>
          <a:p>
            <a:r>
              <a:rPr lang="fr-FR"/>
              <a:t>Modifiez le style des sous-titres du masque</a:t>
            </a:r>
            <a:endParaRPr/>
          </a:p>
        </p:txBody>
      </p:sp>
      <p:cxnSp>
        <p:nvCxnSpPr>
          <p:cNvPr id="17" name="Google Shape;17;p41"/>
          <p:cNvCxnSpPr/>
          <p:nvPr/>
        </p:nvCxnSpPr>
        <p:spPr>
          <a:xfrm>
            <a:off x="350533" y="495299"/>
            <a:ext cx="408000" cy="0"/>
          </a:xfrm>
          <a:prstGeom prst="straightConnector1">
            <a:avLst/>
          </a:prstGeom>
          <a:noFill/>
          <a:ln w="28575" cap="flat" cmpd="sng">
            <a:solidFill>
              <a:schemeClr val="lt1"/>
            </a:solidFill>
            <a:prstDash val="solid"/>
            <a:miter lim="800000"/>
            <a:headEnd type="none" w="sm" len="sm"/>
            <a:tailEnd type="none" w="sm" len="sm"/>
          </a:ln>
        </p:spPr>
      </p:cxnSp>
      <p:sp>
        <p:nvSpPr>
          <p:cNvPr id="20" name="Google Shape;45;p44">
            <a:extLst>
              <a:ext uri="{FF2B5EF4-FFF2-40B4-BE49-F238E27FC236}">
                <a16:creationId xmlns:a16="http://schemas.microsoft.com/office/drawing/2014/main" id="{53121298-A827-0748-809B-5AA7E6CAE23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solidFill>
              <a:latin typeface="Arial" panose="020B0604020202020204" pitchFamily="34" charset="0"/>
              <a:ea typeface="Montserrat"/>
              <a:cs typeface="Arial" panose="020B0604020202020204" pitchFamily="34" charset="0"/>
              <a:sym typeface="Montserrat"/>
            </a:endParaRPr>
          </a:p>
        </p:txBody>
      </p:sp>
      <p:pic>
        <p:nvPicPr>
          <p:cNvPr id="18" name="Image 17">
            <a:extLst>
              <a:ext uri="{FF2B5EF4-FFF2-40B4-BE49-F238E27FC236}">
                <a16:creationId xmlns:a16="http://schemas.microsoft.com/office/drawing/2014/main" id="{D0D992F4-A869-4D90-8DF2-86A7150AC2D2}"/>
              </a:ext>
            </a:extLst>
          </p:cNvPr>
          <p:cNvPicPr>
            <a:picLocks noChangeAspect="1"/>
          </p:cNvPicPr>
          <p:nvPr userDrawn="1"/>
        </p:nvPicPr>
        <p:blipFill>
          <a:blip r:embed="rId4"/>
          <a:stretch>
            <a:fillRect/>
          </a:stretch>
        </p:blipFill>
        <p:spPr>
          <a:xfrm>
            <a:off x="9235705" y="2895240"/>
            <a:ext cx="2081035" cy="935091"/>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3 // Titre">
    <p:bg>
      <p:bgPr>
        <a:solidFill>
          <a:srgbClr val="2C66A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6F73F581-71F4-7B4A-B8CC-3A864D681251}"/>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6633265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3 // Sous-titre">
    <p:spTree>
      <p:nvGrpSpPr>
        <p:cNvPr id="1" name=""/>
        <p:cNvGrpSpPr/>
        <p:nvPr/>
      </p:nvGrpSpPr>
      <p:grpSpPr>
        <a:xfrm>
          <a:off x="0" y="0"/>
          <a:ext cx="0" cy="0"/>
          <a:chOff x="0" y="0"/>
          <a:chExt cx="0" cy="0"/>
        </a:xfrm>
      </p:grpSpPr>
      <p:sp>
        <p:nvSpPr>
          <p:cNvPr id="17" name="Forme libre 16">
            <a:extLst>
              <a:ext uri="{FF2B5EF4-FFF2-40B4-BE49-F238E27FC236}">
                <a16:creationId xmlns:a16="http://schemas.microsoft.com/office/drawing/2014/main" id="{BE667D24-B450-4649-B652-785C38F93102}"/>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2C66A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2C66A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2C66A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2C66A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2C66A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2C66A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8" name="Google Shape;33;p5">
            <a:extLst>
              <a:ext uri="{FF2B5EF4-FFF2-40B4-BE49-F238E27FC236}">
                <a16:creationId xmlns:a16="http://schemas.microsoft.com/office/drawing/2014/main" id="{6F430284-3756-9448-ACF9-7DB103D494C6}"/>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2D66A7"/>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2D66A7"/>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2D66A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2D66A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A4D3EC98-00F4-534E-BD84-5391486934D1}"/>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20649410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3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6D8210A6-ED0A-1645-A69D-116D202F4836}"/>
              </a:ext>
            </a:extLst>
          </p:cNvPr>
          <p:cNvSpPr/>
          <p:nvPr userDrawn="1"/>
        </p:nvSpPr>
        <p:spPr>
          <a:xfrm>
            <a:off x="-9180" y="-37333"/>
            <a:ext cx="275600" cy="6944000"/>
          </a:xfrm>
          <a:prstGeom prst="rect">
            <a:avLst/>
          </a:prstGeom>
          <a:solidFill>
            <a:srgbClr val="2D66A5">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8B6EACA2-2CAB-F743-A7AB-1AE2AD3EE504}"/>
              </a:ext>
            </a:extLst>
          </p:cNvPr>
          <p:cNvSpPr/>
          <p:nvPr userDrawn="1"/>
        </p:nvSpPr>
        <p:spPr>
          <a:xfrm flipH="1">
            <a:off x="-321700" y="2899067"/>
            <a:ext cx="588133" cy="4035333"/>
          </a:xfrm>
          <a:prstGeom prst="flowChartManualInput">
            <a:avLst/>
          </a:prstGeom>
          <a:solidFill>
            <a:srgbClr val="2D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8A14C36D-6C5D-7B41-B3F9-9A080E9D6218}"/>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1B5B0D29-0D75-EC41-970E-E503CEF30C45}"/>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028770D2-C609-1E40-B454-48D1A0A55BB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487A7B56-28CA-B349-94BC-5C9006F2BC15}"/>
              </a:ext>
            </a:extLst>
          </p:cNvPr>
          <p:cNvSpPr/>
          <p:nvPr userDrawn="1"/>
        </p:nvSpPr>
        <p:spPr>
          <a:xfrm>
            <a:off x="572282" y="268517"/>
            <a:ext cx="251100" cy="18900"/>
          </a:xfrm>
          <a:prstGeom prst="rect">
            <a:avLst/>
          </a:prstGeom>
          <a:solidFill>
            <a:srgbClr val="2C66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CF7930BB-6BA7-3149-A92C-C6AC89140B5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2C66A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2" name="Google Shape;86;p14">
            <a:extLst>
              <a:ext uri="{FF2B5EF4-FFF2-40B4-BE49-F238E27FC236}">
                <a16:creationId xmlns:a16="http://schemas.microsoft.com/office/drawing/2014/main" id="{BA6BBDC4-EF1A-814B-923C-5B0B25392A8D}"/>
              </a:ext>
            </a:extLst>
          </p:cNvPr>
          <p:cNvSpPr/>
          <p:nvPr userDrawn="1"/>
        </p:nvSpPr>
        <p:spPr>
          <a:xfrm>
            <a:off x="488582" y="268517"/>
            <a:ext cx="334800" cy="25200"/>
          </a:xfrm>
          <a:prstGeom prst="rect">
            <a:avLst/>
          </a:prstGeom>
          <a:solidFill>
            <a:srgbClr val="2C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B4A94449-2743-F144-AB81-EA85DCC30266}"/>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5" name="Google Shape;19;p3">
            <a:extLst>
              <a:ext uri="{FF2B5EF4-FFF2-40B4-BE49-F238E27FC236}">
                <a16:creationId xmlns:a16="http://schemas.microsoft.com/office/drawing/2014/main" id="{6CCD31BC-EF78-F147-90A4-AFBF175FFE02}"/>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2888167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3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6D8210A6-ED0A-1645-A69D-116D202F4836}"/>
              </a:ext>
            </a:extLst>
          </p:cNvPr>
          <p:cNvSpPr/>
          <p:nvPr userDrawn="1"/>
        </p:nvSpPr>
        <p:spPr>
          <a:xfrm>
            <a:off x="-9180" y="-37333"/>
            <a:ext cx="275600" cy="6944000"/>
          </a:xfrm>
          <a:prstGeom prst="rect">
            <a:avLst/>
          </a:prstGeom>
          <a:solidFill>
            <a:srgbClr val="2D66A5">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8B6EACA2-2CAB-F743-A7AB-1AE2AD3EE504}"/>
              </a:ext>
            </a:extLst>
          </p:cNvPr>
          <p:cNvSpPr/>
          <p:nvPr userDrawn="1"/>
        </p:nvSpPr>
        <p:spPr>
          <a:xfrm flipH="1">
            <a:off x="-321700" y="2899067"/>
            <a:ext cx="588133" cy="4035333"/>
          </a:xfrm>
          <a:prstGeom prst="flowChartManualInput">
            <a:avLst/>
          </a:prstGeom>
          <a:solidFill>
            <a:srgbClr val="2D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8A14C36D-6C5D-7B41-B3F9-9A080E9D6218}"/>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1B5B0D29-0D75-EC41-970E-E503CEF30C45}"/>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028770D2-C609-1E40-B454-48D1A0A55BB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7435896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04 // Titre">
    <p:bg>
      <p:bgPr>
        <a:solidFill>
          <a:srgbClr val="1F7A9C"/>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endParaRP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AA368E09-3956-C140-A796-4AA1DF3D2311}"/>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28740974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04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A30158F4-EEEB-CF41-AF99-BD2396E4CA7E}"/>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F7A9C">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1F7A9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1F7A9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1F7A9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F7A9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dirty="0">
                <a:solidFill>
                  <a:srgbClr val="1F7A9C"/>
                </a:solidFil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4139274E-8689-B34B-9313-E2D7B7CDD0A0}"/>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207A9C"/>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207A9C"/>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207A9C"/>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207A9C"/>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852967E3-052B-044E-BE3F-F21EF4FCAB4F}"/>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16083266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04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207A9D">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207A9D"/>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4DF88A2C-F384-6C4A-BCA1-9DF6FED0E431}"/>
              </a:ext>
            </a:extLst>
          </p:cNvPr>
          <p:cNvSpPr/>
          <p:nvPr userDrawn="1"/>
        </p:nvSpPr>
        <p:spPr>
          <a:xfrm>
            <a:off x="572282" y="268517"/>
            <a:ext cx="251100" cy="18900"/>
          </a:xfrm>
          <a:prstGeom prst="rect">
            <a:avLst/>
          </a:prstGeom>
          <a:solidFill>
            <a:srgbClr val="1F7A9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15F0E2B2-4DFA-5A42-9278-A58123D4FE88}"/>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F7A9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2" name="Google Shape;86;p14">
            <a:extLst>
              <a:ext uri="{FF2B5EF4-FFF2-40B4-BE49-F238E27FC236}">
                <a16:creationId xmlns:a16="http://schemas.microsoft.com/office/drawing/2014/main" id="{B433903A-E5F0-0948-ACA0-B9D5E93F8D5A}"/>
              </a:ext>
            </a:extLst>
          </p:cNvPr>
          <p:cNvSpPr/>
          <p:nvPr userDrawn="1"/>
        </p:nvSpPr>
        <p:spPr>
          <a:xfrm>
            <a:off x="488582" y="268517"/>
            <a:ext cx="334800" cy="25200"/>
          </a:xfrm>
          <a:prstGeom prst="rect">
            <a:avLst/>
          </a:prstGeom>
          <a:solidFill>
            <a:srgbClr val="1F7A9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7B79ABFA-91C4-1548-87CA-60F0CD0667CD}"/>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5" name="Google Shape;19;p3">
            <a:extLst>
              <a:ext uri="{FF2B5EF4-FFF2-40B4-BE49-F238E27FC236}">
                <a16:creationId xmlns:a16="http://schemas.microsoft.com/office/drawing/2014/main" id="{F5E837BC-FEF1-F248-A7A9-CDE6305C6F54}"/>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8511989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04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207A9D">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207A9D"/>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39325889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05 // Titre">
    <p:bg>
      <p:bgPr>
        <a:solidFill>
          <a:srgbClr val="19829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688712CD-293D-874A-99F8-0657960C8EE1}"/>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6523307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5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CC5AA9E1-A29B-914B-80EC-12D2D8568AF2}"/>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9829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9829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19829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831EBD4D-E74F-254C-BC13-1534C1FE313E}"/>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178297"/>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178297"/>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17829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17829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BB90861F-6363-6D43-997F-E11D0EE64B8C}"/>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25518328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1 // Titre">
    <p:bg>
      <p:bgPr>
        <a:solidFill>
          <a:schemeClr val="bg2"/>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49CE8075-8C01-884B-9724-6C0F630D3A94}"/>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37102689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5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rgbClr val="19829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9829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25FF2B61-2B45-0049-B6EB-EFCBFB59FDA2}"/>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D7859230-42FF-7841-B233-E2ADAF1B72C5}"/>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5653205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5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6999192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6 // Titre">
    <p:bg>
      <p:bgPr>
        <a:solidFill>
          <a:srgbClr val="0E8A8C"/>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79F9FA82-3961-1340-B848-3650FFEC51F5}"/>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30797066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6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F745501C-2D69-C147-BCB1-AF5691AA3316}"/>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0E8A8C">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0E8A8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E8A8C"/>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CAF22F4C-7BD0-0649-9968-2709A306117D}"/>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0C8A8C"/>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0C8A8C"/>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0C8A8C"/>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0C8A8C"/>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A87AFF0F-46B3-6B40-95AD-E7CBD35D16C4}"/>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28376051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6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rgbClr val="0E8A8C"/>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0E8A8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D1A487C5-D580-AC4B-A00D-7943B45FCFD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A80E3699-97A7-1149-8D44-F1DA5477B859}"/>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5002924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6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4350388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7 // Titre">
    <p:bg>
      <p:bgPr>
        <a:solidFill>
          <a:srgbClr val="129283"/>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E1683E52-7B6A-394E-8723-F93D342809F2}"/>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2553909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07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88DB0CAA-899E-374A-9AB8-470F5D046F17}"/>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49183">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49183"/>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endParaRP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149183"/>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4BC1A9EF-0A72-5E4F-87E0-415056AE179D}"/>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139183"/>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139183"/>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139183"/>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139183"/>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5104D1EE-BCC4-B44B-9C82-655D690F057A}"/>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8887156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07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rgbClr val="14918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49183"/>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26302263-7E02-DD4E-862E-7D9A45B7328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971FB988-6BE7-6A4E-B21E-6476CF6E6B0F}"/>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3706115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07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37528747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1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chemeClr val="bg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bg2"/>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44388A"/>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bg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bg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7" name="Forme libre 16">
            <a:extLst>
              <a:ext uri="{FF2B5EF4-FFF2-40B4-BE49-F238E27FC236}">
                <a16:creationId xmlns:a16="http://schemas.microsoft.com/office/drawing/2014/main" id="{930663F2-6765-7E41-A2F8-C79580B01882}"/>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bg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7" y="6555161"/>
            <a:ext cx="6855747" cy="169277"/>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 – Formations à ORION dans le cadre du programme POGS-TN</a:t>
            </a: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bg2"/>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13" name="Image 12">
            <a:extLst>
              <a:ext uri="{FF2B5EF4-FFF2-40B4-BE49-F238E27FC236}">
                <a16:creationId xmlns:a16="http://schemas.microsoft.com/office/drawing/2014/main" id="{A7065546-EACA-E544-853B-2BC179EF8509}"/>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16474094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08 // Titre">
    <p:bg>
      <p:bgPr>
        <a:solidFill>
          <a:srgbClr val="12997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A8B3D7F5-1B92-2242-82A1-669E98436422}"/>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9841618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08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C3090832-2B13-BF4F-A5A0-0EF8A28D360A}"/>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2997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2997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12997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F00C5320-B8F8-B843-ADCA-5BEC2A12E173}"/>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129977"/>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129977"/>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12997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12997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E6D14B9B-7FBD-C344-8F57-70F711AE51AC}"/>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22526591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08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rgbClr val="12997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2997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D9806D39-B381-FB47-988F-B23FEEE026FD}"/>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27774BE3-A8C1-F843-84C4-0BF72AA3CF00}"/>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9516652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08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8683944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09 // Titre">
    <p:bg>
      <p:bgPr>
        <a:solidFill>
          <a:schemeClr val="accent5"/>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870CE312-5FD2-5B48-B734-8E73E24E6ECC}"/>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3793922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09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ACEC956D-B20C-7A4D-BF81-1FCFBEC776C3}"/>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accent5">
              <a:alpha val="102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userDrawn="1"/>
        </p:nvSpPr>
        <p:spPr>
          <a:xfrm>
            <a:off x="0" y="-11557"/>
            <a:ext cx="3543600" cy="6858000"/>
          </a:xfrm>
          <a:prstGeom prst="rect">
            <a:avLst/>
          </a:prstGeom>
          <a:solidFill>
            <a:schemeClr val="accent5">
              <a:alpha val="196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userDrawn="1"/>
        </p:nvSpPr>
        <p:spPr>
          <a:xfrm flipH="1">
            <a:off x="-9181" y="4889000"/>
            <a:ext cx="3543600" cy="1969000"/>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userDrawn="1"/>
        </p:nvSpPr>
        <p:spPr>
          <a:xfrm>
            <a:off x="260800" y="509467"/>
            <a:ext cx="334800" cy="252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accent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accent5"/>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C9C78A23-7CE0-7D42-8993-C0F0CE658D3F}"/>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accent5"/>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chemeClr val="accent5"/>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accent5"/>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accent5"/>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1ACC7F31-885B-9E45-93B4-324D8C70B198}"/>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25671905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09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chemeClr val="accent5">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accent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82D9B5E1-5B63-624A-8089-9D08C96DC2A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FF1E01BA-D85B-6146-9CE2-B788D43751D4}"/>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7291007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09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21BEBF28-ED5D-F343-8904-1F8BBDB7741D}"/>
              </a:ext>
            </a:extLst>
          </p:cNvPr>
          <p:cNvSpPr/>
          <p:nvPr userDrawn="1"/>
        </p:nvSpPr>
        <p:spPr>
          <a:xfrm>
            <a:off x="-9180" y="-37333"/>
            <a:ext cx="275600" cy="6944000"/>
          </a:xfrm>
          <a:prstGeom prst="rect">
            <a:avLst/>
          </a:prstGeom>
          <a:solidFill>
            <a:schemeClr val="accent5">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54FEC3E1-CC37-3743-A10E-4A705D166732}"/>
              </a:ext>
            </a:extLst>
          </p:cNvPr>
          <p:cNvSpPr/>
          <p:nvPr userDrawn="1"/>
        </p:nvSpPr>
        <p:spPr>
          <a:xfrm flipH="1">
            <a:off x="-321713" y="2871334"/>
            <a:ext cx="588133" cy="4035333"/>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AB6C925C-C441-EE43-A42E-411B1E9484A5}"/>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4C8D8879-699F-4645-9228-CBC7D5839469}"/>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B8E75CC4-D549-AB49-B60A-593868BC93CE}"/>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8451836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 // Titre">
    <p:bg>
      <p:bgPr>
        <a:solidFill>
          <a:srgbClr val="3381FF"/>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3B4FF22C-B2D8-B84D-B36D-0805879B48AD}"/>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2690094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0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FD5A02F9-6BF6-CB4C-8144-B02CAB7122EC}"/>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3281FF">
              <a:alpha val="102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userDrawn="1"/>
        </p:nvSpPr>
        <p:spPr>
          <a:xfrm>
            <a:off x="0" y="-11557"/>
            <a:ext cx="3543600" cy="6858000"/>
          </a:xfrm>
          <a:prstGeom prst="rect">
            <a:avLst/>
          </a:prstGeom>
          <a:solidFill>
            <a:srgbClr val="3281FF">
              <a:alpha val="196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userDrawn="1"/>
        </p:nvSpPr>
        <p:spPr>
          <a:xfrm flipH="1">
            <a:off x="-9181" y="4889000"/>
            <a:ext cx="3543600" cy="1969000"/>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userDrawn="1"/>
        </p:nvSpPr>
        <p:spPr>
          <a:xfrm>
            <a:off x="260800" y="509467"/>
            <a:ext cx="334800" cy="25200"/>
          </a:xfrm>
          <a:prstGeom prst="rec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3281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rgbClr val="3281FF"/>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9280105D-7FB2-1648-9C40-35D8D2C8E688}"/>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3181FF"/>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3181FF"/>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3181FF"/>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3181FF"/>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97A2C67D-B0D3-7C4F-B2D1-E1AA88303F1A}"/>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34825016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C12B4A1-2342-BB49-89C9-6BAE61C2CD71}"/>
              </a:ext>
            </a:extLst>
          </p:cNvPr>
          <p:cNvSpPr txBox="1"/>
          <p:nvPr userDrawn="1"/>
        </p:nvSpPr>
        <p:spPr>
          <a:xfrm>
            <a:off x="444499" y="6555161"/>
            <a:ext cx="3773817" cy="169277"/>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 – Proposition technique</a:t>
            </a:r>
          </a:p>
        </p:txBody>
      </p:sp>
      <p:sp>
        <p:nvSpPr>
          <p:cNvPr id="7" name="Google Shape;41;p7">
            <a:extLst>
              <a:ext uri="{FF2B5EF4-FFF2-40B4-BE49-F238E27FC236}">
                <a16:creationId xmlns:a16="http://schemas.microsoft.com/office/drawing/2014/main" id="{6E0457C2-41CC-5142-B27A-5F996A80B512}"/>
              </a:ext>
            </a:extLst>
          </p:cNvPr>
          <p:cNvSpPr/>
          <p:nvPr userDrawn="1"/>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0F7D022F-FD93-F94B-9B89-4675DABBB175}"/>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2" name="Google Shape;86;p14">
            <a:extLst>
              <a:ext uri="{FF2B5EF4-FFF2-40B4-BE49-F238E27FC236}">
                <a16:creationId xmlns:a16="http://schemas.microsoft.com/office/drawing/2014/main" id="{C6387D16-8785-004D-BD68-A65E1A434695}"/>
              </a:ext>
            </a:extLst>
          </p:cNvPr>
          <p:cNvSpPr/>
          <p:nvPr userDrawn="1"/>
        </p:nvSpPr>
        <p:spPr>
          <a:xfrm>
            <a:off x="488582" y="26851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E60859CA-3C30-1A48-9CEC-6DDEC624EE7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5" name="Google Shape;19;p3">
            <a:extLst>
              <a:ext uri="{FF2B5EF4-FFF2-40B4-BE49-F238E27FC236}">
                <a16:creationId xmlns:a16="http://schemas.microsoft.com/office/drawing/2014/main" id="{D5A19624-A793-EF4D-AF54-540E9E075936}"/>
              </a:ext>
            </a:extLst>
          </p:cNvPr>
          <p:cNvPicPr preferRelativeResize="0"/>
          <p:nvPr userDrawn="1"/>
        </p:nvPicPr>
        <p:blipFill>
          <a:blip r:embed="rId2"/>
          <a:srcRect/>
          <a:stretch/>
        </p:blipFill>
        <p:spPr>
          <a:xfrm>
            <a:off x="10648284" y="104353"/>
            <a:ext cx="1381904" cy="777321"/>
          </a:xfrm>
          <a:prstGeom prst="rect">
            <a:avLst/>
          </a:prstGeom>
          <a:noFill/>
          <a:ln>
            <a:noFill/>
          </a:ln>
        </p:spPr>
      </p:pic>
      <p:sp>
        <p:nvSpPr>
          <p:cNvPr id="13" name="Google Shape;46;p44">
            <a:extLst>
              <a:ext uri="{FF2B5EF4-FFF2-40B4-BE49-F238E27FC236}">
                <a16:creationId xmlns:a16="http://schemas.microsoft.com/office/drawing/2014/main" id="{0E7AEF66-C84B-B6C5-8D34-B6EBA35D3519}"/>
              </a:ext>
            </a:extLst>
          </p:cNvPr>
          <p:cNvSpPr txBox="1">
            <a:spLocks/>
          </p:cNvSpPr>
          <p:nvPr userDrawn="1"/>
        </p:nvSpPr>
        <p:spPr>
          <a:xfrm>
            <a:off x="2104571" y="6555123"/>
            <a:ext cx="9111465" cy="169277"/>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1100" b="0" i="0" u="none" strike="noStrike" cap="none">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9pPr>
          </a:lstStyle>
          <a:p>
            <a:r>
              <a:rPr lang="fr-F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Formations à ORION dans le cadre du programme POGS-TN</a:t>
            </a:r>
            <a:endParaRPr lang="fr-FR">
              <a:latin typeface="+mj-lt"/>
            </a:endParaRPr>
          </a:p>
        </p:txBody>
      </p:sp>
    </p:spTree>
    <p:extLst>
      <p:ext uri="{BB962C8B-B14F-4D97-AF65-F5344CB8AC3E}">
        <p14:creationId xmlns:p14="http://schemas.microsoft.com/office/powerpoint/2010/main" val="33329951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0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3281FF">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userDrawn="1"/>
        </p:nvSpPr>
        <p:spPr>
          <a:xfrm>
            <a:off x="572282" y="268517"/>
            <a:ext cx="251100" cy="18900"/>
          </a:xfrm>
          <a:prstGeom prst="rect">
            <a:avLst/>
          </a:prstGeom>
          <a:solidFill>
            <a:srgbClr val="3281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3281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D1C78F4B-67E0-064E-AE8B-83B31ADC35F1}"/>
              </a:ext>
            </a:extLst>
          </p:cNvPr>
          <p:cNvSpPr/>
          <p:nvPr userDrawn="1"/>
        </p:nvSpPr>
        <p:spPr>
          <a:xfrm>
            <a:off x="488582" y="268517"/>
            <a:ext cx="334800" cy="25200"/>
          </a:xfrm>
          <a:prstGeom prst="rec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E9D9E325-FB66-DD4D-A59E-E8512CDAE41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FACDB9FB-9B3F-2D4C-8CC3-5C1742B891F7}"/>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8032276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0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3281FF">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35454349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1 // Titre">
    <p:bg>
      <p:bgPr>
        <a:solidFill>
          <a:srgbClr val="31BFF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CF99B009-436D-164D-94CC-BEADF7616F3E}"/>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6D6DA7F4-4C49-8A49-ABA2-24958CA0C84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1ED1C43C-076E-D54A-93FB-96F6B89D11A4}"/>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FF757835-AE21-4248-BE36-1F67A221F5C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7137F2DC-2C61-9940-BDD8-DE12DF0D0011}"/>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7653205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1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7D5F6F0B-36E4-9343-9FA3-20BB518542E5}"/>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33BFF7">
              <a:alpha val="102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userDrawn="1"/>
        </p:nvSpPr>
        <p:spPr>
          <a:xfrm>
            <a:off x="0" y="-11557"/>
            <a:ext cx="3543600" cy="6858000"/>
          </a:xfrm>
          <a:prstGeom prst="rect">
            <a:avLst/>
          </a:prstGeom>
          <a:solidFill>
            <a:srgbClr val="33BFF7">
              <a:alpha val="196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userDrawn="1"/>
        </p:nvSpPr>
        <p:spPr>
          <a:xfrm flipH="1">
            <a:off x="-9181" y="4889000"/>
            <a:ext cx="3543600" cy="1969000"/>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userDrawn="1"/>
        </p:nvSpPr>
        <p:spPr>
          <a:xfrm>
            <a:off x="260800" y="509467"/>
            <a:ext cx="334800" cy="25200"/>
          </a:xfrm>
          <a:prstGeom prst="rec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33BFF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rgbClr val="33BFF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52585A64-3B91-594F-9B84-51EB088D6C4A}"/>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33BFF8"/>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33BFF8"/>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33BFF8"/>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33BFF8"/>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4" name="Image 13">
            <a:extLst>
              <a:ext uri="{FF2B5EF4-FFF2-40B4-BE49-F238E27FC236}">
                <a16:creationId xmlns:a16="http://schemas.microsoft.com/office/drawing/2014/main" id="{F1C7D541-02B7-204D-98C2-A067C90E3C3B}"/>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23154642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33BFF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userDrawn="1"/>
        </p:nvSpPr>
        <p:spPr>
          <a:xfrm>
            <a:off x="572282" y="268517"/>
            <a:ext cx="251100" cy="18900"/>
          </a:xfrm>
          <a:prstGeom prst="rect">
            <a:avLst/>
          </a:prstGeom>
          <a:solidFill>
            <a:srgbClr val="33BFF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33BFF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D1C78F4B-67E0-064E-AE8B-83B31ADC35F1}"/>
              </a:ext>
            </a:extLst>
          </p:cNvPr>
          <p:cNvSpPr/>
          <p:nvPr userDrawn="1"/>
        </p:nvSpPr>
        <p:spPr>
          <a:xfrm>
            <a:off x="488582" y="268517"/>
            <a:ext cx="334800" cy="25200"/>
          </a:xfrm>
          <a:prstGeom prst="rec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735A5688-D049-A54A-90C5-DD0357E5E14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E36BCDB7-24B3-364D-A6D7-1EBF30D980A7}"/>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0035603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33BFF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9297157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 // Titre">
    <p:bg>
      <p:bgPr>
        <a:solidFill>
          <a:schemeClr val="accent4"/>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CF99B009-436D-164D-94CC-BEADF7616F3E}"/>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6D6DA7F4-4C49-8A49-ABA2-24958CA0C84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1ED1C43C-076E-D54A-93FB-96F6B89D11A4}"/>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FF757835-AE21-4248-BE36-1F67A221F5C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362DE4B6-1DF0-444C-A0CD-B75A15DA2F19}"/>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29242150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184715DD-3FAB-B64E-985C-F90130265141}"/>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accent4">
              <a:alpha val="102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userDrawn="1"/>
        </p:nvSpPr>
        <p:spPr>
          <a:xfrm>
            <a:off x="0" y="-11557"/>
            <a:ext cx="3543600" cy="6858000"/>
          </a:xfrm>
          <a:prstGeom prst="rect">
            <a:avLst/>
          </a:prstGeom>
          <a:solidFill>
            <a:schemeClr val="accent4">
              <a:alpha val="196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userDrawn="1"/>
        </p:nvSpPr>
        <p:spPr>
          <a:xfrm flipH="1">
            <a:off x="-9181" y="4889000"/>
            <a:ext cx="3543600" cy="1969000"/>
          </a:xfrm>
          <a:prstGeom prst="flowChartManualInpu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userDrawn="1"/>
        </p:nvSpPr>
        <p:spPr>
          <a:xfrm>
            <a:off x="260800" y="509467"/>
            <a:ext cx="334800" cy="25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accent4"/>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accent4"/>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3C1DF095-9714-3D4A-83E8-988218450043}"/>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accent4"/>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chemeClr val="accent4"/>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accent4"/>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accent4"/>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02BC8AC5-AA5F-3747-AE76-3F696833C72C}"/>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14137276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chemeClr val="accent4">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userDrawn="1"/>
        </p:nvSpPr>
        <p:spPr>
          <a:xfrm>
            <a:off x="572282" y="268517"/>
            <a:ext cx="251100" cy="189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accent4"/>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D1C78F4B-67E0-064E-AE8B-83B31ADC35F1}"/>
              </a:ext>
            </a:extLst>
          </p:cNvPr>
          <p:cNvSpPr/>
          <p:nvPr userDrawn="1"/>
        </p:nvSpPr>
        <p:spPr>
          <a:xfrm>
            <a:off x="488582" y="268517"/>
            <a:ext cx="334800" cy="25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5EB08E3A-A5AC-1E41-87E9-A9633F1A7700}"/>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C4777419-0E48-AF40-B2B5-6B7363E213E7}"/>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1096664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2BD2D9">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2BD2D9"/>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073012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1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7557CE5B-8A6C-4017-A599-2338743E2DBC}"/>
              </a:ext>
            </a:extLst>
          </p:cNvPr>
          <p:cNvSpPr txBox="1">
            <a:spLocks/>
          </p:cNvSpPr>
          <p:nvPr userDrawn="1"/>
        </p:nvSpPr>
        <p:spPr>
          <a:xfrm>
            <a:off x="2104571" y="6555161"/>
            <a:ext cx="9111465" cy="169277"/>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1100" b="0" i="0" u="none" strike="noStrike" cap="none">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9pPr>
          </a:lstStyle>
          <a:p>
            <a:r>
              <a:rPr lang="fr-F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Formations à ORION dans le cadre du programme POGS-TN</a:t>
            </a:r>
            <a:endParaRPr lang="fr-FR">
              <a:latin typeface="+mj-lt"/>
            </a:endParaRPr>
          </a:p>
        </p:txBody>
      </p:sp>
      <p:sp>
        <p:nvSpPr>
          <p:cNvPr id="11" name="Google Shape;45;p44">
            <a:extLst>
              <a:ext uri="{FF2B5EF4-FFF2-40B4-BE49-F238E27FC236}">
                <a16:creationId xmlns:a16="http://schemas.microsoft.com/office/drawing/2014/main" id="{F424FEAE-DC74-494B-86DA-2ED3C7298774}"/>
              </a:ext>
            </a:extLst>
          </p:cNvPr>
          <p:cNvSpPr txBox="1"/>
          <p:nvPr userDrawn="1"/>
        </p:nvSpPr>
        <p:spPr>
          <a:xfrm>
            <a:off x="444500" y="6555161"/>
            <a:ext cx="3314700" cy="169277"/>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fr-F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 - Offre technique – Lot 2</a:t>
            </a:r>
          </a:p>
        </p:txBody>
      </p:sp>
    </p:spTree>
    <p:extLst>
      <p:ext uri="{BB962C8B-B14F-4D97-AF65-F5344CB8AC3E}">
        <p14:creationId xmlns:p14="http://schemas.microsoft.com/office/powerpoint/2010/main" val="19488872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0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C12B4A1-2342-BB49-89C9-6BAE61C2CD71}"/>
              </a:ext>
            </a:extLst>
          </p:cNvPr>
          <p:cNvSpPr txBox="1"/>
          <p:nvPr userDrawn="1"/>
        </p:nvSpPr>
        <p:spPr>
          <a:xfrm>
            <a:off x="444500" y="6555161"/>
            <a:ext cx="3314700" cy="169277"/>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 - Offre technique &amp; engagements </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1;p7">
            <a:extLst>
              <a:ext uri="{FF2B5EF4-FFF2-40B4-BE49-F238E27FC236}">
                <a16:creationId xmlns:a16="http://schemas.microsoft.com/office/drawing/2014/main" id="{6E0457C2-41CC-5142-B27A-5F996A80B512}"/>
              </a:ext>
            </a:extLst>
          </p:cNvPr>
          <p:cNvSpPr/>
          <p:nvPr userDrawn="1"/>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0F7D022F-FD93-F94B-9B89-4675DABBB175}"/>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2" name="Google Shape;86;p14">
            <a:extLst>
              <a:ext uri="{FF2B5EF4-FFF2-40B4-BE49-F238E27FC236}">
                <a16:creationId xmlns:a16="http://schemas.microsoft.com/office/drawing/2014/main" id="{C6387D16-8785-004D-BD68-A65E1A434695}"/>
              </a:ext>
            </a:extLst>
          </p:cNvPr>
          <p:cNvSpPr/>
          <p:nvPr userDrawn="1"/>
        </p:nvSpPr>
        <p:spPr>
          <a:xfrm>
            <a:off x="488582" y="26851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E60859CA-3C30-1A48-9CEC-6DDEC624EE7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5" name="Google Shape;19;p3">
            <a:extLst>
              <a:ext uri="{FF2B5EF4-FFF2-40B4-BE49-F238E27FC236}">
                <a16:creationId xmlns:a16="http://schemas.microsoft.com/office/drawing/2014/main" id="{D5A19624-A793-EF4D-AF54-540E9E075936}"/>
              </a:ext>
            </a:extLst>
          </p:cNvPr>
          <p:cNvPicPr preferRelativeResize="0"/>
          <p:nvPr userDrawn="1"/>
        </p:nvPicPr>
        <p:blipFill>
          <a:blip r:embed="rId2"/>
          <a:srcRect/>
          <a:stretch/>
        </p:blipFill>
        <p:spPr>
          <a:xfrm>
            <a:off x="10648284" y="104353"/>
            <a:ext cx="1381904" cy="777321"/>
          </a:xfrm>
          <a:prstGeom prst="rect">
            <a:avLst/>
          </a:prstGeom>
          <a:noFill/>
          <a:ln>
            <a:noFill/>
          </a:ln>
        </p:spPr>
      </p:pic>
      <p:sp>
        <p:nvSpPr>
          <p:cNvPr id="13" name="Google Shape;46;p44">
            <a:extLst>
              <a:ext uri="{FF2B5EF4-FFF2-40B4-BE49-F238E27FC236}">
                <a16:creationId xmlns:a16="http://schemas.microsoft.com/office/drawing/2014/main" id="{0E7AEF66-C84B-B6C5-8D34-B6EBA35D3519}"/>
              </a:ext>
            </a:extLst>
          </p:cNvPr>
          <p:cNvSpPr txBox="1">
            <a:spLocks/>
          </p:cNvSpPr>
          <p:nvPr userDrawn="1"/>
        </p:nvSpPr>
        <p:spPr>
          <a:xfrm>
            <a:off x="2104571" y="6555123"/>
            <a:ext cx="9111465" cy="169277"/>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1100" b="0" i="0" u="none" strike="noStrike" cap="none">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9pPr>
          </a:lstStyle>
          <a:p>
            <a:r>
              <a:rPr lang="fr-F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Formations à ORION dans le cadre du programme POGS-TN</a:t>
            </a:r>
            <a:endParaRPr lang="fr-FR">
              <a:latin typeface="+mj-lt"/>
            </a:endParaRPr>
          </a:p>
        </p:txBody>
      </p:sp>
    </p:spTree>
    <p:extLst>
      <p:ext uri="{BB962C8B-B14F-4D97-AF65-F5344CB8AC3E}">
        <p14:creationId xmlns:p14="http://schemas.microsoft.com/office/powerpoint/2010/main" val="38352506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01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D2446CFC-D65F-B848-04BC-21F2AC7A6AD7}"/>
              </a:ext>
            </a:extLst>
          </p:cNvPr>
          <p:cNvSpPr txBox="1">
            <a:spLocks/>
          </p:cNvSpPr>
          <p:nvPr userDrawn="1"/>
        </p:nvSpPr>
        <p:spPr>
          <a:xfrm>
            <a:off x="2104571" y="6555123"/>
            <a:ext cx="9111465" cy="169277"/>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1100" b="0" i="0" u="none" strike="noStrike" cap="none">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9pPr>
          </a:lstStyle>
          <a:p>
            <a:r>
              <a:rPr lang="fr-F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Formations à ORION dans le cadre du programme POGS-TN</a:t>
            </a:r>
            <a:endParaRPr lang="fr-FR">
              <a:latin typeface="+mj-lt"/>
            </a:endParaRPr>
          </a:p>
        </p:txBody>
      </p:sp>
      <p:sp>
        <p:nvSpPr>
          <p:cNvPr id="8" name="Google Shape;45;p44">
            <a:extLst>
              <a:ext uri="{FF2B5EF4-FFF2-40B4-BE49-F238E27FC236}">
                <a16:creationId xmlns:a16="http://schemas.microsoft.com/office/drawing/2014/main" id="{CBC5E8DA-6952-C118-1810-A26A0EB1DE89}"/>
              </a:ext>
            </a:extLst>
          </p:cNvPr>
          <p:cNvSpPr txBox="1"/>
          <p:nvPr userDrawn="1"/>
        </p:nvSpPr>
        <p:spPr>
          <a:xfrm>
            <a:off x="444500" y="6555161"/>
            <a:ext cx="3314700" cy="169277"/>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 - Offre technique &amp; engagements </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27505506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02 // Titre">
    <p:bg>
      <p:bgPr>
        <a:solidFill>
          <a:schemeClr val="tx2"/>
        </a:solidFill>
        <a:effectLst/>
      </p:bgPr>
    </p:bg>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A3B70C65-6DE8-4DC0-B636-BB8ED01DFE3B}"/>
              </a:ext>
            </a:extLst>
          </p:cNvPr>
          <p:cNvPicPr>
            <a:picLocks noChangeAspect="1"/>
          </p:cNvPicPr>
          <p:nvPr userDrawn="1"/>
        </p:nvPicPr>
        <p:blipFill>
          <a:blip r:embed="rId2">
            <a:lum bright="70000" contrast="-70000"/>
            <a:extLst>
              <a:ext uri="{BEBA8EAE-BF5A-486C-A8C5-ECC9F3942E4B}">
                <a14:imgProps xmlns:a14="http://schemas.microsoft.com/office/drawing/2010/main">
                  <a14:imgLayer r:embed="rId3">
                    <a14:imgEffect>
                      <a14:colorTemperature colorTemp="11500"/>
                    </a14:imgEffect>
                    <a14:imgEffect>
                      <a14:saturation sat="0"/>
                    </a14:imgEffect>
                  </a14:imgLayer>
                </a14:imgProps>
              </a:ext>
            </a:extLst>
          </a:blip>
          <a:stretch>
            <a:fillRect/>
          </a:stretch>
        </p:blipFill>
        <p:spPr>
          <a:xfrm>
            <a:off x="8139339" y="-308165"/>
            <a:ext cx="2804125" cy="1602357"/>
          </a:xfrm>
          <a:prstGeom prst="rect">
            <a:avLst/>
          </a:prstGeom>
        </p:spPr>
      </p:pic>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9" name="Google Shape;19;p3">
            <a:extLst>
              <a:ext uri="{FF2B5EF4-FFF2-40B4-BE49-F238E27FC236}">
                <a16:creationId xmlns:a16="http://schemas.microsoft.com/office/drawing/2014/main" id="{E7F38BF7-1385-411B-BDC4-0EE3A4521CB8}"/>
              </a:ext>
            </a:extLst>
          </p:cNvPr>
          <p:cNvPicPr preferRelativeResize="0"/>
          <p:nvPr userDrawn="1"/>
        </p:nvPicPr>
        <p:blipFill>
          <a:blip r:embed="rId4" cstate="screen">
            <a:extLst>
              <a:ext uri="{28A0092B-C50C-407E-A947-70E740481C1C}">
                <a14:useLocalDpi xmlns:a14="http://schemas.microsoft.com/office/drawing/2010/main"/>
              </a:ext>
            </a:extLst>
          </a:blip>
          <a:srcRect/>
          <a:stretch/>
        </p:blipFill>
        <p:spPr>
          <a:xfrm>
            <a:off x="10648284" y="103993"/>
            <a:ext cx="1381905" cy="778042"/>
          </a:xfrm>
          <a:prstGeom prst="rect">
            <a:avLst/>
          </a:prstGeom>
          <a:noFill/>
          <a:ln>
            <a:noFill/>
          </a:ln>
        </p:spPr>
      </p:pic>
    </p:spTree>
    <p:extLst>
      <p:ext uri="{BB962C8B-B14F-4D97-AF65-F5344CB8AC3E}">
        <p14:creationId xmlns:p14="http://schemas.microsoft.com/office/powerpoint/2010/main" val="19358636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02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chemeClr val="tx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26" name="Forme libre 25">
            <a:extLst>
              <a:ext uri="{FF2B5EF4-FFF2-40B4-BE49-F238E27FC236}">
                <a16:creationId xmlns:a16="http://schemas.microsoft.com/office/drawing/2014/main" id="{CE542045-9417-8A4E-8E69-7121098F1DF1}"/>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tx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tx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404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tx2"/>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27" name="Google Shape;33;p5">
            <a:extLst>
              <a:ext uri="{FF2B5EF4-FFF2-40B4-BE49-F238E27FC236}">
                <a16:creationId xmlns:a16="http://schemas.microsoft.com/office/drawing/2014/main" id="{05C61B6A-97AE-7B44-9BF9-7BAD7C9154D0}"/>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tx2"/>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chemeClr val="tx2"/>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tx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tx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spTree>
    <p:extLst>
      <p:ext uri="{BB962C8B-B14F-4D97-AF65-F5344CB8AC3E}">
        <p14:creationId xmlns:p14="http://schemas.microsoft.com/office/powerpoint/2010/main" val="288104875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02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311860BF-06DE-5D44-9517-3990CA0C7FBB}"/>
              </a:ext>
            </a:extLst>
          </p:cNvPr>
          <p:cNvSpPr/>
          <p:nvPr userDrawn="1"/>
        </p:nvSpPr>
        <p:spPr>
          <a:xfrm>
            <a:off x="-9180" y="-37333"/>
            <a:ext cx="275600" cy="6944000"/>
          </a:xfrm>
          <a:prstGeom prst="rect">
            <a:avLst/>
          </a:prstGeom>
          <a:solidFill>
            <a:srgbClr val="20408E">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44AF0B7-651B-1849-9734-94EFCA074FAF}"/>
              </a:ext>
            </a:extLst>
          </p:cNvPr>
          <p:cNvSpPr/>
          <p:nvPr userDrawn="1"/>
        </p:nvSpPr>
        <p:spPr>
          <a:xfrm flipH="1">
            <a:off x="-321700" y="2899067"/>
            <a:ext cx="588133" cy="4035333"/>
          </a:xfrm>
          <a:prstGeom prst="flowChartManualInpu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0CB90F68-1585-B042-BFBC-55A9BADD95EB}"/>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1;p7">
            <a:extLst>
              <a:ext uri="{FF2B5EF4-FFF2-40B4-BE49-F238E27FC236}">
                <a16:creationId xmlns:a16="http://schemas.microsoft.com/office/drawing/2014/main" id="{520ADC7A-34D9-FB47-BD87-5F4C5E73EF97}"/>
              </a:ext>
            </a:extLst>
          </p:cNvPr>
          <p:cNvSpPr/>
          <p:nvPr userDrawn="1"/>
        </p:nvSpPr>
        <p:spPr>
          <a:xfrm>
            <a:off x="572282" y="268517"/>
            <a:ext cx="251100" cy="18900"/>
          </a:xfrm>
          <a:prstGeom prst="rect">
            <a:avLst/>
          </a:prstGeom>
          <a:solidFill>
            <a:srgbClr val="20408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58C68558-4BDB-884D-950A-A16AFB14C666}"/>
              </a:ext>
            </a:extLst>
          </p:cNvPr>
          <p:cNvSpPr txBox="1">
            <a:spLocks noGrp="1"/>
          </p:cNvSpPr>
          <p:nvPr>
            <p:ph type="title"/>
          </p:nvPr>
        </p:nvSpPr>
        <p:spPr>
          <a:xfrm>
            <a:off x="396655" y="292153"/>
            <a:ext cx="7547995"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20408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9" name="Google Shape;86;p14">
            <a:extLst>
              <a:ext uri="{FF2B5EF4-FFF2-40B4-BE49-F238E27FC236}">
                <a16:creationId xmlns:a16="http://schemas.microsoft.com/office/drawing/2014/main" id="{80C9613B-9636-864F-9D61-59B5C40A4E29}"/>
              </a:ext>
            </a:extLst>
          </p:cNvPr>
          <p:cNvSpPr/>
          <p:nvPr userDrawn="1"/>
        </p:nvSpPr>
        <p:spPr>
          <a:xfrm>
            <a:off x="488582" y="268517"/>
            <a:ext cx="334800" cy="25200"/>
          </a:xfrm>
          <a:prstGeom prst="rec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BB70BEDD-2A28-ED42-941C-41FA568B66F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3" name="Image 12">
            <a:extLst>
              <a:ext uri="{FF2B5EF4-FFF2-40B4-BE49-F238E27FC236}">
                <a16:creationId xmlns:a16="http://schemas.microsoft.com/office/drawing/2014/main" id="{57760FCC-84DE-4E4F-85A5-29EE233656A2}"/>
              </a:ext>
            </a:extLst>
          </p:cNvPr>
          <p:cNvPicPr>
            <a:picLocks noChangeAspect="1"/>
          </p:cNvPicPr>
          <p:nvPr userDrawn="1"/>
        </p:nvPicPr>
        <p:blipFill>
          <a:blip r:embed="rId2"/>
          <a:stretch>
            <a:fillRect/>
          </a:stretch>
        </p:blipFill>
        <p:spPr>
          <a:xfrm>
            <a:off x="8110981" y="212263"/>
            <a:ext cx="2607735" cy="561500"/>
          </a:xfrm>
          <a:prstGeom prst="rect">
            <a:avLst/>
          </a:prstGeom>
        </p:spPr>
      </p:pic>
      <p:pic>
        <p:nvPicPr>
          <p:cNvPr id="14" name="Google Shape;37;p43">
            <a:extLst>
              <a:ext uri="{FF2B5EF4-FFF2-40B4-BE49-F238E27FC236}">
                <a16:creationId xmlns:a16="http://schemas.microsoft.com/office/drawing/2014/main" id="{46B15B43-2923-4E01-8336-E03FDDE620F2}"/>
              </a:ext>
            </a:extLst>
          </p:cNvPr>
          <p:cNvPicPr preferRelativeResize="0"/>
          <p:nvPr userDrawn="1"/>
        </p:nvPicPr>
        <p:blipFill>
          <a:blip r:embed="rId3" cstate="screen">
            <a:extLst>
              <a:ext uri="{28A0092B-C50C-407E-A947-70E740481C1C}">
                <a14:useLocalDpi xmlns:a14="http://schemas.microsoft.com/office/drawing/2010/main"/>
              </a:ext>
            </a:extLst>
          </a:blip>
          <a:srcRect/>
          <a:stretch/>
        </p:blipFill>
        <p:spPr>
          <a:xfrm>
            <a:off x="10722598" y="230321"/>
            <a:ext cx="1238400" cy="469627"/>
          </a:xfrm>
          <a:prstGeom prst="rect">
            <a:avLst/>
          </a:prstGeom>
          <a:noFill/>
          <a:ln>
            <a:noFill/>
          </a:ln>
        </p:spPr>
      </p:pic>
      <p:sp>
        <p:nvSpPr>
          <p:cNvPr id="18" name="Google Shape;46;p44">
            <a:extLst>
              <a:ext uri="{FF2B5EF4-FFF2-40B4-BE49-F238E27FC236}">
                <a16:creationId xmlns:a16="http://schemas.microsoft.com/office/drawing/2014/main" id="{C33774F5-B28D-1EAE-69CE-D799D87DF4A5}"/>
              </a:ext>
            </a:extLst>
          </p:cNvPr>
          <p:cNvSpPr txBox="1">
            <a:spLocks/>
          </p:cNvSpPr>
          <p:nvPr userDrawn="1"/>
        </p:nvSpPr>
        <p:spPr>
          <a:xfrm>
            <a:off x="2104571" y="6555123"/>
            <a:ext cx="9111465" cy="169277"/>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1100" b="0" i="0" u="none" strike="noStrike" cap="none">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9pPr>
          </a:lstStyle>
          <a:p>
            <a:r>
              <a:rPr lang="fr-F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Formations à ORION dans le cadre du programme POGS-TN</a:t>
            </a:r>
            <a:endParaRPr lang="fr-FR">
              <a:latin typeface="+mj-lt"/>
            </a:endParaRPr>
          </a:p>
        </p:txBody>
      </p:sp>
      <p:sp>
        <p:nvSpPr>
          <p:cNvPr id="19" name="Google Shape;45;p44">
            <a:extLst>
              <a:ext uri="{FF2B5EF4-FFF2-40B4-BE49-F238E27FC236}">
                <a16:creationId xmlns:a16="http://schemas.microsoft.com/office/drawing/2014/main" id="{01653DEF-7BCF-1E4C-2786-324E1C8D0B75}"/>
              </a:ext>
            </a:extLst>
          </p:cNvPr>
          <p:cNvSpPr txBox="1"/>
          <p:nvPr userDrawn="1"/>
        </p:nvSpPr>
        <p:spPr>
          <a:xfrm>
            <a:off x="444500" y="6555161"/>
            <a:ext cx="3314700" cy="169277"/>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 - Offre technique &amp; engagements </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326313950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02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311860BF-06DE-5D44-9517-3990CA0C7FBB}"/>
              </a:ext>
            </a:extLst>
          </p:cNvPr>
          <p:cNvSpPr/>
          <p:nvPr userDrawn="1"/>
        </p:nvSpPr>
        <p:spPr>
          <a:xfrm>
            <a:off x="-9180" y="-37333"/>
            <a:ext cx="275600" cy="6944000"/>
          </a:xfrm>
          <a:prstGeom prst="rect">
            <a:avLst/>
          </a:prstGeom>
          <a:solidFill>
            <a:srgbClr val="20408E">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44AF0B7-651B-1849-9734-94EFCA074FAF}"/>
              </a:ext>
            </a:extLst>
          </p:cNvPr>
          <p:cNvSpPr/>
          <p:nvPr userDrawn="1"/>
        </p:nvSpPr>
        <p:spPr>
          <a:xfrm flipH="1">
            <a:off x="-321700" y="2899067"/>
            <a:ext cx="588133" cy="4035333"/>
          </a:xfrm>
          <a:prstGeom prst="flowChartManualInpu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0CB90F68-1585-B042-BFBC-55A9BADD95EB}"/>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A66DB93A-F784-9134-0EA9-32B422690CFD}"/>
              </a:ext>
            </a:extLst>
          </p:cNvPr>
          <p:cNvSpPr txBox="1">
            <a:spLocks/>
          </p:cNvSpPr>
          <p:nvPr userDrawn="1"/>
        </p:nvSpPr>
        <p:spPr>
          <a:xfrm>
            <a:off x="2104571" y="6555123"/>
            <a:ext cx="9111465" cy="169277"/>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1100" b="0" i="0" u="none" strike="noStrike" cap="none">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9pPr>
          </a:lstStyle>
          <a:p>
            <a:r>
              <a:rPr lang="fr-F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Formations à ORION dans le cadre du programme POGS-TN</a:t>
            </a:r>
            <a:endParaRPr lang="fr-FR">
              <a:latin typeface="+mj-lt"/>
            </a:endParaRPr>
          </a:p>
        </p:txBody>
      </p:sp>
      <p:sp>
        <p:nvSpPr>
          <p:cNvPr id="8" name="Google Shape;45;p44">
            <a:extLst>
              <a:ext uri="{FF2B5EF4-FFF2-40B4-BE49-F238E27FC236}">
                <a16:creationId xmlns:a16="http://schemas.microsoft.com/office/drawing/2014/main" id="{82C38345-0347-684F-17BD-4B8EAD4694A1}"/>
              </a:ext>
            </a:extLst>
          </p:cNvPr>
          <p:cNvSpPr txBox="1"/>
          <p:nvPr userDrawn="1"/>
        </p:nvSpPr>
        <p:spPr>
          <a:xfrm>
            <a:off x="444500" y="6555161"/>
            <a:ext cx="3314700" cy="169277"/>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 - Offre technique &amp; engagements </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32742649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loture">
  <p:cSld name="Cloture">
    <p:spTree>
      <p:nvGrpSpPr>
        <p:cNvPr id="1" name="Shape 273"/>
        <p:cNvGrpSpPr/>
        <p:nvPr/>
      </p:nvGrpSpPr>
      <p:grpSpPr>
        <a:xfrm>
          <a:off x="0" y="0"/>
          <a:ext cx="0" cy="0"/>
          <a:chOff x="0" y="0"/>
          <a:chExt cx="0" cy="0"/>
        </a:xfrm>
      </p:grpSpPr>
      <p:pic>
        <p:nvPicPr>
          <p:cNvPr id="274" name="Google Shape;274;p66"/>
          <p:cNvPicPr preferRelativeResize="0"/>
          <p:nvPr/>
        </p:nvPicPr>
        <p:blipFill rotWithShape="1">
          <a:blip r:embed="rId2">
            <a:alphaModFix/>
          </a:blip>
          <a:srcRect/>
          <a:stretch/>
        </p:blipFill>
        <p:spPr>
          <a:xfrm>
            <a:off x="3" y="0"/>
            <a:ext cx="12191999" cy="6858000"/>
          </a:xfrm>
          <a:prstGeom prst="rect">
            <a:avLst/>
          </a:prstGeom>
          <a:noFill/>
          <a:ln>
            <a:noFill/>
          </a:ln>
        </p:spPr>
      </p:pic>
      <p:pic>
        <p:nvPicPr>
          <p:cNvPr id="275" name="Google Shape;275;p66"/>
          <p:cNvPicPr preferRelativeResize="0"/>
          <p:nvPr/>
        </p:nvPicPr>
        <p:blipFill rotWithShape="1">
          <a:blip r:embed="rId3" cstate="screen">
            <a:alphaModFix/>
            <a:extLst>
              <a:ext uri="{28A0092B-C50C-407E-A947-70E740481C1C}">
                <a14:useLocalDpi xmlns:a14="http://schemas.microsoft.com/office/drawing/2010/main"/>
              </a:ext>
            </a:extLst>
          </a:blip>
          <a:srcRect l="11872"/>
          <a:stretch/>
        </p:blipFill>
        <p:spPr>
          <a:xfrm>
            <a:off x="-1" y="-1"/>
            <a:ext cx="10652391" cy="6858000"/>
          </a:xfrm>
          <a:prstGeom prst="rect">
            <a:avLst/>
          </a:prstGeom>
          <a:noFill/>
          <a:ln>
            <a:noFill/>
          </a:ln>
        </p:spPr>
      </p:pic>
      <p:pic>
        <p:nvPicPr>
          <p:cNvPr id="276" name="Google Shape;276;p66"/>
          <p:cNvPicPr preferRelativeResize="0"/>
          <p:nvPr/>
        </p:nvPicPr>
        <p:blipFill rotWithShape="1">
          <a:blip r:embed="rId4">
            <a:alphaModFix/>
          </a:blip>
          <a:srcRect/>
          <a:stretch/>
        </p:blipFill>
        <p:spPr>
          <a:xfrm>
            <a:off x="7186547" y="2498213"/>
            <a:ext cx="3309151" cy="1861577"/>
          </a:xfrm>
          <a:prstGeom prst="rect">
            <a:avLst/>
          </a:prstGeom>
          <a:noFill/>
          <a:ln>
            <a:noFill/>
          </a:ln>
        </p:spPr>
      </p:pic>
      <p:sp>
        <p:nvSpPr>
          <p:cNvPr id="5" name="Google Shape;45;p44">
            <a:extLst>
              <a:ext uri="{FF2B5EF4-FFF2-40B4-BE49-F238E27FC236}">
                <a16:creationId xmlns:a16="http://schemas.microsoft.com/office/drawing/2014/main" id="{5406EDC3-AC1D-5546-8CF8-396834432F08}"/>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solidFill>
              <a:latin typeface="Arial" panose="020B0604020202020204" pitchFamily="34" charset="0"/>
              <a:ea typeface="Montserrat"/>
              <a:cs typeface="Arial" panose="020B0604020202020204" pitchFamily="34" charset="0"/>
              <a:sym typeface="Montserrat"/>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alan General" userDrawn="1">
  <p:cSld name="Talan General">
    <p:spTree>
      <p:nvGrpSpPr>
        <p:cNvPr id="1" name="Shape 15"/>
        <p:cNvGrpSpPr/>
        <p:nvPr/>
      </p:nvGrpSpPr>
      <p:grpSpPr>
        <a:xfrm>
          <a:off x="0" y="0"/>
          <a:ext cx="0" cy="0"/>
          <a:chOff x="0" y="0"/>
          <a:chExt cx="0" cy="0"/>
        </a:xfrm>
      </p:grpSpPr>
      <p:sp>
        <p:nvSpPr>
          <p:cNvPr id="16" name="Google Shape;16;p3"/>
          <p:cNvSpPr txBox="1">
            <a:spLocks noGrp="1"/>
          </p:cNvSpPr>
          <p:nvPr>
            <p:ph type="title" hasCustomPrompt="1"/>
          </p:nvPr>
        </p:nvSpPr>
        <p:spPr>
          <a:xfrm>
            <a:off x="444499" y="505303"/>
            <a:ext cx="10461224" cy="276999"/>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2000"/>
              <a:buFont typeface="Montserrat"/>
              <a:buNone/>
              <a:defRPr sz="2000" b="1" i="0" u="none" strike="noStrike" cap="none">
                <a:solidFill>
                  <a:schemeClr val="accent1"/>
                </a:solidFill>
                <a:latin typeface="Montserrat"/>
                <a:ea typeface="Montserrat"/>
                <a:cs typeface="Montserrat"/>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fr-FR"/>
              <a:t>Prénom Nom ou Initiales – Grade (N années d’expérience) </a:t>
            </a:r>
            <a:endParaRPr/>
          </a:p>
        </p:txBody>
      </p:sp>
      <p:cxnSp>
        <p:nvCxnSpPr>
          <p:cNvPr id="17" name="Google Shape;17;p3"/>
          <p:cNvCxnSpPr/>
          <p:nvPr/>
        </p:nvCxnSpPr>
        <p:spPr>
          <a:xfrm>
            <a:off x="444500" y="334432"/>
            <a:ext cx="216000" cy="0"/>
          </a:xfrm>
          <a:prstGeom prst="straightConnector1">
            <a:avLst/>
          </a:prstGeom>
          <a:noFill/>
          <a:ln w="25400" cap="flat" cmpd="sng">
            <a:solidFill>
              <a:schemeClr val="accent1"/>
            </a:solidFill>
            <a:prstDash val="solid"/>
            <a:miter lim="800000"/>
            <a:headEnd type="none" w="sm" len="sm"/>
            <a:tailEnd type="none" w="sm" len="sm"/>
          </a:ln>
        </p:spPr>
      </p:cxnSp>
      <p:grpSp>
        <p:nvGrpSpPr>
          <p:cNvPr id="2" name="Groupe 1">
            <a:extLst>
              <a:ext uri="{FF2B5EF4-FFF2-40B4-BE49-F238E27FC236}">
                <a16:creationId xmlns:a16="http://schemas.microsoft.com/office/drawing/2014/main" id="{D71C885D-49EA-4D38-B177-D65B70BD4062}"/>
              </a:ext>
            </a:extLst>
          </p:cNvPr>
          <p:cNvGrpSpPr/>
          <p:nvPr userDrawn="1"/>
        </p:nvGrpSpPr>
        <p:grpSpPr>
          <a:xfrm>
            <a:off x="4" y="0"/>
            <a:ext cx="133657" cy="6858000"/>
            <a:chOff x="4" y="0"/>
            <a:chExt cx="133657" cy="6858000"/>
          </a:xfrm>
        </p:grpSpPr>
        <p:sp>
          <p:nvSpPr>
            <p:cNvPr id="18" name="Google Shape;18;p3"/>
            <p:cNvSpPr/>
            <p:nvPr/>
          </p:nvSpPr>
          <p:spPr>
            <a:xfrm rot="10800000" flipH="1">
              <a:off x="4" y="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chemeClr val="accent1"/>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b="0" i="0" u="none" strike="noStrike" cap="none">
                <a:solidFill>
                  <a:schemeClr val="lt1"/>
                </a:solidFill>
                <a:latin typeface="Montserrat"/>
                <a:ea typeface="Montserrat"/>
                <a:cs typeface="Montserrat"/>
                <a:sym typeface="Montserrat"/>
              </a:endParaRPr>
            </a:p>
          </p:txBody>
        </p:sp>
        <p:sp>
          <p:nvSpPr>
            <p:cNvPr id="19" name="Google Shape;19;p3"/>
            <p:cNvSpPr/>
            <p:nvPr/>
          </p:nvSpPr>
          <p:spPr>
            <a:xfrm>
              <a:off x="4" y="308300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rgbClr val="66BDFF"/>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b="0" i="0" u="none" strike="noStrike" cap="none">
                <a:solidFill>
                  <a:schemeClr val="lt1"/>
                </a:solidFill>
                <a:latin typeface="Montserrat"/>
                <a:ea typeface="Montserrat"/>
                <a:cs typeface="Montserrat"/>
                <a:sym typeface="Montserrat"/>
              </a:endParaRPr>
            </a:p>
          </p:txBody>
        </p:sp>
      </p:grpSp>
      <p:sp>
        <p:nvSpPr>
          <p:cNvPr id="22" name="Google Shape;22;p3"/>
          <p:cNvSpPr txBox="1"/>
          <p:nvPr/>
        </p:nvSpPr>
        <p:spPr>
          <a:xfrm>
            <a:off x="11552651" y="6557760"/>
            <a:ext cx="258084" cy="169277"/>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fld id="{00000000-1234-1234-1234-123412341234}" type="slidenum">
              <a:rPr lang="fr-FR" sz="1100" b="0" i="0" u="none" strike="noStrike" cap="none">
                <a:solidFill>
                  <a:schemeClr val="dk2"/>
                </a:solidFill>
                <a:latin typeface="Montserrat"/>
                <a:ea typeface="Montserrat"/>
                <a:cs typeface="Montserrat"/>
                <a:sym typeface="Montserrat"/>
              </a:rPr>
              <a:t>‹N°›</a:t>
            </a:fld>
            <a:endParaRPr sz="1100" b="0" i="0" u="none" strike="noStrike" cap="none">
              <a:solidFill>
                <a:schemeClr val="dk2"/>
              </a:solidFill>
              <a:latin typeface="Montserrat"/>
              <a:ea typeface="Montserrat"/>
              <a:cs typeface="Montserrat"/>
              <a:sym typeface="Montserrat"/>
            </a:endParaRPr>
          </a:p>
        </p:txBody>
      </p:sp>
      <p:sp>
        <p:nvSpPr>
          <p:cNvPr id="24" name="Google Shape;24;p3"/>
          <p:cNvSpPr txBox="1"/>
          <p:nvPr userDrawn="1"/>
        </p:nvSpPr>
        <p:spPr>
          <a:xfrm>
            <a:off x="444499" y="6555192"/>
            <a:ext cx="868828" cy="169277"/>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r>
              <a:rPr lang="fr-FR" sz="1100" b="0" i="0" u="none" strike="noStrike" cap="none">
                <a:solidFill>
                  <a:schemeClr val="dk2"/>
                </a:solidFill>
                <a:latin typeface="Montserrat"/>
                <a:ea typeface="Montserrat"/>
                <a:cs typeface="Montserrat"/>
                <a:sym typeface="Montserrat"/>
              </a:rPr>
              <a:t>Confidentiel</a:t>
            </a:r>
            <a:endParaRPr sz="1100" b="0" i="0" u="none" strike="noStrike" cap="none">
              <a:solidFill>
                <a:schemeClr val="dk2"/>
              </a:solidFill>
              <a:latin typeface="Montserrat"/>
              <a:ea typeface="Montserrat"/>
              <a:cs typeface="Montserrat"/>
              <a:sym typeface="Montserrat"/>
            </a:endParaRPr>
          </a:p>
        </p:txBody>
      </p:sp>
      <p:sp>
        <p:nvSpPr>
          <p:cNvPr id="25" name="Google Shape;25;p3"/>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noAutofit/>
          </a:bodyPr>
          <a:lstStyle>
            <a:lvl1pPr lvl="0" algn="r">
              <a:spcBef>
                <a:spcPts val="0"/>
              </a:spcBef>
              <a:spcAft>
                <a:spcPts val="0"/>
              </a:spcAft>
              <a:buSzPts val="1400"/>
              <a:buNone/>
              <a:defRPr sz="1100">
                <a:solidFill>
                  <a:srgbClr val="FF8DDA"/>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30" name="Graphique 29">
            <a:extLst>
              <a:ext uri="{FF2B5EF4-FFF2-40B4-BE49-F238E27FC236}">
                <a16:creationId xmlns:a16="http://schemas.microsoft.com/office/drawing/2014/main" id="{012FBACF-DE51-4F72-A2C6-1183A04E9D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05724" y="294607"/>
            <a:ext cx="1151887" cy="647937"/>
          </a:xfrm>
          <a:prstGeom prst="rect">
            <a:avLst/>
          </a:prstGeom>
        </p:spPr>
      </p:pic>
      <p:sp>
        <p:nvSpPr>
          <p:cNvPr id="7" name="Espace réservé du texte 6">
            <a:extLst>
              <a:ext uri="{FF2B5EF4-FFF2-40B4-BE49-F238E27FC236}">
                <a16:creationId xmlns:a16="http://schemas.microsoft.com/office/drawing/2014/main" id="{AA414D94-A19A-45BD-A7E3-4DA8DF83127A}"/>
              </a:ext>
            </a:extLst>
          </p:cNvPr>
          <p:cNvSpPr>
            <a:spLocks noGrp="1"/>
          </p:cNvSpPr>
          <p:nvPr>
            <p:ph type="body" sz="quarter" idx="12" hasCustomPrompt="1"/>
          </p:nvPr>
        </p:nvSpPr>
        <p:spPr>
          <a:xfrm>
            <a:off x="444499" y="1075894"/>
            <a:ext cx="10925116" cy="762431"/>
          </a:xfrm>
          <a:prstGeom prst="rect">
            <a:avLst/>
          </a:prstGeom>
          <a:noFill/>
          <a:ln>
            <a:solidFill>
              <a:schemeClr val="accent1"/>
            </a:solidFill>
          </a:ln>
        </p:spPr>
        <p:txBody>
          <a:bodyPr vert="horz" lIns="72000" tIns="72000" rIns="72000" bIns="72000" rtlCol="0" anchor="t">
            <a:noAutofit/>
          </a:bodyPr>
          <a:lstStyle>
            <a:lvl1pPr>
              <a:defRPr lang="fr-FR" sz="1000" smtClean="0">
                <a:solidFill>
                  <a:schemeClr val="accent1"/>
                </a:solidFill>
                <a:latin typeface="Montserrat"/>
              </a:defRPr>
            </a:lvl1pPr>
            <a:lvl2pPr marL="359998" indent="0">
              <a:buNone/>
              <a:defRPr lang="fr-FR" smtClean="0">
                <a:solidFill>
                  <a:schemeClr val="tx1">
                    <a:lumMod val="75000"/>
                    <a:lumOff val="25000"/>
                  </a:schemeClr>
                </a:solidFill>
              </a:defRPr>
            </a:lvl2pPr>
            <a:lvl3pPr>
              <a:defRPr lang="fr-FR" sz="1124" smtClean="0">
                <a:solidFill>
                  <a:schemeClr val="tx1">
                    <a:lumMod val="75000"/>
                    <a:lumOff val="25000"/>
                  </a:schemeClr>
                </a:solidFill>
              </a:defRPr>
            </a:lvl3pPr>
            <a:lvl4pPr>
              <a:defRPr lang="fr-FR" sz="1013" smtClean="0">
                <a:solidFill>
                  <a:schemeClr val="tx1">
                    <a:lumMod val="75000"/>
                    <a:lumOff val="25000"/>
                  </a:schemeClr>
                </a:solidFill>
              </a:defRPr>
            </a:lvl4pPr>
            <a:lvl5pPr>
              <a:defRPr lang="fr-FR" sz="1013">
                <a:solidFill>
                  <a:schemeClr val="tx1">
                    <a:lumMod val="75000"/>
                    <a:lumOff val="25000"/>
                  </a:schemeClr>
                </a:solidFill>
              </a:defRPr>
            </a:lvl5pPr>
          </a:lstStyle>
          <a:p>
            <a:pPr lvl="0" indent="0" defTabSz="514321">
              <a:buClr>
                <a:schemeClr val="accent2"/>
              </a:buClr>
              <a:buFont typeface="Wingdings" panose="05000000000000000000" pitchFamily="2" charset="2"/>
              <a:buNone/>
            </a:pPr>
            <a:r>
              <a:rPr lang="fr-FR"/>
              <a:t>Résumé sur la personne, rappeler les éléments suivants : prénom (ou trigramme), expérience (mettre en gras), en synthèse les expériences, appétences et compétences</a:t>
            </a:r>
          </a:p>
          <a:p>
            <a:pPr marL="719996" lvl="1" indent="-359998" defTabSz="514321">
              <a:spcBef>
                <a:spcPts val="600"/>
              </a:spcBef>
              <a:buClr>
                <a:schemeClr val="accent2"/>
              </a:buClr>
              <a:buFont typeface="Arial" panose="020B0604020202020204" pitchFamily="34" charset="0"/>
              <a:buChar char="•"/>
            </a:pPr>
            <a:endParaRPr lang="fr-FR"/>
          </a:p>
        </p:txBody>
      </p:sp>
      <p:sp>
        <p:nvSpPr>
          <p:cNvPr id="11" name="Espace réservé pour une image  10">
            <a:extLst>
              <a:ext uri="{FF2B5EF4-FFF2-40B4-BE49-F238E27FC236}">
                <a16:creationId xmlns:a16="http://schemas.microsoft.com/office/drawing/2014/main" id="{30CD5E88-1EF5-451F-970E-5363151DD39B}"/>
              </a:ext>
            </a:extLst>
          </p:cNvPr>
          <p:cNvSpPr>
            <a:spLocks noGrp="1"/>
          </p:cNvSpPr>
          <p:nvPr>
            <p:ph type="pic" sz="quarter" idx="14" hasCustomPrompt="1"/>
          </p:nvPr>
        </p:nvSpPr>
        <p:spPr>
          <a:xfrm>
            <a:off x="9592574" y="246790"/>
            <a:ext cx="1313149" cy="762429"/>
          </a:xfrm>
          <a:prstGeom prst="rect">
            <a:avLst/>
          </a:prstGeom>
        </p:spPr>
        <p:txBody>
          <a:bodyPr/>
          <a:lstStyle>
            <a:lvl1pPr>
              <a:defRPr/>
            </a:lvl1pPr>
          </a:lstStyle>
          <a:p>
            <a:r>
              <a:rPr lang="fr-FR"/>
              <a:t>Photo bords arrondis</a:t>
            </a:r>
          </a:p>
          <a:p>
            <a:r>
              <a:rPr lang="fr-FR"/>
              <a:t>Noir et blanc</a:t>
            </a:r>
          </a:p>
        </p:txBody>
      </p:sp>
    </p:spTree>
    <p:extLst>
      <p:ext uri="{BB962C8B-B14F-4D97-AF65-F5344CB8AC3E}">
        <p14:creationId xmlns:p14="http://schemas.microsoft.com/office/powerpoint/2010/main" val="4005290319"/>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alan General" userDrawn="1">
  <p:cSld name="Talan General">
    <p:spTree>
      <p:nvGrpSpPr>
        <p:cNvPr id="1" name="Shape 15"/>
        <p:cNvGrpSpPr/>
        <p:nvPr/>
      </p:nvGrpSpPr>
      <p:grpSpPr>
        <a:xfrm>
          <a:off x="0" y="0"/>
          <a:ext cx="0" cy="0"/>
          <a:chOff x="0" y="0"/>
          <a:chExt cx="0" cy="0"/>
        </a:xfrm>
      </p:grpSpPr>
      <p:sp>
        <p:nvSpPr>
          <p:cNvPr id="16" name="Google Shape;16;p3"/>
          <p:cNvSpPr txBox="1">
            <a:spLocks noGrp="1"/>
          </p:cNvSpPr>
          <p:nvPr>
            <p:ph type="title" hasCustomPrompt="1"/>
          </p:nvPr>
        </p:nvSpPr>
        <p:spPr>
          <a:xfrm>
            <a:off x="444499" y="505303"/>
            <a:ext cx="10461224" cy="276999"/>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2000"/>
              <a:buFont typeface="Montserrat"/>
              <a:buNone/>
              <a:defRPr sz="2000" b="1" i="0" u="none" strike="noStrike" cap="none">
                <a:solidFill>
                  <a:schemeClr val="accent1"/>
                </a:solidFill>
                <a:latin typeface="Montserrat"/>
                <a:ea typeface="Montserrat"/>
                <a:cs typeface="Montserrat"/>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fr-FR"/>
              <a:t>Prénom Nom ou Initiales – Grade (N années d’expérience) </a:t>
            </a:r>
            <a:endParaRPr/>
          </a:p>
        </p:txBody>
      </p:sp>
      <p:cxnSp>
        <p:nvCxnSpPr>
          <p:cNvPr id="17" name="Google Shape;17;p3"/>
          <p:cNvCxnSpPr/>
          <p:nvPr/>
        </p:nvCxnSpPr>
        <p:spPr>
          <a:xfrm>
            <a:off x="444500" y="334432"/>
            <a:ext cx="216000" cy="0"/>
          </a:xfrm>
          <a:prstGeom prst="straightConnector1">
            <a:avLst/>
          </a:prstGeom>
          <a:noFill/>
          <a:ln w="25400" cap="flat" cmpd="sng">
            <a:solidFill>
              <a:schemeClr val="accent1"/>
            </a:solidFill>
            <a:prstDash val="solid"/>
            <a:miter lim="800000"/>
            <a:headEnd type="none" w="sm" len="sm"/>
            <a:tailEnd type="none" w="sm" len="sm"/>
          </a:ln>
        </p:spPr>
      </p:cxnSp>
      <p:grpSp>
        <p:nvGrpSpPr>
          <p:cNvPr id="2" name="Groupe 1">
            <a:extLst>
              <a:ext uri="{FF2B5EF4-FFF2-40B4-BE49-F238E27FC236}">
                <a16:creationId xmlns:a16="http://schemas.microsoft.com/office/drawing/2014/main" id="{D71C885D-49EA-4D38-B177-D65B70BD4062}"/>
              </a:ext>
            </a:extLst>
          </p:cNvPr>
          <p:cNvGrpSpPr/>
          <p:nvPr userDrawn="1"/>
        </p:nvGrpSpPr>
        <p:grpSpPr>
          <a:xfrm>
            <a:off x="4" y="0"/>
            <a:ext cx="133657" cy="6858000"/>
            <a:chOff x="4" y="0"/>
            <a:chExt cx="133657" cy="6858000"/>
          </a:xfrm>
        </p:grpSpPr>
        <p:sp>
          <p:nvSpPr>
            <p:cNvPr id="18" name="Google Shape;18;p3"/>
            <p:cNvSpPr/>
            <p:nvPr/>
          </p:nvSpPr>
          <p:spPr>
            <a:xfrm rot="10800000" flipH="1">
              <a:off x="4" y="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chemeClr val="accent1"/>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b="0" i="0" u="none" strike="noStrike" cap="none">
                <a:solidFill>
                  <a:schemeClr val="lt1"/>
                </a:solidFill>
                <a:latin typeface="Montserrat"/>
                <a:ea typeface="Montserrat"/>
                <a:cs typeface="Montserrat"/>
                <a:sym typeface="Montserrat"/>
              </a:endParaRPr>
            </a:p>
          </p:txBody>
        </p:sp>
        <p:sp>
          <p:nvSpPr>
            <p:cNvPr id="19" name="Google Shape;19;p3"/>
            <p:cNvSpPr/>
            <p:nvPr/>
          </p:nvSpPr>
          <p:spPr>
            <a:xfrm>
              <a:off x="4" y="308300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rgbClr val="66BDFF"/>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b="0" i="0" u="none" strike="noStrike" cap="none">
                <a:solidFill>
                  <a:schemeClr val="lt1"/>
                </a:solidFill>
                <a:latin typeface="Montserrat"/>
                <a:ea typeface="Montserrat"/>
                <a:cs typeface="Montserrat"/>
                <a:sym typeface="Montserrat"/>
              </a:endParaRPr>
            </a:p>
          </p:txBody>
        </p:sp>
      </p:grpSp>
      <p:sp>
        <p:nvSpPr>
          <p:cNvPr id="22" name="Google Shape;22;p3"/>
          <p:cNvSpPr txBox="1"/>
          <p:nvPr/>
        </p:nvSpPr>
        <p:spPr>
          <a:xfrm>
            <a:off x="11552651" y="6557760"/>
            <a:ext cx="258084" cy="169277"/>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fld id="{00000000-1234-1234-1234-123412341234}" type="slidenum">
              <a:rPr lang="fr-FR" sz="1100" b="0" i="0" u="none" strike="noStrike" cap="none">
                <a:solidFill>
                  <a:schemeClr val="dk2"/>
                </a:solidFill>
                <a:latin typeface="Montserrat"/>
                <a:ea typeface="Montserrat"/>
                <a:cs typeface="Montserrat"/>
                <a:sym typeface="Montserrat"/>
              </a:rPr>
              <a:t>‹N°›</a:t>
            </a:fld>
            <a:endParaRPr sz="1100" b="0" i="0" u="none" strike="noStrike" cap="none">
              <a:solidFill>
                <a:schemeClr val="dk2"/>
              </a:solidFill>
              <a:latin typeface="Montserrat"/>
              <a:ea typeface="Montserrat"/>
              <a:cs typeface="Montserrat"/>
              <a:sym typeface="Montserrat"/>
            </a:endParaRPr>
          </a:p>
        </p:txBody>
      </p:sp>
      <p:sp>
        <p:nvSpPr>
          <p:cNvPr id="24" name="Google Shape;24;p3"/>
          <p:cNvSpPr txBox="1"/>
          <p:nvPr userDrawn="1"/>
        </p:nvSpPr>
        <p:spPr>
          <a:xfrm>
            <a:off x="444499" y="6555192"/>
            <a:ext cx="868828" cy="169277"/>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r>
              <a:rPr lang="fr-FR" sz="1100" b="0" i="0" u="none" strike="noStrike" cap="none">
                <a:solidFill>
                  <a:schemeClr val="dk2"/>
                </a:solidFill>
                <a:latin typeface="Montserrat"/>
                <a:ea typeface="Montserrat"/>
                <a:cs typeface="Montserrat"/>
                <a:sym typeface="Montserrat"/>
              </a:rPr>
              <a:t>Confidentiel</a:t>
            </a:r>
            <a:endParaRPr sz="1100" b="0" i="0" u="none" strike="noStrike" cap="none">
              <a:solidFill>
                <a:schemeClr val="dk2"/>
              </a:solidFill>
              <a:latin typeface="Montserrat"/>
              <a:ea typeface="Montserrat"/>
              <a:cs typeface="Montserrat"/>
              <a:sym typeface="Montserrat"/>
            </a:endParaRPr>
          </a:p>
        </p:txBody>
      </p:sp>
      <p:sp>
        <p:nvSpPr>
          <p:cNvPr id="25" name="Google Shape;25;p3"/>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noAutofit/>
          </a:bodyPr>
          <a:lstStyle>
            <a:lvl1pPr lvl="0" algn="r">
              <a:spcBef>
                <a:spcPts val="0"/>
              </a:spcBef>
              <a:spcAft>
                <a:spcPts val="0"/>
              </a:spcAft>
              <a:buSzPts val="1400"/>
              <a:buNone/>
              <a:defRPr sz="1100">
                <a:solidFill>
                  <a:srgbClr val="FF8DDA"/>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30" name="Graphique 29">
            <a:extLst>
              <a:ext uri="{FF2B5EF4-FFF2-40B4-BE49-F238E27FC236}">
                <a16:creationId xmlns:a16="http://schemas.microsoft.com/office/drawing/2014/main" id="{012FBACF-DE51-4F72-A2C6-1183A04E9D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05724" y="294607"/>
            <a:ext cx="1151887" cy="647937"/>
          </a:xfrm>
          <a:prstGeom prst="rect">
            <a:avLst/>
          </a:prstGeom>
        </p:spPr>
      </p:pic>
      <p:sp>
        <p:nvSpPr>
          <p:cNvPr id="7" name="Espace réservé du texte 6">
            <a:extLst>
              <a:ext uri="{FF2B5EF4-FFF2-40B4-BE49-F238E27FC236}">
                <a16:creationId xmlns:a16="http://schemas.microsoft.com/office/drawing/2014/main" id="{AA414D94-A19A-45BD-A7E3-4DA8DF83127A}"/>
              </a:ext>
            </a:extLst>
          </p:cNvPr>
          <p:cNvSpPr>
            <a:spLocks noGrp="1"/>
          </p:cNvSpPr>
          <p:nvPr>
            <p:ph type="body" sz="quarter" idx="12" hasCustomPrompt="1"/>
          </p:nvPr>
        </p:nvSpPr>
        <p:spPr>
          <a:xfrm>
            <a:off x="444499" y="1075894"/>
            <a:ext cx="10925116" cy="762431"/>
          </a:xfrm>
          <a:prstGeom prst="rect">
            <a:avLst/>
          </a:prstGeom>
          <a:noFill/>
          <a:ln>
            <a:solidFill>
              <a:schemeClr val="accent1"/>
            </a:solidFill>
          </a:ln>
        </p:spPr>
        <p:txBody>
          <a:bodyPr vert="horz" lIns="72000" tIns="72000" rIns="72000" bIns="72000" rtlCol="0" anchor="t">
            <a:noAutofit/>
          </a:bodyPr>
          <a:lstStyle>
            <a:lvl1pPr>
              <a:defRPr lang="fr-FR" sz="1000" smtClean="0">
                <a:solidFill>
                  <a:schemeClr val="accent1"/>
                </a:solidFill>
                <a:latin typeface="Montserrat"/>
              </a:defRPr>
            </a:lvl1pPr>
            <a:lvl2pPr marL="359998" indent="0">
              <a:buNone/>
              <a:defRPr lang="fr-FR" smtClean="0">
                <a:solidFill>
                  <a:schemeClr val="tx1">
                    <a:lumMod val="75000"/>
                    <a:lumOff val="25000"/>
                  </a:schemeClr>
                </a:solidFill>
              </a:defRPr>
            </a:lvl2pPr>
            <a:lvl3pPr>
              <a:defRPr lang="fr-FR" sz="1124" smtClean="0">
                <a:solidFill>
                  <a:schemeClr val="tx1">
                    <a:lumMod val="75000"/>
                    <a:lumOff val="25000"/>
                  </a:schemeClr>
                </a:solidFill>
              </a:defRPr>
            </a:lvl3pPr>
            <a:lvl4pPr>
              <a:defRPr lang="fr-FR" sz="1013" smtClean="0">
                <a:solidFill>
                  <a:schemeClr val="tx1">
                    <a:lumMod val="75000"/>
                    <a:lumOff val="25000"/>
                  </a:schemeClr>
                </a:solidFill>
              </a:defRPr>
            </a:lvl4pPr>
            <a:lvl5pPr>
              <a:defRPr lang="fr-FR" sz="1013">
                <a:solidFill>
                  <a:schemeClr val="tx1">
                    <a:lumMod val="75000"/>
                    <a:lumOff val="25000"/>
                  </a:schemeClr>
                </a:solidFill>
              </a:defRPr>
            </a:lvl5pPr>
          </a:lstStyle>
          <a:p>
            <a:pPr lvl="0" indent="0" defTabSz="514321">
              <a:buClr>
                <a:schemeClr val="accent2"/>
              </a:buClr>
              <a:buFont typeface="Wingdings" panose="05000000000000000000" pitchFamily="2" charset="2"/>
              <a:buNone/>
            </a:pPr>
            <a:r>
              <a:rPr lang="fr-FR"/>
              <a:t>Résumé sur la personne, rappeler les éléments suivants : prénom (ou trigramme), expérience (mettre en gras), en synthèse les expériences, appétences et compétences</a:t>
            </a:r>
          </a:p>
          <a:p>
            <a:pPr marL="719996" lvl="1" indent="-359998" defTabSz="514321">
              <a:spcBef>
                <a:spcPts val="600"/>
              </a:spcBef>
              <a:buClr>
                <a:schemeClr val="accent2"/>
              </a:buClr>
              <a:buFont typeface="Arial" panose="020B0604020202020204" pitchFamily="34" charset="0"/>
              <a:buChar char="•"/>
            </a:pPr>
            <a:endParaRPr lang="fr-FR"/>
          </a:p>
        </p:txBody>
      </p:sp>
      <p:sp>
        <p:nvSpPr>
          <p:cNvPr id="11" name="Espace réservé pour une image  10">
            <a:extLst>
              <a:ext uri="{FF2B5EF4-FFF2-40B4-BE49-F238E27FC236}">
                <a16:creationId xmlns:a16="http://schemas.microsoft.com/office/drawing/2014/main" id="{30CD5E88-1EF5-451F-970E-5363151DD39B}"/>
              </a:ext>
            </a:extLst>
          </p:cNvPr>
          <p:cNvSpPr>
            <a:spLocks noGrp="1"/>
          </p:cNvSpPr>
          <p:nvPr>
            <p:ph type="pic" sz="quarter" idx="14" hasCustomPrompt="1"/>
          </p:nvPr>
        </p:nvSpPr>
        <p:spPr>
          <a:xfrm>
            <a:off x="9592574" y="246790"/>
            <a:ext cx="1313149" cy="762429"/>
          </a:xfrm>
          <a:prstGeom prst="rect">
            <a:avLst/>
          </a:prstGeom>
        </p:spPr>
        <p:txBody>
          <a:bodyPr/>
          <a:lstStyle>
            <a:lvl1pPr>
              <a:defRPr/>
            </a:lvl1pPr>
          </a:lstStyle>
          <a:p>
            <a:r>
              <a:rPr lang="fr-FR"/>
              <a:t>Photo bords arrondis</a:t>
            </a:r>
          </a:p>
          <a:p>
            <a:r>
              <a:rPr lang="fr-FR"/>
              <a:t>Noir et blanc</a:t>
            </a:r>
          </a:p>
        </p:txBody>
      </p:sp>
    </p:spTree>
    <p:extLst>
      <p:ext uri="{BB962C8B-B14F-4D97-AF65-F5344CB8AC3E}">
        <p14:creationId xmlns:p14="http://schemas.microsoft.com/office/powerpoint/2010/main" val="4005290319"/>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re Message Contenu">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B26118F8-AF0A-4673-8EE2-4D023BD2AA06}"/>
              </a:ext>
            </a:extLst>
          </p:cNvPr>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Diapositive think-cell" r:id="rId4" imgW="762" imgH="769" progId="TCLayout.ActiveDocument.1">
                  <p:embed/>
                </p:oleObj>
              </mc:Choice>
              <mc:Fallback>
                <p:oleObj name="Diapositive think-cell" r:id="rId4" imgW="762" imgH="769" progId="TCLayout.ActiveDocument.1">
                  <p:embed/>
                  <p:pic>
                    <p:nvPicPr>
                      <p:cNvPr id="8" name="Objet 7" hidden="1">
                        <a:extLst>
                          <a:ext uri="{FF2B5EF4-FFF2-40B4-BE49-F238E27FC236}">
                            <a16:creationId xmlns:a16="http://schemas.microsoft.com/office/drawing/2014/main" id="{B26118F8-AF0A-4673-8EE2-4D023BD2AA06}"/>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80B5E31-36D1-47D5-A798-ED706F5D02BE}"/>
              </a:ext>
            </a:extLst>
          </p:cNvPr>
          <p:cNvSpPr/>
          <p:nvPr userDrawn="1">
            <p:custDataLst>
              <p:tags r:id="rId2"/>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4400" b="0" i="0" baseline="0">
              <a:latin typeface="Montserrat" panose="00000500000000000000" pitchFamily="2" charset="0"/>
              <a:ea typeface="+mj-ea"/>
              <a:cs typeface="+mj-cs"/>
              <a:sym typeface="Montserrat" panose="00000500000000000000" pitchFamily="2" charset="0"/>
            </a:endParaRPr>
          </a:p>
        </p:txBody>
      </p:sp>
      <p:sp>
        <p:nvSpPr>
          <p:cNvPr id="2" name="Titre 1">
            <a:extLst>
              <a:ext uri="{FF2B5EF4-FFF2-40B4-BE49-F238E27FC236}">
                <a16:creationId xmlns:a16="http://schemas.microsoft.com/office/drawing/2014/main" id="{85BF5D26-4DA3-48A9-ABCF-FE0960DF7653}"/>
              </a:ext>
            </a:extLst>
          </p:cNvPr>
          <p:cNvSpPr>
            <a:spLocks noGrp="1"/>
          </p:cNvSpPr>
          <p:nvPr>
            <p:ph type="title"/>
          </p:nvPr>
        </p:nvSpPr>
        <p:spPr>
          <a:xfrm>
            <a:off x="838200" y="325476"/>
            <a:ext cx="9182322" cy="993600"/>
          </a:xfrm>
        </p:spPr>
        <p:txBody>
          <a:bodyPr/>
          <a:lstStyle>
            <a:lvl1pPr>
              <a:defRPr>
                <a:latin typeface="+mn-lt"/>
              </a:defRPr>
            </a:lvl1pPr>
          </a:lstStyle>
          <a:p>
            <a:r>
              <a:rPr lang="fr-FR"/>
              <a:t>Modifiez le style du titre</a:t>
            </a:r>
          </a:p>
        </p:txBody>
      </p:sp>
      <p:sp>
        <p:nvSpPr>
          <p:cNvPr id="10" name="Espace réservé du contenu 9">
            <a:extLst>
              <a:ext uri="{FF2B5EF4-FFF2-40B4-BE49-F238E27FC236}">
                <a16:creationId xmlns:a16="http://schemas.microsoft.com/office/drawing/2014/main" id="{F037AA66-54D9-4B2D-A7C2-B17AA2004584}"/>
              </a:ext>
            </a:extLst>
          </p:cNvPr>
          <p:cNvSpPr>
            <a:spLocks noGrp="1"/>
          </p:cNvSpPr>
          <p:nvPr>
            <p:ph sz="quarter" idx="13" hasCustomPrompt="1"/>
          </p:nvPr>
        </p:nvSpPr>
        <p:spPr>
          <a:xfrm>
            <a:off x="838200" y="2074857"/>
            <a:ext cx="10515601" cy="4068867"/>
          </a:xfrm>
          <a:prstGeom prst="rect">
            <a:avLst/>
          </a:prstGeom>
        </p:spPr>
        <p:txBody>
          <a:bodyPr/>
          <a:lstStyle>
            <a:lvl2pPr>
              <a:defRPr>
                <a:latin typeface="+mn-lt"/>
              </a:defRPr>
            </a:lvl2pPr>
            <a:lvl3pPr>
              <a:defRPr>
                <a:latin typeface="+mn-lt"/>
              </a:defRPr>
            </a:lvl3pPr>
            <a:lvl4pPr>
              <a:defRPr>
                <a:latin typeface="+mn-lt"/>
              </a:defRPr>
            </a:lvl4pPr>
            <a:lvl5pPr>
              <a:defRPr>
                <a:latin typeface="+mn-lt"/>
              </a:defRPr>
            </a:lvl5pPr>
          </a:lstStyle>
          <a:p>
            <a:pPr lvl="1"/>
            <a:r>
              <a:rPr lang="fr-FR"/>
              <a:t>Deuxième niveau</a:t>
            </a:r>
          </a:p>
          <a:p>
            <a:pPr lvl="2"/>
            <a:r>
              <a:rPr lang="fr-FR"/>
              <a:t>Troisième niveau</a:t>
            </a:r>
          </a:p>
          <a:p>
            <a:pPr lvl="3"/>
            <a:r>
              <a:rPr lang="fr-FR"/>
              <a:t>Quatrième niveau</a:t>
            </a:r>
          </a:p>
          <a:p>
            <a:pPr lvl="4"/>
            <a:r>
              <a:rPr lang="fr-FR"/>
              <a:t>Cinquième niveau</a:t>
            </a:r>
          </a:p>
        </p:txBody>
      </p:sp>
      <p:sp>
        <p:nvSpPr>
          <p:cNvPr id="13" name="Espace réservé du texte 12">
            <a:extLst>
              <a:ext uri="{FF2B5EF4-FFF2-40B4-BE49-F238E27FC236}">
                <a16:creationId xmlns:a16="http://schemas.microsoft.com/office/drawing/2014/main" id="{97619405-BB83-4C72-8BF3-80E44033FE68}"/>
              </a:ext>
            </a:extLst>
          </p:cNvPr>
          <p:cNvSpPr>
            <a:spLocks noGrp="1"/>
          </p:cNvSpPr>
          <p:nvPr>
            <p:ph type="body" sz="quarter" idx="14" hasCustomPrompt="1"/>
          </p:nvPr>
        </p:nvSpPr>
        <p:spPr>
          <a:xfrm>
            <a:off x="838201" y="1571724"/>
            <a:ext cx="10515600" cy="409575"/>
          </a:xfrm>
        </p:spPr>
        <p:txBody>
          <a:bodyPr/>
          <a:lstStyle>
            <a:lvl1pPr>
              <a:defRPr>
                <a:latin typeface="+mn-lt"/>
              </a:defRPr>
            </a:lvl1pPr>
          </a:lstStyle>
          <a:p>
            <a:pPr lvl="0"/>
            <a:r>
              <a:rPr lang="fr-FR"/>
              <a:t>MESSAGE</a:t>
            </a:r>
          </a:p>
        </p:txBody>
      </p:sp>
    </p:spTree>
    <p:extLst>
      <p:ext uri="{BB962C8B-B14F-4D97-AF65-F5344CB8AC3E}">
        <p14:creationId xmlns:p14="http://schemas.microsoft.com/office/powerpoint/2010/main" val="19990941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2 // Titre">
    <p:bg>
      <p:bgPr>
        <a:solidFill>
          <a:schemeClr val="tx2"/>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9" name="Google Shape;19;p3">
            <a:extLst>
              <a:ext uri="{FF2B5EF4-FFF2-40B4-BE49-F238E27FC236}">
                <a16:creationId xmlns:a16="http://schemas.microsoft.com/office/drawing/2014/main" id="{E7F38BF7-1385-411B-BDC4-0EE3A4521CB8}"/>
              </a:ext>
            </a:extLst>
          </p:cNvPr>
          <p:cNvPicPr preferRelativeResize="0"/>
          <p:nvPr userDrawn="1"/>
        </p:nvPicPr>
        <p:blipFill>
          <a:blip r:embed="rId2" cstate="screen">
            <a:extLst>
              <a:ext uri="{28A0092B-C50C-407E-A947-70E740481C1C}">
                <a14:useLocalDpi xmlns:a14="http://schemas.microsoft.com/office/drawing/2010/main"/>
              </a:ext>
            </a:extLst>
          </a:blip>
          <a:srcRect/>
          <a:stretch/>
        </p:blipFill>
        <p:spPr>
          <a:xfrm>
            <a:off x="10648284" y="103993"/>
            <a:ext cx="1381905" cy="778042"/>
          </a:xfrm>
          <a:prstGeom prst="rect">
            <a:avLst/>
          </a:prstGeom>
          <a:noFill/>
          <a:ln>
            <a:noFill/>
          </a:ln>
        </p:spPr>
      </p:pic>
    </p:spTree>
    <p:extLst>
      <p:ext uri="{BB962C8B-B14F-4D97-AF65-F5344CB8AC3E}">
        <p14:creationId xmlns:p14="http://schemas.microsoft.com/office/powerpoint/2010/main" val="868609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3 Violet">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9181" y="2899068"/>
            <a:ext cx="27561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2" name="Titre 1">
            <a:extLst>
              <a:ext uri="{FF2B5EF4-FFF2-40B4-BE49-F238E27FC236}">
                <a16:creationId xmlns:a16="http://schemas.microsoft.com/office/drawing/2014/main" id="{DD238828-F12C-42A8-AD50-BFFE81252D4D}"/>
              </a:ext>
            </a:extLst>
          </p:cNvPr>
          <p:cNvSpPr>
            <a:spLocks noGrp="1"/>
          </p:cNvSpPr>
          <p:nvPr>
            <p:ph type="title"/>
          </p:nvPr>
        </p:nvSpPr>
        <p:spPr>
          <a:xfrm>
            <a:off x="540001" y="252001"/>
            <a:ext cx="10618363" cy="422475"/>
          </a:xfrm>
          <a:prstGeom prst="rect">
            <a:avLst/>
          </a:prstGeom>
        </p:spPr>
        <p:txBody>
          <a:bodyPr lIns="0">
            <a:normAutofit/>
          </a:bodyPr>
          <a:lstStyle>
            <a:lvl1pPr>
              <a:defRPr sz="2000" b="1">
                <a:solidFill>
                  <a:srgbClr val="44388A"/>
                </a:solidFill>
                <a:latin typeface="Montserrat" panose="00000500000000000000" pitchFamily="2" charset="0"/>
              </a:defRPr>
            </a:lvl1pPr>
          </a:lstStyle>
          <a:p>
            <a:r>
              <a:rPr lang="fr-FR"/>
              <a:t>Modifiez le style du titre</a:t>
            </a:r>
          </a:p>
        </p:txBody>
      </p:sp>
      <p:sp>
        <p:nvSpPr>
          <p:cNvPr id="6" name="Google Shape;41;p7">
            <a:extLst>
              <a:ext uri="{FF2B5EF4-FFF2-40B4-BE49-F238E27FC236}">
                <a16:creationId xmlns:a16="http://schemas.microsoft.com/office/drawing/2014/main" id="{517CFBF0-3732-40EA-8267-2A342CA67BCD}"/>
              </a:ext>
            </a:extLst>
          </p:cNvPr>
          <p:cNvSpPr/>
          <p:nvPr userDrawn="1"/>
        </p:nvSpPr>
        <p:spPr>
          <a:xfrm>
            <a:off x="540000" y="216000"/>
            <a:ext cx="240000" cy="36000"/>
          </a:xfrm>
          <a:prstGeom prst="rect">
            <a:avLst/>
          </a:prstGeom>
          <a:solidFill>
            <a:srgbClr val="44388A"/>
          </a:solidFill>
          <a:ln>
            <a:noFill/>
          </a:ln>
        </p:spPr>
        <p:txBody>
          <a:bodyPr spcFirstLastPara="1" wrap="square" lIns="121900" tIns="121900" rIns="121900" bIns="121900" anchor="ctr" anchorCtr="0">
            <a:noAutofit/>
          </a:bodyPr>
          <a:lstStyle/>
          <a:p>
            <a:pPr>
              <a:buSzPts val="1400"/>
            </a:pPr>
            <a:endParaRPr sz="1400">
              <a:solidFill>
                <a:srgbClr val="315CA6"/>
              </a:solidFill>
            </a:endParaRPr>
          </a:p>
        </p:txBody>
      </p:sp>
      <p:sp>
        <p:nvSpPr>
          <p:cNvPr id="12" name="Espace réservé du contenu 11">
            <a:extLst>
              <a:ext uri="{FF2B5EF4-FFF2-40B4-BE49-F238E27FC236}">
                <a16:creationId xmlns:a16="http://schemas.microsoft.com/office/drawing/2014/main" id="{B32B6DE4-43A8-49DC-8D58-CA1E582C2C9C}"/>
              </a:ext>
            </a:extLst>
          </p:cNvPr>
          <p:cNvSpPr>
            <a:spLocks noGrp="1"/>
          </p:cNvSpPr>
          <p:nvPr>
            <p:ph sz="quarter" idx="10"/>
          </p:nvPr>
        </p:nvSpPr>
        <p:spPr>
          <a:xfrm>
            <a:off x="540000" y="1168403"/>
            <a:ext cx="11112000" cy="5365751"/>
          </a:xfrm>
          <a:prstGeom prst="rect">
            <a:avLst/>
          </a:prstGeom>
        </p:spPr>
        <p:txBody>
          <a:bodyPr/>
          <a:lstStyle>
            <a:lvl1pPr>
              <a:spcBef>
                <a:spcPts val="600"/>
              </a:spcBef>
              <a:defRPr sz="1600">
                <a:latin typeface="Montserrat" panose="00000500000000000000" pitchFamily="2" charset="0"/>
              </a:defRPr>
            </a:lvl1pPr>
            <a:lvl2pPr marL="241289" indent="-241289">
              <a:spcBef>
                <a:spcPts val="600"/>
              </a:spcBef>
              <a:buFont typeface="Courier New" panose="02070309020205020404" pitchFamily="49" charset="0"/>
              <a:buChar char="o"/>
              <a:defRPr sz="1600">
                <a:latin typeface="Montserrat" panose="00000500000000000000" pitchFamily="2" charset="0"/>
              </a:defRPr>
            </a:lvl2pPr>
            <a:lvl3pPr marL="479976" indent="-239989">
              <a:spcBef>
                <a:spcPts val="600"/>
              </a:spcBef>
              <a:buFont typeface="Courier New" panose="02070309020205020404" pitchFamily="49" charset="0"/>
              <a:buChar char="o"/>
              <a:defRPr sz="1600">
                <a:latin typeface="Montserrat" panose="00000500000000000000" pitchFamily="2" charset="0"/>
              </a:defRPr>
            </a:lvl3pPr>
            <a:lvl4pPr marL="719965" indent="-239989">
              <a:spcBef>
                <a:spcPts val="600"/>
              </a:spcBef>
              <a:buFont typeface="Courier New" panose="02070309020205020404" pitchFamily="49" charset="0"/>
              <a:buChar char="o"/>
              <a:defRPr sz="1600">
                <a:latin typeface="Montserrat" panose="00000500000000000000" pitchFamily="2" charset="0"/>
              </a:defRPr>
            </a:lvl4pPr>
            <a:lvl5pPr marL="959952" indent="-239989">
              <a:spcBef>
                <a:spcPts val="600"/>
              </a:spcBef>
              <a:buFont typeface="Courier New" panose="02070309020205020404" pitchFamily="49" charset="0"/>
              <a:buChar char="o"/>
              <a:defRPr sz="1600">
                <a:latin typeface="Montserrat" panose="00000500000000000000" pitchFamily="2"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8" name="Espace réservé du numéro de diapositive 7">
            <a:extLst>
              <a:ext uri="{FF2B5EF4-FFF2-40B4-BE49-F238E27FC236}">
                <a16:creationId xmlns:a16="http://schemas.microsoft.com/office/drawing/2014/main" id="{2C8D6BB2-2198-4EBD-BC85-11DB1ADD0E88}"/>
              </a:ext>
            </a:extLst>
          </p:cNvPr>
          <p:cNvSpPr>
            <a:spLocks noGrp="1"/>
          </p:cNvSpPr>
          <p:nvPr>
            <p:ph type="sldNum" sz="quarter" idx="11"/>
          </p:nvPr>
        </p:nvSpPr>
        <p:spPr/>
        <p:txBody>
          <a:bodyPr/>
          <a:lstStyle/>
          <a:p>
            <a:pPr algn="r"/>
            <a:fld id="{AFCB68F6-3E4D-4C63-937E-6E2B133B0CBF}" type="slidenum">
              <a:rPr lang="fr-FR" smtClean="0"/>
              <a:pPr algn="r"/>
              <a:t>‹N°›</a:t>
            </a:fld>
            <a:endParaRPr lang="fr-FR"/>
          </a:p>
        </p:txBody>
      </p:sp>
      <p:sp>
        <p:nvSpPr>
          <p:cNvPr id="9" name="ZoneTexte 8">
            <a:extLst>
              <a:ext uri="{FF2B5EF4-FFF2-40B4-BE49-F238E27FC236}">
                <a16:creationId xmlns:a16="http://schemas.microsoft.com/office/drawing/2014/main" id="{D95F0553-FB08-110E-F5CB-EA6B0B577C85}"/>
              </a:ext>
            </a:extLst>
          </p:cNvPr>
          <p:cNvSpPr txBox="1"/>
          <p:nvPr userDrawn="1"/>
        </p:nvSpPr>
        <p:spPr>
          <a:xfrm>
            <a:off x="-499430" y="1886649"/>
            <a:ext cx="303720" cy="305290"/>
          </a:xfrm>
          <a:prstGeom prst="rect">
            <a:avLst/>
          </a:prstGeom>
          <a:solidFill>
            <a:srgbClr val="1C5C76"/>
          </a:solidFill>
          <a:ln>
            <a:noFill/>
          </a:ln>
        </p:spPr>
        <p:txBody>
          <a:bodyPr wrap="square" rtlCol="0">
            <a:spAutoFit/>
          </a:bodyPr>
          <a:lstStyle/>
          <a:p>
            <a:endParaRPr lang="fr-FR">
              <a:solidFill>
                <a:srgbClr val="44388A"/>
              </a:solidFill>
            </a:endParaRPr>
          </a:p>
        </p:txBody>
      </p:sp>
      <p:sp>
        <p:nvSpPr>
          <p:cNvPr id="10" name="ZoneTexte 9">
            <a:extLst>
              <a:ext uri="{FF2B5EF4-FFF2-40B4-BE49-F238E27FC236}">
                <a16:creationId xmlns:a16="http://schemas.microsoft.com/office/drawing/2014/main" id="{23FD2D9A-D0A9-7AB0-CEEB-EAFD5EF7395E}"/>
              </a:ext>
            </a:extLst>
          </p:cNvPr>
          <p:cNvSpPr txBox="1"/>
          <p:nvPr userDrawn="1"/>
        </p:nvSpPr>
        <p:spPr>
          <a:xfrm>
            <a:off x="-499430" y="2400766"/>
            <a:ext cx="303720" cy="305290"/>
          </a:xfrm>
          <a:prstGeom prst="rect">
            <a:avLst/>
          </a:prstGeom>
          <a:solidFill>
            <a:srgbClr val="257A9D"/>
          </a:solidFill>
          <a:ln>
            <a:noFill/>
          </a:ln>
        </p:spPr>
        <p:txBody>
          <a:bodyPr wrap="square" rtlCol="0">
            <a:spAutoFit/>
          </a:bodyPr>
          <a:lstStyle/>
          <a:p>
            <a:endParaRPr lang="fr-FR">
              <a:solidFill>
                <a:srgbClr val="44388A"/>
              </a:solidFill>
            </a:endParaRPr>
          </a:p>
        </p:txBody>
      </p:sp>
      <p:sp>
        <p:nvSpPr>
          <p:cNvPr id="11" name="ZoneTexte 10">
            <a:extLst>
              <a:ext uri="{FF2B5EF4-FFF2-40B4-BE49-F238E27FC236}">
                <a16:creationId xmlns:a16="http://schemas.microsoft.com/office/drawing/2014/main" id="{A1569E14-CD59-7876-8AA5-F45A4E8E2AE8}"/>
              </a:ext>
            </a:extLst>
          </p:cNvPr>
          <p:cNvSpPr txBox="1"/>
          <p:nvPr userDrawn="1"/>
        </p:nvSpPr>
        <p:spPr>
          <a:xfrm>
            <a:off x="-499430" y="2914883"/>
            <a:ext cx="303720" cy="305290"/>
          </a:xfrm>
          <a:prstGeom prst="rect">
            <a:avLst/>
          </a:prstGeom>
          <a:solidFill>
            <a:srgbClr val="66B9DB"/>
          </a:solidFill>
          <a:ln>
            <a:noFill/>
          </a:ln>
        </p:spPr>
        <p:txBody>
          <a:bodyPr wrap="square" rtlCol="0">
            <a:spAutoFit/>
          </a:bodyPr>
          <a:lstStyle/>
          <a:p>
            <a:endParaRPr lang="fr-FR">
              <a:solidFill>
                <a:srgbClr val="44388A"/>
              </a:solidFill>
            </a:endParaRPr>
          </a:p>
        </p:txBody>
      </p:sp>
      <p:sp>
        <p:nvSpPr>
          <p:cNvPr id="13" name="ZoneTexte 12">
            <a:extLst>
              <a:ext uri="{FF2B5EF4-FFF2-40B4-BE49-F238E27FC236}">
                <a16:creationId xmlns:a16="http://schemas.microsoft.com/office/drawing/2014/main" id="{C25C5919-CB65-E208-B8F4-CEAB8AF5ABD5}"/>
              </a:ext>
            </a:extLst>
          </p:cNvPr>
          <p:cNvSpPr txBox="1"/>
          <p:nvPr userDrawn="1"/>
        </p:nvSpPr>
        <p:spPr>
          <a:xfrm>
            <a:off x="-499430" y="3429000"/>
            <a:ext cx="303720" cy="305290"/>
          </a:xfrm>
          <a:prstGeom prst="rect">
            <a:avLst/>
          </a:prstGeom>
          <a:solidFill>
            <a:srgbClr val="DAF6F7"/>
          </a:solidFill>
          <a:ln>
            <a:noFill/>
          </a:ln>
        </p:spPr>
        <p:txBody>
          <a:bodyPr wrap="square" rtlCol="0">
            <a:spAutoFit/>
          </a:bodyPr>
          <a:lstStyle/>
          <a:p>
            <a:endParaRPr lang="fr-FR">
              <a:solidFill>
                <a:srgbClr val="44388A"/>
              </a:solidFill>
            </a:endParaRPr>
          </a:p>
        </p:txBody>
      </p:sp>
      <p:sp>
        <p:nvSpPr>
          <p:cNvPr id="14" name="ZoneTexte 13">
            <a:extLst>
              <a:ext uri="{FF2B5EF4-FFF2-40B4-BE49-F238E27FC236}">
                <a16:creationId xmlns:a16="http://schemas.microsoft.com/office/drawing/2014/main" id="{913F0E38-CD3F-3F4E-2FC5-6796FB12280F}"/>
              </a:ext>
            </a:extLst>
          </p:cNvPr>
          <p:cNvSpPr txBox="1"/>
          <p:nvPr userDrawn="1"/>
        </p:nvSpPr>
        <p:spPr>
          <a:xfrm>
            <a:off x="-1014265" y="1886649"/>
            <a:ext cx="303720" cy="305290"/>
          </a:xfrm>
          <a:prstGeom prst="rect">
            <a:avLst/>
          </a:prstGeom>
          <a:solidFill>
            <a:srgbClr val="221D45"/>
          </a:solidFill>
          <a:ln>
            <a:noFill/>
          </a:ln>
        </p:spPr>
        <p:txBody>
          <a:bodyPr wrap="square" rtlCol="0">
            <a:spAutoFit/>
          </a:bodyPr>
          <a:lstStyle/>
          <a:p>
            <a:endParaRPr lang="fr-FR">
              <a:solidFill>
                <a:srgbClr val="44388A"/>
              </a:solidFill>
            </a:endParaRPr>
          </a:p>
        </p:txBody>
      </p:sp>
      <p:sp>
        <p:nvSpPr>
          <p:cNvPr id="15" name="ZoneTexte 14">
            <a:extLst>
              <a:ext uri="{FF2B5EF4-FFF2-40B4-BE49-F238E27FC236}">
                <a16:creationId xmlns:a16="http://schemas.microsoft.com/office/drawing/2014/main" id="{D617E313-5127-9777-0620-0E559AB598BE}"/>
              </a:ext>
            </a:extLst>
          </p:cNvPr>
          <p:cNvSpPr txBox="1"/>
          <p:nvPr userDrawn="1"/>
        </p:nvSpPr>
        <p:spPr>
          <a:xfrm>
            <a:off x="-1014265" y="2400766"/>
            <a:ext cx="303720" cy="305290"/>
          </a:xfrm>
          <a:prstGeom prst="rect">
            <a:avLst/>
          </a:prstGeom>
          <a:solidFill>
            <a:srgbClr val="44388A"/>
          </a:solidFill>
          <a:ln>
            <a:noFill/>
          </a:ln>
        </p:spPr>
        <p:txBody>
          <a:bodyPr wrap="square" rtlCol="0">
            <a:spAutoFit/>
          </a:bodyPr>
          <a:lstStyle/>
          <a:p>
            <a:endParaRPr lang="fr-FR">
              <a:solidFill>
                <a:srgbClr val="44388A"/>
              </a:solidFill>
            </a:endParaRPr>
          </a:p>
        </p:txBody>
      </p:sp>
      <p:sp>
        <p:nvSpPr>
          <p:cNvPr id="16" name="ZoneTexte 15">
            <a:extLst>
              <a:ext uri="{FF2B5EF4-FFF2-40B4-BE49-F238E27FC236}">
                <a16:creationId xmlns:a16="http://schemas.microsoft.com/office/drawing/2014/main" id="{CF884CC1-3704-837B-6630-95D26F15FB36}"/>
              </a:ext>
            </a:extLst>
          </p:cNvPr>
          <p:cNvSpPr txBox="1"/>
          <p:nvPr userDrawn="1"/>
        </p:nvSpPr>
        <p:spPr>
          <a:xfrm>
            <a:off x="-1014265" y="2914883"/>
            <a:ext cx="303720" cy="305290"/>
          </a:xfrm>
          <a:prstGeom prst="rect">
            <a:avLst/>
          </a:prstGeom>
          <a:solidFill>
            <a:srgbClr val="8479C8"/>
          </a:solidFill>
          <a:ln>
            <a:noFill/>
          </a:ln>
        </p:spPr>
        <p:txBody>
          <a:bodyPr wrap="square" rtlCol="0">
            <a:spAutoFit/>
          </a:bodyPr>
          <a:lstStyle/>
          <a:p>
            <a:endParaRPr lang="fr-FR">
              <a:solidFill>
                <a:srgbClr val="44388A"/>
              </a:solidFill>
            </a:endParaRPr>
          </a:p>
        </p:txBody>
      </p:sp>
      <p:sp>
        <p:nvSpPr>
          <p:cNvPr id="17" name="ZoneTexte 16">
            <a:extLst>
              <a:ext uri="{FF2B5EF4-FFF2-40B4-BE49-F238E27FC236}">
                <a16:creationId xmlns:a16="http://schemas.microsoft.com/office/drawing/2014/main" id="{3D18BFF1-2C54-E5B0-810E-345DE3DFD7C8}"/>
              </a:ext>
            </a:extLst>
          </p:cNvPr>
          <p:cNvSpPr txBox="1"/>
          <p:nvPr userDrawn="1"/>
        </p:nvSpPr>
        <p:spPr>
          <a:xfrm>
            <a:off x="-1014265" y="3429000"/>
            <a:ext cx="303720" cy="305290"/>
          </a:xfrm>
          <a:prstGeom prst="rect">
            <a:avLst/>
          </a:prstGeom>
          <a:solidFill>
            <a:srgbClr val="DDDBEA"/>
          </a:solidFill>
          <a:ln>
            <a:noFill/>
          </a:ln>
        </p:spPr>
        <p:txBody>
          <a:bodyPr wrap="square" rtlCol="0">
            <a:spAutoFit/>
          </a:bodyPr>
          <a:lstStyle/>
          <a:p>
            <a:endParaRPr lang="fr-FR">
              <a:solidFill>
                <a:srgbClr val="44388A"/>
              </a:solidFill>
            </a:endParaRPr>
          </a:p>
        </p:txBody>
      </p:sp>
      <p:sp>
        <p:nvSpPr>
          <p:cNvPr id="18" name="ZoneTexte 17">
            <a:extLst>
              <a:ext uri="{FF2B5EF4-FFF2-40B4-BE49-F238E27FC236}">
                <a16:creationId xmlns:a16="http://schemas.microsoft.com/office/drawing/2014/main" id="{578381C1-D86E-7AB7-EAE5-0A27E4E2A2E9}"/>
              </a:ext>
            </a:extLst>
          </p:cNvPr>
          <p:cNvSpPr txBox="1"/>
          <p:nvPr userDrawn="1"/>
        </p:nvSpPr>
        <p:spPr>
          <a:xfrm>
            <a:off x="-1529100" y="1886649"/>
            <a:ext cx="303720" cy="305290"/>
          </a:xfrm>
          <a:prstGeom prst="rect">
            <a:avLst/>
          </a:prstGeom>
          <a:solidFill>
            <a:srgbClr val="203F8D"/>
          </a:solidFill>
          <a:ln>
            <a:noFill/>
          </a:ln>
        </p:spPr>
        <p:txBody>
          <a:bodyPr wrap="square" rtlCol="0">
            <a:spAutoFit/>
          </a:bodyPr>
          <a:lstStyle/>
          <a:p>
            <a:endParaRPr lang="fr-FR">
              <a:solidFill>
                <a:srgbClr val="44388A"/>
              </a:solidFill>
            </a:endParaRPr>
          </a:p>
        </p:txBody>
      </p:sp>
      <p:sp>
        <p:nvSpPr>
          <p:cNvPr id="19" name="ZoneTexte 18">
            <a:extLst>
              <a:ext uri="{FF2B5EF4-FFF2-40B4-BE49-F238E27FC236}">
                <a16:creationId xmlns:a16="http://schemas.microsoft.com/office/drawing/2014/main" id="{D96B2A60-B16D-4742-915F-8A3B3FEA8E68}"/>
              </a:ext>
            </a:extLst>
          </p:cNvPr>
          <p:cNvSpPr txBox="1"/>
          <p:nvPr userDrawn="1"/>
        </p:nvSpPr>
        <p:spPr>
          <a:xfrm>
            <a:off x="-1529100" y="2400766"/>
            <a:ext cx="303720" cy="305290"/>
          </a:xfrm>
          <a:prstGeom prst="rect">
            <a:avLst/>
          </a:prstGeom>
          <a:solidFill>
            <a:srgbClr val="5A7EDA"/>
          </a:solidFill>
          <a:ln>
            <a:noFill/>
          </a:ln>
        </p:spPr>
        <p:txBody>
          <a:bodyPr wrap="square" rtlCol="0">
            <a:spAutoFit/>
          </a:bodyPr>
          <a:lstStyle/>
          <a:p>
            <a:endParaRPr lang="fr-FR">
              <a:solidFill>
                <a:srgbClr val="44388A"/>
              </a:solidFill>
            </a:endParaRPr>
          </a:p>
        </p:txBody>
      </p:sp>
      <p:sp>
        <p:nvSpPr>
          <p:cNvPr id="20" name="ZoneTexte 19">
            <a:extLst>
              <a:ext uri="{FF2B5EF4-FFF2-40B4-BE49-F238E27FC236}">
                <a16:creationId xmlns:a16="http://schemas.microsoft.com/office/drawing/2014/main" id="{DC1FDC6C-2E02-7843-2101-890CBC5A73A5}"/>
              </a:ext>
            </a:extLst>
          </p:cNvPr>
          <p:cNvSpPr txBox="1"/>
          <p:nvPr userDrawn="1"/>
        </p:nvSpPr>
        <p:spPr>
          <a:xfrm>
            <a:off x="-1529100" y="2914883"/>
            <a:ext cx="303720" cy="305290"/>
          </a:xfrm>
          <a:prstGeom prst="rect">
            <a:avLst/>
          </a:prstGeom>
          <a:solidFill>
            <a:srgbClr val="C8D4F3"/>
          </a:solidFill>
          <a:ln>
            <a:noFill/>
          </a:ln>
        </p:spPr>
        <p:txBody>
          <a:bodyPr wrap="square" rtlCol="0">
            <a:spAutoFit/>
          </a:bodyPr>
          <a:lstStyle/>
          <a:p>
            <a:endParaRPr lang="fr-FR">
              <a:solidFill>
                <a:srgbClr val="44388A"/>
              </a:solidFill>
            </a:endParaRPr>
          </a:p>
        </p:txBody>
      </p:sp>
      <p:sp>
        <p:nvSpPr>
          <p:cNvPr id="21" name="ZoneTexte 20">
            <a:extLst>
              <a:ext uri="{FF2B5EF4-FFF2-40B4-BE49-F238E27FC236}">
                <a16:creationId xmlns:a16="http://schemas.microsoft.com/office/drawing/2014/main" id="{5D1F0CEE-AE0B-3507-54F6-758EAB8D39FA}"/>
              </a:ext>
            </a:extLst>
          </p:cNvPr>
          <p:cNvSpPr txBox="1"/>
          <p:nvPr userDrawn="1"/>
        </p:nvSpPr>
        <p:spPr>
          <a:xfrm>
            <a:off x="-1529100" y="3429000"/>
            <a:ext cx="303720" cy="305290"/>
          </a:xfrm>
          <a:prstGeom prst="rect">
            <a:avLst/>
          </a:prstGeom>
          <a:solidFill>
            <a:srgbClr val="CFE0F2"/>
          </a:solidFill>
          <a:ln>
            <a:noFill/>
          </a:ln>
        </p:spPr>
        <p:txBody>
          <a:bodyPr wrap="square" rtlCol="0">
            <a:spAutoFit/>
          </a:bodyPr>
          <a:lstStyle/>
          <a:p>
            <a:endParaRPr lang="fr-FR">
              <a:solidFill>
                <a:srgbClr val="44388A"/>
              </a:solidFill>
            </a:endParaRPr>
          </a:p>
        </p:txBody>
      </p:sp>
      <p:pic>
        <p:nvPicPr>
          <p:cNvPr id="7" name="Google Shape;19;p3">
            <a:extLst>
              <a:ext uri="{FF2B5EF4-FFF2-40B4-BE49-F238E27FC236}">
                <a16:creationId xmlns:a16="http://schemas.microsoft.com/office/drawing/2014/main" id="{C0FBC706-14E2-7D74-52F7-A0C470EA1CAD}"/>
              </a:ext>
            </a:extLst>
          </p:cNvPr>
          <p:cNvPicPr preferRelativeResize="0"/>
          <p:nvPr userDrawn="1"/>
        </p:nvPicPr>
        <p:blipFill>
          <a:blip r:embed="rId2" cstate="screen">
            <a:extLst>
              <a:ext uri="{28A0092B-C50C-407E-A947-70E740481C1C}">
                <a14:useLocalDpi xmlns:a14="http://schemas.microsoft.com/office/drawing/2010/main"/>
              </a:ext>
            </a:extLst>
          </a:blip>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9143520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0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1" y="1"/>
            <a:ext cx="266420" cy="6906667"/>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9181" y="2899068"/>
            <a:ext cx="27561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pPr marL="0" marR="0" lvl="0" indent="0" algn="ctr" rtl="0">
                <a:spcBef>
                  <a:spcPts val="0"/>
                </a:spcBef>
                <a:spcAft>
                  <a:spcPts val="0"/>
                </a:spcAft>
                <a:buNone/>
              </a:p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C12B4A1-2342-BB49-89C9-6BAE61C2CD71}"/>
              </a:ext>
            </a:extLst>
          </p:cNvPr>
          <p:cNvSpPr txBox="1"/>
          <p:nvPr userDrawn="1"/>
        </p:nvSpPr>
        <p:spPr>
          <a:xfrm>
            <a:off x="444500" y="6555163"/>
            <a:ext cx="934200" cy="169277"/>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1;p7">
            <a:extLst>
              <a:ext uri="{FF2B5EF4-FFF2-40B4-BE49-F238E27FC236}">
                <a16:creationId xmlns:a16="http://schemas.microsoft.com/office/drawing/2014/main" id="{6E0457C2-41CC-5142-B27A-5F996A80B512}"/>
              </a:ext>
            </a:extLst>
          </p:cNvPr>
          <p:cNvSpPr/>
          <p:nvPr userDrawn="1"/>
        </p:nvSpPr>
        <p:spPr>
          <a:xfrm>
            <a:off x="572283" y="268518"/>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0F7D022F-FD93-F94B-9B89-4675DABBB175}"/>
              </a:ext>
            </a:extLst>
          </p:cNvPr>
          <p:cNvSpPr txBox="1">
            <a:spLocks noGrp="1"/>
          </p:cNvSpPr>
          <p:nvPr>
            <p:ph type="title"/>
          </p:nvPr>
        </p:nvSpPr>
        <p:spPr>
          <a:xfrm>
            <a:off x="396656" y="260224"/>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2" name="Google Shape;86;p14">
            <a:extLst>
              <a:ext uri="{FF2B5EF4-FFF2-40B4-BE49-F238E27FC236}">
                <a16:creationId xmlns:a16="http://schemas.microsoft.com/office/drawing/2014/main" id="{C6387D16-8785-004D-BD68-A65E1A434695}"/>
              </a:ext>
            </a:extLst>
          </p:cNvPr>
          <p:cNvSpPr/>
          <p:nvPr userDrawn="1"/>
        </p:nvSpPr>
        <p:spPr>
          <a:xfrm>
            <a:off x="488583" y="268517"/>
            <a:ext cx="334800" cy="25200"/>
          </a:xfrm>
          <a:prstGeom prst="rect">
            <a:avLst/>
          </a:prstGeom>
          <a:solidFill>
            <a:srgbClr val="44378A"/>
          </a:solidFill>
          <a:ln>
            <a:solidFill>
              <a:srgbClr val="44378A"/>
            </a:solid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E60859CA-3C30-1A48-9CEC-6DDEC624EE71}"/>
              </a:ext>
            </a:extLst>
          </p:cNvPr>
          <p:cNvSpPr txBox="1">
            <a:spLocks noGrp="1"/>
          </p:cNvSpPr>
          <p:nvPr>
            <p:ph type="body" idx="1"/>
          </p:nvPr>
        </p:nvSpPr>
        <p:spPr>
          <a:xfrm>
            <a:off x="396657" y="835753"/>
            <a:ext cx="11574945" cy="5581067"/>
          </a:xfrm>
          <a:prstGeom prst="rect">
            <a:avLst/>
          </a:prstGeom>
          <a:noFill/>
          <a:ln>
            <a:noFill/>
          </a:ln>
        </p:spPr>
        <p:txBody>
          <a:bodyPr spcFirstLastPara="1" wrap="square" lIns="91425" tIns="91425" rIns="91425" bIns="91425" anchor="t" anchorCtr="0">
            <a:noAutofit/>
          </a:bodyPr>
          <a:lstStyle>
            <a:lvl1pPr marL="186258"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40" marR="0" lvl="1" indent="-423312"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09" marR="0" lvl="2"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278" marR="0" lvl="3"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848" marR="0" lvl="4"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418" marR="0" lvl="5"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6987" marR="0" lvl="6"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557" marR="0" lvl="7"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126" marR="0" lvl="8" indent="-423312"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15" name="Google Shape;69;p4">
            <a:extLst>
              <a:ext uri="{FF2B5EF4-FFF2-40B4-BE49-F238E27FC236}">
                <a16:creationId xmlns:a16="http://schemas.microsoft.com/office/drawing/2014/main" id="{E0D8909F-6344-3E4F-9FBB-1955CCD6250F}"/>
              </a:ext>
            </a:extLst>
          </p:cNvPr>
          <p:cNvPicPr>
            <a:picLocks noChangeAspect="1"/>
          </p:cNvPicPr>
          <p:nvPr userDrawn="1"/>
        </p:nvPicPr>
        <p:blipFill>
          <a:blip r:embed="rId2"/>
          <a:srcRect/>
          <a:stretch>
            <a:fillRect/>
          </a:stretch>
        </p:blipFill>
        <p:spPr>
          <a:xfrm>
            <a:off x="10596838" y="130963"/>
            <a:ext cx="1238399" cy="588544"/>
          </a:xfrm>
          <a:prstGeom prst="rect">
            <a:avLst/>
          </a:prstGeom>
          <a:noFill/>
          <a:ln cap="flat">
            <a:noFill/>
          </a:ln>
        </p:spPr>
      </p:pic>
    </p:spTree>
    <p:extLst>
      <p:ext uri="{BB962C8B-B14F-4D97-AF65-F5344CB8AC3E}">
        <p14:creationId xmlns:p14="http://schemas.microsoft.com/office/powerpoint/2010/main" val="246697360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alan general 2">
  <p:cSld name="Talan general 2">
    <p:spTree>
      <p:nvGrpSpPr>
        <p:cNvPr id="1" name="Shape 609"/>
        <p:cNvGrpSpPr/>
        <p:nvPr/>
      </p:nvGrpSpPr>
      <p:grpSpPr>
        <a:xfrm>
          <a:off x="0" y="0"/>
          <a:ext cx="0" cy="0"/>
          <a:chOff x="0" y="0"/>
          <a:chExt cx="0" cy="0"/>
        </a:xfrm>
      </p:grpSpPr>
      <p:sp>
        <p:nvSpPr>
          <p:cNvPr id="610" name="Google Shape;610;p131"/>
          <p:cNvSpPr txBox="1">
            <a:spLocks noGrp="1"/>
          </p:cNvSpPr>
          <p:nvPr>
            <p:ph type="title"/>
          </p:nvPr>
        </p:nvSpPr>
        <p:spPr>
          <a:xfrm>
            <a:off x="444499" y="505303"/>
            <a:ext cx="9900000" cy="276999"/>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2000"/>
              <a:buFont typeface="Montserrat"/>
              <a:buNone/>
              <a:defRPr sz="2000" b="1" i="0" u="none" strike="noStrike" cap="none">
                <a:solidFill>
                  <a:schemeClr val="accent1"/>
                </a:solidFill>
                <a:latin typeface="Montserrat"/>
                <a:ea typeface="Montserrat"/>
                <a:cs typeface="Montserrat"/>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cxnSp>
        <p:nvCxnSpPr>
          <p:cNvPr id="611" name="Google Shape;611;p131"/>
          <p:cNvCxnSpPr/>
          <p:nvPr/>
        </p:nvCxnSpPr>
        <p:spPr>
          <a:xfrm>
            <a:off x="444500" y="334432"/>
            <a:ext cx="216000" cy="0"/>
          </a:xfrm>
          <a:prstGeom prst="straightConnector1">
            <a:avLst/>
          </a:prstGeom>
          <a:noFill/>
          <a:ln w="25400" cap="flat" cmpd="sng">
            <a:solidFill>
              <a:schemeClr val="accent1"/>
            </a:solidFill>
            <a:prstDash val="solid"/>
            <a:miter lim="800000"/>
            <a:headEnd type="none" w="sm" len="sm"/>
            <a:tailEnd type="none" w="sm" len="sm"/>
          </a:ln>
        </p:spPr>
      </p:cxnSp>
      <p:sp>
        <p:nvSpPr>
          <p:cNvPr id="612" name="Google Shape;612;p131"/>
          <p:cNvSpPr/>
          <p:nvPr/>
        </p:nvSpPr>
        <p:spPr>
          <a:xfrm rot="10800000" flipH="1">
            <a:off x="4" y="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chemeClr val="accent1"/>
          </a:solidFill>
          <a:ln>
            <a:noFill/>
          </a:ln>
        </p:spPr>
        <p:txBody>
          <a:bodyPr spcFirstLastPara="1" wrap="square" lIns="121900" tIns="60950" rIns="121900" bIns="60950" anchor="ctr" anchorCtr="0">
            <a:noAutofit/>
          </a:bodyPr>
          <a:lstStyle/>
          <a:p>
            <a:pPr marL="0" marR="0" lvl="0" indent="0" algn="ctr" rtl="0">
              <a:lnSpc>
                <a:spcPct val="100000"/>
              </a:lnSpc>
              <a:spcBef>
                <a:spcPts val="0"/>
              </a:spcBef>
              <a:spcAft>
                <a:spcPts val="0"/>
              </a:spcAft>
              <a:buClr>
                <a:srgbClr val="000000"/>
              </a:buClr>
              <a:buSzPts val="2489"/>
              <a:buFont typeface="Arial"/>
              <a:buNone/>
            </a:pPr>
            <a:endParaRPr sz="2489" b="0" i="0" u="none" strike="noStrike" cap="none">
              <a:solidFill>
                <a:schemeClr val="lt1"/>
              </a:solidFill>
              <a:latin typeface="Montserrat"/>
              <a:ea typeface="Montserrat"/>
              <a:cs typeface="Montserrat"/>
              <a:sym typeface="Montserrat"/>
            </a:endParaRPr>
          </a:p>
        </p:txBody>
      </p:sp>
      <p:sp>
        <p:nvSpPr>
          <p:cNvPr id="613" name="Google Shape;613;p131"/>
          <p:cNvSpPr/>
          <p:nvPr/>
        </p:nvSpPr>
        <p:spPr>
          <a:xfrm>
            <a:off x="4" y="308300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rgbClr val="66BDFF"/>
          </a:solidFill>
          <a:ln>
            <a:noFill/>
          </a:ln>
        </p:spPr>
        <p:txBody>
          <a:bodyPr spcFirstLastPara="1" wrap="square" lIns="121900" tIns="60950" rIns="121900" bIns="60950" anchor="ctr" anchorCtr="0">
            <a:noAutofit/>
          </a:bodyPr>
          <a:lstStyle/>
          <a:p>
            <a:pPr marL="0" marR="0" lvl="0" indent="0" algn="ctr" rtl="0">
              <a:lnSpc>
                <a:spcPct val="100000"/>
              </a:lnSpc>
              <a:spcBef>
                <a:spcPts val="0"/>
              </a:spcBef>
              <a:spcAft>
                <a:spcPts val="0"/>
              </a:spcAft>
              <a:buClr>
                <a:srgbClr val="000000"/>
              </a:buClr>
              <a:buSzPts val="2489"/>
              <a:buFont typeface="Arial"/>
              <a:buNone/>
            </a:pPr>
            <a:endParaRPr sz="2489" b="0" i="0" u="none" strike="noStrike" cap="none">
              <a:solidFill>
                <a:schemeClr val="lt1"/>
              </a:solidFill>
              <a:latin typeface="Montserrat"/>
              <a:ea typeface="Montserrat"/>
              <a:cs typeface="Montserrat"/>
              <a:sym typeface="Montserrat"/>
            </a:endParaRPr>
          </a:p>
        </p:txBody>
      </p:sp>
      <p:sp>
        <p:nvSpPr>
          <p:cNvPr id="614" name="Google Shape;614;p131"/>
          <p:cNvSpPr txBox="1">
            <a:spLocks noGrp="1"/>
          </p:cNvSpPr>
          <p:nvPr>
            <p:ph type="body" idx="1"/>
          </p:nvPr>
        </p:nvSpPr>
        <p:spPr>
          <a:xfrm>
            <a:off x="444498" y="1102786"/>
            <a:ext cx="11366500" cy="193899"/>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333"/>
              </a:spcBef>
              <a:spcAft>
                <a:spcPts val="0"/>
              </a:spcAft>
              <a:buClr>
                <a:schemeClr val="dk2"/>
              </a:buClr>
              <a:buSzPts val="1400"/>
              <a:buFont typeface="Arial"/>
              <a:buNone/>
              <a:defRPr sz="1400" b="0" i="0" u="none" strike="noStrike" cap="none">
                <a:solidFill>
                  <a:schemeClr val="dk2"/>
                </a:solidFill>
                <a:latin typeface="Montserrat"/>
                <a:ea typeface="Montserrat"/>
                <a:cs typeface="Montserrat"/>
                <a:sym typeface="Montserrat"/>
              </a:defRPr>
            </a:lvl1pPr>
            <a:lvl2pPr marL="914400" marR="0" lvl="1" indent="-228600" algn="l" rtl="0">
              <a:lnSpc>
                <a:spcPct val="90000"/>
              </a:lnSpc>
              <a:spcBef>
                <a:spcPts val="667"/>
              </a:spcBef>
              <a:spcAft>
                <a:spcPts val="0"/>
              </a:spcAft>
              <a:buClr>
                <a:schemeClr val="dk2"/>
              </a:buClr>
              <a:buSzPts val="1200"/>
              <a:buFont typeface="Arial"/>
              <a:buNone/>
              <a:defRPr sz="1200" b="0" i="0" u="none" strike="noStrike" cap="none">
                <a:solidFill>
                  <a:schemeClr val="dk2"/>
                </a:solidFill>
                <a:latin typeface="Montserrat"/>
                <a:ea typeface="Montserrat"/>
                <a:cs typeface="Montserrat"/>
                <a:sym typeface="Montserrat"/>
              </a:defRPr>
            </a:lvl2pPr>
            <a:lvl3pPr marL="1371600" marR="0" lvl="2" indent="-304800" algn="l" rtl="0">
              <a:lnSpc>
                <a:spcPct val="90000"/>
              </a:lnSpc>
              <a:spcBef>
                <a:spcPts val="667"/>
              </a:spcBef>
              <a:spcAft>
                <a:spcPts val="0"/>
              </a:spcAft>
              <a:buClr>
                <a:schemeClr val="accent5"/>
              </a:buClr>
              <a:buSzPts val="1200"/>
              <a:buFont typeface="Arial"/>
              <a:buChar char="•"/>
              <a:defRPr sz="1200" b="0" i="0" u="none" strike="noStrike" cap="none">
                <a:solidFill>
                  <a:schemeClr val="dk2"/>
                </a:solidFill>
                <a:latin typeface="Montserrat"/>
                <a:ea typeface="Montserrat"/>
                <a:cs typeface="Montserrat"/>
                <a:sym typeface="Montserrat"/>
              </a:defRPr>
            </a:lvl3pPr>
            <a:lvl4pPr marL="1828800" marR="0" lvl="3"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4pPr>
            <a:lvl5pPr marL="2286000" marR="0" lvl="4"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5pPr>
            <a:lvl6pPr marL="2743200" marR="0" lvl="5"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6pPr>
            <a:lvl7pPr marL="3200400" marR="0" lvl="6"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7pPr>
            <a:lvl8pPr marL="3657600" marR="0" lvl="7"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8pPr>
            <a:lvl9pPr marL="4114800" marR="0" lvl="8"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9pPr>
          </a:lstStyle>
          <a:p>
            <a:endParaRPr/>
          </a:p>
        </p:txBody>
      </p:sp>
      <p:sp>
        <p:nvSpPr>
          <p:cNvPr id="615" name="Google Shape;615;p131"/>
          <p:cNvSpPr txBox="1"/>
          <p:nvPr/>
        </p:nvSpPr>
        <p:spPr>
          <a:xfrm>
            <a:off x="11552651" y="6557760"/>
            <a:ext cx="258084" cy="169277"/>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Arial"/>
              <a:buNone/>
            </a:pPr>
            <a:fld id="{00000000-1234-1234-1234-123412341234}" type="slidenum">
              <a:rPr lang="fr-FR" sz="1100" b="0" i="0" u="none" strike="noStrike" cap="none">
                <a:solidFill>
                  <a:schemeClr val="dk2"/>
                </a:solidFill>
                <a:latin typeface="Montserrat"/>
                <a:ea typeface="Montserrat"/>
                <a:cs typeface="Montserrat"/>
                <a:sym typeface="Montserrat"/>
              </a:rPr>
              <a:t>‹N°›</a:t>
            </a:fld>
            <a:endParaRPr sz="1100" b="0" i="0" u="none" strike="noStrike" cap="none">
              <a:solidFill>
                <a:schemeClr val="dk2"/>
              </a:solidFill>
              <a:latin typeface="Montserrat"/>
              <a:ea typeface="Montserrat"/>
              <a:cs typeface="Montserrat"/>
              <a:sym typeface="Montserrat"/>
            </a:endParaRPr>
          </a:p>
        </p:txBody>
      </p:sp>
      <p:sp>
        <p:nvSpPr>
          <p:cNvPr id="616" name="Google Shape;616;p131"/>
          <p:cNvSpPr txBox="1"/>
          <p:nvPr/>
        </p:nvSpPr>
        <p:spPr>
          <a:xfrm>
            <a:off x="444499" y="6555192"/>
            <a:ext cx="868828" cy="169277"/>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fr-FR" sz="1100" b="0" i="0" u="none" strike="noStrike" cap="none">
                <a:solidFill>
                  <a:schemeClr val="dk2"/>
                </a:solidFill>
                <a:latin typeface="Montserrat"/>
                <a:ea typeface="Montserrat"/>
                <a:cs typeface="Montserrat"/>
                <a:sym typeface="Montserrat"/>
              </a:rPr>
              <a:t>Confidentiel</a:t>
            </a:r>
            <a:endParaRPr sz="1100" b="0" i="0" u="none" strike="noStrike" cap="none">
              <a:solidFill>
                <a:schemeClr val="dk2"/>
              </a:solidFill>
              <a:latin typeface="Montserrat"/>
              <a:ea typeface="Montserrat"/>
              <a:cs typeface="Montserrat"/>
              <a:sym typeface="Montserrat"/>
            </a:endParaRPr>
          </a:p>
        </p:txBody>
      </p:sp>
      <p:sp>
        <p:nvSpPr>
          <p:cNvPr id="617" name="Google Shape;617;p131"/>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noAutofit/>
          </a:bodyPr>
          <a:lstStyle>
            <a:lvl1pPr lvl="0" algn="r">
              <a:lnSpc>
                <a:spcPct val="100000"/>
              </a:lnSpc>
              <a:spcBef>
                <a:spcPts val="0"/>
              </a:spcBef>
              <a:spcAft>
                <a:spcPts val="0"/>
              </a:spcAft>
              <a:buSzPts val="1400"/>
              <a:buNone/>
              <a:defRPr sz="1100">
                <a:solidFill>
                  <a:srgbClr val="FF8DDA"/>
                </a:solidFill>
                <a:latin typeface="Montserrat"/>
                <a:ea typeface="Montserrat"/>
                <a:cs typeface="Montserrat"/>
                <a:sym typeface="Montserrat"/>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18" name="Google Shape;618;p13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10461341" y="211708"/>
            <a:ext cx="1238400" cy="696860"/>
          </a:xfrm>
          <a:prstGeom prst="rect">
            <a:avLst/>
          </a:prstGeom>
          <a:noFill/>
          <a:ln>
            <a:noFill/>
          </a:ln>
        </p:spPr>
      </p:pic>
      <p:sp>
        <p:nvSpPr>
          <p:cNvPr id="619" name="Google Shape;619;p131"/>
          <p:cNvSpPr txBox="1">
            <a:spLocks noGrp="1"/>
          </p:cNvSpPr>
          <p:nvPr>
            <p:ph type="body" idx="2"/>
          </p:nvPr>
        </p:nvSpPr>
        <p:spPr>
          <a:xfrm>
            <a:off x="444500" y="2016655"/>
            <a:ext cx="11376025" cy="664284"/>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333"/>
              </a:spcBef>
              <a:spcAft>
                <a:spcPts val="0"/>
              </a:spcAft>
              <a:buClr>
                <a:srgbClr val="66BDFF"/>
              </a:buClr>
              <a:buSzPts val="1200"/>
              <a:buFont typeface="Arial"/>
              <a:buNone/>
              <a:defRPr sz="1200" b="1" i="0" u="none" strike="noStrike" cap="none">
                <a:solidFill>
                  <a:srgbClr val="66BDFF"/>
                </a:solidFill>
                <a:latin typeface="Montserrat"/>
                <a:ea typeface="Montserrat"/>
                <a:cs typeface="Montserrat"/>
                <a:sym typeface="Montserrat"/>
              </a:defRPr>
            </a:lvl1pPr>
            <a:lvl2pPr marL="914400" marR="0" lvl="1" indent="-228600" algn="l" rtl="0">
              <a:lnSpc>
                <a:spcPct val="90000"/>
              </a:lnSpc>
              <a:spcBef>
                <a:spcPts val="667"/>
              </a:spcBef>
              <a:spcAft>
                <a:spcPts val="0"/>
              </a:spcAft>
              <a:buClr>
                <a:schemeClr val="dk2"/>
              </a:buClr>
              <a:buSzPts val="1100"/>
              <a:buFont typeface="Arial"/>
              <a:buNone/>
              <a:defRPr sz="1100" b="0" i="0" u="none" strike="noStrike" cap="none">
                <a:solidFill>
                  <a:schemeClr val="dk2"/>
                </a:solidFill>
                <a:latin typeface="Montserrat"/>
                <a:ea typeface="Montserrat"/>
                <a:cs typeface="Montserrat"/>
                <a:sym typeface="Montserrat"/>
              </a:defRPr>
            </a:lvl2pPr>
            <a:lvl3pPr marL="1371600" marR="0" lvl="2" indent="-298450" algn="l" rtl="0">
              <a:lnSpc>
                <a:spcPct val="90000"/>
              </a:lnSpc>
              <a:spcBef>
                <a:spcPts val="667"/>
              </a:spcBef>
              <a:spcAft>
                <a:spcPts val="0"/>
              </a:spcAft>
              <a:buClr>
                <a:srgbClr val="66BDFF"/>
              </a:buClr>
              <a:buSzPts val="1100"/>
              <a:buFont typeface="Arial"/>
              <a:buChar char="•"/>
              <a:defRPr sz="1100" b="0" i="0" u="none" strike="noStrike" cap="none">
                <a:solidFill>
                  <a:schemeClr val="dk2"/>
                </a:solidFill>
                <a:latin typeface="Montserrat"/>
                <a:ea typeface="Montserrat"/>
                <a:cs typeface="Montserrat"/>
                <a:sym typeface="Montserrat"/>
              </a:defRPr>
            </a:lvl3pPr>
            <a:lvl4pPr marL="1828800" marR="0" lvl="3"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4pPr>
            <a:lvl5pPr marL="2286000" marR="0" lvl="4"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5pPr>
            <a:lvl6pPr marL="2743200" marR="0" lvl="5"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6pPr>
            <a:lvl7pPr marL="3200400" marR="0" lvl="6"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7pPr>
            <a:lvl8pPr marL="3657600" marR="0" lvl="7"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8pPr>
            <a:lvl9pPr marL="4114800" marR="0" lvl="8"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023994734"/>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alan general 2" userDrawn="1">
  <p:cSld name="1_Talan general 2">
    <p:spTree>
      <p:nvGrpSpPr>
        <p:cNvPr id="1" name="Shape 435"/>
        <p:cNvGrpSpPr/>
        <p:nvPr/>
      </p:nvGrpSpPr>
      <p:grpSpPr>
        <a:xfrm>
          <a:off x="0" y="0"/>
          <a:ext cx="0" cy="0"/>
          <a:chOff x="0" y="0"/>
          <a:chExt cx="0" cy="0"/>
        </a:xfrm>
      </p:grpSpPr>
      <p:sp>
        <p:nvSpPr>
          <p:cNvPr id="438" name="Google Shape;438;g5bb831ed58_6_12"/>
          <p:cNvSpPr/>
          <p:nvPr/>
        </p:nvSpPr>
        <p:spPr>
          <a:xfrm rot="10800000" flipH="1">
            <a:off x="4" y="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chemeClr val="accent1"/>
          </a:solidFill>
          <a:ln>
            <a:noFill/>
          </a:ln>
        </p:spPr>
        <p:txBody>
          <a:bodyPr spcFirstLastPara="1" wrap="square" lIns="121900" tIns="60950" rIns="121900" bIns="60950" anchor="ctr" anchorCtr="0">
            <a:noAutofit/>
          </a:bodyPr>
          <a:lstStyle/>
          <a:p>
            <a:pPr marL="0" marR="0" lvl="0" indent="0" algn="ctr" rtl="0">
              <a:lnSpc>
                <a:spcPct val="100000"/>
              </a:lnSpc>
              <a:spcBef>
                <a:spcPts val="0"/>
              </a:spcBef>
              <a:spcAft>
                <a:spcPts val="0"/>
              </a:spcAft>
              <a:buClr>
                <a:srgbClr val="000000"/>
              </a:buClr>
              <a:buSzPts val="2489"/>
              <a:buFont typeface="Arial"/>
              <a:buNone/>
            </a:pPr>
            <a:endParaRPr sz="2489" b="0" i="0" u="none" strike="noStrike" cap="none">
              <a:solidFill>
                <a:schemeClr val="lt1"/>
              </a:solidFill>
              <a:latin typeface="Montserrat"/>
              <a:ea typeface="Montserrat"/>
              <a:cs typeface="Montserrat"/>
              <a:sym typeface="Montserrat"/>
            </a:endParaRPr>
          </a:p>
        </p:txBody>
      </p:sp>
      <p:sp>
        <p:nvSpPr>
          <p:cNvPr id="439" name="Google Shape;439;g5bb831ed58_6_12"/>
          <p:cNvSpPr/>
          <p:nvPr/>
        </p:nvSpPr>
        <p:spPr>
          <a:xfrm>
            <a:off x="4" y="308300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rgbClr val="B1BBCB"/>
          </a:solidFill>
          <a:ln>
            <a:noFill/>
          </a:ln>
        </p:spPr>
        <p:txBody>
          <a:bodyPr spcFirstLastPara="1" wrap="square" lIns="121900" tIns="60950" rIns="121900" bIns="60950" anchor="ctr" anchorCtr="0">
            <a:noAutofit/>
          </a:bodyPr>
          <a:lstStyle/>
          <a:p>
            <a:pPr marL="0" marR="0" lvl="0" indent="0" algn="ctr" rtl="0">
              <a:lnSpc>
                <a:spcPct val="100000"/>
              </a:lnSpc>
              <a:spcBef>
                <a:spcPts val="0"/>
              </a:spcBef>
              <a:spcAft>
                <a:spcPts val="0"/>
              </a:spcAft>
              <a:buClr>
                <a:srgbClr val="000000"/>
              </a:buClr>
              <a:buSzPts val="2489"/>
              <a:buFont typeface="Arial"/>
              <a:buNone/>
            </a:pPr>
            <a:endParaRPr sz="2489" b="0" i="0" u="none" strike="noStrike" cap="none">
              <a:solidFill>
                <a:schemeClr val="lt1"/>
              </a:solidFill>
              <a:latin typeface="Montserrat"/>
              <a:ea typeface="Montserrat"/>
              <a:cs typeface="Montserrat"/>
              <a:sym typeface="Montserrat"/>
            </a:endParaRPr>
          </a:p>
        </p:txBody>
      </p:sp>
      <p:sp>
        <p:nvSpPr>
          <p:cNvPr id="441" name="Google Shape;441;g5bb831ed58_6_12"/>
          <p:cNvSpPr txBox="1"/>
          <p:nvPr/>
        </p:nvSpPr>
        <p:spPr>
          <a:xfrm>
            <a:off x="11552651" y="6557760"/>
            <a:ext cx="258084" cy="169277"/>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Arial"/>
              <a:buNone/>
            </a:pPr>
            <a:fld id="{00000000-1234-1234-1234-123412341234}" type="slidenum">
              <a:rPr lang="fr-FR" sz="1100" b="0" i="0" u="none" strike="noStrike" cap="none">
                <a:solidFill>
                  <a:schemeClr val="dk2"/>
                </a:solidFill>
                <a:latin typeface="Montserrat"/>
                <a:ea typeface="Montserrat"/>
                <a:cs typeface="Montserrat"/>
                <a:sym typeface="Montserrat"/>
              </a:rPr>
              <a:t>‹N°›</a:t>
            </a:fld>
            <a:endParaRPr sz="1100" b="0" i="0" u="none" strike="noStrike" cap="none">
              <a:solidFill>
                <a:schemeClr val="dk2"/>
              </a:solidFill>
              <a:latin typeface="Montserrat"/>
              <a:ea typeface="Montserrat"/>
              <a:cs typeface="Montserrat"/>
              <a:sym typeface="Montserrat"/>
            </a:endParaRPr>
          </a:p>
        </p:txBody>
      </p:sp>
      <p:sp>
        <p:nvSpPr>
          <p:cNvPr id="442" name="Google Shape;442;g5bb831ed58_6_12"/>
          <p:cNvSpPr txBox="1"/>
          <p:nvPr/>
        </p:nvSpPr>
        <p:spPr>
          <a:xfrm>
            <a:off x="444499" y="6555192"/>
            <a:ext cx="868828" cy="169277"/>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fr-FR" sz="1100" b="0" i="0" u="none" strike="noStrike" cap="none">
                <a:solidFill>
                  <a:schemeClr val="dk2"/>
                </a:solidFill>
                <a:latin typeface="Montserrat"/>
                <a:ea typeface="Montserrat"/>
                <a:cs typeface="Montserrat"/>
                <a:sym typeface="Montserrat"/>
              </a:rPr>
              <a:t>Confidentiel</a:t>
            </a:r>
            <a:endParaRPr sz="1100" b="0" i="0" u="none" strike="noStrike" cap="none">
              <a:solidFill>
                <a:schemeClr val="dk2"/>
              </a:solidFill>
              <a:latin typeface="Montserrat"/>
              <a:ea typeface="Montserrat"/>
              <a:cs typeface="Montserrat"/>
              <a:sym typeface="Montserrat"/>
            </a:endParaRPr>
          </a:p>
        </p:txBody>
      </p:sp>
    </p:spTree>
    <p:extLst>
      <p:ext uri="{BB962C8B-B14F-4D97-AF65-F5344CB8AC3E}">
        <p14:creationId xmlns:p14="http://schemas.microsoft.com/office/powerpoint/2010/main" val="855459975"/>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B26118F8-AF0A-4673-8EE2-4D023BD2AA06}"/>
              </a:ext>
            </a:extLst>
          </p:cNvPr>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Diapositive think-cell" r:id="rId4" imgW="762" imgH="769" progId="TCLayout.ActiveDocument.1">
                  <p:embed/>
                </p:oleObj>
              </mc:Choice>
              <mc:Fallback>
                <p:oleObj name="Diapositive think-cell" r:id="rId4" imgW="762" imgH="769" progId="TCLayout.ActiveDocument.1">
                  <p:embed/>
                  <p:pic>
                    <p:nvPicPr>
                      <p:cNvPr id="8" name="Objet 7" hidden="1">
                        <a:extLst>
                          <a:ext uri="{FF2B5EF4-FFF2-40B4-BE49-F238E27FC236}">
                            <a16:creationId xmlns:a16="http://schemas.microsoft.com/office/drawing/2014/main" id="{B26118F8-AF0A-4673-8EE2-4D023BD2AA06}"/>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80B5E31-36D1-47D5-A798-ED706F5D02BE}"/>
              </a:ext>
            </a:extLst>
          </p:cNvPr>
          <p:cNvSpPr/>
          <p:nvPr userDrawn="1">
            <p:custDataLst>
              <p:tags r:id="rId2"/>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4400" b="0" i="0" baseline="0">
              <a:latin typeface="Montserrat" panose="00000500000000000000" pitchFamily="2" charset="0"/>
              <a:ea typeface="+mj-ea"/>
              <a:cs typeface="+mj-cs"/>
              <a:sym typeface="Montserrat" panose="00000500000000000000" pitchFamily="2" charset="0"/>
            </a:endParaRPr>
          </a:p>
        </p:txBody>
      </p:sp>
      <p:sp>
        <p:nvSpPr>
          <p:cNvPr id="2" name="Titre 1">
            <a:extLst>
              <a:ext uri="{FF2B5EF4-FFF2-40B4-BE49-F238E27FC236}">
                <a16:creationId xmlns:a16="http://schemas.microsoft.com/office/drawing/2014/main" id="{85BF5D26-4DA3-48A9-ABCF-FE0960DF7653}"/>
              </a:ext>
            </a:extLst>
          </p:cNvPr>
          <p:cNvSpPr>
            <a:spLocks noGrp="1"/>
          </p:cNvSpPr>
          <p:nvPr>
            <p:ph type="title"/>
          </p:nvPr>
        </p:nvSpPr>
        <p:spPr>
          <a:xfrm>
            <a:off x="838200" y="334903"/>
            <a:ext cx="9182322" cy="993600"/>
          </a:xfrm>
        </p:spPr>
        <p:txBody>
          <a:bodyPr/>
          <a:lstStyle>
            <a:lvl1pPr>
              <a:defRPr>
                <a:latin typeface="+mn-lt"/>
              </a:defRPr>
            </a:lvl1pPr>
          </a:lstStyle>
          <a:p>
            <a:r>
              <a:rPr lang="fr-FR"/>
              <a:t>Modifiez le style du titre</a:t>
            </a:r>
          </a:p>
        </p:txBody>
      </p:sp>
      <p:sp>
        <p:nvSpPr>
          <p:cNvPr id="4" name="Espace réservé de la date 3">
            <a:extLst>
              <a:ext uri="{FF2B5EF4-FFF2-40B4-BE49-F238E27FC236}">
                <a16:creationId xmlns:a16="http://schemas.microsoft.com/office/drawing/2014/main" id="{11123DC0-A5D0-4E97-A2DE-234EED867E47}"/>
              </a:ext>
            </a:extLst>
          </p:cNvPr>
          <p:cNvSpPr>
            <a:spLocks noGrp="1"/>
          </p:cNvSpPr>
          <p:nvPr>
            <p:ph type="dt" sz="half" idx="10"/>
          </p:nvPr>
        </p:nvSpPr>
        <p:spPr/>
        <p:txBody>
          <a:bodyPr/>
          <a:lstStyle>
            <a:lvl1pPr>
              <a:defRPr>
                <a:latin typeface="+mn-lt"/>
              </a:defRPr>
            </a:lvl1pPr>
          </a:lstStyle>
          <a:p>
            <a:endParaRPr lang="fr-FR"/>
          </a:p>
        </p:txBody>
      </p:sp>
      <p:sp>
        <p:nvSpPr>
          <p:cNvPr id="5" name="Espace réservé du pied de page 4">
            <a:extLst>
              <a:ext uri="{FF2B5EF4-FFF2-40B4-BE49-F238E27FC236}">
                <a16:creationId xmlns:a16="http://schemas.microsoft.com/office/drawing/2014/main" id="{50F36A53-F9FA-46ED-B6AF-591E5C9C361B}"/>
              </a:ext>
            </a:extLst>
          </p:cNvPr>
          <p:cNvSpPr>
            <a:spLocks noGrp="1"/>
          </p:cNvSpPr>
          <p:nvPr>
            <p:ph type="ftr" sz="quarter" idx="11"/>
          </p:nvPr>
        </p:nvSpPr>
        <p:spPr/>
        <p:txBody>
          <a:bodyPr/>
          <a:lstStyle>
            <a:lvl1pPr>
              <a:defRPr>
                <a:latin typeface="+mn-lt"/>
              </a:defRPr>
            </a:lvl1pPr>
          </a:lstStyle>
          <a:p>
            <a:endParaRPr lang="fr-FR"/>
          </a:p>
        </p:txBody>
      </p:sp>
      <p:sp>
        <p:nvSpPr>
          <p:cNvPr id="6" name="Espace réservé du numéro de diapositive 5">
            <a:extLst>
              <a:ext uri="{FF2B5EF4-FFF2-40B4-BE49-F238E27FC236}">
                <a16:creationId xmlns:a16="http://schemas.microsoft.com/office/drawing/2014/main" id="{455CEF79-607B-496B-9E17-09985A12391C}"/>
              </a:ext>
            </a:extLst>
          </p:cNvPr>
          <p:cNvSpPr>
            <a:spLocks noGrp="1"/>
          </p:cNvSpPr>
          <p:nvPr>
            <p:ph type="sldNum" sz="quarter" idx="12"/>
          </p:nvPr>
        </p:nvSpPr>
        <p:spPr/>
        <p:txBody>
          <a:bodyPr/>
          <a:lstStyle>
            <a:lvl1pPr>
              <a:defRPr>
                <a:latin typeface="+mn-lt"/>
              </a:defRPr>
            </a:lvl1pPr>
          </a:lstStyle>
          <a:p>
            <a:fld id="{D67A77D8-090B-4A94-9B16-ECD771C06B17}" type="slidenum">
              <a:rPr lang="fr-FR" smtClean="0"/>
              <a:pPr/>
              <a:t>‹N°›</a:t>
            </a:fld>
            <a:endParaRPr lang="fr-FR"/>
          </a:p>
        </p:txBody>
      </p:sp>
      <p:sp>
        <p:nvSpPr>
          <p:cNvPr id="10" name="Espace réservé du contenu 9">
            <a:extLst>
              <a:ext uri="{FF2B5EF4-FFF2-40B4-BE49-F238E27FC236}">
                <a16:creationId xmlns:a16="http://schemas.microsoft.com/office/drawing/2014/main" id="{F037AA66-54D9-4B2D-A7C2-B17AA2004584}"/>
              </a:ext>
            </a:extLst>
          </p:cNvPr>
          <p:cNvSpPr>
            <a:spLocks noGrp="1"/>
          </p:cNvSpPr>
          <p:nvPr>
            <p:ph sz="quarter" idx="13"/>
          </p:nvPr>
        </p:nvSpPr>
        <p:spPr>
          <a:xfrm>
            <a:off x="838200" y="2084284"/>
            <a:ext cx="10515601" cy="4068867"/>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1771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Message Contenu">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B26118F8-AF0A-4673-8EE2-4D023BD2AA06}"/>
              </a:ext>
            </a:extLst>
          </p:cNvPr>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Diapositive think-cell" r:id="rId4" imgW="762" imgH="769" progId="TCLayout.ActiveDocument.1">
                  <p:embed/>
                </p:oleObj>
              </mc:Choice>
              <mc:Fallback>
                <p:oleObj name="Diapositive think-cell" r:id="rId4" imgW="762" imgH="769" progId="TCLayout.ActiveDocument.1">
                  <p:embed/>
                  <p:pic>
                    <p:nvPicPr>
                      <p:cNvPr id="8" name="Objet 7" hidden="1">
                        <a:extLst>
                          <a:ext uri="{FF2B5EF4-FFF2-40B4-BE49-F238E27FC236}">
                            <a16:creationId xmlns:a16="http://schemas.microsoft.com/office/drawing/2014/main" id="{B26118F8-AF0A-4673-8EE2-4D023BD2AA06}"/>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80B5E31-36D1-47D5-A798-ED706F5D02BE}"/>
              </a:ext>
            </a:extLst>
          </p:cNvPr>
          <p:cNvSpPr/>
          <p:nvPr userDrawn="1">
            <p:custDataLst>
              <p:tags r:id="rId2"/>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4400" b="0" i="0" baseline="0">
              <a:latin typeface="Montserrat" panose="00000500000000000000" pitchFamily="2" charset="0"/>
              <a:ea typeface="+mj-ea"/>
              <a:cs typeface="+mj-cs"/>
              <a:sym typeface="Montserrat" panose="00000500000000000000" pitchFamily="2" charset="0"/>
            </a:endParaRPr>
          </a:p>
        </p:txBody>
      </p:sp>
      <p:sp>
        <p:nvSpPr>
          <p:cNvPr id="2" name="Titre 1">
            <a:extLst>
              <a:ext uri="{FF2B5EF4-FFF2-40B4-BE49-F238E27FC236}">
                <a16:creationId xmlns:a16="http://schemas.microsoft.com/office/drawing/2014/main" id="{85BF5D26-4DA3-48A9-ABCF-FE0960DF7653}"/>
              </a:ext>
            </a:extLst>
          </p:cNvPr>
          <p:cNvSpPr>
            <a:spLocks noGrp="1"/>
          </p:cNvSpPr>
          <p:nvPr>
            <p:ph type="title"/>
          </p:nvPr>
        </p:nvSpPr>
        <p:spPr>
          <a:xfrm>
            <a:off x="838200" y="325476"/>
            <a:ext cx="9182322" cy="993600"/>
          </a:xfrm>
        </p:spPr>
        <p:txBody>
          <a:bodyPr/>
          <a:lstStyle>
            <a:lvl1pPr>
              <a:defRPr>
                <a:latin typeface="+mn-lt"/>
              </a:defRPr>
            </a:lvl1pPr>
          </a:lstStyle>
          <a:p>
            <a:r>
              <a:rPr lang="fr-FR"/>
              <a:t>Modifiez le style du titre</a:t>
            </a:r>
          </a:p>
        </p:txBody>
      </p:sp>
      <p:sp>
        <p:nvSpPr>
          <p:cNvPr id="4" name="Espace réservé de la date 3">
            <a:extLst>
              <a:ext uri="{FF2B5EF4-FFF2-40B4-BE49-F238E27FC236}">
                <a16:creationId xmlns:a16="http://schemas.microsoft.com/office/drawing/2014/main" id="{11123DC0-A5D0-4E97-A2DE-234EED867E47}"/>
              </a:ext>
            </a:extLst>
          </p:cNvPr>
          <p:cNvSpPr>
            <a:spLocks noGrp="1"/>
          </p:cNvSpPr>
          <p:nvPr>
            <p:ph type="dt" sz="half" idx="10"/>
          </p:nvPr>
        </p:nvSpPr>
        <p:spPr>
          <a:xfrm>
            <a:off x="838201" y="6346924"/>
            <a:ext cx="2743200" cy="365125"/>
          </a:xfrm>
        </p:spPr>
        <p:txBody>
          <a:bodyPr/>
          <a:lstStyle>
            <a:lvl1pPr>
              <a:defRPr>
                <a:latin typeface="+mn-lt"/>
              </a:defRPr>
            </a:lvl1pPr>
          </a:lstStyle>
          <a:p>
            <a:endParaRPr lang="fr-FR"/>
          </a:p>
        </p:txBody>
      </p:sp>
      <p:sp>
        <p:nvSpPr>
          <p:cNvPr id="5" name="Espace réservé du pied de page 4">
            <a:extLst>
              <a:ext uri="{FF2B5EF4-FFF2-40B4-BE49-F238E27FC236}">
                <a16:creationId xmlns:a16="http://schemas.microsoft.com/office/drawing/2014/main" id="{50F36A53-F9FA-46ED-B6AF-591E5C9C361B}"/>
              </a:ext>
            </a:extLst>
          </p:cNvPr>
          <p:cNvSpPr>
            <a:spLocks noGrp="1"/>
          </p:cNvSpPr>
          <p:nvPr>
            <p:ph type="ftr" sz="quarter" idx="11"/>
          </p:nvPr>
        </p:nvSpPr>
        <p:spPr>
          <a:xfrm>
            <a:off x="4038601" y="6346924"/>
            <a:ext cx="4114800" cy="365125"/>
          </a:xfrm>
        </p:spPr>
        <p:txBody>
          <a:bodyPr/>
          <a:lstStyle>
            <a:lvl1pPr>
              <a:defRPr>
                <a:latin typeface="+mn-lt"/>
              </a:defRPr>
            </a:lvl1pPr>
          </a:lstStyle>
          <a:p>
            <a:endParaRPr lang="fr-FR"/>
          </a:p>
        </p:txBody>
      </p:sp>
      <p:sp>
        <p:nvSpPr>
          <p:cNvPr id="6" name="Espace réservé du numéro de diapositive 5">
            <a:extLst>
              <a:ext uri="{FF2B5EF4-FFF2-40B4-BE49-F238E27FC236}">
                <a16:creationId xmlns:a16="http://schemas.microsoft.com/office/drawing/2014/main" id="{455CEF79-607B-496B-9E17-09985A12391C}"/>
              </a:ext>
            </a:extLst>
          </p:cNvPr>
          <p:cNvSpPr>
            <a:spLocks noGrp="1"/>
          </p:cNvSpPr>
          <p:nvPr>
            <p:ph type="sldNum" sz="quarter" idx="12"/>
          </p:nvPr>
        </p:nvSpPr>
        <p:spPr>
          <a:xfrm>
            <a:off x="8610601" y="6346924"/>
            <a:ext cx="2743200" cy="365125"/>
          </a:xfrm>
        </p:spPr>
        <p:txBody>
          <a:bodyPr/>
          <a:lstStyle>
            <a:lvl1pPr>
              <a:defRPr>
                <a:latin typeface="+mn-lt"/>
              </a:defRPr>
            </a:lvl1pPr>
          </a:lstStyle>
          <a:p>
            <a:fld id="{D67A77D8-090B-4A94-9B16-ECD771C06B17}" type="slidenum">
              <a:rPr lang="fr-FR" smtClean="0"/>
              <a:pPr/>
              <a:t>‹N°›</a:t>
            </a:fld>
            <a:endParaRPr lang="fr-FR"/>
          </a:p>
        </p:txBody>
      </p:sp>
      <p:sp>
        <p:nvSpPr>
          <p:cNvPr id="10" name="Espace réservé du contenu 9">
            <a:extLst>
              <a:ext uri="{FF2B5EF4-FFF2-40B4-BE49-F238E27FC236}">
                <a16:creationId xmlns:a16="http://schemas.microsoft.com/office/drawing/2014/main" id="{F037AA66-54D9-4B2D-A7C2-B17AA2004584}"/>
              </a:ext>
            </a:extLst>
          </p:cNvPr>
          <p:cNvSpPr>
            <a:spLocks noGrp="1"/>
          </p:cNvSpPr>
          <p:nvPr>
            <p:ph sz="quarter" idx="13" hasCustomPrompt="1"/>
          </p:nvPr>
        </p:nvSpPr>
        <p:spPr>
          <a:xfrm>
            <a:off x="838200" y="2074857"/>
            <a:ext cx="10515601" cy="4068867"/>
          </a:xfrm>
          <a:prstGeom prst="rect">
            <a:avLst/>
          </a:prstGeom>
        </p:spPr>
        <p:txBody>
          <a:bodyPr/>
          <a:lstStyle>
            <a:lvl2pPr>
              <a:defRPr>
                <a:latin typeface="+mn-lt"/>
              </a:defRPr>
            </a:lvl2pPr>
            <a:lvl3pPr>
              <a:defRPr>
                <a:latin typeface="+mn-lt"/>
              </a:defRPr>
            </a:lvl3pPr>
            <a:lvl4pPr>
              <a:defRPr>
                <a:latin typeface="+mn-lt"/>
              </a:defRPr>
            </a:lvl4pPr>
            <a:lvl5pPr>
              <a:defRPr>
                <a:latin typeface="+mn-lt"/>
              </a:defRPr>
            </a:lvl5pPr>
          </a:lstStyle>
          <a:p>
            <a:pPr lvl="1"/>
            <a:r>
              <a:rPr lang="fr-FR"/>
              <a:t>Deuxième niveau</a:t>
            </a:r>
          </a:p>
          <a:p>
            <a:pPr lvl="2"/>
            <a:r>
              <a:rPr lang="fr-FR"/>
              <a:t>Troisième niveau</a:t>
            </a:r>
          </a:p>
          <a:p>
            <a:pPr lvl="3"/>
            <a:r>
              <a:rPr lang="fr-FR"/>
              <a:t>Quatrième niveau</a:t>
            </a:r>
          </a:p>
          <a:p>
            <a:pPr lvl="4"/>
            <a:r>
              <a:rPr lang="fr-FR"/>
              <a:t>Cinquième niveau</a:t>
            </a:r>
          </a:p>
        </p:txBody>
      </p:sp>
      <p:sp>
        <p:nvSpPr>
          <p:cNvPr id="13" name="Espace réservé du texte 12">
            <a:extLst>
              <a:ext uri="{FF2B5EF4-FFF2-40B4-BE49-F238E27FC236}">
                <a16:creationId xmlns:a16="http://schemas.microsoft.com/office/drawing/2014/main" id="{97619405-BB83-4C72-8BF3-80E44033FE68}"/>
              </a:ext>
            </a:extLst>
          </p:cNvPr>
          <p:cNvSpPr>
            <a:spLocks noGrp="1"/>
          </p:cNvSpPr>
          <p:nvPr>
            <p:ph type="body" sz="quarter" idx="14" hasCustomPrompt="1"/>
          </p:nvPr>
        </p:nvSpPr>
        <p:spPr>
          <a:xfrm>
            <a:off x="838201" y="1571724"/>
            <a:ext cx="10515600" cy="409575"/>
          </a:xfrm>
        </p:spPr>
        <p:txBody>
          <a:bodyPr/>
          <a:lstStyle>
            <a:lvl1pPr>
              <a:defRPr>
                <a:latin typeface="+mn-lt"/>
              </a:defRPr>
            </a:lvl1pPr>
          </a:lstStyle>
          <a:p>
            <a:pPr lvl="0"/>
            <a:r>
              <a:rPr lang="fr-FR"/>
              <a:t>MESSAGE</a:t>
            </a:r>
          </a:p>
        </p:txBody>
      </p:sp>
    </p:spTree>
    <p:extLst>
      <p:ext uri="{BB962C8B-B14F-4D97-AF65-F5344CB8AC3E}">
        <p14:creationId xmlns:p14="http://schemas.microsoft.com/office/powerpoint/2010/main" val="27464299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re Message ">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B26118F8-AF0A-4673-8EE2-4D023BD2AA06}"/>
              </a:ext>
            </a:extLst>
          </p:cNvPr>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Diapositive think-cell" r:id="rId4" imgW="762" imgH="769" progId="TCLayout.ActiveDocument.1">
                  <p:embed/>
                </p:oleObj>
              </mc:Choice>
              <mc:Fallback>
                <p:oleObj name="Diapositive think-cell" r:id="rId4" imgW="762" imgH="769" progId="TCLayout.ActiveDocument.1">
                  <p:embed/>
                  <p:pic>
                    <p:nvPicPr>
                      <p:cNvPr id="8" name="Objet 7" hidden="1">
                        <a:extLst>
                          <a:ext uri="{FF2B5EF4-FFF2-40B4-BE49-F238E27FC236}">
                            <a16:creationId xmlns:a16="http://schemas.microsoft.com/office/drawing/2014/main" id="{B26118F8-AF0A-4673-8EE2-4D023BD2AA06}"/>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80B5E31-36D1-47D5-A798-ED706F5D02BE}"/>
              </a:ext>
            </a:extLst>
          </p:cNvPr>
          <p:cNvSpPr/>
          <p:nvPr userDrawn="1">
            <p:custDataLst>
              <p:tags r:id="rId2"/>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4400" b="0" i="0" baseline="0">
              <a:latin typeface="Montserrat" panose="00000500000000000000" pitchFamily="2" charset="0"/>
              <a:ea typeface="+mj-ea"/>
              <a:cs typeface="+mj-cs"/>
              <a:sym typeface="Montserrat" panose="00000500000000000000" pitchFamily="2" charset="0"/>
            </a:endParaRPr>
          </a:p>
        </p:txBody>
      </p:sp>
      <p:sp>
        <p:nvSpPr>
          <p:cNvPr id="2" name="Titre 1">
            <a:extLst>
              <a:ext uri="{FF2B5EF4-FFF2-40B4-BE49-F238E27FC236}">
                <a16:creationId xmlns:a16="http://schemas.microsoft.com/office/drawing/2014/main" id="{85BF5D26-4DA3-48A9-ABCF-FE0960DF7653}"/>
              </a:ext>
            </a:extLst>
          </p:cNvPr>
          <p:cNvSpPr>
            <a:spLocks noGrp="1"/>
          </p:cNvSpPr>
          <p:nvPr>
            <p:ph type="title"/>
          </p:nvPr>
        </p:nvSpPr>
        <p:spPr>
          <a:xfrm>
            <a:off x="838200" y="334903"/>
            <a:ext cx="9182322" cy="993600"/>
          </a:xfrm>
        </p:spPr>
        <p:txBody>
          <a:bodyPr/>
          <a:lstStyle>
            <a:lvl1pPr>
              <a:defRPr>
                <a:latin typeface="+mn-lt"/>
              </a:defRPr>
            </a:lvl1pPr>
          </a:lstStyle>
          <a:p>
            <a:r>
              <a:rPr lang="fr-FR"/>
              <a:t>Modifiez le style du titre</a:t>
            </a:r>
          </a:p>
        </p:txBody>
      </p:sp>
      <p:sp>
        <p:nvSpPr>
          <p:cNvPr id="4" name="Espace réservé de la date 3">
            <a:extLst>
              <a:ext uri="{FF2B5EF4-FFF2-40B4-BE49-F238E27FC236}">
                <a16:creationId xmlns:a16="http://schemas.microsoft.com/office/drawing/2014/main" id="{11123DC0-A5D0-4E97-A2DE-234EED867E47}"/>
              </a:ext>
            </a:extLst>
          </p:cNvPr>
          <p:cNvSpPr>
            <a:spLocks noGrp="1"/>
          </p:cNvSpPr>
          <p:nvPr>
            <p:ph type="dt" sz="half" idx="10"/>
          </p:nvPr>
        </p:nvSpPr>
        <p:spPr/>
        <p:txBody>
          <a:bodyPr/>
          <a:lstStyle>
            <a:lvl1pPr>
              <a:defRPr>
                <a:latin typeface="+mn-lt"/>
              </a:defRPr>
            </a:lvl1pPr>
          </a:lstStyle>
          <a:p>
            <a:endParaRPr lang="fr-FR"/>
          </a:p>
        </p:txBody>
      </p:sp>
      <p:sp>
        <p:nvSpPr>
          <p:cNvPr id="5" name="Espace réservé du pied de page 4">
            <a:extLst>
              <a:ext uri="{FF2B5EF4-FFF2-40B4-BE49-F238E27FC236}">
                <a16:creationId xmlns:a16="http://schemas.microsoft.com/office/drawing/2014/main" id="{50F36A53-F9FA-46ED-B6AF-591E5C9C361B}"/>
              </a:ext>
            </a:extLst>
          </p:cNvPr>
          <p:cNvSpPr>
            <a:spLocks noGrp="1"/>
          </p:cNvSpPr>
          <p:nvPr>
            <p:ph type="ftr" sz="quarter" idx="11"/>
          </p:nvPr>
        </p:nvSpPr>
        <p:spPr/>
        <p:txBody>
          <a:bodyPr/>
          <a:lstStyle>
            <a:lvl1pPr>
              <a:defRPr>
                <a:latin typeface="+mn-lt"/>
              </a:defRPr>
            </a:lvl1pPr>
          </a:lstStyle>
          <a:p>
            <a:endParaRPr lang="fr-FR"/>
          </a:p>
        </p:txBody>
      </p:sp>
      <p:sp>
        <p:nvSpPr>
          <p:cNvPr id="6" name="Espace réservé du numéro de diapositive 5">
            <a:extLst>
              <a:ext uri="{FF2B5EF4-FFF2-40B4-BE49-F238E27FC236}">
                <a16:creationId xmlns:a16="http://schemas.microsoft.com/office/drawing/2014/main" id="{455CEF79-607B-496B-9E17-09985A12391C}"/>
              </a:ext>
            </a:extLst>
          </p:cNvPr>
          <p:cNvSpPr>
            <a:spLocks noGrp="1"/>
          </p:cNvSpPr>
          <p:nvPr>
            <p:ph type="sldNum" sz="quarter" idx="12"/>
          </p:nvPr>
        </p:nvSpPr>
        <p:spPr/>
        <p:txBody>
          <a:bodyPr/>
          <a:lstStyle>
            <a:lvl1pPr>
              <a:defRPr>
                <a:latin typeface="+mn-lt"/>
              </a:defRPr>
            </a:lvl1pPr>
          </a:lstStyle>
          <a:p>
            <a:fld id="{D67A77D8-090B-4A94-9B16-ECD771C06B17}" type="slidenum">
              <a:rPr lang="fr-FR" smtClean="0"/>
              <a:pPr/>
              <a:t>‹N°›</a:t>
            </a:fld>
            <a:endParaRPr lang="fr-FR"/>
          </a:p>
        </p:txBody>
      </p:sp>
      <p:sp>
        <p:nvSpPr>
          <p:cNvPr id="13" name="Espace réservé du texte 12">
            <a:extLst>
              <a:ext uri="{FF2B5EF4-FFF2-40B4-BE49-F238E27FC236}">
                <a16:creationId xmlns:a16="http://schemas.microsoft.com/office/drawing/2014/main" id="{97619405-BB83-4C72-8BF3-80E44033FE68}"/>
              </a:ext>
            </a:extLst>
          </p:cNvPr>
          <p:cNvSpPr>
            <a:spLocks noGrp="1"/>
          </p:cNvSpPr>
          <p:nvPr>
            <p:ph type="body" sz="quarter" idx="14" hasCustomPrompt="1"/>
          </p:nvPr>
        </p:nvSpPr>
        <p:spPr>
          <a:xfrm>
            <a:off x="838201" y="1581151"/>
            <a:ext cx="10515600" cy="409575"/>
          </a:xfrm>
        </p:spPr>
        <p:txBody>
          <a:bodyPr/>
          <a:lstStyle>
            <a:lvl1pPr>
              <a:defRPr>
                <a:latin typeface="+mn-lt"/>
              </a:defRPr>
            </a:lvl1pPr>
          </a:lstStyle>
          <a:p>
            <a:pPr lvl="0"/>
            <a:r>
              <a:rPr lang="fr-FR"/>
              <a:t>MESSAGE</a:t>
            </a:r>
          </a:p>
        </p:txBody>
      </p:sp>
    </p:spTree>
    <p:extLst>
      <p:ext uri="{BB962C8B-B14F-4D97-AF65-F5344CB8AC3E}">
        <p14:creationId xmlns:p14="http://schemas.microsoft.com/office/powerpoint/2010/main" val="21434895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C5AF2C27-7316-4673-A969-BC915A8485AB}"/>
              </a:ext>
            </a:extLst>
          </p:cNvPr>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Diapositive think-cell" r:id="rId4" imgW="762" imgH="769" progId="TCLayout.ActiveDocument.1">
                  <p:embed/>
                </p:oleObj>
              </mc:Choice>
              <mc:Fallback>
                <p:oleObj name="Diapositive think-cell" r:id="rId4" imgW="762" imgH="769" progId="TCLayout.ActiveDocument.1">
                  <p:embed/>
                  <p:pic>
                    <p:nvPicPr>
                      <p:cNvPr id="8" name="Objet 7" hidden="1">
                        <a:extLst>
                          <a:ext uri="{FF2B5EF4-FFF2-40B4-BE49-F238E27FC236}">
                            <a16:creationId xmlns:a16="http://schemas.microsoft.com/office/drawing/2014/main" id="{C5AF2C27-7316-4673-A969-BC915A8485AB}"/>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6AE5DE9-B7F3-41DF-8544-4F685C07D65B}"/>
              </a:ext>
            </a:extLst>
          </p:cNvPr>
          <p:cNvSpPr/>
          <p:nvPr userDrawn="1">
            <p:custDataLst>
              <p:tags r:id="rId2"/>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6000" b="0" i="0" baseline="0">
              <a:latin typeface="Montserrat" panose="00000500000000000000" pitchFamily="2" charset="0"/>
              <a:ea typeface="+mj-ea"/>
              <a:cs typeface="+mj-cs"/>
              <a:sym typeface="Montserrat" panose="00000500000000000000" pitchFamily="2" charset="0"/>
            </a:endParaRPr>
          </a:p>
        </p:txBody>
      </p:sp>
      <p:sp>
        <p:nvSpPr>
          <p:cNvPr id="2" name="Titre 1">
            <a:extLst>
              <a:ext uri="{FF2B5EF4-FFF2-40B4-BE49-F238E27FC236}">
                <a16:creationId xmlns:a16="http://schemas.microsoft.com/office/drawing/2014/main" id="{EFEAD270-4EFC-488F-B250-433FCBC3CC7E}"/>
              </a:ext>
            </a:extLst>
          </p:cNvPr>
          <p:cNvSpPr>
            <a:spLocks noGrp="1"/>
          </p:cNvSpPr>
          <p:nvPr>
            <p:ph type="ctrTitle"/>
          </p:nvPr>
        </p:nvSpPr>
        <p:spPr>
          <a:xfrm>
            <a:off x="1524000" y="1122363"/>
            <a:ext cx="9144000" cy="2387600"/>
          </a:xfrm>
        </p:spPr>
        <p:txBody>
          <a:bodyPr anchor="b"/>
          <a:lstStyle>
            <a:lvl1pPr algn="ctr">
              <a:defRPr sz="6000">
                <a:latin typeface="+mn-lt"/>
              </a:defRPr>
            </a:lvl1pPr>
          </a:lstStyle>
          <a:p>
            <a:r>
              <a:rPr lang="fr-FR"/>
              <a:t>Modifiez le style du titre</a:t>
            </a:r>
          </a:p>
        </p:txBody>
      </p:sp>
      <p:sp>
        <p:nvSpPr>
          <p:cNvPr id="3" name="Sous-titre 2">
            <a:extLst>
              <a:ext uri="{FF2B5EF4-FFF2-40B4-BE49-F238E27FC236}">
                <a16:creationId xmlns:a16="http://schemas.microsoft.com/office/drawing/2014/main" id="{ECEF3AC9-B9D9-4AAA-9B81-93382E88BFF2}"/>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9A8C9278-15FE-48E5-943E-817F1F000FEF}"/>
              </a:ext>
            </a:extLst>
          </p:cNvPr>
          <p:cNvSpPr>
            <a:spLocks noGrp="1"/>
          </p:cNvSpPr>
          <p:nvPr>
            <p:ph type="dt" sz="half" idx="10"/>
          </p:nvPr>
        </p:nvSpPr>
        <p:spPr/>
        <p:txBody>
          <a:bodyPr/>
          <a:lstStyle>
            <a:lvl1pPr>
              <a:defRPr>
                <a:latin typeface="+mn-lt"/>
              </a:defRPr>
            </a:lvl1pPr>
          </a:lstStyle>
          <a:p>
            <a:endParaRPr lang="fr-FR"/>
          </a:p>
        </p:txBody>
      </p:sp>
      <p:sp>
        <p:nvSpPr>
          <p:cNvPr id="5" name="Espace réservé du pied de page 4">
            <a:extLst>
              <a:ext uri="{FF2B5EF4-FFF2-40B4-BE49-F238E27FC236}">
                <a16:creationId xmlns:a16="http://schemas.microsoft.com/office/drawing/2014/main" id="{AF8C2420-FA1F-42CF-ABE3-EDE3176AFA04}"/>
              </a:ext>
            </a:extLst>
          </p:cNvPr>
          <p:cNvSpPr>
            <a:spLocks noGrp="1"/>
          </p:cNvSpPr>
          <p:nvPr>
            <p:ph type="ftr" sz="quarter" idx="11"/>
          </p:nvPr>
        </p:nvSpPr>
        <p:spPr/>
        <p:txBody>
          <a:bodyPr/>
          <a:lstStyle>
            <a:lvl1pPr>
              <a:defRPr>
                <a:latin typeface="+mn-lt"/>
              </a:defRPr>
            </a:lvl1pPr>
          </a:lstStyle>
          <a:p>
            <a:endParaRPr lang="fr-FR"/>
          </a:p>
        </p:txBody>
      </p:sp>
      <p:sp>
        <p:nvSpPr>
          <p:cNvPr id="6" name="Espace réservé du numéro de diapositive 5">
            <a:extLst>
              <a:ext uri="{FF2B5EF4-FFF2-40B4-BE49-F238E27FC236}">
                <a16:creationId xmlns:a16="http://schemas.microsoft.com/office/drawing/2014/main" id="{85896C05-6676-4447-A0FD-3EF917CF60F9}"/>
              </a:ext>
            </a:extLst>
          </p:cNvPr>
          <p:cNvSpPr>
            <a:spLocks noGrp="1"/>
          </p:cNvSpPr>
          <p:nvPr>
            <p:ph type="sldNum" sz="quarter" idx="12"/>
          </p:nvPr>
        </p:nvSpPr>
        <p:spPr/>
        <p:txBody>
          <a:bodyPr/>
          <a:lstStyle>
            <a:lvl1pPr>
              <a:defRPr>
                <a:latin typeface="+mn-lt"/>
              </a:defRPr>
            </a:lvl1pPr>
          </a:lstStyle>
          <a:p>
            <a:fld id="{D67A77D8-090B-4A94-9B16-ECD771C06B17}" type="slidenum">
              <a:rPr lang="fr-FR" smtClean="0"/>
              <a:pPr/>
              <a:t>‹N°›</a:t>
            </a:fld>
            <a:endParaRPr lang="fr-FR"/>
          </a:p>
        </p:txBody>
      </p:sp>
    </p:spTree>
    <p:extLst>
      <p:ext uri="{BB962C8B-B14F-4D97-AF65-F5344CB8AC3E}">
        <p14:creationId xmlns:p14="http://schemas.microsoft.com/office/powerpoint/2010/main" val="3516175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440F69D6-6EBF-4B9C-86FD-4B30A95A7142}"/>
              </a:ext>
            </a:extLst>
          </p:cNvPr>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Diapositive think-cell" r:id="rId4" imgW="762" imgH="769" progId="TCLayout.ActiveDocument.1">
                  <p:embed/>
                </p:oleObj>
              </mc:Choice>
              <mc:Fallback>
                <p:oleObj name="Diapositive think-cell" r:id="rId4" imgW="762" imgH="769" progId="TCLayout.ActiveDocument.1">
                  <p:embed/>
                  <p:pic>
                    <p:nvPicPr>
                      <p:cNvPr id="8" name="Objet 7" hidden="1">
                        <a:extLst>
                          <a:ext uri="{FF2B5EF4-FFF2-40B4-BE49-F238E27FC236}">
                            <a16:creationId xmlns:a16="http://schemas.microsoft.com/office/drawing/2014/main" id="{440F69D6-6EBF-4B9C-86FD-4B30A95A7142}"/>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0E83718-2BBB-4596-A7E9-D9CCF713019D}"/>
              </a:ext>
            </a:extLst>
          </p:cNvPr>
          <p:cNvSpPr/>
          <p:nvPr userDrawn="1">
            <p:custDataLst>
              <p:tags r:id="rId2"/>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6000" b="0" i="0" baseline="0">
              <a:latin typeface="Montserrat" panose="00000500000000000000" pitchFamily="2" charset="0"/>
              <a:ea typeface="+mj-ea"/>
              <a:cs typeface="+mj-cs"/>
              <a:sym typeface="Montserrat" panose="00000500000000000000" pitchFamily="2" charset="0"/>
            </a:endParaRPr>
          </a:p>
        </p:txBody>
      </p:sp>
      <p:sp>
        <p:nvSpPr>
          <p:cNvPr id="2" name="Titre 1">
            <a:extLst>
              <a:ext uri="{FF2B5EF4-FFF2-40B4-BE49-F238E27FC236}">
                <a16:creationId xmlns:a16="http://schemas.microsoft.com/office/drawing/2014/main" id="{B32CC80E-1426-4255-B4AF-5287A86253E3}"/>
              </a:ext>
            </a:extLst>
          </p:cNvPr>
          <p:cNvSpPr>
            <a:spLocks noGrp="1"/>
          </p:cNvSpPr>
          <p:nvPr>
            <p:ph type="title"/>
          </p:nvPr>
        </p:nvSpPr>
        <p:spPr>
          <a:xfrm>
            <a:off x="832339" y="1709739"/>
            <a:ext cx="10515600" cy="2852737"/>
          </a:xfrm>
        </p:spPr>
        <p:txBody>
          <a:bodyPr anchor="b"/>
          <a:lstStyle>
            <a:lvl1pPr>
              <a:defRPr sz="6000">
                <a:latin typeface="+mn-lt"/>
              </a:defRPr>
            </a:lvl1pPr>
          </a:lstStyle>
          <a:p>
            <a:r>
              <a:rPr lang="fr-FR"/>
              <a:t>Modifiez le style du titre</a:t>
            </a:r>
          </a:p>
        </p:txBody>
      </p:sp>
      <p:sp>
        <p:nvSpPr>
          <p:cNvPr id="3" name="Espace réservé du texte 2">
            <a:extLst>
              <a:ext uri="{FF2B5EF4-FFF2-40B4-BE49-F238E27FC236}">
                <a16:creationId xmlns:a16="http://schemas.microsoft.com/office/drawing/2014/main" id="{0631983F-FCD1-4E95-9B16-82AF5D214DF0}"/>
              </a:ext>
            </a:extLst>
          </p:cNvPr>
          <p:cNvSpPr>
            <a:spLocks noGrp="1"/>
          </p:cNvSpPr>
          <p:nvPr>
            <p:ph type="body" idx="1"/>
          </p:nvPr>
        </p:nvSpPr>
        <p:spPr>
          <a:xfrm>
            <a:off x="832339" y="4589464"/>
            <a:ext cx="10515600" cy="1500187"/>
          </a:xfrm>
          <a:prstGeom prst="rect">
            <a:avLst/>
          </a:prstGeom>
        </p:spPr>
        <p:txBody>
          <a:bodyPr/>
          <a:lstStyle>
            <a:lvl1pPr marL="0" indent="0">
              <a:buNone/>
              <a:defRPr sz="2400">
                <a:solidFill>
                  <a:schemeClr val="tx1">
                    <a:tint val="75000"/>
                  </a:schemeClr>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C77CB841-CEEF-4C7B-93E8-FC21E02F0E8E}"/>
              </a:ext>
            </a:extLst>
          </p:cNvPr>
          <p:cNvSpPr>
            <a:spLocks noGrp="1"/>
          </p:cNvSpPr>
          <p:nvPr>
            <p:ph type="dt" sz="half" idx="10"/>
          </p:nvPr>
        </p:nvSpPr>
        <p:spPr/>
        <p:txBody>
          <a:bodyPr/>
          <a:lstStyle>
            <a:lvl1pPr>
              <a:defRPr>
                <a:latin typeface="+mn-lt"/>
              </a:defRPr>
            </a:lvl1pPr>
          </a:lstStyle>
          <a:p>
            <a:endParaRPr lang="fr-FR"/>
          </a:p>
        </p:txBody>
      </p:sp>
      <p:sp>
        <p:nvSpPr>
          <p:cNvPr id="5" name="Espace réservé du pied de page 4">
            <a:extLst>
              <a:ext uri="{FF2B5EF4-FFF2-40B4-BE49-F238E27FC236}">
                <a16:creationId xmlns:a16="http://schemas.microsoft.com/office/drawing/2014/main" id="{7F727304-3E0D-4922-9EF6-A855E46E2AEE}"/>
              </a:ext>
            </a:extLst>
          </p:cNvPr>
          <p:cNvSpPr>
            <a:spLocks noGrp="1"/>
          </p:cNvSpPr>
          <p:nvPr>
            <p:ph type="ftr" sz="quarter" idx="11"/>
          </p:nvPr>
        </p:nvSpPr>
        <p:spPr/>
        <p:txBody>
          <a:bodyPr/>
          <a:lstStyle>
            <a:lvl1pPr>
              <a:defRPr>
                <a:latin typeface="+mn-lt"/>
              </a:defRPr>
            </a:lvl1pPr>
          </a:lstStyle>
          <a:p>
            <a:endParaRPr lang="fr-FR"/>
          </a:p>
        </p:txBody>
      </p:sp>
    </p:spTree>
    <p:extLst>
      <p:ext uri="{BB962C8B-B14F-4D97-AF65-F5344CB8AC3E}">
        <p14:creationId xmlns:p14="http://schemas.microsoft.com/office/powerpoint/2010/main" val="33545185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77C25D68-CED0-4433-919C-9F3A2D2F47D3}"/>
              </a:ext>
            </a:extLst>
          </p:cNvPr>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Diapositive think-cell" r:id="rId4" imgW="762" imgH="769" progId="TCLayout.ActiveDocument.1">
                  <p:embed/>
                </p:oleObj>
              </mc:Choice>
              <mc:Fallback>
                <p:oleObj name="Diapositive think-cell" r:id="rId4" imgW="762" imgH="769" progId="TCLayout.ActiveDocument.1">
                  <p:embed/>
                  <p:pic>
                    <p:nvPicPr>
                      <p:cNvPr id="9" name="Objet 8" hidden="1">
                        <a:extLst>
                          <a:ext uri="{FF2B5EF4-FFF2-40B4-BE49-F238E27FC236}">
                            <a16:creationId xmlns:a16="http://schemas.microsoft.com/office/drawing/2014/main" id="{77C25D68-CED0-4433-919C-9F3A2D2F47D3}"/>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777E37C-808D-4647-8139-0DBD49B2D8E9}"/>
              </a:ext>
            </a:extLst>
          </p:cNvPr>
          <p:cNvSpPr/>
          <p:nvPr userDrawn="1">
            <p:custDataLst>
              <p:tags r:id="rId2"/>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4400" b="0" i="0" baseline="0">
              <a:latin typeface="Montserrat" panose="00000500000000000000" pitchFamily="2" charset="0"/>
              <a:ea typeface="+mj-ea"/>
              <a:cs typeface="+mj-cs"/>
              <a:sym typeface="Montserrat" panose="00000500000000000000" pitchFamily="2" charset="0"/>
            </a:endParaRPr>
          </a:p>
        </p:txBody>
      </p:sp>
      <p:sp>
        <p:nvSpPr>
          <p:cNvPr id="2" name="Titre 1">
            <a:extLst>
              <a:ext uri="{FF2B5EF4-FFF2-40B4-BE49-F238E27FC236}">
                <a16:creationId xmlns:a16="http://schemas.microsoft.com/office/drawing/2014/main" id="{43009FF2-8A41-4455-9F76-5C05C60C071B}"/>
              </a:ext>
            </a:extLst>
          </p:cNvPr>
          <p:cNvSpPr>
            <a:spLocks noGrp="1"/>
          </p:cNvSpPr>
          <p:nvPr>
            <p:ph type="title"/>
          </p:nvPr>
        </p:nvSpPr>
        <p:spPr/>
        <p:txBody>
          <a:bodyPr/>
          <a:lstStyle>
            <a:lvl1pPr>
              <a:defRPr>
                <a:latin typeface="+mn-lt"/>
              </a:defRPr>
            </a:lvl1pPr>
          </a:lstStyle>
          <a:p>
            <a:r>
              <a:rPr lang="fr-FR"/>
              <a:t>Modifiez le style du titre</a:t>
            </a:r>
          </a:p>
        </p:txBody>
      </p:sp>
      <p:sp>
        <p:nvSpPr>
          <p:cNvPr id="3" name="Espace réservé du contenu 2">
            <a:extLst>
              <a:ext uri="{FF2B5EF4-FFF2-40B4-BE49-F238E27FC236}">
                <a16:creationId xmlns:a16="http://schemas.microsoft.com/office/drawing/2014/main" id="{42863CC5-453E-4D4B-B8CA-E302B30CF49E}"/>
              </a:ext>
            </a:extLst>
          </p:cNvPr>
          <p:cNvSpPr>
            <a:spLocks noGrp="1"/>
          </p:cNvSpPr>
          <p:nvPr>
            <p:ph sz="half" idx="1"/>
          </p:nvPr>
        </p:nvSpPr>
        <p:spPr>
          <a:xfrm>
            <a:off x="838201" y="1825625"/>
            <a:ext cx="5164015" cy="4351338"/>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8681E1FA-9C96-4C3F-B425-ED206CACBE7C}"/>
              </a:ext>
            </a:extLst>
          </p:cNvPr>
          <p:cNvSpPr>
            <a:spLocks noGrp="1"/>
          </p:cNvSpPr>
          <p:nvPr>
            <p:ph sz="half" idx="2"/>
          </p:nvPr>
        </p:nvSpPr>
        <p:spPr>
          <a:xfrm>
            <a:off x="6189785" y="1825625"/>
            <a:ext cx="5164016" cy="4351338"/>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564A544C-70E4-4FF5-AE65-18EC3AE4FD3A}"/>
              </a:ext>
            </a:extLst>
          </p:cNvPr>
          <p:cNvSpPr>
            <a:spLocks noGrp="1"/>
          </p:cNvSpPr>
          <p:nvPr>
            <p:ph type="dt" sz="half" idx="10"/>
          </p:nvPr>
        </p:nvSpPr>
        <p:spPr/>
        <p:txBody>
          <a:bodyPr/>
          <a:lstStyle>
            <a:lvl1pPr>
              <a:defRPr>
                <a:latin typeface="+mn-lt"/>
              </a:defRPr>
            </a:lvl1pPr>
          </a:lstStyle>
          <a:p>
            <a:endParaRPr lang="fr-FR"/>
          </a:p>
        </p:txBody>
      </p:sp>
      <p:sp>
        <p:nvSpPr>
          <p:cNvPr id="6" name="Espace réservé du pied de page 5">
            <a:extLst>
              <a:ext uri="{FF2B5EF4-FFF2-40B4-BE49-F238E27FC236}">
                <a16:creationId xmlns:a16="http://schemas.microsoft.com/office/drawing/2014/main" id="{0CB944C8-F431-4F50-9143-68D7DFDB4C6A}"/>
              </a:ext>
            </a:extLst>
          </p:cNvPr>
          <p:cNvSpPr>
            <a:spLocks noGrp="1"/>
          </p:cNvSpPr>
          <p:nvPr>
            <p:ph type="ftr" sz="quarter" idx="11"/>
          </p:nvPr>
        </p:nvSpPr>
        <p:spPr/>
        <p:txBody>
          <a:bodyPr/>
          <a:lstStyle>
            <a:lvl1pPr>
              <a:defRPr>
                <a:latin typeface="+mn-lt"/>
              </a:defRPr>
            </a:lvl1pPr>
          </a:lstStyle>
          <a:p>
            <a:endParaRPr lang="fr-FR"/>
          </a:p>
        </p:txBody>
      </p:sp>
    </p:spTree>
    <p:extLst>
      <p:ext uri="{BB962C8B-B14F-4D97-AF65-F5344CB8AC3E}">
        <p14:creationId xmlns:p14="http://schemas.microsoft.com/office/powerpoint/2010/main" val="31175368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2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chemeClr val="tx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26" name="Forme libre 25">
            <a:extLst>
              <a:ext uri="{FF2B5EF4-FFF2-40B4-BE49-F238E27FC236}">
                <a16:creationId xmlns:a16="http://schemas.microsoft.com/office/drawing/2014/main" id="{CE542045-9417-8A4E-8E69-7121098F1DF1}"/>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tx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tx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404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tx2"/>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27" name="Google Shape;33;p5">
            <a:extLst>
              <a:ext uri="{FF2B5EF4-FFF2-40B4-BE49-F238E27FC236}">
                <a16:creationId xmlns:a16="http://schemas.microsoft.com/office/drawing/2014/main" id="{05C61B6A-97AE-7B44-9BF9-7BAD7C9154D0}"/>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tx2"/>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chemeClr val="tx2"/>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tx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tx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6" name="Google Shape;19;p3">
            <a:extLst>
              <a:ext uri="{FF2B5EF4-FFF2-40B4-BE49-F238E27FC236}">
                <a16:creationId xmlns:a16="http://schemas.microsoft.com/office/drawing/2014/main" id="{2B6A5960-735B-4C79-9CFB-7428EC77BD3D}"/>
              </a:ext>
            </a:extLst>
          </p:cNvPr>
          <p:cNvPicPr preferRelativeResize="0">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82189" y="6133386"/>
            <a:ext cx="900000" cy="506718"/>
          </a:xfrm>
          <a:prstGeom prst="rect">
            <a:avLst/>
          </a:prstGeom>
          <a:noFill/>
          <a:ln>
            <a:noFill/>
          </a:ln>
        </p:spPr>
      </p:pic>
    </p:spTree>
    <p:extLst>
      <p:ext uri="{BB962C8B-B14F-4D97-AF65-F5344CB8AC3E}">
        <p14:creationId xmlns:p14="http://schemas.microsoft.com/office/powerpoint/2010/main" val="31547341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6A6D44A2-22D1-4836-B007-77BD621A3532}"/>
              </a:ext>
            </a:extLst>
          </p:cNvPr>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Diapositive think-cell" r:id="rId4" imgW="762" imgH="769" progId="TCLayout.ActiveDocument.1">
                  <p:embed/>
                </p:oleObj>
              </mc:Choice>
              <mc:Fallback>
                <p:oleObj name="Diapositive think-cell" r:id="rId4" imgW="762" imgH="769" progId="TCLayout.ActiveDocument.1">
                  <p:embed/>
                  <p:pic>
                    <p:nvPicPr>
                      <p:cNvPr id="11" name="Objet 10" hidden="1">
                        <a:extLst>
                          <a:ext uri="{FF2B5EF4-FFF2-40B4-BE49-F238E27FC236}">
                            <a16:creationId xmlns:a16="http://schemas.microsoft.com/office/drawing/2014/main" id="{6A6D44A2-22D1-4836-B007-77BD621A3532}"/>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A77D5116-5E6D-4726-95C6-DF7DC2782BD2}"/>
              </a:ext>
            </a:extLst>
          </p:cNvPr>
          <p:cNvSpPr/>
          <p:nvPr userDrawn="1">
            <p:custDataLst>
              <p:tags r:id="rId2"/>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4400" b="0" i="0" baseline="0">
              <a:latin typeface="Montserrat" panose="00000500000000000000" pitchFamily="2" charset="0"/>
              <a:ea typeface="+mj-ea"/>
              <a:cs typeface="+mj-cs"/>
              <a:sym typeface="Montserrat" panose="00000500000000000000" pitchFamily="2" charset="0"/>
            </a:endParaRPr>
          </a:p>
        </p:txBody>
      </p:sp>
      <p:sp>
        <p:nvSpPr>
          <p:cNvPr id="2" name="Titre 1">
            <a:extLst>
              <a:ext uri="{FF2B5EF4-FFF2-40B4-BE49-F238E27FC236}">
                <a16:creationId xmlns:a16="http://schemas.microsoft.com/office/drawing/2014/main" id="{3335A7A2-1012-45D0-A129-83899666972C}"/>
              </a:ext>
            </a:extLst>
          </p:cNvPr>
          <p:cNvSpPr>
            <a:spLocks noGrp="1"/>
          </p:cNvSpPr>
          <p:nvPr>
            <p:ph type="title"/>
          </p:nvPr>
        </p:nvSpPr>
        <p:spPr>
          <a:xfrm>
            <a:off x="840154" y="365126"/>
            <a:ext cx="10515600" cy="1325563"/>
          </a:xfrm>
        </p:spPr>
        <p:txBody>
          <a:bodyPr/>
          <a:lstStyle>
            <a:lvl1pPr>
              <a:defRPr>
                <a:latin typeface="+mn-lt"/>
              </a:defRPr>
            </a:lvl1pPr>
          </a:lstStyle>
          <a:p>
            <a:r>
              <a:rPr lang="fr-FR"/>
              <a:t>Modifiez le style du titre</a:t>
            </a:r>
          </a:p>
        </p:txBody>
      </p:sp>
      <p:sp>
        <p:nvSpPr>
          <p:cNvPr id="3" name="Espace réservé du texte 2">
            <a:extLst>
              <a:ext uri="{FF2B5EF4-FFF2-40B4-BE49-F238E27FC236}">
                <a16:creationId xmlns:a16="http://schemas.microsoft.com/office/drawing/2014/main" id="{A2ABC924-D8B3-4D07-88B9-25DDA4147209}"/>
              </a:ext>
            </a:extLst>
          </p:cNvPr>
          <p:cNvSpPr>
            <a:spLocks noGrp="1"/>
          </p:cNvSpPr>
          <p:nvPr>
            <p:ph type="body" idx="1"/>
          </p:nvPr>
        </p:nvSpPr>
        <p:spPr>
          <a:xfrm>
            <a:off x="840154" y="1681163"/>
            <a:ext cx="5158154" cy="823912"/>
          </a:xfrm>
          <a:prstGeom prst="rect">
            <a:avLst/>
          </a:prstGeom>
        </p:spPr>
        <p:txBody>
          <a:bodyPr anchor="b"/>
          <a:lstStyle>
            <a:lvl1pPr marL="0" indent="0">
              <a:buNone/>
              <a:defRPr sz="24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a:extLst>
              <a:ext uri="{FF2B5EF4-FFF2-40B4-BE49-F238E27FC236}">
                <a16:creationId xmlns:a16="http://schemas.microsoft.com/office/drawing/2014/main" id="{BE03BD6C-415F-4BA4-8A67-61F13C93CA79}"/>
              </a:ext>
            </a:extLst>
          </p:cNvPr>
          <p:cNvSpPr>
            <a:spLocks noGrp="1"/>
          </p:cNvSpPr>
          <p:nvPr>
            <p:ph sz="half" idx="2"/>
          </p:nvPr>
        </p:nvSpPr>
        <p:spPr>
          <a:xfrm>
            <a:off x="840154" y="2505075"/>
            <a:ext cx="5158154" cy="3684588"/>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D3269B52-41B9-413B-A469-869F6CE4066D}"/>
              </a:ext>
            </a:extLst>
          </p:cNvPr>
          <p:cNvSpPr>
            <a:spLocks noGrp="1"/>
          </p:cNvSpPr>
          <p:nvPr>
            <p:ph type="body" sz="quarter" idx="3"/>
          </p:nvPr>
        </p:nvSpPr>
        <p:spPr>
          <a:xfrm>
            <a:off x="6172201" y="1681163"/>
            <a:ext cx="5183553" cy="823912"/>
          </a:xfrm>
          <a:prstGeom prst="rect">
            <a:avLst/>
          </a:prstGeom>
        </p:spPr>
        <p:txBody>
          <a:bodyPr anchor="b"/>
          <a:lstStyle>
            <a:lvl1pPr marL="0" indent="0">
              <a:buNone/>
              <a:defRPr sz="24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a:extLst>
              <a:ext uri="{FF2B5EF4-FFF2-40B4-BE49-F238E27FC236}">
                <a16:creationId xmlns:a16="http://schemas.microsoft.com/office/drawing/2014/main" id="{644ED638-6D1D-4830-89B8-4FC06343CB0D}"/>
              </a:ext>
            </a:extLst>
          </p:cNvPr>
          <p:cNvSpPr>
            <a:spLocks noGrp="1"/>
          </p:cNvSpPr>
          <p:nvPr>
            <p:ph sz="quarter" idx="4"/>
          </p:nvPr>
        </p:nvSpPr>
        <p:spPr>
          <a:xfrm>
            <a:off x="6172201" y="2505075"/>
            <a:ext cx="5183553" cy="3684588"/>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5D19C3EF-CC24-4148-9BE4-6674220F898F}"/>
              </a:ext>
            </a:extLst>
          </p:cNvPr>
          <p:cNvSpPr>
            <a:spLocks noGrp="1"/>
          </p:cNvSpPr>
          <p:nvPr>
            <p:ph type="dt" sz="half" idx="10"/>
          </p:nvPr>
        </p:nvSpPr>
        <p:spPr/>
        <p:txBody>
          <a:bodyPr/>
          <a:lstStyle>
            <a:lvl1pPr>
              <a:defRPr>
                <a:latin typeface="+mn-lt"/>
              </a:defRPr>
            </a:lvl1pPr>
          </a:lstStyle>
          <a:p>
            <a:endParaRPr lang="fr-FR"/>
          </a:p>
        </p:txBody>
      </p:sp>
      <p:sp>
        <p:nvSpPr>
          <p:cNvPr id="8" name="Espace réservé du pied de page 7">
            <a:extLst>
              <a:ext uri="{FF2B5EF4-FFF2-40B4-BE49-F238E27FC236}">
                <a16:creationId xmlns:a16="http://schemas.microsoft.com/office/drawing/2014/main" id="{29889C49-5A34-4E0F-A17B-52C248177E22}"/>
              </a:ext>
            </a:extLst>
          </p:cNvPr>
          <p:cNvSpPr>
            <a:spLocks noGrp="1"/>
          </p:cNvSpPr>
          <p:nvPr>
            <p:ph type="ftr" sz="quarter" idx="11"/>
          </p:nvPr>
        </p:nvSpPr>
        <p:spPr/>
        <p:txBody>
          <a:bodyPr/>
          <a:lstStyle>
            <a:lvl1pPr>
              <a:defRPr>
                <a:latin typeface="+mn-lt"/>
              </a:defRPr>
            </a:lvl1pPr>
          </a:lstStyle>
          <a:p>
            <a:endParaRPr lang="fr-FR"/>
          </a:p>
        </p:txBody>
      </p:sp>
      <p:sp>
        <p:nvSpPr>
          <p:cNvPr id="9" name="Espace réservé du numéro de diapositive 8">
            <a:extLst>
              <a:ext uri="{FF2B5EF4-FFF2-40B4-BE49-F238E27FC236}">
                <a16:creationId xmlns:a16="http://schemas.microsoft.com/office/drawing/2014/main" id="{1C6BF83A-5DC6-43E7-BFB2-D81A4EFE7659}"/>
              </a:ext>
            </a:extLst>
          </p:cNvPr>
          <p:cNvSpPr>
            <a:spLocks noGrp="1"/>
          </p:cNvSpPr>
          <p:nvPr>
            <p:ph type="sldNum" sz="quarter" idx="12"/>
          </p:nvPr>
        </p:nvSpPr>
        <p:spPr/>
        <p:txBody>
          <a:bodyPr/>
          <a:lstStyle>
            <a:lvl1pPr>
              <a:defRPr>
                <a:latin typeface="+mn-lt"/>
              </a:defRPr>
            </a:lvl1pPr>
          </a:lstStyle>
          <a:p>
            <a:fld id="{D67A77D8-090B-4A94-9B16-ECD771C06B17}" type="slidenum">
              <a:rPr lang="fr-FR" smtClean="0"/>
              <a:pPr/>
              <a:t>‹N°›</a:t>
            </a:fld>
            <a:endParaRPr lang="fr-FR"/>
          </a:p>
        </p:txBody>
      </p:sp>
    </p:spTree>
    <p:extLst>
      <p:ext uri="{BB962C8B-B14F-4D97-AF65-F5344CB8AC3E}">
        <p14:creationId xmlns:p14="http://schemas.microsoft.com/office/powerpoint/2010/main" val="36861362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AC128C2-85A8-4A80-B116-C2E5E838D50F}"/>
              </a:ext>
            </a:extLst>
          </p:cNvPr>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Diapositive think-cell" r:id="rId4" imgW="762" imgH="769" progId="TCLayout.ActiveDocument.1">
                  <p:embed/>
                </p:oleObj>
              </mc:Choice>
              <mc:Fallback>
                <p:oleObj name="Diapositive think-cell" r:id="rId4" imgW="762" imgH="769" progId="TCLayout.ActiveDocument.1">
                  <p:embed/>
                  <p:pic>
                    <p:nvPicPr>
                      <p:cNvPr id="7" name="Objet 6" hidden="1">
                        <a:extLst>
                          <a:ext uri="{FF2B5EF4-FFF2-40B4-BE49-F238E27FC236}">
                            <a16:creationId xmlns:a16="http://schemas.microsoft.com/office/drawing/2014/main" id="{CAC128C2-85A8-4A80-B116-C2E5E838D50F}"/>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3DE1E2B-51BE-4B96-BBF7-D815ADFAA0A4}"/>
              </a:ext>
            </a:extLst>
          </p:cNvPr>
          <p:cNvSpPr/>
          <p:nvPr userDrawn="1">
            <p:custDataLst>
              <p:tags r:id="rId2"/>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4400" b="0" i="0" baseline="0">
              <a:latin typeface="Montserrat" panose="00000500000000000000" pitchFamily="2" charset="0"/>
              <a:ea typeface="+mj-ea"/>
              <a:cs typeface="+mj-cs"/>
              <a:sym typeface="Montserrat" panose="00000500000000000000" pitchFamily="2" charset="0"/>
            </a:endParaRPr>
          </a:p>
        </p:txBody>
      </p:sp>
      <p:sp>
        <p:nvSpPr>
          <p:cNvPr id="2" name="Titre 1">
            <a:extLst>
              <a:ext uri="{FF2B5EF4-FFF2-40B4-BE49-F238E27FC236}">
                <a16:creationId xmlns:a16="http://schemas.microsoft.com/office/drawing/2014/main" id="{46B74073-788D-46BC-B4AA-920F61DDFD73}"/>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605C591D-A97A-4B34-AFC3-942AADC5451B}"/>
              </a:ext>
            </a:extLst>
          </p:cNvPr>
          <p:cNvSpPr>
            <a:spLocks noGrp="1"/>
          </p:cNvSpPr>
          <p:nvPr>
            <p:ph type="dt" sz="half" idx="10"/>
          </p:nvPr>
        </p:nvSpPr>
        <p:spPr/>
        <p:txBody>
          <a:bodyPr/>
          <a:lstStyle/>
          <a:p>
            <a:endParaRPr lang="fr-FR"/>
          </a:p>
        </p:txBody>
      </p:sp>
      <p:sp>
        <p:nvSpPr>
          <p:cNvPr id="4" name="Espace réservé du pied de page 3">
            <a:extLst>
              <a:ext uri="{FF2B5EF4-FFF2-40B4-BE49-F238E27FC236}">
                <a16:creationId xmlns:a16="http://schemas.microsoft.com/office/drawing/2014/main" id="{674D1B64-CD81-4A09-ABD0-C1225F02C595}"/>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B0A1D813-A708-422C-8797-39A9531780C0}"/>
              </a:ext>
            </a:extLst>
          </p:cNvPr>
          <p:cNvSpPr>
            <a:spLocks noGrp="1"/>
          </p:cNvSpPr>
          <p:nvPr>
            <p:ph type="sldNum" sz="quarter" idx="12"/>
          </p:nvPr>
        </p:nvSpPr>
        <p:spPr/>
        <p:txBody>
          <a:bodyPr/>
          <a:lstStyle/>
          <a:p>
            <a:fld id="{D67A77D8-090B-4A94-9B16-ECD771C06B17}" type="slidenum">
              <a:rPr lang="fr-FR" smtClean="0"/>
              <a:t>‹N°›</a:t>
            </a:fld>
            <a:endParaRPr lang="fr-FR"/>
          </a:p>
        </p:txBody>
      </p:sp>
    </p:spTree>
    <p:extLst>
      <p:ext uri="{BB962C8B-B14F-4D97-AF65-F5344CB8AC3E}">
        <p14:creationId xmlns:p14="http://schemas.microsoft.com/office/powerpoint/2010/main" val="33815946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E56C912E-91C8-4B90-BC28-4ACFB48EA1EC}"/>
              </a:ext>
            </a:extLst>
          </p:cNvPr>
          <p:cNvSpPr>
            <a:spLocks noGrp="1"/>
          </p:cNvSpPr>
          <p:nvPr>
            <p:ph type="dt" sz="half" idx="10"/>
          </p:nvPr>
        </p:nvSpPr>
        <p:spPr/>
        <p:txBody>
          <a:bodyPr/>
          <a:lstStyle/>
          <a:p>
            <a:endParaRPr lang="fr-FR"/>
          </a:p>
        </p:txBody>
      </p:sp>
      <p:sp>
        <p:nvSpPr>
          <p:cNvPr id="3" name="Espace réservé du pied de page 2">
            <a:extLst>
              <a:ext uri="{FF2B5EF4-FFF2-40B4-BE49-F238E27FC236}">
                <a16:creationId xmlns:a16="http://schemas.microsoft.com/office/drawing/2014/main" id="{D519C31A-E0AA-4DDF-8CA4-0A548E270F1E}"/>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35FF45A2-C038-4636-9ED7-66BCBD111D42}"/>
              </a:ext>
            </a:extLst>
          </p:cNvPr>
          <p:cNvSpPr>
            <a:spLocks noGrp="1"/>
          </p:cNvSpPr>
          <p:nvPr>
            <p:ph type="sldNum" sz="quarter" idx="12"/>
          </p:nvPr>
        </p:nvSpPr>
        <p:spPr/>
        <p:txBody>
          <a:bodyPr/>
          <a:lstStyle/>
          <a:p>
            <a:fld id="{D67A77D8-090B-4A94-9B16-ECD771C06B17}" type="slidenum">
              <a:rPr lang="fr-FR" smtClean="0"/>
              <a:t>‹N°›</a:t>
            </a:fld>
            <a:endParaRPr lang="fr-FR"/>
          </a:p>
        </p:txBody>
      </p:sp>
    </p:spTree>
    <p:extLst>
      <p:ext uri="{BB962C8B-B14F-4D97-AF65-F5344CB8AC3E}">
        <p14:creationId xmlns:p14="http://schemas.microsoft.com/office/powerpoint/2010/main" val="158932278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re bâtiment bandeau blanc">
    <p:spTree>
      <p:nvGrpSpPr>
        <p:cNvPr id="1" name=""/>
        <p:cNvGrpSpPr/>
        <p:nvPr/>
      </p:nvGrpSpPr>
      <p:grpSpPr>
        <a:xfrm>
          <a:off x="0" y="0"/>
          <a:ext cx="0" cy="0"/>
          <a:chOff x="0" y="0"/>
          <a:chExt cx="0" cy="0"/>
        </a:xfrm>
      </p:grpSpPr>
      <p:sp>
        <p:nvSpPr>
          <p:cNvPr id="10" name="Rectangle 9"/>
          <p:cNvSpPr/>
          <p:nvPr userDrawn="1"/>
        </p:nvSpPr>
        <p:spPr>
          <a:xfrm>
            <a:off x="0" y="3959732"/>
            <a:ext cx="12192000" cy="1161457"/>
          </a:xfrm>
          <a:prstGeom prst="rect">
            <a:avLst/>
          </a:prstGeom>
          <a:solidFill>
            <a:srgbClr val="F2F2F2">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400">
              <a:solidFill>
                <a:srgbClr val="000000"/>
              </a:solidFill>
              <a:latin typeface="+mn-lt"/>
            </a:endParaRPr>
          </a:p>
        </p:txBody>
      </p:sp>
      <p:sp>
        <p:nvSpPr>
          <p:cNvPr id="12" name="Title 1"/>
          <p:cNvSpPr>
            <a:spLocks noGrp="1"/>
          </p:cNvSpPr>
          <p:nvPr>
            <p:ph type="ctrTitle"/>
          </p:nvPr>
        </p:nvSpPr>
        <p:spPr>
          <a:xfrm>
            <a:off x="158110" y="4096753"/>
            <a:ext cx="11846321" cy="887412"/>
          </a:xfrm>
          <a:prstGeom prst="rect">
            <a:avLst/>
          </a:prstGeom>
        </p:spPr>
        <p:txBody>
          <a:bodyPr anchor="ctr" anchorCtr="0"/>
          <a:lstStyle>
            <a:lvl1pPr algn="ctr">
              <a:defRPr lang="en-US" sz="2800" b="1" kern="1200" dirty="0">
                <a:solidFill>
                  <a:srgbClr val="0070C0"/>
                </a:solidFill>
                <a:latin typeface="+mn-lt"/>
                <a:ea typeface="+mj-ea"/>
                <a:cs typeface="+mj-cs"/>
              </a:defRPr>
            </a:lvl1pPr>
          </a:lstStyle>
          <a:p>
            <a:r>
              <a:rPr lang="fr-FR"/>
              <a:t>Modifiez le style du titre</a:t>
            </a:r>
            <a:endParaRPr lang="en-US"/>
          </a:p>
        </p:txBody>
      </p:sp>
      <p:sp>
        <p:nvSpPr>
          <p:cNvPr id="15" name="Espace réservé du texte 15"/>
          <p:cNvSpPr>
            <a:spLocks noGrp="1"/>
          </p:cNvSpPr>
          <p:nvPr>
            <p:ph type="body" sz="quarter" idx="10" hasCustomPrompt="1"/>
          </p:nvPr>
        </p:nvSpPr>
        <p:spPr>
          <a:xfrm>
            <a:off x="4847139" y="6553201"/>
            <a:ext cx="2468262" cy="257175"/>
          </a:xfrm>
          <a:prstGeom prst="rect">
            <a:avLst/>
          </a:prstGeom>
        </p:spPr>
        <p:txBody>
          <a:bodyPr/>
          <a:lstStyle>
            <a:lvl1pPr marL="0" indent="0" algn="ctr">
              <a:buNone/>
              <a:defRPr sz="1200">
                <a:solidFill>
                  <a:schemeClr val="tx1">
                    <a:lumMod val="65000"/>
                    <a:lumOff val="35000"/>
                  </a:schemeClr>
                </a:solidFill>
                <a:latin typeface="+mn-lt"/>
              </a:defRPr>
            </a:lvl1pPr>
          </a:lstStyle>
          <a:p>
            <a:pPr lvl="0"/>
            <a:r>
              <a:rPr lang="fr-FR"/>
              <a:t>Date</a:t>
            </a:r>
          </a:p>
        </p:txBody>
      </p:sp>
      <p:sp>
        <p:nvSpPr>
          <p:cNvPr id="16" name="Espace réservé du texte 15"/>
          <p:cNvSpPr>
            <a:spLocks noGrp="1"/>
          </p:cNvSpPr>
          <p:nvPr>
            <p:ph type="body" sz="quarter" idx="11" hasCustomPrompt="1"/>
          </p:nvPr>
        </p:nvSpPr>
        <p:spPr>
          <a:xfrm>
            <a:off x="63923" y="6553201"/>
            <a:ext cx="2468262" cy="257175"/>
          </a:xfrm>
          <a:prstGeom prst="rect">
            <a:avLst/>
          </a:prstGeom>
        </p:spPr>
        <p:txBody>
          <a:bodyPr anchor="ctr" anchorCtr="0"/>
          <a:lstStyle>
            <a:lvl1pPr marL="0" indent="0" algn="l">
              <a:buNone/>
              <a:defRPr sz="1000">
                <a:solidFill>
                  <a:schemeClr val="tx1">
                    <a:lumMod val="65000"/>
                    <a:lumOff val="35000"/>
                  </a:schemeClr>
                </a:solidFill>
                <a:latin typeface="+mn-lt"/>
              </a:defRPr>
            </a:lvl1pPr>
          </a:lstStyle>
          <a:p>
            <a:pPr lvl="0"/>
            <a:r>
              <a:rPr lang="fr-FR"/>
              <a:t>Version</a:t>
            </a:r>
          </a:p>
        </p:txBody>
      </p:sp>
      <p:sp>
        <p:nvSpPr>
          <p:cNvPr id="18" name="Espace réservé pour une image  17"/>
          <p:cNvSpPr>
            <a:spLocks noGrp="1"/>
          </p:cNvSpPr>
          <p:nvPr>
            <p:ph type="pic" sz="quarter" idx="12" hasCustomPrompt="1"/>
          </p:nvPr>
        </p:nvSpPr>
        <p:spPr>
          <a:xfrm>
            <a:off x="5067706" y="5638800"/>
            <a:ext cx="2056590" cy="762000"/>
          </a:xfrm>
          <a:prstGeom prst="rect">
            <a:avLst/>
          </a:prstGeom>
        </p:spPr>
        <p:txBody>
          <a:bodyPr anchor="ctr" anchorCtr="0"/>
          <a:lstStyle>
            <a:lvl1pPr marL="0" indent="0" algn="ctr">
              <a:buNone/>
              <a:defRPr>
                <a:latin typeface="+mn-lt"/>
              </a:defRPr>
            </a:lvl1pPr>
          </a:lstStyle>
          <a:p>
            <a:r>
              <a:rPr lang="fr-FR"/>
              <a:t>Logo client</a:t>
            </a:r>
          </a:p>
        </p:txBody>
      </p:sp>
      <p:sp>
        <p:nvSpPr>
          <p:cNvPr id="3" name="Espace réservé du texte 2"/>
          <p:cNvSpPr>
            <a:spLocks noGrp="1"/>
          </p:cNvSpPr>
          <p:nvPr>
            <p:ph type="body" sz="quarter" idx="13" hasCustomPrompt="1"/>
          </p:nvPr>
        </p:nvSpPr>
        <p:spPr>
          <a:xfrm>
            <a:off x="3376246" y="5273676"/>
            <a:ext cx="5439508" cy="288925"/>
          </a:xfrm>
          <a:prstGeom prst="rect">
            <a:avLst/>
          </a:prstGeom>
        </p:spPr>
        <p:txBody>
          <a:bodyPr anchor="ctr" anchorCtr="0"/>
          <a:lstStyle>
            <a:lvl1pPr marL="0" indent="0" algn="ctr">
              <a:buNone/>
              <a:defRPr sz="1200" b="1">
                <a:solidFill>
                  <a:schemeClr val="tx1">
                    <a:lumMod val="75000"/>
                    <a:lumOff val="25000"/>
                  </a:schemeClr>
                </a:solidFill>
                <a:latin typeface="+mn-lt"/>
              </a:defRPr>
            </a:lvl1pPr>
          </a:lstStyle>
          <a:p>
            <a:pPr lvl="0"/>
            <a:r>
              <a:rPr lang="fr-FR"/>
              <a:t>A l’attention de Nom Prénom, poste</a:t>
            </a:r>
          </a:p>
        </p:txBody>
      </p:sp>
      <p:pic>
        <p:nvPicPr>
          <p:cNvPr id="4" name="Graphique 3">
            <a:extLst>
              <a:ext uri="{FF2B5EF4-FFF2-40B4-BE49-F238E27FC236}">
                <a16:creationId xmlns:a16="http://schemas.microsoft.com/office/drawing/2014/main" id="{900D4B3B-693F-4031-B8D0-1B06971A96D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32580" b="37180"/>
          <a:stretch/>
        </p:blipFill>
        <p:spPr>
          <a:xfrm>
            <a:off x="9312000" y="6402819"/>
            <a:ext cx="2880000" cy="398029"/>
          </a:xfrm>
          <a:prstGeom prst="rect">
            <a:avLst/>
          </a:prstGeom>
        </p:spPr>
      </p:pic>
    </p:spTree>
    <p:extLst>
      <p:ext uri="{BB962C8B-B14F-4D97-AF65-F5344CB8AC3E}">
        <p14:creationId xmlns:p14="http://schemas.microsoft.com/office/powerpoint/2010/main" val="174017786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re vertical et tex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5666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1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7892306-A13B-4FF8-BED3-72612D1A84DF}"/>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84048C8-9F5D-4D0C-9938-0AD636D76548}"/>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8F6A5470-D7E5-4A2D-A353-2CEB20156B39}"/>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7C573632-071B-4E83-9644-81F69B4DBDF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138E974-8D3F-4F9A-B2C6-2BBB2AE4823B}"/>
              </a:ext>
            </a:extLst>
          </p:cNvPr>
          <p:cNvSpPr>
            <a:spLocks noGrp="1"/>
          </p:cNvSpPr>
          <p:nvPr>
            <p:ph type="sldNum" sz="quarter" idx="12"/>
          </p:nvPr>
        </p:nvSpPr>
        <p:spPr/>
        <p:txBody>
          <a:bodyPr/>
          <a:lstStyle/>
          <a:p>
            <a:fld id="{A81D0B97-1AF3-45F0-9511-3C66B144ECEB}" type="slidenum">
              <a:rPr lang="fr-FR" smtClean="0"/>
              <a:t>‹N°›</a:t>
            </a:fld>
            <a:endParaRPr lang="fr-FR"/>
          </a:p>
        </p:txBody>
      </p:sp>
    </p:spTree>
    <p:extLst>
      <p:ext uri="{BB962C8B-B14F-4D97-AF65-F5344CB8AC3E}">
        <p14:creationId xmlns:p14="http://schemas.microsoft.com/office/powerpoint/2010/main" val="23495636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alan Solutions 1">
  <p:cSld name="Talan Solutions 1">
    <p:spTree>
      <p:nvGrpSpPr>
        <p:cNvPr id="1" name="Shape 55"/>
        <p:cNvGrpSpPr/>
        <p:nvPr/>
      </p:nvGrpSpPr>
      <p:grpSpPr>
        <a:xfrm>
          <a:off x="0" y="0"/>
          <a:ext cx="0" cy="0"/>
          <a:chOff x="0" y="0"/>
          <a:chExt cx="0" cy="0"/>
        </a:xfrm>
      </p:grpSpPr>
      <p:sp>
        <p:nvSpPr>
          <p:cNvPr id="59" name="Google Shape;59;p7"/>
          <p:cNvSpPr txBox="1">
            <a:spLocks noGrp="1"/>
          </p:cNvSpPr>
          <p:nvPr>
            <p:ph type="body" idx="1"/>
          </p:nvPr>
        </p:nvSpPr>
        <p:spPr>
          <a:xfrm>
            <a:off x="4165600" y="772055"/>
            <a:ext cx="7645046" cy="664284"/>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333"/>
              </a:spcBef>
              <a:spcAft>
                <a:spcPts val="0"/>
              </a:spcAft>
              <a:buClr>
                <a:schemeClr val="accent1"/>
              </a:buClr>
              <a:buSzPts val="1200"/>
              <a:buFont typeface="Arial"/>
              <a:buNone/>
              <a:defRPr sz="1200" b="1" i="0" u="none" strike="noStrike" cap="none">
                <a:solidFill>
                  <a:schemeClr val="accent1"/>
                </a:solidFill>
                <a:latin typeface="Montserrat"/>
                <a:ea typeface="Montserrat"/>
                <a:cs typeface="Montserrat"/>
                <a:sym typeface="Montserrat"/>
              </a:defRPr>
            </a:lvl1pPr>
            <a:lvl2pPr marL="914400" marR="0" lvl="1" indent="-228600" algn="l" rtl="0">
              <a:lnSpc>
                <a:spcPct val="90000"/>
              </a:lnSpc>
              <a:spcBef>
                <a:spcPts val="667"/>
              </a:spcBef>
              <a:spcAft>
                <a:spcPts val="0"/>
              </a:spcAft>
              <a:buClr>
                <a:schemeClr val="dk2"/>
              </a:buClr>
              <a:buSzPts val="1100"/>
              <a:buFont typeface="Arial"/>
              <a:buNone/>
              <a:defRPr sz="1100" b="0" i="0" u="none" strike="noStrike" cap="none">
                <a:solidFill>
                  <a:schemeClr val="dk2"/>
                </a:solidFill>
                <a:latin typeface="Montserrat"/>
                <a:ea typeface="Montserrat"/>
                <a:cs typeface="Montserrat"/>
                <a:sym typeface="Montserrat"/>
              </a:defRPr>
            </a:lvl2pPr>
            <a:lvl3pPr marL="1371600" marR="0" lvl="2" indent="-298450" algn="l" rtl="0">
              <a:lnSpc>
                <a:spcPct val="90000"/>
              </a:lnSpc>
              <a:spcBef>
                <a:spcPts val="667"/>
              </a:spcBef>
              <a:spcAft>
                <a:spcPts val="0"/>
              </a:spcAft>
              <a:buClr>
                <a:schemeClr val="accent1"/>
              </a:buClr>
              <a:buSzPts val="1100"/>
              <a:buFont typeface="Arial"/>
              <a:buChar char="•"/>
              <a:defRPr sz="1100" b="0" i="0" u="none" strike="noStrike" cap="none">
                <a:solidFill>
                  <a:schemeClr val="dk2"/>
                </a:solidFill>
                <a:latin typeface="Montserrat"/>
                <a:ea typeface="Montserrat"/>
                <a:cs typeface="Montserrat"/>
                <a:sym typeface="Montserrat"/>
              </a:defRPr>
            </a:lvl3pPr>
            <a:lvl4pPr marL="1828800" marR="0" lvl="3"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4pPr>
            <a:lvl5pPr marL="2286000" marR="0" lvl="4"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5pPr>
            <a:lvl6pPr marL="2743200" marR="0" lvl="5"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6pPr>
            <a:lvl7pPr marL="3200400" marR="0" lvl="6"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7pPr>
            <a:lvl8pPr marL="3657600" marR="0" lvl="7"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8pPr>
            <a:lvl9pPr marL="4114800" marR="0" lvl="8"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9pPr>
          </a:lstStyle>
          <a:p>
            <a:endParaRPr/>
          </a:p>
        </p:txBody>
      </p:sp>
      <p:sp>
        <p:nvSpPr>
          <p:cNvPr id="62" name="Google Shape;62;p7"/>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noAutofit/>
          </a:bodyPr>
          <a:lstStyle>
            <a:lvl1pPr lvl="0" algn="r">
              <a:spcBef>
                <a:spcPts val="0"/>
              </a:spcBef>
              <a:spcAft>
                <a:spcPts val="0"/>
              </a:spcAft>
              <a:buSzPts val="1400"/>
              <a:buNone/>
              <a:defRPr sz="1100">
                <a:solidFill>
                  <a:srgbClr val="FF8DDA"/>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7"/>
          <p:cNvSpPr txBox="1">
            <a:spLocks noGrp="1"/>
          </p:cNvSpPr>
          <p:nvPr>
            <p:ph type="body" idx="2"/>
          </p:nvPr>
        </p:nvSpPr>
        <p:spPr>
          <a:xfrm>
            <a:off x="444499" y="2513169"/>
            <a:ext cx="2922815" cy="809965"/>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333"/>
              </a:spcBef>
              <a:spcAft>
                <a:spcPts val="0"/>
              </a:spcAft>
              <a:buClr>
                <a:schemeClr val="lt1"/>
              </a:buClr>
              <a:buSzPts val="1800"/>
              <a:buFont typeface="Arial"/>
              <a:buNone/>
              <a:defRPr sz="1800" b="0" i="0" u="none" strike="noStrike" cap="none">
                <a:solidFill>
                  <a:schemeClr val="lt1"/>
                </a:solidFill>
                <a:latin typeface="Montserrat"/>
                <a:ea typeface="Montserrat"/>
                <a:cs typeface="Montserrat"/>
                <a:sym typeface="Montserrat"/>
              </a:defRPr>
            </a:lvl1pPr>
            <a:lvl2pPr marL="914400" marR="0" lvl="1" indent="-330200" algn="l" rtl="0">
              <a:lnSpc>
                <a:spcPct val="90000"/>
              </a:lnSpc>
              <a:spcBef>
                <a:spcPts val="667"/>
              </a:spcBef>
              <a:spcAft>
                <a:spcPts val="0"/>
              </a:spcAft>
              <a:buClr>
                <a:schemeClr val="lt1"/>
              </a:buClr>
              <a:buSzPts val="1600"/>
              <a:buFont typeface="Arial"/>
              <a:buChar char="•"/>
              <a:defRPr sz="1600" b="0" i="0" u="none" strike="noStrike" cap="none">
                <a:solidFill>
                  <a:schemeClr val="lt1"/>
                </a:solidFill>
                <a:latin typeface="Montserrat"/>
                <a:ea typeface="Montserrat"/>
                <a:cs typeface="Montserrat"/>
                <a:sym typeface="Montserrat"/>
              </a:defRPr>
            </a:lvl2pPr>
            <a:lvl3pPr marL="1371600" marR="0" lvl="2" indent="-304800" algn="l" rtl="0">
              <a:lnSpc>
                <a:spcPct val="90000"/>
              </a:lnSpc>
              <a:spcBef>
                <a:spcPts val="667"/>
              </a:spcBef>
              <a:spcAft>
                <a:spcPts val="0"/>
              </a:spcAft>
              <a:buClr>
                <a:schemeClr val="accent1"/>
              </a:buClr>
              <a:buSzPts val="1200"/>
              <a:buFont typeface="Arial"/>
              <a:buChar char="•"/>
              <a:defRPr sz="1200" b="0" i="0" u="none" strike="noStrike" cap="none">
                <a:solidFill>
                  <a:schemeClr val="lt1"/>
                </a:solidFill>
                <a:latin typeface="Montserrat"/>
                <a:ea typeface="Montserrat"/>
                <a:cs typeface="Montserrat"/>
                <a:sym typeface="Montserrat"/>
              </a:defRPr>
            </a:lvl3pPr>
            <a:lvl4pPr marL="1828800" marR="0" lvl="3"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4pPr>
            <a:lvl5pPr marL="2286000" marR="0" lvl="4"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5pPr>
            <a:lvl6pPr marL="2743200" marR="0" lvl="5"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6pPr>
            <a:lvl7pPr marL="3200400" marR="0" lvl="6"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7pPr>
            <a:lvl8pPr marL="3657600" marR="0" lvl="7"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8pPr>
            <a:lvl9pPr marL="4114800" marR="0" lvl="8"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396249121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re Message Contenu">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B26118F8-AF0A-4673-8EE2-4D023BD2AA06}"/>
              </a:ext>
            </a:extLst>
          </p:cNvPr>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Diapositive think-cell" r:id="rId4" imgW="762" imgH="769" progId="TCLayout.ActiveDocument.1">
                  <p:embed/>
                </p:oleObj>
              </mc:Choice>
              <mc:Fallback>
                <p:oleObj name="Diapositive think-cell" r:id="rId4" imgW="762" imgH="769" progId="TCLayout.ActiveDocument.1">
                  <p:embed/>
                  <p:pic>
                    <p:nvPicPr>
                      <p:cNvPr id="8" name="Objet 7" hidden="1">
                        <a:extLst>
                          <a:ext uri="{FF2B5EF4-FFF2-40B4-BE49-F238E27FC236}">
                            <a16:creationId xmlns:a16="http://schemas.microsoft.com/office/drawing/2014/main" id="{B26118F8-AF0A-4673-8EE2-4D023BD2AA06}"/>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80B5E31-36D1-47D5-A798-ED706F5D02BE}"/>
              </a:ext>
            </a:extLst>
          </p:cNvPr>
          <p:cNvSpPr/>
          <p:nvPr userDrawn="1">
            <p:custDataLst>
              <p:tags r:id="rId2"/>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4400" b="0" i="0" baseline="0">
              <a:latin typeface="Montserrat" panose="00000500000000000000" pitchFamily="2" charset="0"/>
              <a:ea typeface="+mj-ea"/>
              <a:cs typeface="+mj-cs"/>
              <a:sym typeface="Montserrat" panose="00000500000000000000" pitchFamily="2" charset="0"/>
            </a:endParaRPr>
          </a:p>
        </p:txBody>
      </p:sp>
      <p:sp>
        <p:nvSpPr>
          <p:cNvPr id="2" name="Titre 1">
            <a:extLst>
              <a:ext uri="{FF2B5EF4-FFF2-40B4-BE49-F238E27FC236}">
                <a16:creationId xmlns:a16="http://schemas.microsoft.com/office/drawing/2014/main" id="{85BF5D26-4DA3-48A9-ABCF-FE0960DF7653}"/>
              </a:ext>
            </a:extLst>
          </p:cNvPr>
          <p:cNvSpPr>
            <a:spLocks noGrp="1"/>
          </p:cNvSpPr>
          <p:nvPr>
            <p:ph type="title"/>
          </p:nvPr>
        </p:nvSpPr>
        <p:spPr>
          <a:xfrm>
            <a:off x="838200" y="325476"/>
            <a:ext cx="9182322" cy="993600"/>
          </a:xfrm>
        </p:spPr>
        <p:txBody>
          <a:bodyPr/>
          <a:lstStyle>
            <a:lvl1pPr>
              <a:defRPr>
                <a:latin typeface="+mn-lt"/>
              </a:defRPr>
            </a:lvl1pPr>
          </a:lstStyle>
          <a:p>
            <a:r>
              <a:rPr lang="fr-FR"/>
              <a:t>Modifiez le style du titre</a:t>
            </a:r>
          </a:p>
        </p:txBody>
      </p:sp>
      <p:sp>
        <p:nvSpPr>
          <p:cNvPr id="4" name="Espace réservé de la date 3">
            <a:extLst>
              <a:ext uri="{FF2B5EF4-FFF2-40B4-BE49-F238E27FC236}">
                <a16:creationId xmlns:a16="http://schemas.microsoft.com/office/drawing/2014/main" id="{11123DC0-A5D0-4E97-A2DE-234EED867E47}"/>
              </a:ext>
            </a:extLst>
          </p:cNvPr>
          <p:cNvSpPr>
            <a:spLocks noGrp="1"/>
          </p:cNvSpPr>
          <p:nvPr>
            <p:ph type="dt" sz="half" idx="10"/>
          </p:nvPr>
        </p:nvSpPr>
        <p:spPr>
          <a:xfrm>
            <a:off x="838201" y="6346924"/>
            <a:ext cx="2743200" cy="365125"/>
          </a:xfrm>
        </p:spPr>
        <p:txBody>
          <a:bodyPr/>
          <a:lstStyle>
            <a:lvl1pPr>
              <a:defRPr>
                <a:latin typeface="+mn-lt"/>
              </a:defRPr>
            </a:lvl1pPr>
          </a:lstStyle>
          <a:p>
            <a:endParaRPr lang="fr-FR"/>
          </a:p>
        </p:txBody>
      </p:sp>
      <p:sp>
        <p:nvSpPr>
          <p:cNvPr id="5" name="Espace réservé du pied de page 4">
            <a:extLst>
              <a:ext uri="{FF2B5EF4-FFF2-40B4-BE49-F238E27FC236}">
                <a16:creationId xmlns:a16="http://schemas.microsoft.com/office/drawing/2014/main" id="{50F36A53-F9FA-46ED-B6AF-591E5C9C361B}"/>
              </a:ext>
            </a:extLst>
          </p:cNvPr>
          <p:cNvSpPr>
            <a:spLocks noGrp="1"/>
          </p:cNvSpPr>
          <p:nvPr>
            <p:ph type="ftr" sz="quarter" idx="11"/>
          </p:nvPr>
        </p:nvSpPr>
        <p:spPr>
          <a:xfrm>
            <a:off x="4038601" y="6346924"/>
            <a:ext cx="4114800" cy="365125"/>
          </a:xfrm>
        </p:spPr>
        <p:txBody>
          <a:bodyPr/>
          <a:lstStyle>
            <a:lvl1pPr>
              <a:defRPr>
                <a:latin typeface="+mn-lt"/>
              </a:defRPr>
            </a:lvl1pPr>
          </a:lstStyle>
          <a:p>
            <a:endParaRPr lang="fr-FR"/>
          </a:p>
        </p:txBody>
      </p:sp>
      <p:sp>
        <p:nvSpPr>
          <p:cNvPr id="6" name="Espace réservé du numéro de diapositive 5">
            <a:extLst>
              <a:ext uri="{FF2B5EF4-FFF2-40B4-BE49-F238E27FC236}">
                <a16:creationId xmlns:a16="http://schemas.microsoft.com/office/drawing/2014/main" id="{455CEF79-607B-496B-9E17-09985A12391C}"/>
              </a:ext>
            </a:extLst>
          </p:cNvPr>
          <p:cNvSpPr>
            <a:spLocks noGrp="1"/>
          </p:cNvSpPr>
          <p:nvPr>
            <p:ph type="sldNum" sz="quarter" idx="12"/>
          </p:nvPr>
        </p:nvSpPr>
        <p:spPr>
          <a:xfrm>
            <a:off x="8610601" y="6346924"/>
            <a:ext cx="2743200" cy="365125"/>
          </a:xfrm>
        </p:spPr>
        <p:txBody>
          <a:bodyPr/>
          <a:lstStyle>
            <a:lvl1pPr>
              <a:defRPr>
                <a:latin typeface="+mn-lt"/>
              </a:defRPr>
            </a:lvl1pPr>
          </a:lstStyle>
          <a:p>
            <a:fld id="{D67A77D8-090B-4A94-9B16-ECD771C06B17}" type="slidenum">
              <a:rPr lang="fr-FR" smtClean="0"/>
              <a:pPr/>
              <a:t>‹N°›</a:t>
            </a:fld>
            <a:endParaRPr lang="fr-FR"/>
          </a:p>
        </p:txBody>
      </p:sp>
      <p:sp>
        <p:nvSpPr>
          <p:cNvPr id="10" name="Espace réservé du contenu 9">
            <a:extLst>
              <a:ext uri="{FF2B5EF4-FFF2-40B4-BE49-F238E27FC236}">
                <a16:creationId xmlns:a16="http://schemas.microsoft.com/office/drawing/2014/main" id="{F037AA66-54D9-4B2D-A7C2-B17AA2004584}"/>
              </a:ext>
            </a:extLst>
          </p:cNvPr>
          <p:cNvSpPr>
            <a:spLocks noGrp="1"/>
          </p:cNvSpPr>
          <p:nvPr>
            <p:ph sz="quarter" idx="13" hasCustomPrompt="1"/>
          </p:nvPr>
        </p:nvSpPr>
        <p:spPr>
          <a:xfrm>
            <a:off x="838200" y="2074857"/>
            <a:ext cx="10515601" cy="4068867"/>
          </a:xfrm>
          <a:prstGeom prst="rect">
            <a:avLst/>
          </a:prstGeom>
        </p:spPr>
        <p:txBody>
          <a:bodyPr/>
          <a:lstStyle>
            <a:lvl2pPr>
              <a:defRPr>
                <a:latin typeface="+mn-lt"/>
              </a:defRPr>
            </a:lvl2pPr>
            <a:lvl3pPr>
              <a:defRPr>
                <a:latin typeface="+mn-lt"/>
              </a:defRPr>
            </a:lvl3pPr>
            <a:lvl4pPr>
              <a:defRPr>
                <a:latin typeface="+mn-lt"/>
              </a:defRPr>
            </a:lvl4pPr>
            <a:lvl5pPr>
              <a:defRPr>
                <a:latin typeface="+mn-lt"/>
              </a:defRPr>
            </a:lvl5pPr>
          </a:lstStyle>
          <a:p>
            <a:pPr lvl="1"/>
            <a:r>
              <a:rPr lang="fr-FR"/>
              <a:t>Deuxième niveau</a:t>
            </a:r>
          </a:p>
          <a:p>
            <a:pPr lvl="2"/>
            <a:r>
              <a:rPr lang="fr-FR"/>
              <a:t>Troisième niveau</a:t>
            </a:r>
          </a:p>
          <a:p>
            <a:pPr lvl="3"/>
            <a:r>
              <a:rPr lang="fr-FR"/>
              <a:t>Quatrième niveau</a:t>
            </a:r>
          </a:p>
          <a:p>
            <a:pPr lvl="4"/>
            <a:r>
              <a:rPr lang="fr-FR"/>
              <a:t>Cinquième niveau</a:t>
            </a:r>
          </a:p>
        </p:txBody>
      </p:sp>
      <p:sp>
        <p:nvSpPr>
          <p:cNvPr id="13" name="Espace réservé du texte 12">
            <a:extLst>
              <a:ext uri="{FF2B5EF4-FFF2-40B4-BE49-F238E27FC236}">
                <a16:creationId xmlns:a16="http://schemas.microsoft.com/office/drawing/2014/main" id="{97619405-BB83-4C72-8BF3-80E44033FE68}"/>
              </a:ext>
            </a:extLst>
          </p:cNvPr>
          <p:cNvSpPr>
            <a:spLocks noGrp="1"/>
          </p:cNvSpPr>
          <p:nvPr>
            <p:ph type="body" sz="quarter" idx="14" hasCustomPrompt="1"/>
          </p:nvPr>
        </p:nvSpPr>
        <p:spPr>
          <a:xfrm>
            <a:off x="838201" y="1571724"/>
            <a:ext cx="10515600" cy="409575"/>
          </a:xfrm>
        </p:spPr>
        <p:txBody>
          <a:bodyPr/>
          <a:lstStyle>
            <a:lvl1pPr>
              <a:defRPr>
                <a:latin typeface="+mn-lt"/>
              </a:defRPr>
            </a:lvl1pPr>
          </a:lstStyle>
          <a:p>
            <a:pPr lvl="0"/>
            <a:r>
              <a:rPr lang="fr-FR"/>
              <a:t>MESSAGE</a:t>
            </a:r>
          </a:p>
        </p:txBody>
      </p:sp>
    </p:spTree>
    <p:extLst>
      <p:ext uri="{BB962C8B-B14F-4D97-AF65-F5344CB8AC3E}">
        <p14:creationId xmlns:p14="http://schemas.microsoft.com/office/powerpoint/2010/main" val="2158420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2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311860BF-06DE-5D44-9517-3990CA0C7FBB}"/>
              </a:ext>
            </a:extLst>
          </p:cNvPr>
          <p:cNvSpPr/>
          <p:nvPr userDrawn="1"/>
        </p:nvSpPr>
        <p:spPr>
          <a:xfrm>
            <a:off x="-9180" y="-37333"/>
            <a:ext cx="275600" cy="6944000"/>
          </a:xfrm>
          <a:prstGeom prst="rect">
            <a:avLst/>
          </a:prstGeom>
          <a:solidFill>
            <a:srgbClr val="20408E">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44AF0B7-651B-1849-9734-94EFCA074FAF}"/>
              </a:ext>
            </a:extLst>
          </p:cNvPr>
          <p:cNvSpPr/>
          <p:nvPr userDrawn="1"/>
        </p:nvSpPr>
        <p:spPr>
          <a:xfrm flipH="1">
            <a:off x="-321700" y="2899067"/>
            <a:ext cx="588133" cy="4035333"/>
          </a:xfrm>
          <a:prstGeom prst="flowChartManualInpu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0CB90F68-1585-B042-BFBC-55A9BADD95EB}"/>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1;p7">
            <a:extLst>
              <a:ext uri="{FF2B5EF4-FFF2-40B4-BE49-F238E27FC236}">
                <a16:creationId xmlns:a16="http://schemas.microsoft.com/office/drawing/2014/main" id="{520ADC7A-34D9-FB47-BD87-5F4C5E73EF97}"/>
              </a:ext>
            </a:extLst>
          </p:cNvPr>
          <p:cNvSpPr/>
          <p:nvPr userDrawn="1"/>
        </p:nvSpPr>
        <p:spPr>
          <a:xfrm>
            <a:off x="572282" y="268517"/>
            <a:ext cx="251100" cy="18900"/>
          </a:xfrm>
          <a:prstGeom prst="rect">
            <a:avLst/>
          </a:prstGeom>
          <a:solidFill>
            <a:srgbClr val="20408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58C68558-4BDB-884D-950A-A16AFB14C666}"/>
              </a:ext>
            </a:extLst>
          </p:cNvPr>
          <p:cNvSpPr txBox="1">
            <a:spLocks noGrp="1"/>
          </p:cNvSpPr>
          <p:nvPr>
            <p:ph type="title"/>
          </p:nvPr>
        </p:nvSpPr>
        <p:spPr>
          <a:xfrm>
            <a:off x="396655" y="292153"/>
            <a:ext cx="7547995"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20408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9" name="Google Shape;86;p14">
            <a:extLst>
              <a:ext uri="{FF2B5EF4-FFF2-40B4-BE49-F238E27FC236}">
                <a16:creationId xmlns:a16="http://schemas.microsoft.com/office/drawing/2014/main" id="{80C9613B-9636-864F-9D61-59B5C40A4E29}"/>
              </a:ext>
            </a:extLst>
          </p:cNvPr>
          <p:cNvSpPr/>
          <p:nvPr userDrawn="1"/>
        </p:nvSpPr>
        <p:spPr>
          <a:xfrm>
            <a:off x="488582" y="268517"/>
            <a:ext cx="334800" cy="25200"/>
          </a:xfrm>
          <a:prstGeom prst="rec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BB70BEDD-2A28-ED42-941C-41FA568B66F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4" name="Google Shape;37;p43">
            <a:extLst>
              <a:ext uri="{FF2B5EF4-FFF2-40B4-BE49-F238E27FC236}">
                <a16:creationId xmlns:a16="http://schemas.microsoft.com/office/drawing/2014/main" id="{46B15B43-2923-4E01-8336-E03FDDE620F2}"/>
              </a:ext>
            </a:extLst>
          </p:cNvPr>
          <p:cNvPicPr preferRelativeResize="0"/>
          <p:nvPr userDrawn="1"/>
        </p:nvPicPr>
        <p:blipFill>
          <a:blip r:embed="rId2" cstate="screen">
            <a:extLst>
              <a:ext uri="{28A0092B-C50C-407E-A947-70E740481C1C}">
                <a14:useLocalDpi xmlns:a14="http://schemas.microsoft.com/office/drawing/2010/main"/>
              </a:ext>
            </a:extLst>
          </a:blip>
          <a:srcRect/>
          <a:stretch/>
        </p:blipFill>
        <p:spPr>
          <a:xfrm>
            <a:off x="10722598" y="230321"/>
            <a:ext cx="1238400" cy="469627"/>
          </a:xfrm>
          <a:prstGeom prst="rect">
            <a:avLst/>
          </a:prstGeom>
          <a:noFill/>
          <a:ln>
            <a:noFill/>
          </a:ln>
        </p:spPr>
      </p:pic>
    </p:spTree>
    <p:extLst>
      <p:ext uri="{BB962C8B-B14F-4D97-AF65-F5344CB8AC3E}">
        <p14:creationId xmlns:p14="http://schemas.microsoft.com/office/powerpoint/2010/main" val="4461594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2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311860BF-06DE-5D44-9517-3990CA0C7FBB}"/>
              </a:ext>
            </a:extLst>
          </p:cNvPr>
          <p:cNvSpPr/>
          <p:nvPr userDrawn="1"/>
        </p:nvSpPr>
        <p:spPr>
          <a:xfrm>
            <a:off x="-9180" y="-37333"/>
            <a:ext cx="275600" cy="6944000"/>
          </a:xfrm>
          <a:prstGeom prst="rect">
            <a:avLst/>
          </a:prstGeom>
          <a:solidFill>
            <a:srgbClr val="20408E">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44AF0B7-651B-1849-9734-94EFCA074FAF}"/>
              </a:ext>
            </a:extLst>
          </p:cNvPr>
          <p:cNvSpPr/>
          <p:nvPr userDrawn="1"/>
        </p:nvSpPr>
        <p:spPr>
          <a:xfrm flipH="1">
            <a:off x="-321700" y="2899067"/>
            <a:ext cx="588133" cy="4035333"/>
          </a:xfrm>
          <a:prstGeom prst="flowChartManualInpu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0CB90F68-1585-B042-BFBC-55A9BADD95EB}"/>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18033009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oleObject" Target="../embeddings/oleObject2.bin"/><Relationship Id="rId3" Type="http://schemas.openxmlformats.org/officeDocument/2006/relationships/slideLayout" Target="../slideLayouts/slideLayout66.xml"/><Relationship Id="rId21" Type="http://schemas.openxmlformats.org/officeDocument/2006/relationships/image" Target="../media/image11.png"/><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tags" Target="../tags/tag4.xml"/><Relationship Id="rId2" Type="http://schemas.openxmlformats.org/officeDocument/2006/relationships/slideLayout" Target="../slideLayouts/slideLayout65.xml"/><Relationship Id="rId16" Type="http://schemas.openxmlformats.org/officeDocument/2006/relationships/tags" Target="../tags/tag3.xml"/><Relationship Id="rId20" Type="http://schemas.openxmlformats.org/officeDocument/2006/relationships/image" Target="../media/image17.png"/><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theme" Target="../theme/theme2.xml"/><Relationship Id="rId10" Type="http://schemas.openxmlformats.org/officeDocument/2006/relationships/slideLayout" Target="../slideLayouts/slideLayout73.xml"/><Relationship Id="rId19" Type="http://schemas.openxmlformats.org/officeDocument/2006/relationships/image" Target="../media/image13.emf"/><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image" Target="../media/image1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0"/>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marR="0" lvl="0" algn="r" rtl="0">
              <a:spcBef>
                <a:spcPts val="0"/>
              </a:spcBef>
              <a:spcAft>
                <a:spcPts val="0"/>
              </a:spcAft>
              <a:buSzPts val="1400"/>
              <a:buNone/>
              <a:defRPr sz="1100" b="0" i="0" u="none" strike="noStrike" cap="none">
                <a:solidFill>
                  <a:schemeClr val="bg1">
                    <a:lumMod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2pPr>
            <a:lvl3pPr marR="0" lvl="2"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3pPr>
            <a:lvl4pPr marR="0" lvl="3"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4pPr>
            <a:lvl5pPr marR="0" lvl="4"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5pPr>
            <a:lvl6pPr marR="0" lvl="5"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6pPr>
            <a:lvl7pPr marR="0" lvl="6"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7pPr>
            <a:lvl8pPr marR="0" lvl="7"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8pPr>
            <a:lvl9pPr marR="0" lvl="8"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9pPr>
          </a:lstStyle>
          <a:p>
            <a:endParaRPr lang="fr-FR"/>
          </a:p>
        </p:txBody>
      </p:sp>
    </p:spTree>
  </p:cSld>
  <p:clrMap bg1="lt1" tx1="dk1" bg2="dk2" tx2="lt2" accent1="accent1" accent2="accent2" accent3="accent3" accent4="accent4" accent5="accent5" accent6="accent6" hlink="hlink" folHlink="folHlink"/>
  <p:sldLayoutIdLst>
    <p:sldLayoutId id="2147483649" r:id="rId1"/>
    <p:sldLayoutId id="2147483739" r:id="rId2"/>
    <p:sldLayoutId id="2147483709" r:id="rId3"/>
    <p:sldLayoutId id="2147483711" r:id="rId4"/>
    <p:sldLayoutId id="2147483777" r:id="rId5"/>
    <p:sldLayoutId id="2147483740" r:id="rId6"/>
    <p:sldLayoutId id="2147483710" r:id="rId7"/>
    <p:sldLayoutId id="2147483712" r:id="rId8"/>
    <p:sldLayoutId id="2147483776" r:id="rId9"/>
    <p:sldLayoutId id="2147483741" r:id="rId10"/>
    <p:sldLayoutId id="2147483778" r:id="rId11"/>
    <p:sldLayoutId id="2147483713" r:id="rId12"/>
    <p:sldLayoutId id="2147483775" r:id="rId13"/>
    <p:sldLayoutId id="2147483742" r:id="rId14"/>
    <p:sldLayoutId id="2147483722" r:id="rId15"/>
    <p:sldLayoutId id="2147483774" r:id="rId16"/>
    <p:sldLayoutId id="2147483723" r:id="rId17"/>
    <p:sldLayoutId id="2147483743" r:id="rId18"/>
    <p:sldLayoutId id="2147483724" r:id="rId19"/>
    <p:sldLayoutId id="2147483725" r:id="rId20"/>
    <p:sldLayoutId id="2147483726" r:id="rId21"/>
    <p:sldLayoutId id="2147483744" r:id="rId22"/>
    <p:sldLayoutId id="2147483727" r:id="rId23"/>
    <p:sldLayoutId id="2147483728" r:id="rId24"/>
    <p:sldLayoutId id="2147483733" r:id="rId25"/>
    <p:sldLayoutId id="2147483745" r:id="rId26"/>
    <p:sldLayoutId id="2147483729" r:id="rId27"/>
    <p:sldLayoutId id="2147483730" r:id="rId28"/>
    <p:sldLayoutId id="2147483734" r:id="rId29"/>
    <p:sldLayoutId id="2147483746" r:id="rId30"/>
    <p:sldLayoutId id="2147483731" r:id="rId31"/>
    <p:sldLayoutId id="2147483732" r:id="rId32"/>
    <p:sldLayoutId id="2147483735" r:id="rId33"/>
    <p:sldLayoutId id="2147483738" r:id="rId34"/>
    <p:sldLayoutId id="2147483851" r:id="rId35"/>
    <p:sldLayoutId id="2147483764" r:id="rId36"/>
    <p:sldLayoutId id="2147483714" r:id="rId37"/>
    <p:sldLayoutId id="2147483707" r:id="rId38"/>
    <p:sldLayoutId id="2147483718" r:id="rId39"/>
    <p:sldLayoutId id="2147483719" r:id="rId40"/>
    <p:sldLayoutId id="2147483721" r:id="rId41"/>
    <p:sldLayoutId id="2147483708" r:id="rId42"/>
    <p:sldLayoutId id="2147483716" r:id="rId43"/>
    <p:sldLayoutId id="2147483717" r:id="rId44"/>
    <p:sldLayoutId id="2147483720" r:id="rId45"/>
    <p:sldLayoutId id="2147483737" r:id="rId46"/>
    <p:sldLayoutId id="2147483779" r:id="rId47"/>
    <p:sldLayoutId id="2147483773" r:id="rId48"/>
    <p:sldLayoutId id="2147483715" r:id="rId49"/>
    <p:sldLayoutId id="2147483784" r:id="rId50"/>
    <p:sldLayoutId id="2147483785" r:id="rId51"/>
    <p:sldLayoutId id="2147483786" r:id="rId52"/>
    <p:sldLayoutId id="2147483787" r:id="rId53"/>
    <p:sldLayoutId id="2147483788" r:id="rId54"/>
    <p:sldLayoutId id="2147483789" r:id="rId55"/>
    <p:sldLayoutId id="2147483674" r:id="rId56"/>
    <p:sldLayoutId id="2147483866" r:id="rId57"/>
    <p:sldLayoutId id="2147483848" r:id="rId58"/>
    <p:sldLayoutId id="2147483849" r:id="rId59"/>
    <p:sldLayoutId id="2147483860" r:id="rId60"/>
    <p:sldLayoutId id="2147483863" r:id="rId61"/>
    <p:sldLayoutId id="2147483864" r:id="rId62"/>
    <p:sldLayoutId id="2147483865" r:id="rId63"/>
  </p:sldLayoutIdLst>
  <p:hf sldNum="0"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102D6C77-8FDD-426C-AF52-FD1EBE3A97DE}"/>
              </a:ext>
            </a:extLst>
          </p:cNvPr>
          <p:cNvGraphicFramePr>
            <a:graphicFrameLocks noChangeAspect="1"/>
          </p:cNvGraphicFramePr>
          <p:nvPr userDrawn="1">
            <p:custDataLst>
              <p:tags r:id="rId16"/>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Diapositive think-cell" r:id="rId18" imgW="762" imgH="769" progId="TCLayout.ActiveDocument.1">
                  <p:embed/>
                </p:oleObj>
              </mc:Choice>
              <mc:Fallback>
                <p:oleObj name="Diapositive think-cell" r:id="rId18" imgW="762" imgH="769" progId="TCLayout.ActiveDocument.1">
                  <p:embed/>
                  <p:pic>
                    <p:nvPicPr>
                      <p:cNvPr id="11" name="Objet 10" hidden="1">
                        <a:extLst>
                          <a:ext uri="{FF2B5EF4-FFF2-40B4-BE49-F238E27FC236}">
                            <a16:creationId xmlns:a16="http://schemas.microsoft.com/office/drawing/2014/main" id="{102D6C77-8FDD-426C-AF52-FD1EBE3A97DE}"/>
                          </a:ext>
                        </a:extLst>
                      </p:cNvPr>
                      <p:cNvPicPr/>
                      <p:nvPr/>
                    </p:nvPicPr>
                    <p:blipFill>
                      <a:blip r:embed="rId19"/>
                      <a:stretch>
                        <a:fillRect/>
                      </a:stretch>
                    </p:blipFill>
                    <p:spPr>
                      <a:xfrm>
                        <a:off x="1955" y="1588"/>
                        <a:ext cx="1954"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FE02461-D57E-4979-BC7D-52E636D53E24}"/>
              </a:ext>
            </a:extLst>
          </p:cNvPr>
          <p:cNvSpPr/>
          <p:nvPr userDrawn="1">
            <p:custDataLst>
              <p:tags r:id="rId17"/>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1600" b="1" i="0" baseline="0">
              <a:latin typeface="Montserrat" panose="00000500000000000000" pitchFamily="2" charset="0"/>
              <a:ea typeface="+mj-ea"/>
              <a:cs typeface="+mj-cs"/>
              <a:sym typeface="Montserrat" panose="00000500000000000000" pitchFamily="2" charset="0"/>
            </a:endParaRPr>
          </a:p>
        </p:txBody>
      </p:sp>
      <p:sp>
        <p:nvSpPr>
          <p:cNvPr id="2" name="Espace réservé du titre 1">
            <a:extLst>
              <a:ext uri="{FF2B5EF4-FFF2-40B4-BE49-F238E27FC236}">
                <a16:creationId xmlns:a16="http://schemas.microsoft.com/office/drawing/2014/main" id="{AAC5A6AF-CDE8-4888-BD6E-DC7FFCC1C4F6}"/>
              </a:ext>
            </a:extLst>
          </p:cNvPr>
          <p:cNvSpPr>
            <a:spLocks noGrp="1"/>
          </p:cNvSpPr>
          <p:nvPr>
            <p:ph type="title"/>
          </p:nvPr>
        </p:nvSpPr>
        <p:spPr>
          <a:xfrm>
            <a:off x="838200" y="334903"/>
            <a:ext cx="9182322" cy="993600"/>
          </a:xfrm>
          <a:prstGeom prst="rect">
            <a:avLst/>
          </a:prstGeom>
        </p:spPr>
        <p:txBody>
          <a:bodyPr vert="horz" lIns="91440" tIns="45720" rIns="91440" bIns="45720" rtlCol="0" anchor="t">
            <a:normAutofit/>
          </a:bodyPr>
          <a:lstStyle/>
          <a:p>
            <a:r>
              <a:rPr lang="fr-FR"/>
              <a:t>Modifiez le style du titre</a:t>
            </a:r>
          </a:p>
        </p:txBody>
      </p:sp>
      <p:sp>
        <p:nvSpPr>
          <p:cNvPr id="4" name="Espace réservé de la date 3">
            <a:extLst>
              <a:ext uri="{FF2B5EF4-FFF2-40B4-BE49-F238E27FC236}">
                <a16:creationId xmlns:a16="http://schemas.microsoft.com/office/drawing/2014/main" id="{D14ED5E4-DBAD-407F-9910-5DC154EAAFAE}"/>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000">
                <a:solidFill>
                  <a:schemeClr val="tx2"/>
                </a:solidFill>
                <a:latin typeface="+mn-lt"/>
              </a:defRPr>
            </a:lvl1pPr>
          </a:lstStyle>
          <a:p>
            <a:endParaRPr lang="fr-FR"/>
          </a:p>
        </p:txBody>
      </p:sp>
      <p:sp>
        <p:nvSpPr>
          <p:cNvPr id="5" name="Espace réservé du pied de page 4">
            <a:extLst>
              <a:ext uri="{FF2B5EF4-FFF2-40B4-BE49-F238E27FC236}">
                <a16:creationId xmlns:a16="http://schemas.microsoft.com/office/drawing/2014/main" id="{12C776B7-442B-4DD3-9B9E-39A212893A8A}"/>
              </a:ext>
            </a:extLst>
          </p:cNvPr>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000">
                <a:solidFill>
                  <a:schemeClr val="tx2"/>
                </a:solidFill>
                <a:latin typeface="+mn-lt"/>
              </a:defRPr>
            </a:lvl1pPr>
          </a:lstStyle>
          <a:p>
            <a:endParaRPr lang="fr-FR"/>
          </a:p>
        </p:txBody>
      </p:sp>
      <p:sp>
        <p:nvSpPr>
          <p:cNvPr id="6" name="Espace réservé du numéro de diapositive 5">
            <a:extLst>
              <a:ext uri="{FF2B5EF4-FFF2-40B4-BE49-F238E27FC236}">
                <a16:creationId xmlns:a16="http://schemas.microsoft.com/office/drawing/2014/main" id="{B3693F45-D5AF-4D12-8BFC-4AB64141489E}"/>
              </a:ext>
            </a:extLst>
          </p:cNvPr>
          <p:cNvSpPr>
            <a:spLocks noGrp="1"/>
          </p:cNvSpPr>
          <p:nvPr>
            <p:ph type="sldNum" sz="quarter" idx="4"/>
          </p:nvPr>
        </p:nvSpPr>
        <p:spPr>
          <a:xfrm>
            <a:off x="8610601" y="6356351"/>
            <a:ext cx="2743200" cy="365125"/>
          </a:xfrm>
          <a:prstGeom prst="rect">
            <a:avLst/>
          </a:prstGeom>
        </p:spPr>
        <p:txBody>
          <a:bodyPr vert="horz" lIns="91440" tIns="45720" rIns="91440" bIns="45720" rtlCol="0" anchor="ctr"/>
          <a:lstStyle>
            <a:lvl1pPr algn="r">
              <a:defRPr sz="1000">
                <a:solidFill>
                  <a:schemeClr val="tx2"/>
                </a:solidFill>
                <a:latin typeface="+mn-lt"/>
              </a:defRPr>
            </a:lvl1pPr>
          </a:lstStyle>
          <a:p>
            <a:fld id="{D67A77D8-090B-4A94-9B16-ECD771C06B17}" type="slidenum">
              <a:rPr lang="fr-FR" smtClean="0"/>
              <a:pPr/>
              <a:t>‹N°›</a:t>
            </a:fld>
            <a:endParaRPr lang="fr-FR"/>
          </a:p>
        </p:txBody>
      </p:sp>
      <p:pic>
        <p:nvPicPr>
          <p:cNvPr id="7" name="Barre_lateral">
            <a:extLst>
              <a:ext uri="{FF2B5EF4-FFF2-40B4-BE49-F238E27FC236}">
                <a16:creationId xmlns:a16="http://schemas.microsoft.com/office/drawing/2014/main" id="{6D4B2AD4-2445-4EED-8857-9D725017F774}"/>
              </a:ext>
            </a:extLst>
          </p:cNvPr>
          <p:cNvPicPr preferRelativeResize="0"/>
          <p:nvPr userDrawn="1"/>
        </p:nvPicPr>
        <p:blipFill rotWithShape="1">
          <a:blip r:embed="rId20">
            <a:alphaModFix/>
          </a:blip>
          <a:srcRect/>
          <a:stretch/>
        </p:blipFill>
        <p:spPr>
          <a:xfrm>
            <a:off x="1" y="-15800"/>
            <a:ext cx="182325" cy="6873800"/>
          </a:xfrm>
          <a:prstGeom prst="rect">
            <a:avLst/>
          </a:prstGeom>
          <a:noFill/>
          <a:ln>
            <a:noFill/>
          </a:ln>
        </p:spPr>
      </p:pic>
      <p:sp>
        <p:nvSpPr>
          <p:cNvPr id="8" name="Tiret haut">
            <a:extLst>
              <a:ext uri="{FF2B5EF4-FFF2-40B4-BE49-F238E27FC236}">
                <a16:creationId xmlns:a16="http://schemas.microsoft.com/office/drawing/2014/main" id="{F40869C7-C2DB-4F53-92C3-55BD50B2F0BE}"/>
              </a:ext>
            </a:extLst>
          </p:cNvPr>
          <p:cNvSpPr txBox="1"/>
          <p:nvPr userDrawn="1"/>
        </p:nvSpPr>
        <p:spPr>
          <a:xfrm>
            <a:off x="838200" y="74000"/>
            <a:ext cx="1991116" cy="336198"/>
          </a:xfrm>
          <a:prstGeom prst="rect">
            <a:avLst/>
          </a:prstGeom>
          <a:noFill/>
          <a:ln>
            <a:noFill/>
          </a:ln>
        </p:spPr>
        <p:txBody>
          <a:bodyPr spcFirstLastPara="1" wrap="square" lIns="99044" tIns="99044" rIns="99044" bIns="99044"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fr-FR" sz="1517" b="1" i="0" u="none" strike="noStrike" cap="none">
                <a:solidFill>
                  <a:schemeClr val="accent6"/>
                </a:solidFill>
                <a:latin typeface="+mn-lt"/>
                <a:ea typeface="Montserrat"/>
                <a:cs typeface="Montserrat"/>
                <a:sym typeface="Montserrat"/>
              </a:rPr>
              <a:t>—</a:t>
            </a:r>
            <a:endParaRPr sz="1517" b="1" i="0" u="none" strike="noStrike" cap="none">
              <a:solidFill>
                <a:schemeClr val="accent6"/>
              </a:solidFill>
              <a:latin typeface="+mn-lt"/>
              <a:ea typeface="Montserrat"/>
              <a:cs typeface="Montserrat"/>
              <a:sym typeface="Montserrat"/>
            </a:endParaRPr>
          </a:p>
          <a:p>
            <a:pPr marL="0" marR="0" lvl="0" indent="0" algn="l" rtl="0">
              <a:lnSpc>
                <a:spcPct val="100000"/>
              </a:lnSpc>
              <a:spcBef>
                <a:spcPts val="0"/>
              </a:spcBef>
              <a:spcAft>
                <a:spcPts val="0"/>
              </a:spcAft>
              <a:buClr>
                <a:srgbClr val="000000"/>
              </a:buClr>
              <a:buSzPts val="1400"/>
              <a:buFont typeface="Arial"/>
              <a:buNone/>
            </a:pPr>
            <a:endParaRPr sz="1517" b="0" i="0" u="none" strike="noStrike" cap="none">
              <a:solidFill>
                <a:schemeClr val="accent5"/>
              </a:solidFill>
              <a:latin typeface="+mn-lt"/>
              <a:ea typeface="Montserrat"/>
              <a:cs typeface="Montserrat"/>
              <a:sym typeface="Montserrat"/>
            </a:endParaRPr>
          </a:p>
        </p:txBody>
      </p:sp>
      <p:sp>
        <p:nvSpPr>
          <p:cNvPr id="12" name="Version_slidware">
            <a:extLst>
              <a:ext uri="{FF2B5EF4-FFF2-40B4-BE49-F238E27FC236}">
                <a16:creationId xmlns:a16="http://schemas.microsoft.com/office/drawing/2014/main" id="{B59C6DDC-EEFF-4882-8A45-FC573A4D7921}"/>
              </a:ext>
            </a:extLst>
          </p:cNvPr>
          <p:cNvSpPr/>
          <p:nvPr userDrawn="1"/>
        </p:nvSpPr>
        <p:spPr>
          <a:xfrm>
            <a:off x="12427462" y="0"/>
            <a:ext cx="92333" cy="792000"/>
          </a:xfrm>
          <a:prstGeom prst="rect">
            <a:avLst/>
          </a:prstGeom>
        </p:spPr>
        <p:txBody>
          <a:bodyPr vert="vert" wrap="square" lIns="0" tIns="0" rIns="0" bIns="0">
            <a:spAutoFit/>
          </a:bodyPr>
          <a:lstStyle/>
          <a:p>
            <a:pPr marL="0" marR="0" lvl="0" indent="0" algn="l" defTabSz="646572" rtl="0" eaLnBrk="1" fontAlgn="auto" latinLnBrk="0" hangingPunct="1">
              <a:lnSpc>
                <a:spcPct val="100000"/>
              </a:lnSpc>
              <a:spcBef>
                <a:spcPts val="0"/>
              </a:spcBef>
              <a:spcAft>
                <a:spcPts val="0"/>
              </a:spcAft>
              <a:buClrTx/>
              <a:buSzTx/>
              <a:buFontTx/>
              <a:buNone/>
              <a:tabLst/>
              <a:defRPr/>
            </a:pPr>
            <a:r>
              <a:rPr lang="fr-FR" sz="300">
                <a:solidFill>
                  <a:schemeClr val="bg1">
                    <a:lumMod val="50000"/>
                  </a:schemeClr>
                </a:solidFill>
                <a:latin typeface="+mn-lt"/>
              </a:rPr>
              <a:t>Ne pas supprimer | version du support utilisé : TalanConsulting_2018_A4_v0.3</a:t>
            </a:r>
          </a:p>
        </p:txBody>
      </p:sp>
      <p:sp>
        <p:nvSpPr>
          <p:cNvPr id="13" name="Espace réservé du texte 12">
            <a:extLst>
              <a:ext uri="{FF2B5EF4-FFF2-40B4-BE49-F238E27FC236}">
                <a16:creationId xmlns:a16="http://schemas.microsoft.com/office/drawing/2014/main" id="{48D6333E-64B9-41FF-B0C6-708FE84F9BFC}"/>
              </a:ext>
            </a:extLst>
          </p:cNvPr>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14" name="Graphique 13">
            <a:extLst>
              <a:ext uri="{FF2B5EF4-FFF2-40B4-BE49-F238E27FC236}">
                <a16:creationId xmlns:a16="http://schemas.microsoft.com/office/drawing/2014/main" id="{4B283422-2256-4BF0-86E6-10174ABD4771}"/>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10644946" y="10934"/>
            <a:ext cx="1417707" cy="647937"/>
          </a:xfrm>
          <a:prstGeom prst="rect">
            <a:avLst/>
          </a:prstGeom>
        </p:spPr>
      </p:pic>
      <p:sp>
        <p:nvSpPr>
          <p:cNvPr id="3" name="MSIPCMContentMarking" descr="{&quot;HashCode&quot;:725156092,&quot;Placement&quot;:&quot;Footer&quot;,&quot;Top&quot;:519.343,&quot;Left&quot;:0.0,&quot;SlideWidth&quot;:960,&quot;SlideHeight&quot;:540}">
            <a:extLst>
              <a:ext uri="{FF2B5EF4-FFF2-40B4-BE49-F238E27FC236}">
                <a16:creationId xmlns:a16="http://schemas.microsoft.com/office/drawing/2014/main" id="{C86DB85A-9208-47EC-A1F9-074B51E4F418}"/>
              </a:ext>
            </a:extLst>
          </p:cNvPr>
          <p:cNvSpPr txBox="1"/>
          <p:nvPr userDrawn="1"/>
        </p:nvSpPr>
        <p:spPr>
          <a:xfrm>
            <a:off x="0" y="6595656"/>
            <a:ext cx="650765" cy="262344"/>
          </a:xfrm>
          <a:prstGeom prst="rect">
            <a:avLst/>
          </a:prstGeom>
          <a:noFill/>
        </p:spPr>
        <p:txBody>
          <a:bodyPr vert="horz" wrap="square" lIns="0" tIns="0" rIns="0" bIns="0" rtlCol="0" anchor="ctr" anchorCtr="1">
            <a:spAutoFit/>
          </a:bodyPr>
          <a:lstStyle/>
          <a:p>
            <a:pPr algn="l">
              <a:spcBef>
                <a:spcPts val="0"/>
              </a:spcBef>
              <a:spcAft>
                <a:spcPts val="0"/>
              </a:spcAft>
            </a:pPr>
            <a:r>
              <a:rPr lang="fr-FR" sz="1000">
                <a:solidFill>
                  <a:srgbClr val="008000"/>
                </a:solidFill>
                <a:latin typeface="Calibri" panose="020F0502020204030204" pitchFamily="34" charset="0"/>
              </a:rPr>
              <a:t>Interne</a:t>
            </a:r>
          </a:p>
        </p:txBody>
      </p:sp>
    </p:spTree>
    <p:extLst>
      <p:ext uri="{BB962C8B-B14F-4D97-AF65-F5344CB8AC3E}">
        <p14:creationId xmlns:p14="http://schemas.microsoft.com/office/powerpoint/2010/main" val="4160485293"/>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Lst>
  <p:hf sldNum="0" hdr="0" ftr="0" dt="0"/>
  <p:txStyles>
    <p:titleStyle>
      <a:lvl1pPr algn="l" defTabSz="914400" rtl="0" eaLnBrk="1" latinLnBrk="0" hangingPunct="1">
        <a:lnSpc>
          <a:spcPct val="90000"/>
        </a:lnSpc>
        <a:spcBef>
          <a:spcPct val="0"/>
        </a:spcBef>
        <a:buNone/>
        <a:defRPr sz="1600" b="1" kern="1200" cap="all" baseline="0">
          <a:solidFill>
            <a:schemeClr val="accent6"/>
          </a:solidFill>
          <a:latin typeface="+mn-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svg"/><Relationship Id="rId2" Type="http://schemas.openxmlformats.org/officeDocument/2006/relationships/image" Target="../media/image25.png"/><Relationship Id="rId1" Type="http://schemas.openxmlformats.org/officeDocument/2006/relationships/slideLayout" Target="../slideLayouts/slideLayout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svg"/></Relationships>
</file>

<file path=ppt/slides/_rels/slide11.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4.jpe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image" Target="../media/image33.png"/><Relationship Id="rId16" Type="http://schemas.openxmlformats.org/officeDocument/2006/relationships/image" Target="../media/image47.png"/><Relationship Id="rId1" Type="http://schemas.openxmlformats.org/officeDocument/2006/relationships/slideLayout" Target="../slideLayouts/slideLayout4.xml"/><Relationship Id="rId6" Type="http://schemas.openxmlformats.org/officeDocument/2006/relationships/image" Target="../media/image37.jpeg"/><Relationship Id="rId11" Type="http://schemas.openxmlformats.org/officeDocument/2006/relationships/image" Target="../media/image42.svg"/><Relationship Id="rId5" Type="http://schemas.openxmlformats.org/officeDocument/2006/relationships/image" Target="../media/image36.jpeg"/><Relationship Id="rId15" Type="http://schemas.openxmlformats.org/officeDocument/2006/relationships/image" Target="../media/image46.png"/><Relationship Id="rId10" Type="http://schemas.openxmlformats.org/officeDocument/2006/relationships/image" Target="../media/image41.png"/><Relationship Id="rId4" Type="http://schemas.openxmlformats.org/officeDocument/2006/relationships/image" Target="../media/image35.jpeg"/><Relationship Id="rId9" Type="http://schemas.openxmlformats.org/officeDocument/2006/relationships/image" Target="../media/image40.png"/><Relationship Id="rId14" Type="http://schemas.openxmlformats.org/officeDocument/2006/relationships/image" Target="../media/image45.png"/></Relationships>
</file>

<file path=ppt/slides/_rels/slide12.xml.rels><?xml version="1.0" encoding="UTF-8" standalone="yes"?>
<Relationships xmlns="http://schemas.openxmlformats.org/package/2006/relationships"><Relationship Id="rId3" Type="http://schemas.openxmlformats.org/officeDocument/2006/relationships/hyperlink" Target="mailto:stephanie.hassoun@sncf.fr" TargetMode="External"/><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hyperlink" Target="mailto:stephanie.hassoun@sncf.fr" TargetMode="External"/><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hyperlink" Target="mailto:jerome.champenois@keolis.com" TargetMode="External"/><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png"/><Relationship Id="rId1" Type="http://schemas.openxmlformats.org/officeDocument/2006/relationships/slideLayout" Target="../slideLayouts/slideLayout4.xml"/><Relationship Id="rId4" Type="http://schemas.openxmlformats.org/officeDocument/2006/relationships/image" Target="../media/image52.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image" Target="../media/image59.svg"/><Relationship Id="rId13" Type="http://schemas.openxmlformats.org/officeDocument/2006/relationships/image" Target="../media/image64.png"/><Relationship Id="rId3" Type="http://schemas.openxmlformats.org/officeDocument/2006/relationships/image" Target="../media/image54.png"/><Relationship Id="rId7" Type="http://schemas.openxmlformats.org/officeDocument/2006/relationships/image" Target="../media/image58.png"/><Relationship Id="rId12" Type="http://schemas.openxmlformats.org/officeDocument/2006/relationships/image" Target="../media/image63.svg"/><Relationship Id="rId2" Type="http://schemas.openxmlformats.org/officeDocument/2006/relationships/notesSlide" Target="../notesSlides/notesSlide5.xml"/><Relationship Id="rId16" Type="http://schemas.openxmlformats.org/officeDocument/2006/relationships/image" Target="../media/image67.svg"/><Relationship Id="rId1" Type="http://schemas.openxmlformats.org/officeDocument/2006/relationships/slideLayout" Target="../slideLayouts/slideLayout4.xml"/><Relationship Id="rId6" Type="http://schemas.openxmlformats.org/officeDocument/2006/relationships/image" Target="../media/image57.svg"/><Relationship Id="rId11" Type="http://schemas.openxmlformats.org/officeDocument/2006/relationships/image" Target="../media/image62.png"/><Relationship Id="rId5" Type="http://schemas.openxmlformats.org/officeDocument/2006/relationships/image" Target="../media/image56.png"/><Relationship Id="rId15" Type="http://schemas.openxmlformats.org/officeDocument/2006/relationships/image" Target="../media/image66.png"/><Relationship Id="rId10" Type="http://schemas.openxmlformats.org/officeDocument/2006/relationships/image" Target="../media/image61.svg"/><Relationship Id="rId4" Type="http://schemas.openxmlformats.org/officeDocument/2006/relationships/image" Target="../media/image55.svg"/><Relationship Id="rId9" Type="http://schemas.openxmlformats.org/officeDocument/2006/relationships/image" Target="../media/image60.png"/><Relationship Id="rId14" Type="http://schemas.openxmlformats.org/officeDocument/2006/relationships/image" Target="../media/image65.svg"/></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4.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5.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9.png"/><Relationship Id="rId18" Type="http://schemas.openxmlformats.org/officeDocument/2006/relationships/image" Target="../media/image84.svg"/><Relationship Id="rId3" Type="http://schemas.openxmlformats.org/officeDocument/2006/relationships/image" Target="../media/image68.png"/><Relationship Id="rId21" Type="http://schemas.openxmlformats.org/officeDocument/2006/relationships/image" Target="../media/image87.png"/><Relationship Id="rId7" Type="http://schemas.openxmlformats.org/officeDocument/2006/relationships/image" Target="../media/image73.png"/><Relationship Id="rId12" Type="http://schemas.openxmlformats.org/officeDocument/2006/relationships/image" Target="../media/image78.svg"/><Relationship Id="rId17" Type="http://schemas.openxmlformats.org/officeDocument/2006/relationships/image" Target="../media/image83.png"/><Relationship Id="rId2" Type="http://schemas.openxmlformats.org/officeDocument/2006/relationships/notesSlide" Target="../notesSlides/notesSlide8.xml"/><Relationship Id="rId16" Type="http://schemas.openxmlformats.org/officeDocument/2006/relationships/image" Target="../media/image82.svg"/><Relationship Id="rId20" Type="http://schemas.openxmlformats.org/officeDocument/2006/relationships/image" Target="../media/image86.svg"/><Relationship Id="rId1" Type="http://schemas.openxmlformats.org/officeDocument/2006/relationships/slideLayout" Target="../slideLayouts/slideLayout4.xml"/><Relationship Id="rId6" Type="http://schemas.openxmlformats.org/officeDocument/2006/relationships/image" Target="../media/image71.png"/><Relationship Id="rId11" Type="http://schemas.openxmlformats.org/officeDocument/2006/relationships/image" Target="../media/image77.png"/><Relationship Id="rId5" Type="http://schemas.openxmlformats.org/officeDocument/2006/relationships/image" Target="../media/image70.png"/><Relationship Id="rId15" Type="http://schemas.openxmlformats.org/officeDocument/2006/relationships/image" Target="../media/image81.png"/><Relationship Id="rId10" Type="http://schemas.openxmlformats.org/officeDocument/2006/relationships/image" Target="../media/image76.svg"/><Relationship Id="rId19" Type="http://schemas.openxmlformats.org/officeDocument/2006/relationships/image" Target="../media/image85.png"/><Relationship Id="rId4" Type="http://schemas.openxmlformats.org/officeDocument/2006/relationships/image" Target="../media/image69.png"/><Relationship Id="rId9" Type="http://schemas.openxmlformats.org/officeDocument/2006/relationships/image" Target="../media/image75.png"/><Relationship Id="rId14" Type="http://schemas.openxmlformats.org/officeDocument/2006/relationships/image" Target="../media/image80.svg"/><Relationship Id="rId22" Type="http://schemas.openxmlformats.org/officeDocument/2006/relationships/image" Target="../media/image88.svg"/></Relationships>
</file>

<file path=ppt/slides/_rels/slide26.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9.png"/><Relationship Id="rId3" Type="http://schemas.openxmlformats.org/officeDocument/2006/relationships/image" Target="../media/image73.png"/><Relationship Id="rId7" Type="http://schemas.openxmlformats.org/officeDocument/2006/relationships/image" Target="../media/image81.png"/><Relationship Id="rId12" Type="http://schemas.openxmlformats.org/officeDocument/2006/relationships/image" Target="../media/image86.sv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80.svg"/><Relationship Id="rId11" Type="http://schemas.openxmlformats.org/officeDocument/2006/relationships/image" Target="../media/image85.png"/><Relationship Id="rId5" Type="http://schemas.openxmlformats.org/officeDocument/2006/relationships/image" Target="../media/image79.png"/><Relationship Id="rId10" Type="http://schemas.openxmlformats.org/officeDocument/2006/relationships/image" Target="../media/image84.svg"/><Relationship Id="rId4" Type="http://schemas.openxmlformats.org/officeDocument/2006/relationships/image" Target="../media/image74.svg"/><Relationship Id="rId9" Type="http://schemas.openxmlformats.org/officeDocument/2006/relationships/image" Target="../media/image83.png"/><Relationship Id="rId14" Type="http://schemas.openxmlformats.org/officeDocument/2006/relationships/image" Target="../media/image90.svg"/></Relationships>
</file>

<file path=ppt/slides/_rels/slide27.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sv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77.png"/><Relationship Id="rId17" Type="http://schemas.openxmlformats.org/officeDocument/2006/relationships/image" Target="../media/image88.svg"/><Relationship Id="rId2" Type="http://schemas.openxmlformats.org/officeDocument/2006/relationships/notesSlide" Target="../notesSlides/notesSlide10.xml"/><Relationship Id="rId16" Type="http://schemas.openxmlformats.org/officeDocument/2006/relationships/image" Target="../media/image87.png"/><Relationship Id="rId1" Type="http://schemas.openxmlformats.org/officeDocument/2006/relationships/slideLayout" Target="../slideLayouts/slideLayout4.xml"/><Relationship Id="rId6" Type="http://schemas.openxmlformats.org/officeDocument/2006/relationships/diagramColors" Target="../diagrams/colors1.xml"/><Relationship Id="rId11" Type="http://schemas.openxmlformats.org/officeDocument/2006/relationships/image" Target="../media/image76.svg"/><Relationship Id="rId5" Type="http://schemas.openxmlformats.org/officeDocument/2006/relationships/diagramQuickStyle" Target="../diagrams/quickStyle1.xml"/><Relationship Id="rId15" Type="http://schemas.openxmlformats.org/officeDocument/2006/relationships/image" Target="../media/image82.svg"/><Relationship Id="rId10" Type="http://schemas.openxmlformats.org/officeDocument/2006/relationships/image" Target="../media/image75.png"/><Relationship Id="rId4" Type="http://schemas.openxmlformats.org/officeDocument/2006/relationships/diagramLayout" Target="../diagrams/layout1.xml"/><Relationship Id="rId9" Type="http://schemas.openxmlformats.org/officeDocument/2006/relationships/image" Target="../media/image74.svg"/><Relationship Id="rId14" Type="http://schemas.openxmlformats.org/officeDocument/2006/relationships/image" Target="../media/image81.png"/></Relationships>
</file>

<file path=ppt/slides/_rels/slide28.xml.rels><?xml version="1.0" encoding="UTF-8" standalone="yes"?>
<Relationships xmlns="http://schemas.openxmlformats.org/package/2006/relationships"><Relationship Id="rId8" Type="http://schemas.openxmlformats.org/officeDocument/2006/relationships/image" Target="../media/image96.svg"/><Relationship Id="rId13" Type="http://schemas.openxmlformats.org/officeDocument/2006/relationships/image" Target="../media/image101.png"/><Relationship Id="rId18" Type="http://schemas.openxmlformats.org/officeDocument/2006/relationships/image" Target="../media/image106.svg"/><Relationship Id="rId3" Type="http://schemas.openxmlformats.org/officeDocument/2006/relationships/image" Target="../media/image91.png"/><Relationship Id="rId21" Type="http://schemas.openxmlformats.org/officeDocument/2006/relationships/image" Target="../media/image109.png"/><Relationship Id="rId7" Type="http://schemas.openxmlformats.org/officeDocument/2006/relationships/image" Target="../media/image95.png"/><Relationship Id="rId12" Type="http://schemas.openxmlformats.org/officeDocument/2006/relationships/image" Target="../media/image100.png"/><Relationship Id="rId17" Type="http://schemas.openxmlformats.org/officeDocument/2006/relationships/image" Target="../media/image105.png"/><Relationship Id="rId2" Type="http://schemas.openxmlformats.org/officeDocument/2006/relationships/notesSlide" Target="../notesSlides/notesSlide11.xml"/><Relationship Id="rId16" Type="http://schemas.openxmlformats.org/officeDocument/2006/relationships/image" Target="../media/image104.svg"/><Relationship Id="rId20" Type="http://schemas.openxmlformats.org/officeDocument/2006/relationships/image" Target="../media/image108.svg"/><Relationship Id="rId1" Type="http://schemas.openxmlformats.org/officeDocument/2006/relationships/slideLayout" Target="../slideLayouts/slideLayout4.xml"/><Relationship Id="rId6" Type="http://schemas.openxmlformats.org/officeDocument/2006/relationships/image" Target="../media/image94.svg"/><Relationship Id="rId11" Type="http://schemas.openxmlformats.org/officeDocument/2006/relationships/image" Target="../media/image99.png"/><Relationship Id="rId5" Type="http://schemas.openxmlformats.org/officeDocument/2006/relationships/image" Target="../media/image93.png"/><Relationship Id="rId15" Type="http://schemas.openxmlformats.org/officeDocument/2006/relationships/image" Target="../media/image103.png"/><Relationship Id="rId10" Type="http://schemas.openxmlformats.org/officeDocument/2006/relationships/image" Target="../media/image98.png"/><Relationship Id="rId19" Type="http://schemas.openxmlformats.org/officeDocument/2006/relationships/image" Target="../media/image107.png"/><Relationship Id="rId4" Type="http://schemas.openxmlformats.org/officeDocument/2006/relationships/image" Target="../media/image92.svg"/><Relationship Id="rId9" Type="http://schemas.openxmlformats.org/officeDocument/2006/relationships/image" Target="../media/image97.png"/><Relationship Id="rId14" Type="http://schemas.openxmlformats.org/officeDocument/2006/relationships/image" Target="../media/image102.png"/><Relationship Id="rId22" Type="http://schemas.openxmlformats.org/officeDocument/2006/relationships/image" Target="../media/image110.png"/></Relationships>
</file>

<file path=ppt/slides/_rels/slide29.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68.png"/><Relationship Id="rId7" Type="http://schemas.openxmlformats.org/officeDocument/2006/relationships/slide" Target="slide35.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3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117.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4.xml"/><Relationship Id="rId4" Type="http://schemas.openxmlformats.org/officeDocument/2006/relationships/image" Target="../media/image120.png"/></Relationships>
</file>

<file path=ppt/slides/_rels/slide36.xml.rels><?xml version="1.0" encoding="UTF-8" standalone="yes"?>
<Relationships xmlns="http://schemas.openxmlformats.org/package/2006/relationships"><Relationship Id="rId8" Type="http://schemas.openxmlformats.org/officeDocument/2006/relationships/image" Target="../media/image127.jpeg"/><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image" Target="../media/image121.png"/><Relationship Id="rId1" Type="http://schemas.openxmlformats.org/officeDocument/2006/relationships/slideLayout" Target="../slideLayouts/slideLayout4.xml"/><Relationship Id="rId6" Type="http://schemas.openxmlformats.org/officeDocument/2006/relationships/image" Target="../media/image125.png"/><Relationship Id="rId11" Type="http://schemas.openxmlformats.org/officeDocument/2006/relationships/image" Target="../media/image130.jpeg"/><Relationship Id="rId5" Type="http://schemas.openxmlformats.org/officeDocument/2006/relationships/image" Target="../media/image124.png"/><Relationship Id="rId10" Type="http://schemas.openxmlformats.org/officeDocument/2006/relationships/image" Target="../media/image129.jpeg"/><Relationship Id="rId4" Type="http://schemas.openxmlformats.org/officeDocument/2006/relationships/image" Target="../media/image123.png"/><Relationship Id="rId9" Type="http://schemas.openxmlformats.org/officeDocument/2006/relationships/image" Target="../media/image128.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33.pn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132.png"/><Relationship Id="rId5" Type="http://schemas.openxmlformats.org/officeDocument/2006/relationships/image" Target="../media/image131.emf"/><Relationship Id="rId4" Type="http://schemas.openxmlformats.org/officeDocument/2006/relationships/oleObject" Target="../embeddings/oleObject12.bin"/></Relationships>
</file>

<file path=ppt/slides/_rels/slide3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135.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6.png"/><Relationship Id="rId7" Type="http://schemas.openxmlformats.org/officeDocument/2006/relationships/image" Target="../media/image140.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145.svg"/><Relationship Id="rId2" Type="http://schemas.openxmlformats.org/officeDocument/2006/relationships/image" Target="../media/image144.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4.xml"/><Relationship Id="rId4" Type="http://schemas.openxmlformats.org/officeDocument/2006/relationships/image" Target="../media/image148.png"/></Relationships>
</file>

<file path=ppt/slides/_rels/slide48.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chart" Target="../charts/chart1.xml"/><Relationship Id="rId7" Type="http://schemas.openxmlformats.org/officeDocument/2006/relationships/chart" Target="../charts/chart3.xml"/><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150.emf"/><Relationship Id="rId5" Type="http://schemas.openxmlformats.org/officeDocument/2006/relationships/image" Target="../media/image149.jpeg"/><Relationship Id="rId10" Type="http://schemas.openxmlformats.org/officeDocument/2006/relationships/image" Target="../media/image151.jpeg"/><Relationship Id="rId4" Type="http://schemas.openxmlformats.org/officeDocument/2006/relationships/chart" Target="../charts/chart2.xml"/><Relationship Id="rId9" Type="http://schemas.openxmlformats.org/officeDocument/2006/relationships/chart" Target="../charts/chart5.xml"/></Relationships>
</file>

<file path=ppt/slides/_rels/slide49.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image" Target="../media/image153.png"/><Relationship Id="rId7" Type="http://schemas.openxmlformats.org/officeDocument/2006/relationships/image" Target="../media/image157.png"/><Relationship Id="rId2" Type="http://schemas.openxmlformats.org/officeDocument/2006/relationships/image" Target="../media/image152.png"/><Relationship Id="rId1" Type="http://schemas.openxmlformats.org/officeDocument/2006/relationships/slideLayout" Target="../slideLayouts/slideLayout4.xml"/><Relationship Id="rId6" Type="http://schemas.openxmlformats.org/officeDocument/2006/relationships/image" Target="../media/image156.png"/><Relationship Id="rId11" Type="http://schemas.openxmlformats.org/officeDocument/2006/relationships/chart" Target="../charts/chart9.xml"/><Relationship Id="rId5" Type="http://schemas.openxmlformats.org/officeDocument/2006/relationships/image" Target="../media/image155.png"/><Relationship Id="rId10" Type="http://schemas.openxmlformats.org/officeDocument/2006/relationships/chart" Target="../charts/chart8.xml"/><Relationship Id="rId4" Type="http://schemas.openxmlformats.org/officeDocument/2006/relationships/image" Target="../media/image154.png"/><Relationship Id="rId9" Type="http://schemas.openxmlformats.org/officeDocument/2006/relationships/chart" Target="../charts/char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3.png"/><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939AEA-D027-407A-A661-2AECA2B047D7}"/>
              </a:ext>
            </a:extLst>
          </p:cNvPr>
          <p:cNvSpPr>
            <a:spLocks noGrp="1"/>
          </p:cNvSpPr>
          <p:nvPr>
            <p:ph type="ctrTitle"/>
          </p:nvPr>
        </p:nvSpPr>
        <p:spPr>
          <a:xfrm>
            <a:off x="350533" y="605879"/>
            <a:ext cx="7559753" cy="1883593"/>
          </a:xfrm>
        </p:spPr>
        <p:txBody>
          <a:bodyPr anchor="t"/>
          <a:lstStyle/>
          <a:p>
            <a:pPr algn="l"/>
            <a:r>
              <a:rPr lang="fr-FR" sz="4000" b="1" i="0">
                <a:effectLst/>
                <a:latin typeface="-apple-system"/>
              </a:rPr>
              <a:t>SNCF TRANSILIEN</a:t>
            </a:r>
            <a:br>
              <a:rPr lang="fr-FR" b="1" i="0">
                <a:effectLst/>
                <a:latin typeface="-apple-system"/>
              </a:rPr>
            </a:br>
            <a:r>
              <a:rPr lang="fr-FR" sz="2400" b="1" i="0">
                <a:effectLst/>
                <a:latin typeface="-apple-system"/>
              </a:rPr>
              <a:t>FORMATIONS A L’OUTIL ORION DANS LE CADRE DU PROGRAMME POGS TRANSILIEN</a:t>
            </a:r>
            <a:br>
              <a:rPr lang="fr-FR" sz="2400" b="1" i="0">
                <a:effectLst/>
                <a:latin typeface="-apple-system"/>
              </a:rPr>
            </a:br>
            <a:br>
              <a:rPr lang="fr-FR" sz="2400" b="1" i="0">
                <a:effectLst/>
                <a:latin typeface="-apple-system"/>
              </a:rPr>
            </a:br>
            <a:r>
              <a:rPr lang="fr-FR" sz="2400" b="1" i="0">
                <a:effectLst/>
                <a:latin typeface="-apple-system"/>
              </a:rPr>
              <a:t>Consultation : 2023RFQ0133873</a:t>
            </a:r>
            <a:endParaRPr lang="fr-FR" b="1" i="0">
              <a:effectLst/>
              <a:latin typeface="-apple-system"/>
            </a:endParaRPr>
          </a:p>
        </p:txBody>
      </p:sp>
      <p:sp>
        <p:nvSpPr>
          <p:cNvPr id="4" name="Google Shape;282;p1">
            <a:extLst>
              <a:ext uri="{FF2B5EF4-FFF2-40B4-BE49-F238E27FC236}">
                <a16:creationId xmlns:a16="http://schemas.microsoft.com/office/drawing/2014/main" id="{644F088C-37E3-40D5-A235-5EF9113E81EF}"/>
              </a:ext>
            </a:extLst>
          </p:cNvPr>
          <p:cNvSpPr txBox="1">
            <a:spLocks/>
          </p:cNvSpPr>
          <p:nvPr/>
        </p:nvSpPr>
        <p:spPr>
          <a:xfrm>
            <a:off x="350533" y="5381211"/>
            <a:ext cx="9144000" cy="775597"/>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R="0" lvl="0" algn="l" rtl="0" eaLnBrk="1" hangingPunct="1">
              <a:lnSpc>
                <a:spcPct val="90000"/>
              </a:lnSpc>
              <a:spcBef>
                <a:spcPts val="0"/>
              </a:spcBef>
              <a:spcAft>
                <a:spcPts val="0"/>
              </a:spcAft>
              <a:buClr>
                <a:schemeClr val="lt1"/>
              </a:buClr>
              <a:buSzPts val="3200"/>
              <a:buFont typeface="Montserrat"/>
              <a:buNone/>
              <a:defRPr sz="3200" b="1" i="0" u="none" strike="noStrike" cap="none">
                <a:solidFill>
                  <a:schemeClr val="lt1"/>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Clr>
                <a:srgbClr val="FFFFFF"/>
              </a:buClr>
            </a:pPr>
            <a:r>
              <a:rPr lang="fr-FR" sz="3600" b="0">
                <a:solidFill>
                  <a:schemeClr val="bg1"/>
                </a:solidFill>
                <a:latin typeface="+mn-lt"/>
              </a:rPr>
              <a:t>Proposition technique</a:t>
            </a:r>
          </a:p>
          <a:p>
            <a:pPr>
              <a:buClr>
                <a:srgbClr val="FFFFFF"/>
              </a:buClr>
            </a:pPr>
            <a:r>
              <a:rPr lang="fr-FR" sz="2000" b="0">
                <a:solidFill>
                  <a:schemeClr val="bg1"/>
                </a:solidFill>
                <a:latin typeface="+mn-lt"/>
              </a:rPr>
              <a:t>21 mars 2023 – Version 1.1</a:t>
            </a:r>
          </a:p>
        </p:txBody>
      </p:sp>
      <p:pic>
        <p:nvPicPr>
          <p:cNvPr id="3" name="Image 2">
            <a:extLst>
              <a:ext uri="{FF2B5EF4-FFF2-40B4-BE49-F238E27FC236}">
                <a16:creationId xmlns:a16="http://schemas.microsoft.com/office/drawing/2014/main" id="{3FA643B5-8B7F-5A06-27BA-608528045ECF}"/>
              </a:ext>
            </a:extLst>
          </p:cNvPr>
          <p:cNvPicPr>
            <a:picLocks noChangeAspect="1"/>
          </p:cNvPicPr>
          <p:nvPr/>
        </p:nvPicPr>
        <p:blipFill>
          <a:blip r:embed="rId3"/>
          <a:stretch>
            <a:fillRect/>
          </a:stretch>
        </p:blipFill>
        <p:spPr>
          <a:xfrm>
            <a:off x="5350715" y="2984161"/>
            <a:ext cx="3073564" cy="722768"/>
          </a:xfrm>
          <a:prstGeom prst="rect">
            <a:avLst/>
          </a:prstGeom>
        </p:spPr>
      </p:pic>
    </p:spTree>
    <p:extLst>
      <p:ext uri="{BB962C8B-B14F-4D97-AF65-F5344CB8AC3E}">
        <p14:creationId xmlns:p14="http://schemas.microsoft.com/office/powerpoint/2010/main" val="2027156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76F8D2C-9E2A-CB2B-ED41-84327704F679}"/>
              </a:ext>
            </a:extLst>
          </p:cNvPr>
          <p:cNvSpPr>
            <a:spLocks noGrp="1"/>
          </p:cNvSpPr>
          <p:nvPr>
            <p:ph type="title"/>
          </p:nvPr>
        </p:nvSpPr>
        <p:spPr/>
        <p:txBody>
          <a:bodyPr/>
          <a:lstStyle/>
          <a:p>
            <a:r>
              <a:rPr lang="fr-FR" sz="2000">
                <a:latin typeface="Arial Black"/>
              </a:rPr>
              <a:t>TALAN CONSULTING EST LE CABINET DE CONSEIL EN MANAGEMENT DU GROUPE TALAN</a:t>
            </a:r>
            <a:endParaRPr lang="fr-FR" sz="2000"/>
          </a:p>
          <a:p>
            <a:endParaRPr lang="fr-FR" sz="2000"/>
          </a:p>
        </p:txBody>
      </p:sp>
      <p:sp>
        <p:nvSpPr>
          <p:cNvPr id="56" name="ZoneTexte 55">
            <a:extLst>
              <a:ext uri="{FF2B5EF4-FFF2-40B4-BE49-F238E27FC236}">
                <a16:creationId xmlns:a16="http://schemas.microsoft.com/office/drawing/2014/main" id="{7E2786C0-0B7D-E26F-91B3-A27CDCE4AC8E}"/>
              </a:ext>
            </a:extLst>
          </p:cNvPr>
          <p:cNvSpPr txBox="1"/>
          <p:nvPr/>
        </p:nvSpPr>
        <p:spPr>
          <a:xfrm>
            <a:off x="326976" y="1631441"/>
            <a:ext cx="11282317" cy="523220"/>
          </a:xfrm>
          <a:prstGeom prst="rect">
            <a:avLst/>
          </a:prstGeom>
          <a:noFill/>
        </p:spPr>
        <p:txBody>
          <a:bodyPr wrap="square">
            <a:spAutoFit/>
          </a:bodyPr>
          <a:lstStyle/>
          <a:p>
            <a:pPr algn="just" defTabSz="1219170">
              <a:spcBef>
                <a:spcPts val="600"/>
              </a:spcBef>
              <a:defRPr/>
            </a:pPr>
            <a:r>
              <a:rPr lang="fr-FR" sz="1400">
                <a:solidFill>
                  <a:srgbClr val="7F7F7F">
                    <a:lumMod val="50000"/>
                  </a:srgbClr>
                </a:solidFill>
                <a:latin typeface="Montserrat" panose="00000500000000000000" pitchFamily="2" charset="0"/>
              </a:rPr>
              <a:t>Notre </a:t>
            </a:r>
            <a:r>
              <a:rPr lang="fr-FR" sz="1400" b="1">
                <a:solidFill>
                  <a:srgbClr val="44388A"/>
                </a:solidFill>
                <a:latin typeface="Montserrat" panose="00000500000000000000" pitchFamily="2" charset="0"/>
              </a:rPr>
              <a:t>approche du conseil est résolument pragmatique et sur mesure </a:t>
            </a:r>
            <a:r>
              <a:rPr lang="fr-FR" sz="1400">
                <a:solidFill>
                  <a:srgbClr val="7F7F7F">
                    <a:lumMod val="50000"/>
                  </a:srgbClr>
                </a:solidFill>
                <a:latin typeface="Montserrat" panose="00000500000000000000" pitchFamily="2" charset="0"/>
              </a:rPr>
              <a:t>: pas d’offre préfabriquée mais nos expériences et expertises adaptées à vos problématiques. Nous vous écoutons avant de penser à des solutions.</a:t>
            </a:r>
          </a:p>
        </p:txBody>
      </p:sp>
      <p:sp>
        <p:nvSpPr>
          <p:cNvPr id="57" name="Espace réservé du texte 5">
            <a:extLst>
              <a:ext uri="{FF2B5EF4-FFF2-40B4-BE49-F238E27FC236}">
                <a16:creationId xmlns:a16="http://schemas.microsoft.com/office/drawing/2014/main" id="{5E3E9802-5C4A-FF5E-C083-657988179ED3}"/>
              </a:ext>
            </a:extLst>
          </p:cNvPr>
          <p:cNvSpPr txBox="1">
            <a:spLocks/>
          </p:cNvSpPr>
          <p:nvPr/>
        </p:nvSpPr>
        <p:spPr>
          <a:xfrm>
            <a:off x="418750" y="1373242"/>
            <a:ext cx="5448301" cy="221599"/>
          </a:xfrm>
          <a:prstGeom prst="rect">
            <a:avLst/>
          </a:prstGeom>
        </p:spPr>
        <p:txBody>
          <a:bodyPr wrap="square" lIns="0" tIns="0" rIns="0" bIns="0">
            <a:spAutoFit/>
          </a:bodyPr>
          <a:lstStyle>
            <a:lvl1pPr marL="0" indent="0" algn="l" defTabSz="1219110" rtl="0" eaLnBrk="1" latinLnBrk="0" hangingPunct="1">
              <a:lnSpc>
                <a:spcPct val="90000"/>
              </a:lnSpc>
              <a:spcBef>
                <a:spcPts val="1333"/>
              </a:spcBef>
              <a:buFont typeface="Arial" panose="020B0604020202020204" pitchFamily="34" charset="0"/>
              <a:buNone/>
              <a:defRPr sz="1200" b="1" kern="1200">
                <a:solidFill>
                  <a:schemeClr val="accent1"/>
                </a:solidFill>
                <a:latin typeface="Montserrat" panose="00000500000000000000" pitchFamily="2" charset="0"/>
                <a:ea typeface="+mn-ea"/>
                <a:cs typeface="+mn-cs"/>
              </a:defRPr>
            </a:lvl1pPr>
            <a:lvl2pPr marL="0" indent="0" algn="l" defTabSz="1219110" rtl="0" eaLnBrk="1" latinLnBrk="0" hangingPunct="1">
              <a:lnSpc>
                <a:spcPct val="90000"/>
              </a:lnSpc>
              <a:spcBef>
                <a:spcPts val="667"/>
              </a:spcBef>
              <a:buFont typeface="Arial" panose="020B0604020202020204" pitchFamily="34" charset="0"/>
              <a:buNone/>
              <a:defRPr sz="1100" kern="1200">
                <a:solidFill>
                  <a:schemeClr val="tx2"/>
                </a:solidFill>
                <a:latin typeface="Montserrat" panose="00000500000000000000" pitchFamily="2" charset="0"/>
                <a:ea typeface="+mn-ea"/>
                <a:cs typeface="+mn-cs"/>
              </a:defRPr>
            </a:lvl2pPr>
            <a:lvl3pPr marL="152388" indent="-152388" algn="l" defTabSz="1219110" rtl="0" eaLnBrk="1" latinLnBrk="0" hangingPunct="1">
              <a:lnSpc>
                <a:spcPct val="90000"/>
              </a:lnSpc>
              <a:spcBef>
                <a:spcPts val="667"/>
              </a:spcBef>
              <a:buClr>
                <a:schemeClr val="accent1"/>
              </a:buClr>
              <a:buFont typeface="Arial" panose="020B0604020202020204" pitchFamily="34" charset="0"/>
              <a:buChar char="•"/>
              <a:defRPr sz="1100" kern="1200">
                <a:solidFill>
                  <a:schemeClr val="tx2"/>
                </a:solidFill>
                <a:latin typeface="Montserrat" panose="00000500000000000000" pitchFamily="2" charset="0"/>
                <a:ea typeface="+mn-ea"/>
                <a:cs typeface="+mn-cs"/>
              </a:defRPr>
            </a:lvl3pPr>
            <a:lvl4pPr marL="1828664" indent="0" algn="l" defTabSz="1219110" rtl="0" eaLnBrk="1" latinLnBrk="0" hangingPunct="1">
              <a:lnSpc>
                <a:spcPct val="90000"/>
              </a:lnSpc>
              <a:spcBef>
                <a:spcPts val="667"/>
              </a:spcBef>
              <a:buFont typeface="Arial" panose="020B0604020202020204" pitchFamily="34" charset="0"/>
              <a:buNone/>
              <a:defRPr sz="1200" kern="1200">
                <a:solidFill>
                  <a:schemeClr val="tx1"/>
                </a:solidFill>
                <a:latin typeface="+mj-lt"/>
                <a:ea typeface="+mn-ea"/>
                <a:cs typeface="+mn-cs"/>
              </a:defRPr>
            </a:lvl4pPr>
            <a:lvl5pPr marL="2438218" indent="0" algn="l" defTabSz="1219110" rtl="0" eaLnBrk="1" latinLnBrk="0" hangingPunct="1">
              <a:lnSpc>
                <a:spcPct val="90000"/>
              </a:lnSpc>
              <a:spcBef>
                <a:spcPts val="667"/>
              </a:spcBef>
              <a:buFont typeface="Arial" panose="020B0604020202020204" pitchFamily="34" charset="0"/>
              <a:buNone/>
              <a:defRPr sz="1200" kern="1200">
                <a:solidFill>
                  <a:schemeClr val="tx1"/>
                </a:solidFill>
                <a:latin typeface="+mj-lt"/>
                <a:ea typeface="+mn-ea"/>
                <a:cs typeface="+mn-cs"/>
              </a:defRPr>
            </a:lvl5pPr>
            <a:lvl6pPr marL="3352548"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104"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658"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212"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marL="9525" defTabSz="1219050">
              <a:spcBef>
                <a:spcPts val="1777"/>
              </a:spcBef>
              <a:defRPr/>
            </a:pPr>
            <a:r>
              <a:rPr lang="en-US" sz="1600">
                <a:solidFill>
                  <a:srgbClr val="44388A"/>
                </a:solidFill>
                <a:latin typeface="Montserrat" pitchFamily="2" charset="77"/>
              </a:rPr>
              <a:t>NOS ATOUTS</a:t>
            </a:r>
          </a:p>
        </p:txBody>
      </p:sp>
      <p:cxnSp>
        <p:nvCxnSpPr>
          <p:cNvPr id="58" name="Connecteur droit 57">
            <a:extLst>
              <a:ext uri="{FF2B5EF4-FFF2-40B4-BE49-F238E27FC236}">
                <a16:creationId xmlns:a16="http://schemas.microsoft.com/office/drawing/2014/main" id="{FAC0C200-9F33-8013-573E-ADA6F2D75A34}"/>
              </a:ext>
            </a:extLst>
          </p:cNvPr>
          <p:cNvCxnSpPr>
            <a:cxnSpLocks/>
          </p:cNvCxnSpPr>
          <p:nvPr/>
        </p:nvCxnSpPr>
        <p:spPr>
          <a:xfrm>
            <a:off x="435999" y="1220209"/>
            <a:ext cx="216000" cy="0"/>
          </a:xfrm>
          <a:prstGeom prst="line">
            <a:avLst/>
          </a:prstGeom>
          <a:ln w="19050">
            <a:solidFill>
              <a:srgbClr val="44388A"/>
            </a:solidFill>
          </a:ln>
        </p:spPr>
        <p:style>
          <a:lnRef idx="1">
            <a:schemeClr val="accent1"/>
          </a:lnRef>
          <a:fillRef idx="0">
            <a:schemeClr val="accent1"/>
          </a:fillRef>
          <a:effectRef idx="0">
            <a:schemeClr val="accent1"/>
          </a:effectRef>
          <a:fontRef idx="minor">
            <a:schemeClr val="tx1"/>
          </a:fontRef>
        </p:style>
      </p:cxnSp>
      <p:sp>
        <p:nvSpPr>
          <p:cNvPr id="59" name="ZoneTexte 58">
            <a:extLst>
              <a:ext uri="{FF2B5EF4-FFF2-40B4-BE49-F238E27FC236}">
                <a16:creationId xmlns:a16="http://schemas.microsoft.com/office/drawing/2014/main" id="{17DF959D-0FA3-785B-FB15-5ABA5717FF1C}"/>
              </a:ext>
            </a:extLst>
          </p:cNvPr>
          <p:cNvSpPr txBox="1"/>
          <p:nvPr/>
        </p:nvSpPr>
        <p:spPr>
          <a:xfrm>
            <a:off x="287540" y="2155173"/>
            <a:ext cx="11321753" cy="769441"/>
          </a:xfrm>
          <a:prstGeom prst="rect">
            <a:avLst/>
          </a:prstGeom>
          <a:noFill/>
        </p:spPr>
        <p:txBody>
          <a:bodyPr wrap="square" lIns="121920" tIns="60960" rIns="121920" bIns="60960" anchor="t">
            <a:spAutoFit/>
          </a:bodyPr>
          <a:lstStyle/>
          <a:p>
            <a:pPr algn="just" defTabSz="1219170">
              <a:spcBef>
                <a:spcPts val="600"/>
              </a:spcBef>
              <a:defRPr/>
            </a:pPr>
            <a:r>
              <a:rPr lang="fr-FR" sz="1400">
                <a:solidFill>
                  <a:srgbClr val="7F7F7F">
                    <a:lumMod val="50000"/>
                  </a:srgbClr>
                </a:solidFill>
                <a:latin typeface="Montserrat"/>
              </a:rPr>
              <a:t>La </a:t>
            </a:r>
            <a:r>
              <a:rPr lang="fr-FR" sz="1400" b="1">
                <a:solidFill>
                  <a:srgbClr val="44388A"/>
                </a:solidFill>
                <a:latin typeface="Montserrat"/>
              </a:rPr>
              <a:t>complémentarité</a:t>
            </a:r>
            <a:r>
              <a:rPr lang="fr-FR" sz="1400">
                <a:solidFill>
                  <a:srgbClr val="7F7F7F">
                    <a:lumMod val="50000"/>
                  </a:srgbClr>
                </a:solidFill>
                <a:latin typeface="Montserrat"/>
              </a:rPr>
              <a:t> entre nos </a:t>
            </a:r>
            <a:r>
              <a:rPr lang="fr-FR" sz="1400" b="1">
                <a:solidFill>
                  <a:srgbClr val="44388A"/>
                </a:solidFill>
                <a:latin typeface="Montserrat"/>
              </a:rPr>
              <a:t>expertises métiers et transverses</a:t>
            </a:r>
            <a:r>
              <a:rPr lang="fr-FR" sz="1400">
                <a:solidFill>
                  <a:srgbClr val="7F7F7F">
                    <a:lumMod val="50000"/>
                  </a:srgbClr>
                </a:solidFill>
                <a:latin typeface="Montserrat"/>
              </a:rPr>
              <a:t>, et les synergies réalisées avec le savoir faire du groupe Talan nous permet d’accompagner les transformations et l’innovation à 360° pour nos clients : métier, managériale, méthodologique et technologique. </a:t>
            </a:r>
            <a:endParaRPr lang="fr-FR" sz="1400">
              <a:solidFill>
                <a:srgbClr val="7F7F7F">
                  <a:lumMod val="50000"/>
                </a:srgbClr>
              </a:solidFill>
              <a:latin typeface="Montserrat" panose="00000500000000000000" pitchFamily="2" charset="0"/>
            </a:endParaRPr>
          </a:p>
        </p:txBody>
      </p:sp>
      <p:sp>
        <p:nvSpPr>
          <p:cNvPr id="62" name="Google Shape;436;p53">
            <a:extLst>
              <a:ext uri="{FF2B5EF4-FFF2-40B4-BE49-F238E27FC236}">
                <a16:creationId xmlns:a16="http://schemas.microsoft.com/office/drawing/2014/main" id="{47F33927-798C-6900-80A7-4BEBB1C45B27}"/>
              </a:ext>
            </a:extLst>
          </p:cNvPr>
          <p:cNvSpPr/>
          <p:nvPr/>
        </p:nvSpPr>
        <p:spPr>
          <a:xfrm>
            <a:off x="6712142" y="3111877"/>
            <a:ext cx="605272" cy="634713"/>
          </a:xfrm>
          <a:prstGeom prst="ellipse">
            <a:avLst/>
          </a:prstGeom>
          <a:solidFill>
            <a:srgbClr val="5BDDA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32">
              <a:buSzPts val="1400"/>
              <a:defRPr/>
            </a:pPr>
            <a:r>
              <a:rPr lang="fr-FR" sz="1067">
                <a:latin typeface="Montserrat" pitchFamily="2" charset="77"/>
              </a:rPr>
              <a:t> </a:t>
            </a:r>
            <a:endParaRPr sz="1067">
              <a:latin typeface="Montserrat" pitchFamily="2" charset="77"/>
            </a:endParaRPr>
          </a:p>
        </p:txBody>
      </p:sp>
      <p:pic>
        <p:nvPicPr>
          <p:cNvPr id="63" name="Google Shape;450;p53" descr="train-BLANC-01.png">
            <a:extLst>
              <a:ext uri="{FF2B5EF4-FFF2-40B4-BE49-F238E27FC236}">
                <a16:creationId xmlns:a16="http://schemas.microsoft.com/office/drawing/2014/main" id="{70519A0F-CD2C-19EC-2ABC-CE58C5D3055D}"/>
              </a:ext>
            </a:extLst>
          </p:cNvPr>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6777564" y="3188545"/>
            <a:ext cx="474427" cy="481377"/>
          </a:xfrm>
          <a:prstGeom prst="rect">
            <a:avLst/>
          </a:prstGeom>
          <a:noFill/>
          <a:ln>
            <a:noFill/>
          </a:ln>
        </p:spPr>
      </p:pic>
      <p:sp>
        <p:nvSpPr>
          <p:cNvPr id="64" name="Google Shape;454;p53">
            <a:extLst>
              <a:ext uri="{FF2B5EF4-FFF2-40B4-BE49-F238E27FC236}">
                <a16:creationId xmlns:a16="http://schemas.microsoft.com/office/drawing/2014/main" id="{3AFE85F5-BA51-C7EC-9194-A683C4D603D6}"/>
              </a:ext>
            </a:extLst>
          </p:cNvPr>
          <p:cNvSpPr txBox="1"/>
          <p:nvPr/>
        </p:nvSpPr>
        <p:spPr>
          <a:xfrm>
            <a:off x="6599697" y="3746257"/>
            <a:ext cx="847905" cy="33206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914332">
              <a:buClr>
                <a:srgbClr val="F9F9F9"/>
              </a:buClr>
              <a:buSzPts val="1000"/>
              <a:defRPr/>
            </a:pPr>
            <a:r>
              <a:rPr lang="fr-FR" sz="800" b="1">
                <a:solidFill>
                  <a:srgbClr val="666666"/>
                </a:solidFill>
                <a:latin typeface="Montserrat" pitchFamily="2" charset="77"/>
                <a:ea typeface="Montserrat SemiBold"/>
                <a:cs typeface="Montserrat SemiBold"/>
                <a:sym typeface="Montserrat SemiBold"/>
              </a:rPr>
              <a:t>TRANSPORT &amp; MOBILITE</a:t>
            </a:r>
            <a:endParaRPr sz="1067" b="1">
              <a:solidFill>
                <a:srgbClr val="666666"/>
              </a:solidFill>
              <a:latin typeface="Montserrat" pitchFamily="2" charset="77"/>
              <a:ea typeface="Montserrat"/>
              <a:cs typeface="Montserrat"/>
              <a:sym typeface="Montserrat"/>
            </a:endParaRPr>
          </a:p>
        </p:txBody>
      </p:sp>
      <p:sp>
        <p:nvSpPr>
          <p:cNvPr id="65" name="Google Shape;441;p53">
            <a:extLst>
              <a:ext uri="{FF2B5EF4-FFF2-40B4-BE49-F238E27FC236}">
                <a16:creationId xmlns:a16="http://schemas.microsoft.com/office/drawing/2014/main" id="{0C391306-8356-9069-4AF1-B04708D653B5}"/>
              </a:ext>
            </a:extLst>
          </p:cNvPr>
          <p:cNvSpPr txBox="1"/>
          <p:nvPr/>
        </p:nvSpPr>
        <p:spPr>
          <a:xfrm>
            <a:off x="10436675" y="3727255"/>
            <a:ext cx="830160" cy="33206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914332">
              <a:buClr>
                <a:srgbClr val="F9F9F9"/>
              </a:buClr>
              <a:buSzPts val="1000"/>
              <a:defRPr/>
            </a:pPr>
            <a:r>
              <a:rPr lang="fr-FR" sz="800" b="1">
                <a:solidFill>
                  <a:srgbClr val="666666"/>
                </a:solidFill>
                <a:latin typeface="Montserrat" pitchFamily="2" charset="77"/>
                <a:ea typeface="Montserrat SemiBold"/>
                <a:cs typeface="Montserrat SemiBold"/>
                <a:sym typeface="Montserrat SemiBold"/>
              </a:rPr>
              <a:t>ENERGIE</a:t>
            </a:r>
            <a:endParaRPr sz="1067" b="1">
              <a:solidFill>
                <a:srgbClr val="666666"/>
              </a:solidFill>
              <a:latin typeface="Montserrat" pitchFamily="2" charset="77"/>
              <a:ea typeface="Montserrat"/>
              <a:cs typeface="Montserrat"/>
              <a:sym typeface="Montserrat"/>
            </a:endParaRPr>
          </a:p>
        </p:txBody>
      </p:sp>
      <p:sp>
        <p:nvSpPr>
          <p:cNvPr id="66" name="Google Shape;435;p53">
            <a:extLst>
              <a:ext uri="{FF2B5EF4-FFF2-40B4-BE49-F238E27FC236}">
                <a16:creationId xmlns:a16="http://schemas.microsoft.com/office/drawing/2014/main" id="{5E2B8246-93EB-22BA-D3C0-BD7BC0AD9693}"/>
              </a:ext>
            </a:extLst>
          </p:cNvPr>
          <p:cNvSpPr/>
          <p:nvPr/>
        </p:nvSpPr>
        <p:spPr>
          <a:xfrm>
            <a:off x="10549120" y="3121027"/>
            <a:ext cx="605273" cy="634715"/>
          </a:xfrm>
          <a:prstGeom prst="ellipse">
            <a:avLst/>
          </a:prstGeom>
          <a:solidFill>
            <a:schemeClr val="tx2">
              <a:lumMod val="60000"/>
              <a:lumOff val="40000"/>
            </a:schemeClr>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914332">
              <a:buSzPts val="1400"/>
              <a:defRPr/>
            </a:pPr>
            <a:r>
              <a:rPr lang="fr-FR" sz="1067">
                <a:solidFill>
                  <a:srgbClr val="3D00F2"/>
                </a:solidFill>
                <a:latin typeface="Montserrat" pitchFamily="2" charset="77"/>
              </a:rPr>
              <a:t> </a:t>
            </a:r>
            <a:endParaRPr sz="1067">
              <a:solidFill>
                <a:srgbClr val="3D00F2"/>
              </a:solidFill>
              <a:latin typeface="Montserrat" pitchFamily="2" charset="77"/>
            </a:endParaRPr>
          </a:p>
        </p:txBody>
      </p:sp>
      <p:pic>
        <p:nvPicPr>
          <p:cNvPr id="67" name="Google Shape;455;p53">
            <a:extLst>
              <a:ext uri="{FF2B5EF4-FFF2-40B4-BE49-F238E27FC236}">
                <a16:creationId xmlns:a16="http://schemas.microsoft.com/office/drawing/2014/main" id="{4443B359-9762-1333-2CF5-0CB90C6F674B}"/>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0611357" y="3092874"/>
            <a:ext cx="512537" cy="632724"/>
          </a:xfrm>
          <a:prstGeom prst="rect">
            <a:avLst/>
          </a:prstGeom>
          <a:noFill/>
          <a:ln>
            <a:noFill/>
          </a:ln>
        </p:spPr>
      </p:pic>
      <p:sp>
        <p:nvSpPr>
          <p:cNvPr id="68" name="Google Shape;445;p53">
            <a:extLst>
              <a:ext uri="{FF2B5EF4-FFF2-40B4-BE49-F238E27FC236}">
                <a16:creationId xmlns:a16="http://schemas.microsoft.com/office/drawing/2014/main" id="{1175F2F6-CF1A-4BF1-EC14-6B40A47E16A8}"/>
              </a:ext>
            </a:extLst>
          </p:cNvPr>
          <p:cNvSpPr txBox="1"/>
          <p:nvPr/>
        </p:nvSpPr>
        <p:spPr>
          <a:xfrm>
            <a:off x="7852610" y="3774742"/>
            <a:ext cx="892899" cy="30357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914332">
              <a:buClr>
                <a:srgbClr val="F9F9F9"/>
              </a:buClr>
              <a:buSzPts val="1000"/>
              <a:defRPr/>
            </a:pPr>
            <a:r>
              <a:rPr lang="fr-FR" sz="800" b="1">
                <a:solidFill>
                  <a:srgbClr val="666666"/>
                </a:solidFill>
                <a:latin typeface="Montserrat" pitchFamily="2" charset="77"/>
                <a:ea typeface="Montserrat SemiBold"/>
                <a:cs typeface="Montserrat SemiBold"/>
                <a:sym typeface="Montserrat SemiBold"/>
              </a:rPr>
              <a:t>ASSURANCE</a:t>
            </a:r>
            <a:endParaRPr sz="1067" b="1">
              <a:solidFill>
                <a:srgbClr val="666666"/>
              </a:solidFill>
              <a:latin typeface="Montserrat" pitchFamily="2" charset="77"/>
              <a:ea typeface="Montserrat"/>
              <a:cs typeface="Montserrat"/>
              <a:sym typeface="Montserrat"/>
            </a:endParaRPr>
          </a:p>
        </p:txBody>
      </p:sp>
      <p:sp>
        <p:nvSpPr>
          <p:cNvPr id="69" name="Google Shape;437;p53">
            <a:extLst>
              <a:ext uri="{FF2B5EF4-FFF2-40B4-BE49-F238E27FC236}">
                <a16:creationId xmlns:a16="http://schemas.microsoft.com/office/drawing/2014/main" id="{FA8A9E30-7C05-2F5F-2B4B-4909D9B338C8}"/>
              </a:ext>
            </a:extLst>
          </p:cNvPr>
          <p:cNvSpPr/>
          <p:nvPr/>
        </p:nvSpPr>
        <p:spPr>
          <a:xfrm>
            <a:off x="8025784" y="3111874"/>
            <a:ext cx="605272" cy="634713"/>
          </a:xfrm>
          <a:prstGeom prst="ellipse">
            <a:avLst/>
          </a:prstGeom>
          <a:solidFill>
            <a:srgbClr val="00D2D9"/>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32">
              <a:buSzPts val="1400"/>
              <a:defRPr/>
            </a:pPr>
            <a:r>
              <a:rPr lang="fr-FR" sz="1067">
                <a:latin typeface="Montserrat" pitchFamily="2" charset="77"/>
              </a:rPr>
              <a:t> </a:t>
            </a:r>
            <a:endParaRPr sz="1067">
              <a:latin typeface="Montserrat" pitchFamily="2" charset="77"/>
            </a:endParaRPr>
          </a:p>
        </p:txBody>
      </p:sp>
      <p:pic>
        <p:nvPicPr>
          <p:cNvPr id="70" name="Google Shape;449;p53" descr="Umbrella-BLANC-01.png">
            <a:extLst>
              <a:ext uri="{FF2B5EF4-FFF2-40B4-BE49-F238E27FC236}">
                <a16:creationId xmlns:a16="http://schemas.microsoft.com/office/drawing/2014/main" id="{94DB82F7-1796-E99D-E3B5-AB31D98F094D}"/>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8098300" y="3188542"/>
            <a:ext cx="474427" cy="481377"/>
          </a:xfrm>
          <a:prstGeom prst="rect">
            <a:avLst/>
          </a:prstGeom>
          <a:noFill/>
          <a:ln>
            <a:noFill/>
          </a:ln>
        </p:spPr>
      </p:pic>
      <p:sp>
        <p:nvSpPr>
          <p:cNvPr id="71" name="Google Shape;444;p53">
            <a:extLst>
              <a:ext uri="{FF2B5EF4-FFF2-40B4-BE49-F238E27FC236}">
                <a16:creationId xmlns:a16="http://schemas.microsoft.com/office/drawing/2014/main" id="{0509D187-8796-AE64-3A2B-E7A8631266EB}"/>
              </a:ext>
            </a:extLst>
          </p:cNvPr>
          <p:cNvSpPr txBox="1"/>
          <p:nvPr/>
        </p:nvSpPr>
        <p:spPr>
          <a:xfrm>
            <a:off x="9206791" y="3746257"/>
            <a:ext cx="830160" cy="33206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914332">
              <a:buClr>
                <a:srgbClr val="F9F9F9"/>
              </a:buClr>
              <a:buSzPts val="1000"/>
              <a:defRPr/>
            </a:pPr>
            <a:r>
              <a:rPr lang="fr-FR" sz="800" b="1">
                <a:solidFill>
                  <a:srgbClr val="666666"/>
                </a:solidFill>
                <a:latin typeface="Montserrat" pitchFamily="2" charset="77"/>
                <a:ea typeface="Montserrat"/>
                <a:cs typeface="Montserrat"/>
                <a:sym typeface="Montserrat SemiBold"/>
              </a:rPr>
              <a:t>FINANCE</a:t>
            </a:r>
            <a:endParaRPr sz="1067" b="1">
              <a:solidFill>
                <a:srgbClr val="666666"/>
              </a:solidFill>
              <a:latin typeface="Montserrat" pitchFamily="2" charset="77"/>
              <a:ea typeface="Montserrat"/>
              <a:cs typeface="Montserrat"/>
              <a:sym typeface="Montserrat"/>
            </a:endParaRPr>
          </a:p>
        </p:txBody>
      </p:sp>
      <p:sp>
        <p:nvSpPr>
          <p:cNvPr id="72" name="Google Shape;434;p53">
            <a:extLst>
              <a:ext uri="{FF2B5EF4-FFF2-40B4-BE49-F238E27FC236}">
                <a16:creationId xmlns:a16="http://schemas.microsoft.com/office/drawing/2014/main" id="{F59CCA35-22DF-2A39-67DB-0A12F5B3C13B}"/>
              </a:ext>
            </a:extLst>
          </p:cNvPr>
          <p:cNvSpPr/>
          <p:nvPr/>
        </p:nvSpPr>
        <p:spPr>
          <a:xfrm>
            <a:off x="9319235" y="3111877"/>
            <a:ext cx="605272" cy="634713"/>
          </a:xfrm>
          <a:prstGeom prst="ellipse">
            <a:avLst/>
          </a:prstGeom>
          <a:solidFill>
            <a:schemeClr val="accent2">
              <a:lumMod val="60000"/>
              <a:lumOff val="40000"/>
            </a:schemeClr>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32">
              <a:buSzPts val="1400"/>
              <a:defRPr/>
            </a:pPr>
            <a:endParaRPr sz="1067">
              <a:latin typeface="Montserrat" pitchFamily="2" charset="77"/>
            </a:endParaRPr>
          </a:p>
        </p:txBody>
      </p:sp>
      <p:pic>
        <p:nvPicPr>
          <p:cNvPr id="73" name="Google Shape;448;p53" descr="bank-BLANC-01.png">
            <a:extLst>
              <a:ext uri="{FF2B5EF4-FFF2-40B4-BE49-F238E27FC236}">
                <a16:creationId xmlns:a16="http://schemas.microsoft.com/office/drawing/2014/main" id="{4B8FDACE-0D9F-3453-84E0-6D13DECEF5C1}"/>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9384658" y="3188545"/>
            <a:ext cx="474427" cy="481377"/>
          </a:xfrm>
          <a:prstGeom prst="rect">
            <a:avLst/>
          </a:prstGeom>
          <a:noFill/>
          <a:ln>
            <a:noFill/>
          </a:ln>
        </p:spPr>
      </p:pic>
      <p:grpSp>
        <p:nvGrpSpPr>
          <p:cNvPr id="74" name="Groupe 73">
            <a:extLst>
              <a:ext uri="{FF2B5EF4-FFF2-40B4-BE49-F238E27FC236}">
                <a16:creationId xmlns:a16="http://schemas.microsoft.com/office/drawing/2014/main" id="{C4B8B8A9-BBB3-A668-D9E8-9E7582B62604}"/>
              </a:ext>
            </a:extLst>
          </p:cNvPr>
          <p:cNvGrpSpPr>
            <a:grpSpLocks noChangeAspect="1"/>
          </p:cNvGrpSpPr>
          <p:nvPr/>
        </p:nvGrpSpPr>
        <p:grpSpPr>
          <a:xfrm>
            <a:off x="6052483" y="5015423"/>
            <a:ext cx="457157" cy="457157"/>
            <a:chOff x="8777834" y="5118383"/>
            <a:chExt cx="914400" cy="914400"/>
          </a:xfrm>
        </p:grpSpPr>
        <p:sp>
          <p:nvSpPr>
            <p:cNvPr id="75" name="Ellipse 74">
              <a:extLst>
                <a:ext uri="{FF2B5EF4-FFF2-40B4-BE49-F238E27FC236}">
                  <a16:creationId xmlns:a16="http://schemas.microsoft.com/office/drawing/2014/main" id="{F9895A45-3E80-34AF-F0F8-237D2425A303}"/>
                </a:ext>
              </a:extLst>
            </p:cNvPr>
            <p:cNvSpPr/>
            <p:nvPr/>
          </p:nvSpPr>
          <p:spPr>
            <a:xfrm>
              <a:off x="8777834" y="5118383"/>
              <a:ext cx="914400" cy="914400"/>
            </a:xfrm>
            <a:prstGeom prst="ellipse">
              <a:avLst/>
            </a:prstGeom>
            <a:noFill/>
            <a:ln>
              <a:solidFill>
                <a:srgbClr val="44388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1333">
                <a:solidFill>
                  <a:srgbClr val="FFFFFF"/>
                </a:solidFill>
                <a:latin typeface="Arial"/>
              </a:endParaRPr>
            </a:p>
          </p:txBody>
        </p:sp>
        <p:pic>
          <p:nvPicPr>
            <p:cNvPr id="76" name="Graphique 75" descr="Fusée avec un remplissage uni">
              <a:extLst>
                <a:ext uri="{FF2B5EF4-FFF2-40B4-BE49-F238E27FC236}">
                  <a16:creationId xmlns:a16="http://schemas.microsoft.com/office/drawing/2014/main" id="{E4C21074-FE06-F82C-01FB-FF3EFAA297A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943042" y="5283591"/>
              <a:ext cx="583985" cy="583985"/>
            </a:xfrm>
            <a:prstGeom prst="rect">
              <a:avLst/>
            </a:prstGeom>
          </p:spPr>
        </p:pic>
      </p:grpSp>
      <p:grpSp>
        <p:nvGrpSpPr>
          <p:cNvPr id="77" name="Groupe 76">
            <a:extLst>
              <a:ext uri="{FF2B5EF4-FFF2-40B4-BE49-F238E27FC236}">
                <a16:creationId xmlns:a16="http://schemas.microsoft.com/office/drawing/2014/main" id="{D703A5AA-B419-40C0-EA53-B2FDDC080647}"/>
              </a:ext>
            </a:extLst>
          </p:cNvPr>
          <p:cNvGrpSpPr>
            <a:grpSpLocks noChangeAspect="1"/>
          </p:cNvGrpSpPr>
          <p:nvPr/>
        </p:nvGrpSpPr>
        <p:grpSpPr>
          <a:xfrm>
            <a:off x="6052483" y="4287524"/>
            <a:ext cx="457157" cy="457157"/>
            <a:chOff x="7065362" y="5118383"/>
            <a:chExt cx="914400" cy="914400"/>
          </a:xfrm>
        </p:grpSpPr>
        <p:sp>
          <p:nvSpPr>
            <p:cNvPr id="78" name="Freeform 67">
              <a:extLst>
                <a:ext uri="{FF2B5EF4-FFF2-40B4-BE49-F238E27FC236}">
                  <a16:creationId xmlns:a16="http://schemas.microsoft.com/office/drawing/2014/main" id="{10D7ABD0-2D26-0B76-7B34-D6306F66BB01}"/>
                </a:ext>
              </a:extLst>
            </p:cNvPr>
            <p:cNvSpPr>
              <a:spLocks noChangeAspect="1" noEditPoints="1"/>
            </p:cNvSpPr>
            <p:nvPr/>
          </p:nvSpPr>
          <p:spPr bwMode="auto">
            <a:xfrm>
              <a:off x="7265094" y="5341282"/>
              <a:ext cx="497058" cy="488602"/>
            </a:xfrm>
            <a:custGeom>
              <a:avLst/>
              <a:gdLst>
                <a:gd name="T0" fmla="*/ 1610 w 1646"/>
                <a:gd name="T1" fmla="*/ 1290 h 1618"/>
                <a:gd name="T2" fmla="*/ 1645 w 1646"/>
                <a:gd name="T3" fmla="*/ 1377 h 1618"/>
                <a:gd name="T4" fmla="*/ 1546 w 1646"/>
                <a:gd name="T5" fmla="*/ 1485 h 1618"/>
                <a:gd name="T6" fmla="*/ 1215 w 1646"/>
                <a:gd name="T7" fmla="*/ 1588 h 1618"/>
                <a:gd name="T8" fmla="*/ 578 w 1646"/>
                <a:gd name="T9" fmla="*/ 1607 h 1618"/>
                <a:gd name="T10" fmla="*/ 141 w 1646"/>
                <a:gd name="T11" fmla="*/ 1506 h 1618"/>
                <a:gd name="T12" fmla="*/ 9 w 1646"/>
                <a:gd name="T13" fmla="*/ 1403 h 1618"/>
                <a:gd name="T14" fmla="*/ 18 w 1646"/>
                <a:gd name="T15" fmla="*/ 1311 h 1618"/>
                <a:gd name="T16" fmla="*/ 175 w 1646"/>
                <a:gd name="T17" fmla="*/ 1209 h 1618"/>
                <a:gd name="T18" fmla="*/ 134 w 1646"/>
                <a:gd name="T19" fmla="*/ 1266 h 1618"/>
                <a:gd name="T20" fmla="*/ 188 w 1646"/>
                <a:gd name="T21" fmla="*/ 1339 h 1618"/>
                <a:gd name="T22" fmla="*/ 554 w 1646"/>
                <a:gd name="T23" fmla="*/ 1452 h 1618"/>
                <a:gd name="T24" fmla="*/ 1090 w 1646"/>
                <a:gd name="T25" fmla="*/ 1452 h 1618"/>
                <a:gd name="T26" fmla="*/ 1458 w 1646"/>
                <a:gd name="T27" fmla="*/ 1339 h 1618"/>
                <a:gd name="T28" fmla="*/ 1512 w 1646"/>
                <a:gd name="T29" fmla="*/ 1266 h 1618"/>
                <a:gd name="T30" fmla="*/ 1471 w 1646"/>
                <a:gd name="T31" fmla="*/ 1209 h 1618"/>
                <a:gd name="T32" fmla="*/ 514 w 1646"/>
                <a:gd name="T33" fmla="*/ 90 h 1618"/>
                <a:gd name="T34" fmla="*/ 569 w 1646"/>
                <a:gd name="T35" fmla="*/ 205 h 1618"/>
                <a:gd name="T36" fmla="*/ 524 w 1646"/>
                <a:gd name="T37" fmla="*/ 311 h 1618"/>
                <a:gd name="T38" fmla="*/ 419 w 1646"/>
                <a:gd name="T39" fmla="*/ 354 h 1618"/>
                <a:gd name="T40" fmla="*/ 303 w 1646"/>
                <a:gd name="T41" fmla="*/ 300 h 1618"/>
                <a:gd name="T42" fmla="*/ 270 w 1646"/>
                <a:gd name="T43" fmla="*/ 190 h 1618"/>
                <a:gd name="T44" fmla="*/ 336 w 1646"/>
                <a:gd name="T45" fmla="*/ 82 h 1618"/>
                <a:gd name="T46" fmla="*/ 1225 w 1646"/>
                <a:gd name="T47" fmla="*/ 55 h 1618"/>
                <a:gd name="T48" fmla="*/ 1109 w 1646"/>
                <a:gd name="T49" fmla="*/ 111 h 1618"/>
                <a:gd name="T50" fmla="*/ 1076 w 1646"/>
                <a:gd name="T51" fmla="*/ 220 h 1618"/>
                <a:gd name="T52" fmla="*/ 1140 w 1646"/>
                <a:gd name="T53" fmla="*/ 329 h 1618"/>
                <a:gd name="T54" fmla="*/ 1255 w 1646"/>
                <a:gd name="T55" fmla="*/ 352 h 1618"/>
                <a:gd name="T56" fmla="*/ 1356 w 1646"/>
                <a:gd name="T57" fmla="*/ 276 h 1618"/>
                <a:gd name="T58" fmla="*/ 1367 w 1646"/>
                <a:gd name="T59" fmla="*/ 161 h 1618"/>
                <a:gd name="T60" fmla="*/ 1283 w 1646"/>
                <a:gd name="T61" fmla="*/ 67 h 1618"/>
                <a:gd name="T62" fmla="*/ 1225 w 1646"/>
                <a:gd name="T63" fmla="*/ 1033 h 1618"/>
                <a:gd name="T64" fmla="*/ 1446 w 1646"/>
                <a:gd name="T65" fmla="*/ 804 h 1618"/>
                <a:gd name="T66" fmla="*/ 1447 w 1646"/>
                <a:gd name="T67" fmla="*/ 469 h 1618"/>
                <a:gd name="T68" fmla="*/ 1358 w 1646"/>
                <a:gd name="T69" fmla="*/ 388 h 1618"/>
                <a:gd name="T70" fmla="*/ 1117 w 1646"/>
                <a:gd name="T71" fmla="*/ 399 h 1618"/>
                <a:gd name="T72" fmla="*/ 1146 w 1646"/>
                <a:gd name="T73" fmla="*/ 753 h 1618"/>
                <a:gd name="T74" fmla="*/ 1077 w 1646"/>
                <a:gd name="T75" fmla="*/ 916 h 1618"/>
                <a:gd name="T76" fmla="*/ 928 w 1646"/>
                <a:gd name="T77" fmla="*/ 37 h 1618"/>
                <a:gd name="T78" fmla="*/ 988 w 1646"/>
                <a:gd name="T79" fmla="*/ 163 h 1618"/>
                <a:gd name="T80" fmla="*/ 940 w 1646"/>
                <a:gd name="T81" fmla="*/ 278 h 1618"/>
                <a:gd name="T82" fmla="*/ 826 w 1646"/>
                <a:gd name="T83" fmla="*/ 325 h 1618"/>
                <a:gd name="T84" fmla="*/ 699 w 1646"/>
                <a:gd name="T85" fmla="*/ 266 h 1618"/>
                <a:gd name="T86" fmla="*/ 664 w 1646"/>
                <a:gd name="T87" fmla="*/ 146 h 1618"/>
                <a:gd name="T88" fmla="*/ 735 w 1646"/>
                <a:gd name="T89" fmla="*/ 28 h 1618"/>
                <a:gd name="T90" fmla="*/ 986 w 1646"/>
                <a:gd name="T91" fmla="*/ 890 h 1618"/>
                <a:gd name="T92" fmla="*/ 1071 w 1646"/>
                <a:gd name="T93" fmla="*/ 753 h 1618"/>
                <a:gd name="T94" fmla="*/ 1035 w 1646"/>
                <a:gd name="T95" fmla="*/ 412 h 1618"/>
                <a:gd name="T96" fmla="*/ 916 w 1646"/>
                <a:gd name="T97" fmla="*/ 355 h 1618"/>
                <a:gd name="T98" fmla="*/ 627 w 1646"/>
                <a:gd name="T99" fmla="*/ 391 h 1618"/>
                <a:gd name="T100" fmla="*/ 571 w 1646"/>
                <a:gd name="T101" fmla="*/ 509 h 1618"/>
                <a:gd name="T102" fmla="*/ 620 w 1646"/>
                <a:gd name="T103" fmla="*/ 866 h 1618"/>
                <a:gd name="T104" fmla="*/ 986 w 1646"/>
                <a:gd name="T105" fmla="*/ 890 h 1618"/>
                <a:gd name="T106" fmla="*/ 499 w 1646"/>
                <a:gd name="T107" fmla="*/ 777 h 1618"/>
                <a:gd name="T108" fmla="*/ 519 w 1646"/>
                <a:gd name="T109" fmla="*/ 413 h 1618"/>
                <a:gd name="T110" fmla="*/ 299 w 1646"/>
                <a:gd name="T111" fmla="*/ 384 h 1618"/>
                <a:gd name="T112" fmla="*/ 203 w 1646"/>
                <a:gd name="T113" fmla="*/ 457 h 1618"/>
                <a:gd name="T114" fmla="*/ 191 w 1646"/>
                <a:gd name="T115" fmla="*/ 787 h 1618"/>
                <a:gd name="T116" fmla="*/ 419 w 1646"/>
                <a:gd name="T117" fmla="*/ 1033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6" h="1618">
                  <a:moveTo>
                    <a:pt x="1471" y="1209"/>
                  </a:moveTo>
                  <a:lnTo>
                    <a:pt x="1471" y="1209"/>
                  </a:lnTo>
                  <a:lnTo>
                    <a:pt x="1510" y="1226"/>
                  </a:lnTo>
                  <a:lnTo>
                    <a:pt x="1545" y="1243"/>
                  </a:lnTo>
                  <a:lnTo>
                    <a:pt x="1560" y="1252"/>
                  </a:lnTo>
                  <a:lnTo>
                    <a:pt x="1575" y="1261"/>
                  </a:lnTo>
                  <a:lnTo>
                    <a:pt x="1588" y="1270"/>
                  </a:lnTo>
                  <a:lnTo>
                    <a:pt x="1600" y="1281"/>
                  </a:lnTo>
                  <a:lnTo>
                    <a:pt x="1610" y="1290"/>
                  </a:lnTo>
                  <a:lnTo>
                    <a:pt x="1620" y="1301"/>
                  </a:lnTo>
                  <a:lnTo>
                    <a:pt x="1628" y="1311"/>
                  </a:lnTo>
                  <a:lnTo>
                    <a:pt x="1634" y="1322"/>
                  </a:lnTo>
                  <a:lnTo>
                    <a:pt x="1639" y="1332"/>
                  </a:lnTo>
                  <a:lnTo>
                    <a:pt x="1642" y="1343"/>
                  </a:lnTo>
                  <a:lnTo>
                    <a:pt x="1645" y="1353"/>
                  </a:lnTo>
                  <a:lnTo>
                    <a:pt x="1646" y="1365"/>
                  </a:lnTo>
                  <a:lnTo>
                    <a:pt x="1646" y="1365"/>
                  </a:lnTo>
                  <a:lnTo>
                    <a:pt x="1645" y="1377"/>
                  </a:lnTo>
                  <a:lnTo>
                    <a:pt x="1642" y="1390"/>
                  </a:lnTo>
                  <a:lnTo>
                    <a:pt x="1637" y="1403"/>
                  </a:lnTo>
                  <a:lnTo>
                    <a:pt x="1629" y="1415"/>
                  </a:lnTo>
                  <a:lnTo>
                    <a:pt x="1620" y="1428"/>
                  </a:lnTo>
                  <a:lnTo>
                    <a:pt x="1609" y="1440"/>
                  </a:lnTo>
                  <a:lnTo>
                    <a:pt x="1596" y="1452"/>
                  </a:lnTo>
                  <a:lnTo>
                    <a:pt x="1581" y="1464"/>
                  </a:lnTo>
                  <a:lnTo>
                    <a:pt x="1564" y="1474"/>
                  </a:lnTo>
                  <a:lnTo>
                    <a:pt x="1546" y="1485"/>
                  </a:lnTo>
                  <a:lnTo>
                    <a:pt x="1526" y="1496"/>
                  </a:lnTo>
                  <a:lnTo>
                    <a:pt x="1505" y="1506"/>
                  </a:lnTo>
                  <a:lnTo>
                    <a:pt x="1483" y="1517"/>
                  </a:lnTo>
                  <a:lnTo>
                    <a:pt x="1458" y="1526"/>
                  </a:lnTo>
                  <a:lnTo>
                    <a:pt x="1431" y="1535"/>
                  </a:lnTo>
                  <a:lnTo>
                    <a:pt x="1405" y="1544"/>
                  </a:lnTo>
                  <a:lnTo>
                    <a:pt x="1346" y="1560"/>
                  </a:lnTo>
                  <a:lnTo>
                    <a:pt x="1283" y="1575"/>
                  </a:lnTo>
                  <a:lnTo>
                    <a:pt x="1215" y="1588"/>
                  </a:lnTo>
                  <a:lnTo>
                    <a:pt x="1143" y="1598"/>
                  </a:lnTo>
                  <a:lnTo>
                    <a:pt x="1068" y="1607"/>
                  </a:lnTo>
                  <a:lnTo>
                    <a:pt x="989" y="1613"/>
                  </a:lnTo>
                  <a:lnTo>
                    <a:pt x="907" y="1617"/>
                  </a:lnTo>
                  <a:lnTo>
                    <a:pt x="823" y="1618"/>
                  </a:lnTo>
                  <a:lnTo>
                    <a:pt x="823" y="1618"/>
                  </a:lnTo>
                  <a:lnTo>
                    <a:pt x="739" y="1617"/>
                  </a:lnTo>
                  <a:lnTo>
                    <a:pt x="657" y="1613"/>
                  </a:lnTo>
                  <a:lnTo>
                    <a:pt x="578" y="1607"/>
                  </a:lnTo>
                  <a:lnTo>
                    <a:pt x="503" y="1598"/>
                  </a:lnTo>
                  <a:lnTo>
                    <a:pt x="431" y="1588"/>
                  </a:lnTo>
                  <a:lnTo>
                    <a:pt x="362" y="1575"/>
                  </a:lnTo>
                  <a:lnTo>
                    <a:pt x="299" y="1560"/>
                  </a:lnTo>
                  <a:lnTo>
                    <a:pt x="241" y="1544"/>
                  </a:lnTo>
                  <a:lnTo>
                    <a:pt x="213" y="1535"/>
                  </a:lnTo>
                  <a:lnTo>
                    <a:pt x="188" y="1526"/>
                  </a:lnTo>
                  <a:lnTo>
                    <a:pt x="163" y="1517"/>
                  </a:lnTo>
                  <a:lnTo>
                    <a:pt x="141" y="1506"/>
                  </a:lnTo>
                  <a:lnTo>
                    <a:pt x="119" y="1496"/>
                  </a:lnTo>
                  <a:lnTo>
                    <a:pt x="99" y="1485"/>
                  </a:lnTo>
                  <a:lnTo>
                    <a:pt x="82" y="1474"/>
                  </a:lnTo>
                  <a:lnTo>
                    <a:pt x="65" y="1464"/>
                  </a:lnTo>
                  <a:lnTo>
                    <a:pt x="50" y="1452"/>
                  </a:lnTo>
                  <a:lnTo>
                    <a:pt x="37" y="1440"/>
                  </a:lnTo>
                  <a:lnTo>
                    <a:pt x="26" y="1428"/>
                  </a:lnTo>
                  <a:lnTo>
                    <a:pt x="17" y="1415"/>
                  </a:lnTo>
                  <a:lnTo>
                    <a:pt x="9" y="1403"/>
                  </a:lnTo>
                  <a:lnTo>
                    <a:pt x="4" y="1390"/>
                  </a:lnTo>
                  <a:lnTo>
                    <a:pt x="1" y="1377"/>
                  </a:lnTo>
                  <a:lnTo>
                    <a:pt x="0" y="1365"/>
                  </a:lnTo>
                  <a:lnTo>
                    <a:pt x="0" y="1365"/>
                  </a:lnTo>
                  <a:lnTo>
                    <a:pt x="1" y="1353"/>
                  </a:lnTo>
                  <a:lnTo>
                    <a:pt x="3" y="1343"/>
                  </a:lnTo>
                  <a:lnTo>
                    <a:pt x="7" y="1332"/>
                  </a:lnTo>
                  <a:lnTo>
                    <a:pt x="12" y="1322"/>
                  </a:lnTo>
                  <a:lnTo>
                    <a:pt x="18" y="1311"/>
                  </a:lnTo>
                  <a:lnTo>
                    <a:pt x="26" y="1301"/>
                  </a:lnTo>
                  <a:lnTo>
                    <a:pt x="36" y="1290"/>
                  </a:lnTo>
                  <a:lnTo>
                    <a:pt x="46" y="1281"/>
                  </a:lnTo>
                  <a:lnTo>
                    <a:pt x="58" y="1270"/>
                  </a:lnTo>
                  <a:lnTo>
                    <a:pt x="71" y="1261"/>
                  </a:lnTo>
                  <a:lnTo>
                    <a:pt x="86" y="1252"/>
                  </a:lnTo>
                  <a:lnTo>
                    <a:pt x="101" y="1243"/>
                  </a:lnTo>
                  <a:lnTo>
                    <a:pt x="136" y="1226"/>
                  </a:lnTo>
                  <a:lnTo>
                    <a:pt x="175" y="1209"/>
                  </a:lnTo>
                  <a:lnTo>
                    <a:pt x="175" y="1209"/>
                  </a:lnTo>
                  <a:lnTo>
                    <a:pt x="165" y="1215"/>
                  </a:lnTo>
                  <a:lnTo>
                    <a:pt x="157" y="1222"/>
                  </a:lnTo>
                  <a:lnTo>
                    <a:pt x="150" y="1230"/>
                  </a:lnTo>
                  <a:lnTo>
                    <a:pt x="145" y="1236"/>
                  </a:lnTo>
                  <a:lnTo>
                    <a:pt x="140" y="1244"/>
                  </a:lnTo>
                  <a:lnTo>
                    <a:pt x="137" y="1252"/>
                  </a:lnTo>
                  <a:lnTo>
                    <a:pt x="134" y="1259"/>
                  </a:lnTo>
                  <a:lnTo>
                    <a:pt x="134" y="1266"/>
                  </a:lnTo>
                  <a:lnTo>
                    <a:pt x="134" y="1266"/>
                  </a:lnTo>
                  <a:lnTo>
                    <a:pt x="134" y="1276"/>
                  </a:lnTo>
                  <a:lnTo>
                    <a:pt x="137" y="1285"/>
                  </a:lnTo>
                  <a:lnTo>
                    <a:pt x="142" y="1294"/>
                  </a:lnTo>
                  <a:lnTo>
                    <a:pt x="147" y="1303"/>
                  </a:lnTo>
                  <a:lnTo>
                    <a:pt x="155" y="1311"/>
                  </a:lnTo>
                  <a:lnTo>
                    <a:pt x="165" y="1320"/>
                  </a:lnTo>
                  <a:lnTo>
                    <a:pt x="175" y="1330"/>
                  </a:lnTo>
                  <a:lnTo>
                    <a:pt x="188" y="1339"/>
                  </a:lnTo>
                  <a:lnTo>
                    <a:pt x="201" y="1348"/>
                  </a:lnTo>
                  <a:lnTo>
                    <a:pt x="217" y="1356"/>
                  </a:lnTo>
                  <a:lnTo>
                    <a:pt x="252" y="1373"/>
                  </a:lnTo>
                  <a:lnTo>
                    <a:pt x="291" y="1389"/>
                  </a:lnTo>
                  <a:lnTo>
                    <a:pt x="336" y="1405"/>
                  </a:lnTo>
                  <a:lnTo>
                    <a:pt x="385" y="1419"/>
                  </a:lnTo>
                  <a:lnTo>
                    <a:pt x="437" y="1431"/>
                  </a:lnTo>
                  <a:lnTo>
                    <a:pt x="494" y="1443"/>
                  </a:lnTo>
                  <a:lnTo>
                    <a:pt x="554" y="1452"/>
                  </a:lnTo>
                  <a:lnTo>
                    <a:pt x="618" y="1460"/>
                  </a:lnTo>
                  <a:lnTo>
                    <a:pt x="683" y="1467"/>
                  </a:lnTo>
                  <a:lnTo>
                    <a:pt x="752" y="1471"/>
                  </a:lnTo>
                  <a:lnTo>
                    <a:pt x="823" y="1472"/>
                  </a:lnTo>
                  <a:lnTo>
                    <a:pt x="823" y="1472"/>
                  </a:lnTo>
                  <a:lnTo>
                    <a:pt x="893" y="1471"/>
                  </a:lnTo>
                  <a:lnTo>
                    <a:pt x="961" y="1467"/>
                  </a:lnTo>
                  <a:lnTo>
                    <a:pt x="1027" y="1460"/>
                  </a:lnTo>
                  <a:lnTo>
                    <a:pt x="1090" y="1452"/>
                  </a:lnTo>
                  <a:lnTo>
                    <a:pt x="1151" y="1443"/>
                  </a:lnTo>
                  <a:lnTo>
                    <a:pt x="1208" y="1431"/>
                  </a:lnTo>
                  <a:lnTo>
                    <a:pt x="1261" y="1419"/>
                  </a:lnTo>
                  <a:lnTo>
                    <a:pt x="1310" y="1405"/>
                  </a:lnTo>
                  <a:lnTo>
                    <a:pt x="1354" y="1389"/>
                  </a:lnTo>
                  <a:lnTo>
                    <a:pt x="1394" y="1373"/>
                  </a:lnTo>
                  <a:lnTo>
                    <a:pt x="1429" y="1356"/>
                  </a:lnTo>
                  <a:lnTo>
                    <a:pt x="1443" y="1348"/>
                  </a:lnTo>
                  <a:lnTo>
                    <a:pt x="1458" y="1339"/>
                  </a:lnTo>
                  <a:lnTo>
                    <a:pt x="1470" y="1330"/>
                  </a:lnTo>
                  <a:lnTo>
                    <a:pt x="1480" y="1320"/>
                  </a:lnTo>
                  <a:lnTo>
                    <a:pt x="1489" y="1311"/>
                  </a:lnTo>
                  <a:lnTo>
                    <a:pt x="1497" y="1303"/>
                  </a:lnTo>
                  <a:lnTo>
                    <a:pt x="1504" y="1294"/>
                  </a:lnTo>
                  <a:lnTo>
                    <a:pt x="1508" y="1285"/>
                  </a:lnTo>
                  <a:lnTo>
                    <a:pt x="1510" y="1276"/>
                  </a:lnTo>
                  <a:lnTo>
                    <a:pt x="1512" y="1266"/>
                  </a:lnTo>
                  <a:lnTo>
                    <a:pt x="1512" y="1266"/>
                  </a:lnTo>
                  <a:lnTo>
                    <a:pt x="1510" y="1259"/>
                  </a:lnTo>
                  <a:lnTo>
                    <a:pt x="1509" y="1252"/>
                  </a:lnTo>
                  <a:lnTo>
                    <a:pt x="1505" y="1244"/>
                  </a:lnTo>
                  <a:lnTo>
                    <a:pt x="1501" y="1236"/>
                  </a:lnTo>
                  <a:lnTo>
                    <a:pt x="1496" y="1230"/>
                  </a:lnTo>
                  <a:lnTo>
                    <a:pt x="1488" y="1222"/>
                  </a:lnTo>
                  <a:lnTo>
                    <a:pt x="1480" y="1215"/>
                  </a:lnTo>
                  <a:lnTo>
                    <a:pt x="1471" y="1209"/>
                  </a:lnTo>
                  <a:lnTo>
                    <a:pt x="1471" y="1209"/>
                  </a:lnTo>
                  <a:close/>
                  <a:moveTo>
                    <a:pt x="419" y="55"/>
                  </a:moveTo>
                  <a:lnTo>
                    <a:pt x="419" y="55"/>
                  </a:lnTo>
                  <a:lnTo>
                    <a:pt x="435" y="57"/>
                  </a:lnTo>
                  <a:lnTo>
                    <a:pt x="449" y="59"/>
                  </a:lnTo>
                  <a:lnTo>
                    <a:pt x="464" y="62"/>
                  </a:lnTo>
                  <a:lnTo>
                    <a:pt x="477" y="67"/>
                  </a:lnTo>
                  <a:lnTo>
                    <a:pt x="490" y="74"/>
                  </a:lnTo>
                  <a:lnTo>
                    <a:pt x="503" y="82"/>
                  </a:lnTo>
                  <a:lnTo>
                    <a:pt x="514" y="90"/>
                  </a:lnTo>
                  <a:lnTo>
                    <a:pt x="524" y="100"/>
                  </a:lnTo>
                  <a:lnTo>
                    <a:pt x="535" y="111"/>
                  </a:lnTo>
                  <a:lnTo>
                    <a:pt x="543" y="121"/>
                  </a:lnTo>
                  <a:lnTo>
                    <a:pt x="550" y="134"/>
                  </a:lnTo>
                  <a:lnTo>
                    <a:pt x="557" y="147"/>
                  </a:lnTo>
                  <a:lnTo>
                    <a:pt x="561" y="161"/>
                  </a:lnTo>
                  <a:lnTo>
                    <a:pt x="565" y="175"/>
                  </a:lnTo>
                  <a:lnTo>
                    <a:pt x="568" y="190"/>
                  </a:lnTo>
                  <a:lnTo>
                    <a:pt x="569" y="205"/>
                  </a:lnTo>
                  <a:lnTo>
                    <a:pt x="569" y="205"/>
                  </a:lnTo>
                  <a:lnTo>
                    <a:pt x="568" y="220"/>
                  </a:lnTo>
                  <a:lnTo>
                    <a:pt x="565" y="236"/>
                  </a:lnTo>
                  <a:lnTo>
                    <a:pt x="561" y="250"/>
                  </a:lnTo>
                  <a:lnTo>
                    <a:pt x="557" y="263"/>
                  </a:lnTo>
                  <a:lnTo>
                    <a:pt x="550" y="276"/>
                  </a:lnTo>
                  <a:lnTo>
                    <a:pt x="543" y="288"/>
                  </a:lnTo>
                  <a:lnTo>
                    <a:pt x="535" y="300"/>
                  </a:lnTo>
                  <a:lnTo>
                    <a:pt x="524" y="311"/>
                  </a:lnTo>
                  <a:lnTo>
                    <a:pt x="514" y="321"/>
                  </a:lnTo>
                  <a:lnTo>
                    <a:pt x="503" y="329"/>
                  </a:lnTo>
                  <a:lnTo>
                    <a:pt x="490" y="337"/>
                  </a:lnTo>
                  <a:lnTo>
                    <a:pt x="477" y="344"/>
                  </a:lnTo>
                  <a:lnTo>
                    <a:pt x="464" y="348"/>
                  </a:lnTo>
                  <a:lnTo>
                    <a:pt x="449" y="352"/>
                  </a:lnTo>
                  <a:lnTo>
                    <a:pt x="435" y="354"/>
                  </a:lnTo>
                  <a:lnTo>
                    <a:pt x="419" y="354"/>
                  </a:lnTo>
                  <a:lnTo>
                    <a:pt x="419" y="354"/>
                  </a:lnTo>
                  <a:lnTo>
                    <a:pt x="403" y="354"/>
                  </a:lnTo>
                  <a:lnTo>
                    <a:pt x="388" y="352"/>
                  </a:lnTo>
                  <a:lnTo>
                    <a:pt x="374" y="348"/>
                  </a:lnTo>
                  <a:lnTo>
                    <a:pt x="361" y="344"/>
                  </a:lnTo>
                  <a:lnTo>
                    <a:pt x="348" y="337"/>
                  </a:lnTo>
                  <a:lnTo>
                    <a:pt x="336" y="329"/>
                  </a:lnTo>
                  <a:lnTo>
                    <a:pt x="324" y="321"/>
                  </a:lnTo>
                  <a:lnTo>
                    <a:pt x="313" y="311"/>
                  </a:lnTo>
                  <a:lnTo>
                    <a:pt x="303" y="300"/>
                  </a:lnTo>
                  <a:lnTo>
                    <a:pt x="295" y="288"/>
                  </a:lnTo>
                  <a:lnTo>
                    <a:pt x="287" y="276"/>
                  </a:lnTo>
                  <a:lnTo>
                    <a:pt x="280" y="263"/>
                  </a:lnTo>
                  <a:lnTo>
                    <a:pt x="277" y="250"/>
                  </a:lnTo>
                  <a:lnTo>
                    <a:pt x="273" y="236"/>
                  </a:lnTo>
                  <a:lnTo>
                    <a:pt x="270" y="220"/>
                  </a:lnTo>
                  <a:lnTo>
                    <a:pt x="269" y="205"/>
                  </a:lnTo>
                  <a:lnTo>
                    <a:pt x="269" y="205"/>
                  </a:lnTo>
                  <a:lnTo>
                    <a:pt x="270" y="190"/>
                  </a:lnTo>
                  <a:lnTo>
                    <a:pt x="273" y="175"/>
                  </a:lnTo>
                  <a:lnTo>
                    <a:pt x="277" y="161"/>
                  </a:lnTo>
                  <a:lnTo>
                    <a:pt x="280" y="147"/>
                  </a:lnTo>
                  <a:lnTo>
                    <a:pt x="287" y="134"/>
                  </a:lnTo>
                  <a:lnTo>
                    <a:pt x="295" y="121"/>
                  </a:lnTo>
                  <a:lnTo>
                    <a:pt x="303" y="111"/>
                  </a:lnTo>
                  <a:lnTo>
                    <a:pt x="313" y="100"/>
                  </a:lnTo>
                  <a:lnTo>
                    <a:pt x="324" y="90"/>
                  </a:lnTo>
                  <a:lnTo>
                    <a:pt x="336" y="82"/>
                  </a:lnTo>
                  <a:lnTo>
                    <a:pt x="348" y="74"/>
                  </a:lnTo>
                  <a:lnTo>
                    <a:pt x="361" y="67"/>
                  </a:lnTo>
                  <a:lnTo>
                    <a:pt x="374" y="62"/>
                  </a:lnTo>
                  <a:lnTo>
                    <a:pt x="388" y="59"/>
                  </a:lnTo>
                  <a:lnTo>
                    <a:pt x="403" y="57"/>
                  </a:lnTo>
                  <a:lnTo>
                    <a:pt x="419" y="55"/>
                  </a:lnTo>
                  <a:lnTo>
                    <a:pt x="419" y="55"/>
                  </a:lnTo>
                  <a:close/>
                  <a:moveTo>
                    <a:pt x="1225" y="55"/>
                  </a:moveTo>
                  <a:lnTo>
                    <a:pt x="1225" y="55"/>
                  </a:lnTo>
                  <a:lnTo>
                    <a:pt x="1209" y="57"/>
                  </a:lnTo>
                  <a:lnTo>
                    <a:pt x="1194" y="59"/>
                  </a:lnTo>
                  <a:lnTo>
                    <a:pt x="1180" y="62"/>
                  </a:lnTo>
                  <a:lnTo>
                    <a:pt x="1167" y="67"/>
                  </a:lnTo>
                  <a:lnTo>
                    <a:pt x="1154" y="74"/>
                  </a:lnTo>
                  <a:lnTo>
                    <a:pt x="1140" y="82"/>
                  </a:lnTo>
                  <a:lnTo>
                    <a:pt x="1130" y="90"/>
                  </a:lnTo>
                  <a:lnTo>
                    <a:pt x="1119" y="100"/>
                  </a:lnTo>
                  <a:lnTo>
                    <a:pt x="1109" y="111"/>
                  </a:lnTo>
                  <a:lnTo>
                    <a:pt x="1101" y="121"/>
                  </a:lnTo>
                  <a:lnTo>
                    <a:pt x="1093" y="134"/>
                  </a:lnTo>
                  <a:lnTo>
                    <a:pt x="1086" y="147"/>
                  </a:lnTo>
                  <a:lnTo>
                    <a:pt x="1081" y="161"/>
                  </a:lnTo>
                  <a:lnTo>
                    <a:pt x="1078" y="175"/>
                  </a:lnTo>
                  <a:lnTo>
                    <a:pt x="1076" y="190"/>
                  </a:lnTo>
                  <a:lnTo>
                    <a:pt x="1075" y="205"/>
                  </a:lnTo>
                  <a:lnTo>
                    <a:pt x="1075" y="205"/>
                  </a:lnTo>
                  <a:lnTo>
                    <a:pt x="1076" y="220"/>
                  </a:lnTo>
                  <a:lnTo>
                    <a:pt x="1078" y="236"/>
                  </a:lnTo>
                  <a:lnTo>
                    <a:pt x="1081" y="250"/>
                  </a:lnTo>
                  <a:lnTo>
                    <a:pt x="1086" y="263"/>
                  </a:lnTo>
                  <a:lnTo>
                    <a:pt x="1093" y="276"/>
                  </a:lnTo>
                  <a:lnTo>
                    <a:pt x="1101" y="288"/>
                  </a:lnTo>
                  <a:lnTo>
                    <a:pt x="1109" y="300"/>
                  </a:lnTo>
                  <a:lnTo>
                    <a:pt x="1119" y="311"/>
                  </a:lnTo>
                  <a:lnTo>
                    <a:pt x="1130" y="321"/>
                  </a:lnTo>
                  <a:lnTo>
                    <a:pt x="1140" y="329"/>
                  </a:lnTo>
                  <a:lnTo>
                    <a:pt x="1154" y="337"/>
                  </a:lnTo>
                  <a:lnTo>
                    <a:pt x="1167" y="344"/>
                  </a:lnTo>
                  <a:lnTo>
                    <a:pt x="1180" y="348"/>
                  </a:lnTo>
                  <a:lnTo>
                    <a:pt x="1194" y="352"/>
                  </a:lnTo>
                  <a:lnTo>
                    <a:pt x="1209" y="354"/>
                  </a:lnTo>
                  <a:lnTo>
                    <a:pt x="1225" y="354"/>
                  </a:lnTo>
                  <a:lnTo>
                    <a:pt x="1225" y="354"/>
                  </a:lnTo>
                  <a:lnTo>
                    <a:pt x="1239" y="354"/>
                  </a:lnTo>
                  <a:lnTo>
                    <a:pt x="1255" y="352"/>
                  </a:lnTo>
                  <a:lnTo>
                    <a:pt x="1269" y="348"/>
                  </a:lnTo>
                  <a:lnTo>
                    <a:pt x="1283" y="344"/>
                  </a:lnTo>
                  <a:lnTo>
                    <a:pt x="1296" y="337"/>
                  </a:lnTo>
                  <a:lnTo>
                    <a:pt x="1308" y="329"/>
                  </a:lnTo>
                  <a:lnTo>
                    <a:pt x="1319" y="321"/>
                  </a:lnTo>
                  <a:lnTo>
                    <a:pt x="1330" y="311"/>
                  </a:lnTo>
                  <a:lnTo>
                    <a:pt x="1341" y="300"/>
                  </a:lnTo>
                  <a:lnTo>
                    <a:pt x="1348" y="288"/>
                  </a:lnTo>
                  <a:lnTo>
                    <a:pt x="1356" y="276"/>
                  </a:lnTo>
                  <a:lnTo>
                    <a:pt x="1363" y="263"/>
                  </a:lnTo>
                  <a:lnTo>
                    <a:pt x="1367" y="250"/>
                  </a:lnTo>
                  <a:lnTo>
                    <a:pt x="1371" y="236"/>
                  </a:lnTo>
                  <a:lnTo>
                    <a:pt x="1373" y="220"/>
                  </a:lnTo>
                  <a:lnTo>
                    <a:pt x="1373" y="205"/>
                  </a:lnTo>
                  <a:lnTo>
                    <a:pt x="1373" y="205"/>
                  </a:lnTo>
                  <a:lnTo>
                    <a:pt x="1373" y="190"/>
                  </a:lnTo>
                  <a:lnTo>
                    <a:pt x="1371" y="175"/>
                  </a:lnTo>
                  <a:lnTo>
                    <a:pt x="1367" y="161"/>
                  </a:lnTo>
                  <a:lnTo>
                    <a:pt x="1363" y="147"/>
                  </a:lnTo>
                  <a:lnTo>
                    <a:pt x="1356" y="134"/>
                  </a:lnTo>
                  <a:lnTo>
                    <a:pt x="1348" y="121"/>
                  </a:lnTo>
                  <a:lnTo>
                    <a:pt x="1341" y="111"/>
                  </a:lnTo>
                  <a:lnTo>
                    <a:pt x="1330" y="100"/>
                  </a:lnTo>
                  <a:lnTo>
                    <a:pt x="1319" y="90"/>
                  </a:lnTo>
                  <a:lnTo>
                    <a:pt x="1308" y="82"/>
                  </a:lnTo>
                  <a:lnTo>
                    <a:pt x="1296" y="74"/>
                  </a:lnTo>
                  <a:lnTo>
                    <a:pt x="1283" y="67"/>
                  </a:lnTo>
                  <a:lnTo>
                    <a:pt x="1269" y="62"/>
                  </a:lnTo>
                  <a:lnTo>
                    <a:pt x="1255" y="59"/>
                  </a:lnTo>
                  <a:lnTo>
                    <a:pt x="1239" y="57"/>
                  </a:lnTo>
                  <a:lnTo>
                    <a:pt x="1225" y="55"/>
                  </a:lnTo>
                  <a:lnTo>
                    <a:pt x="1225" y="55"/>
                  </a:lnTo>
                  <a:close/>
                  <a:moveTo>
                    <a:pt x="1077" y="916"/>
                  </a:moveTo>
                  <a:lnTo>
                    <a:pt x="1077" y="1310"/>
                  </a:lnTo>
                  <a:lnTo>
                    <a:pt x="1182" y="1310"/>
                  </a:lnTo>
                  <a:lnTo>
                    <a:pt x="1225" y="1033"/>
                  </a:lnTo>
                  <a:lnTo>
                    <a:pt x="1267" y="1310"/>
                  </a:lnTo>
                  <a:lnTo>
                    <a:pt x="1381" y="1310"/>
                  </a:lnTo>
                  <a:lnTo>
                    <a:pt x="1381" y="873"/>
                  </a:lnTo>
                  <a:lnTo>
                    <a:pt x="1381" y="873"/>
                  </a:lnTo>
                  <a:lnTo>
                    <a:pt x="1397" y="864"/>
                  </a:lnTo>
                  <a:lnTo>
                    <a:pt x="1413" y="852"/>
                  </a:lnTo>
                  <a:lnTo>
                    <a:pt x="1426" y="837"/>
                  </a:lnTo>
                  <a:lnTo>
                    <a:pt x="1437" y="822"/>
                  </a:lnTo>
                  <a:lnTo>
                    <a:pt x="1446" y="804"/>
                  </a:lnTo>
                  <a:lnTo>
                    <a:pt x="1452" y="787"/>
                  </a:lnTo>
                  <a:lnTo>
                    <a:pt x="1456" y="768"/>
                  </a:lnTo>
                  <a:lnTo>
                    <a:pt x="1458" y="748"/>
                  </a:lnTo>
                  <a:lnTo>
                    <a:pt x="1458" y="524"/>
                  </a:lnTo>
                  <a:lnTo>
                    <a:pt x="1458" y="524"/>
                  </a:lnTo>
                  <a:lnTo>
                    <a:pt x="1458" y="509"/>
                  </a:lnTo>
                  <a:lnTo>
                    <a:pt x="1455" y="495"/>
                  </a:lnTo>
                  <a:lnTo>
                    <a:pt x="1451" y="482"/>
                  </a:lnTo>
                  <a:lnTo>
                    <a:pt x="1447" y="469"/>
                  </a:lnTo>
                  <a:lnTo>
                    <a:pt x="1441" y="457"/>
                  </a:lnTo>
                  <a:lnTo>
                    <a:pt x="1434" y="445"/>
                  </a:lnTo>
                  <a:lnTo>
                    <a:pt x="1426" y="433"/>
                  </a:lnTo>
                  <a:lnTo>
                    <a:pt x="1417" y="424"/>
                  </a:lnTo>
                  <a:lnTo>
                    <a:pt x="1406" y="415"/>
                  </a:lnTo>
                  <a:lnTo>
                    <a:pt x="1396" y="407"/>
                  </a:lnTo>
                  <a:lnTo>
                    <a:pt x="1384" y="399"/>
                  </a:lnTo>
                  <a:lnTo>
                    <a:pt x="1371" y="394"/>
                  </a:lnTo>
                  <a:lnTo>
                    <a:pt x="1358" y="388"/>
                  </a:lnTo>
                  <a:lnTo>
                    <a:pt x="1344" y="384"/>
                  </a:lnTo>
                  <a:lnTo>
                    <a:pt x="1330" y="383"/>
                  </a:lnTo>
                  <a:lnTo>
                    <a:pt x="1315" y="382"/>
                  </a:lnTo>
                  <a:lnTo>
                    <a:pt x="1142" y="382"/>
                  </a:lnTo>
                  <a:lnTo>
                    <a:pt x="1142" y="382"/>
                  </a:lnTo>
                  <a:lnTo>
                    <a:pt x="1125" y="383"/>
                  </a:lnTo>
                  <a:lnTo>
                    <a:pt x="1109" y="386"/>
                  </a:lnTo>
                  <a:lnTo>
                    <a:pt x="1109" y="386"/>
                  </a:lnTo>
                  <a:lnTo>
                    <a:pt x="1117" y="399"/>
                  </a:lnTo>
                  <a:lnTo>
                    <a:pt x="1125" y="413"/>
                  </a:lnTo>
                  <a:lnTo>
                    <a:pt x="1130" y="429"/>
                  </a:lnTo>
                  <a:lnTo>
                    <a:pt x="1135" y="444"/>
                  </a:lnTo>
                  <a:lnTo>
                    <a:pt x="1140" y="459"/>
                  </a:lnTo>
                  <a:lnTo>
                    <a:pt x="1143" y="477"/>
                  </a:lnTo>
                  <a:lnTo>
                    <a:pt x="1144" y="492"/>
                  </a:lnTo>
                  <a:lnTo>
                    <a:pt x="1146" y="509"/>
                  </a:lnTo>
                  <a:lnTo>
                    <a:pt x="1146" y="753"/>
                  </a:lnTo>
                  <a:lnTo>
                    <a:pt x="1146" y="753"/>
                  </a:lnTo>
                  <a:lnTo>
                    <a:pt x="1144" y="777"/>
                  </a:lnTo>
                  <a:lnTo>
                    <a:pt x="1140" y="799"/>
                  </a:lnTo>
                  <a:lnTo>
                    <a:pt x="1135" y="820"/>
                  </a:lnTo>
                  <a:lnTo>
                    <a:pt x="1127" y="841"/>
                  </a:lnTo>
                  <a:lnTo>
                    <a:pt x="1118" y="862"/>
                  </a:lnTo>
                  <a:lnTo>
                    <a:pt x="1106" y="881"/>
                  </a:lnTo>
                  <a:lnTo>
                    <a:pt x="1092" y="899"/>
                  </a:lnTo>
                  <a:lnTo>
                    <a:pt x="1077" y="916"/>
                  </a:lnTo>
                  <a:lnTo>
                    <a:pt x="1077" y="916"/>
                  </a:lnTo>
                  <a:close/>
                  <a:moveTo>
                    <a:pt x="826" y="0"/>
                  </a:moveTo>
                  <a:lnTo>
                    <a:pt x="826" y="0"/>
                  </a:lnTo>
                  <a:lnTo>
                    <a:pt x="841" y="1"/>
                  </a:lnTo>
                  <a:lnTo>
                    <a:pt x="859" y="4"/>
                  </a:lnTo>
                  <a:lnTo>
                    <a:pt x="873" y="8"/>
                  </a:lnTo>
                  <a:lnTo>
                    <a:pt x="889" y="13"/>
                  </a:lnTo>
                  <a:lnTo>
                    <a:pt x="903" y="20"/>
                  </a:lnTo>
                  <a:lnTo>
                    <a:pt x="916" y="28"/>
                  </a:lnTo>
                  <a:lnTo>
                    <a:pt x="928" y="37"/>
                  </a:lnTo>
                  <a:lnTo>
                    <a:pt x="940" y="47"/>
                  </a:lnTo>
                  <a:lnTo>
                    <a:pt x="951" y="59"/>
                  </a:lnTo>
                  <a:lnTo>
                    <a:pt x="960" y="72"/>
                  </a:lnTo>
                  <a:lnTo>
                    <a:pt x="968" y="86"/>
                  </a:lnTo>
                  <a:lnTo>
                    <a:pt x="976" y="100"/>
                  </a:lnTo>
                  <a:lnTo>
                    <a:pt x="981" y="115"/>
                  </a:lnTo>
                  <a:lnTo>
                    <a:pt x="985" y="130"/>
                  </a:lnTo>
                  <a:lnTo>
                    <a:pt x="988" y="146"/>
                  </a:lnTo>
                  <a:lnTo>
                    <a:pt x="988" y="163"/>
                  </a:lnTo>
                  <a:lnTo>
                    <a:pt x="988" y="163"/>
                  </a:lnTo>
                  <a:lnTo>
                    <a:pt x="988" y="179"/>
                  </a:lnTo>
                  <a:lnTo>
                    <a:pt x="985" y="196"/>
                  </a:lnTo>
                  <a:lnTo>
                    <a:pt x="981" y="212"/>
                  </a:lnTo>
                  <a:lnTo>
                    <a:pt x="976" y="226"/>
                  </a:lnTo>
                  <a:lnTo>
                    <a:pt x="968" y="241"/>
                  </a:lnTo>
                  <a:lnTo>
                    <a:pt x="960" y="254"/>
                  </a:lnTo>
                  <a:lnTo>
                    <a:pt x="951" y="266"/>
                  </a:lnTo>
                  <a:lnTo>
                    <a:pt x="940" y="278"/>
                  </a:lnTo>
                  <a:lnTo>
                    <a:pt x="928" y="288"/>
                  </a:lnTo>
                  <a:lnTo>
                    <a:pt x="916" y="298"/>
                  </a:lnTo>
                  <a:lnTo>
                    <a:pt x="903" y="307"/>
                  </a:lnTo>
                  <a:lnTo>
                    <a:pt x="889" y="313"/>
                  </a:lnTo>
                  <a:lnTo>
                    <a:pt x="873" y="319"/>
                  </a:lnTo>
                  <a:lnTo>
                    <a:pt x="859" y="323"/>
                  </a:lnTo>
                  <a:lnTo>
                    <a:pt x="841" y="325"/>
                  </a:lnTo>
                  <a:lnTo>
                    <a:pt x="826" y="325"/>
                  </a:lnTo>
                  <a:lnTo>
                    <a:pt x="826" y="325"/>
                  </a:lnTo>
                  <a:lnTo>
                    <a:pt x="809" y="325"/>
                  </a:lnTo>
                  <a:lnTo>
                    <a:pt x="793" y="323"/>
                  </a:lnTo>
                  <a:lnTo>
                    <a:pt x="777" y="319"/>
                  </a:lnTo>
                  <a:lnTo>
                    <a:pt x="762" y="313"/>
                  </a:lnTo>
                  <a:lnTo>
                    <a:pt x="748" y="307"/>
                  </a:lnTo>
                  <a:lnTo>
                    <a:pt x="735" y="298"/>
                  </a:lnTo>
                  <a:lnTo>
                    <a:pt x="722" y="288"/>
                  </a:lnTo>
                  <a:lnTo>
                    <a:pt x="710" y="278"/>
                  </a:lnTo>
                  <a:lnTo>
                    <a:pt x="699" y="266"/>
                  </a:lnTo>
                  <a:lnTo>
                    <a:pt x="690" y="254"/>
                  </a:lnTo>
                  <a:lnTo>
                    <a:pt x="682" y="241"/>
                  </a:lnTo>
                  <a:lnTo>
                    <a:pt x="676" y="226"/>
                  </a:lnTo>
                  <a:lnTo>
                    <a:pt x="670" y="212"/>
                  </a:lnTo>
                  <a:lnTo>
                    <a:pt x="666" y="196"/>
                  </a:lnTo>
                  <a:lnTo>
                    <a:pt x="664" y="179"/>
                  </a:lnTo>
                  <a:lnTo>
                    <a:pt x="662" y="163"/>
                  </a:lnTo>
                  <a:lnTo>
                    <a:pt x="662" y="163"/>
                  </a:lnTo>
                  <a:lnTo>
                    <a:pt x="664" y="146"/>
                  </a:lnTo>
                  <a:lnTo>
                    <a:pt x="666" y="130"/>
                  </a:lnTo>
                  <a:lnTo>
                    <a:pt x="670" y="115"/>
                  </a:lnTo>
                  <a:lnTo>
                    <a:pt x="676" y="100"/>
                  </a:lnTo>
                  <a:lnTo>
                    <a:pt x="682" y="86"/>
                  </a:lnTo>
                  <a:lnTo>
                    <a:pt x="690" y="72"/>
                  </a:lnTo>
                  <a:lnTo>
                    <a:pt x="699" y="59"/>
                  </a:lnTo>
                  <a:lnTo>
                    <a:pt x="710" y="47"/>
                  </a:lnTo>
                  <a:lnTo>
                    <a:pt x="722" y="37"/>
                  </a:lnTo>
                  <a:lnTo>
                    <a:pt x="735" y="28"/>
                  </a:lnTo>
                  <a:lnTo>
                    <a:pt x="748" y="20"/>
                  </a:lnTo>
                  <a:lnTo>
                    <a:pt x="762" y="13"/>
                  </a:lnTo>
                  <a:lnTo>
                    <a:pt x="777" y="8"/>
                  </a:lnTo>
                  <a:lnTo>
                    <a:pt x="793" y="4"/>
                  </a:lnTo>
                  <a:lnTo>
                    <a:pt x="809" y="1"/>
                  </a:lnTo>
                  <a:lnTo>
                    <a:pt x="826" y="0"/>
                  </a:lnTo>
                  <a:lnTo>
                    <a:pt x="826" y="0"/>
                  </a:lnTo>
                  <a:close/>
                  <a:moveTo>
                    <a:pt x="986" y="890"/>
                  </a:moveTo>
                  <a:lnTo>
                    <a:pt x="986" y="890"/>
                  </a:lnTo>
                  <a:lnTo>
                    <a:pt x="1003" y="879"/>
                  </a:lnTo>
                  <a:lnTo>
                    <a:pt x="1021" y="866"/>
                  </a:lnTo>
                  <a:lnTo>
                    <a:pt x="1035" y="852"/>
                  </a:lnTo>
                  <a:lnTo>
                    <a:pt x="1047" y="835"/>
                  </a:lnTo>
                  <a:lnTo>
                    <a:pt x="1057" y="816"/>
                  </a:lnTo>
                  <a:lnTo>
                    <a:pt x="1064" y="796"/>
                  </a:lnTo>
                  <a:lnTo>
                    <a:pt x="1069" y="775"/>
                  </a:lnTo>
                  <a:lnTo>
                    <a:pt x="1071" y="764"/>
                  </a:lnTo>
                  <a:lnTo>
                    <a:pt x="1071" y="753"/>
                  </a:lnTo>
                  <a:lnTo>
                    <a:pt x="1071" y="509"/>
                  </a:lnTo>
                  <a:lnTo>
                    <a:pt x="1071" y="509"/>
                  </a:lnTo>
                  <a:lnTo>
                    <a:pt x="1069" y="494"/>
                  </a:lnTo>
                  <a:lnTo>
                    <a:pt x="1067" y="479"/>
                  </a:lnTo>
                  <a:lnTo>
                    <a:pt x="1064" y="465"/>
                  </a:lnTo>
                  <a:lnTo>
                    <a:pt x="1059" y="450"/>
                  </a:lnTo>
                  <a:lnTo>
                    <a:pt x="1052" y="437"/>
                  </a:lnTo>
                  <a:lnTo>
                    <a:pt x="1044" y="424"/>
                  </a:lnTo>
                  <a:lnTo>
                    <a:pt x="1035" y="412"/>
                  </a:lnTo>
                  <a:lnTo>
                    <a:pt x="1024" y="400"/>
                  </a:lnTo>
                  <a:lnTo>
                    <a:pt x="1014" y="391"/>
                  </a:lnTo>
                  <a:lnTo>
                    <a:pt x="1002" y="382"/>
                  </a:lnTo>
                  <a:lnTo>
                    <a:pt x="989" y="374"/>
                  </a:lnTo>
                  <a:lnTo>
                    <a:pt x="976" y="367"/>
                  </a:lnTo>
                  <a:lnTo>
                    <a:pt x="961" y="362"/>
                  </a:lnTo>
                  <a:lnTo>
                    <a:pt x="947" y="358"/>
                  </a:lnTo>
                  <a:lnTo>
                    <a:pt x="931" y="357"/>
                  </a:lnTo>
                  <a:lnTo>
                    <a:pt x="916" y="355"/>
                  </a:lnTo>
                  <a:lnTo>
                    <a:pt x="726" y="355"/>
                  </a:lnTo>
                  <a:lnTo>
                    <a:pt x="726" y="355"/>
                  </a:lnTo>
                  <a:lnTo>
                    <a:pt x="710" y="357"/>
                  </a:lnTo>
                  <a:lnTo>
                    <a:pt x="694" y="358"/>
                  </a:lnTo>
                  <a:lnTo>
                    <a:pt x="679" y="362"/>
                  </a:lnTo>
                  <a:lnTo>
                    <a:pt x="665" y="367"/>
                  </a:lnTo>
                  <a:lnTo>
                    <a:pt x="652" y="374"/>
                  </a:lnTo>
                  <a:lnTo>
                    <a:pt x="640" y="382"/>
                  </a:lnTo>
                  <a:lnTo>
                    <a:pt x="627" y="391"/>
                  </a:lnTo>
                  <a:lnTo>
                    <a:pt x="616" y="400"/>
                  </a:lnTo>
                  <a:lnTo>
                    <a:pt x="607" y="412"/>
                  </a:lnTo>
                  <a:lnTo>
                    <a:pt x="598" y="424"/>
                  </a:lnTo>
                  <a:lnTo>
                    <a:pt x="590" y="437"/>
                  </a:lnTo>
                  <a:lnTo>
                    <a:pt x="583" y="450"/>
                  </a:lnTo>
                  <a:lnTo>
                    <a:pt x="578" y="465"/>
                  </a:lnTo>
                  <a:lnTo>
                    <a:pt x="574" y="479"/>
                  </a:lnTo>
                  <a:lnTo>
                    <a:pt x="571" y="494"/>
                  </a:lnTo>
                  <a:lnTo>
                    <a:pt x="571" y="509"/>
                  </a:lnTo>
                  <a:lnTo>
                    <a:pt x="571" y="753"/>
                  </a:lnTo>
                  <a:lnTo>
                    <a:pt x="571" y="753"/>
                  </a:lnTo>
                  <a:lnTo>
                    <a:pt x="571" y="764"/>
                  </a:lnTo>
                  <a:lnTo>
                    <a:pt x="573" y="775"/>
                  </a:lnTo>
                  <a:lnTo>
                    <a:pt x="577" y="796"/>
                  </a:lnTo>
                  <a:lnTo>
                    <a:pt x="585" y="816"/>
                  </a:lnTo>
                  <a:lnTo>
                    <a:pt x="594" y="835"/>
                  </a:lnTo>
                  <a:lnTo>
                    <a:pt x="607" y="850"/>
                  </a:lnTo>
                  <a:lnTo>
                    <a:pt x="620" y="866"/>
                  </a:lnTo>
                  <a:lnTo>
                    <a:pt x="637" y="879"/>
                  </a:lnTo>
                  <a:lnTo>
                    <a:pt x="654" y="890"/>
                  </a:lnTo>
                  <a:lnTo>
                    <a:pt x="654" y="1365"/>
                  </a:lnTo>
                  <a:lnTo>
                    <a:pt x="780" y="1365"/>
                  </a:lnTo>
                  <a:lnTo>
                    <a:pt x="826" y="1065"/>
                  </a:lnTo>
                  <a:lnTo>
                    <a:pt x="872" y="1365"/>
                  </a:lnTo>
                  <a:lnTo>
                    <a:pt x="986" y="1365"/>
                  </a:lnTo>
                  <a:lnTo>
                    <a:pt x="986" y="890"/>
                  </a:lnTo>
                  <a:lnTo>
                    <a:pt x="986" y="890"/>
                  </a:lnTo>
                  <a:close/>
                  <a:moveTo>
                    <a:pt x="566" y="916"/>
                  </a:moveTo>
                  <a:lnTo>
                    <a:pt x="566" y="916"/>
                  </a:lnTo>
                  <a:lnTo>
                    <a:pt x="552" y="899"/>
                  </a:lnTo>
                  <a:lnTo>
                    <a:pt x="537" y="881"/>
                  </a:lnTo>
                  <a:lnTo>
                    <a:pt x="525" y="862"/>
                  </a:lnTo>
                  <a:lnTo>
                    <a:pt x="516" y="841"/>
                  </a:lnTo>
                  <a:lnTo>
                    <a:pt x="508" y="820"/>
                  </a:lnTo>
                  <a:lnTo>
                    <a:pt x="503" y="799"/>
                  </a:lnTo>
                  <a:lnTo>
                    <a:pt x="499" y="777"/>
                  </a:lnTo>
                  <a:lnTo>
                    <a:pt x="498" y="753"/>
                  </a:lnTo>
                  <a:lnTo>
                    <a:pt x="498" y="509"/>
                  </a:lnTo>
                  <a:lnTo>
                    <a:pt x="498" y="509"/>
                  </a:lnTo>
                  <a:lnTo>
                    <a:pt x="499" y="492"/>
                  </a:lnTo>
                  <a:lnTo>
                    <a:pt x="500" y="477"/>
                  </a:lnTo>
                  <a:lnTo>
                    <a:pt x="503" y="459"/>
                  </a:lnTo>
                  <a:lnTo>
                    <a:pt x="507" y="444"/>
                  </a:lnTo>
                  <a:lnTo>
                    <a:pt x="512" y="429"/>
                  </a:lnTo>
                  <a:lnTo>
                    <a:pt x="519" y="413"/>
                  </a:lnTo>
                  <a:lnTo>
                    <a:pt x="527" y="399"/>
                  </a:lnTo>
                  <a:lnTo>
                    <a:pt x="535" y="386"/>
                  </a:lnTo>
                  <a:lnTo>
                    <a:pt x="535" y="386"/>
                  </a:lnTo>
                  <a:lnTo>
                    <a:pt x="519" y="383"/>
                  </a:lnTo>
                  <a:lnTo>
                    <a:pt x="502" y="382"/>
                  </a:lnTo>
                  <a:lnTo>
                    <a:pt x="328" y="382"/>
                  </a:lnTo>
                  <a:lnTo>
                    <a:pt x="328" y="382"/>
                  </a:lnTo>
                  <a:lnTo>
                    <a:pt x="313" y="383"/>
                  </a:lnTo>
                  <a:lnTo>
                    <a:pt x="299" y="384"/>
                  </a:lnTo>
                  <a:lnTo>
                    <a:pt x="286" y="388"/>
                  </a:lnTo>
                  <a:lnTo>
                    <a:pt x="273" y="394"/>
                  </a:lnTo>
                  <a:lnTo>
                    <a:pt x="259" y="399"/>
                  </a:lnTo>
                  <a:lnTo>
                    <a:pt x="248" y="407"/>
                  </a:lnTo>
                  <a:lnTo>
                    <a:pt x="237" y="415"/>
                  </a:lnTo>
                  <a:lnTo>
                    <a:pt x="226" y="424"/>
                  </a:lnTo>
                  <a:lnTo>
                    <a:pt x="217" y="433"/>
                  </a:lnTo>
                  <a:lnTo>
                    <a:pt x="209" y="445"/>
                  </a:lnTo>
                  <a:lnTo>
                    <a:pt x="203" y="457"/>
                  </a:lnTo>
                  <a:lnTo>
                    <a:pt x="196" y="469"/>
                  </a:lnTo>
                  <a:lnTo>
                    <a:pt x="192" y="482"/>
                  </a:lnTo>
                  <a:lnTo>
                    <a:pt x="188" y="495"/>
                  </a:lnTo>
                  <a:lnTo>
                    <a:pt x="186" y="509"/>
                  </a:lnTo>
                  <a:lnTo>
                    <a:pt x="186" y="524"/>
                  </a:lnTo>
                  <a:lnTo>
                    <a:pt x="186" y="748"/>
                  </a:lnTo>
                  <a:lnTo>
                    <a:pt x="186" y="748"/>
                  </a:lnTo>
                  <a:lnTo>
                    <a:pt x="187" y="768"/>
                  </a:lnTo>
                  <a:lnTo>
                    <a:pt x="191" y="787"/>
                  </a:lnTo>
                  <a:lnTo>
                    <a:pt x="198" y="804"/>
                  </a:lnTo>
                  <a:lnTo>
                    <a:pt x="207" y="822"/>
                  </a:lnTo>
                  <a:lnTo>
                    <a:pt x="217" y="837"/>
                  </a:lnTo>
                  <a:lnTo>
                    <a:pt x="230" y="852"/>
                  </a:lnTo>
                  <a:lnTo>
                    <a:pt x="246" y="864"/>
                  </a:lnTo>
                  <a:lnTo>
                    <a:pt x="262" y="873"/>
                  </a:lnTo>
                  <a:lnTo>
                    <a:pt x="262" y="1310"/>
                  </a:lnTo>
                  <a:lnTo>
                    <a:pt x="377" y="1310"/>
                  </a:lnTo>
                  <a:lnTo>
                    <a:pt x="419" y="1033"/>
                  </a:lnTo>
                  <a:lnTo>
                    <a:pt x="461" y="1310"/>
                  </a:lnTo>
                  <a:lnTo>
                    <a:pt x="566" y="1310"/>
                  </a:lnTo>
                  <a:lnTo>
                    <a:pt x="566" y="916"/>
                  </a:lnTo>
                  <a:close/>
                </a:path>
              </a:pathLst>
            </a:custGeom>
            <a:solidFill>
              <a:srgbClr val="44388A"/>
            </a:solidFill>
            <a:ln>
              <a:solidFill>
                <a:srgbClr val="44388A"/>
              </a:solidFill>
            </a:ln>
          </p:spPr>
          <p:txBody>
            <a:bodyPr vert="horz" wrap="square" lIns="121920" tIns="60960" rIns="121920" bIns="60960" numCol="1" anchor="t" anchorCtr="0" compatLnSpc="1">
              <a:prstTxWarp prst="textNoShape">
                <a:avLst/>
              </a:prstTxWarp>
            </a:bodyPr>
            <a:lstStyle/>
            <a:p>
              <a:pPr defTabSz="1219140">
                <a:defRPr/>
              </a:pPr>
              <a:endParaRPr lang="fr-FR" sz="1600"/>
            </a:p>
          </p:txBody>
        </p:sp>
        <p:sp>
          <p:nvSpPr>
            <p:cNvPr id="79" name="Ellipse 78">
              <a:extLst>
                <a:ext uri="{FF2B5EF4-FFF2-40B4-BE49-F238E27FC236}">
                  <a16:creationId xmlns:a16="http://schemas.microsoft.com/office/drawing/2014/main" id="{05C1A145-4992-38DF-FF24-7D674076BF05}"/>
                </a:ext>
              </a:extLst>
            </p:cNvPr>
            <p:cNvSpPr/>
            <p:nvPr/>
          </p:nvSpPr>
          <p:spPr>
            <a:xfrm>
              <a:off x="7065362" y="5118383"/>
              <a:ext cx="914400" cy="914400"/>
            </a:xfrm>
            <a:prstGeom prst="ellipse">
              <a:avLst/>
            </a:prstGeom>
            <a:noFill/>
            <a:ln>
              <a:solidFill>
                <a:srgbClr val="44388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1333">
                <a:solidFill>
                  <a:srgbClr val="FFFFFF"/>
                </a:solidFill>
                <a:latin typeface="Arial"/>
              </a:endParaRPr>
            </a:p>
          </p:txBody>
        </p:sp>
      </p:grpSp>
      <p:sp>
        <p:nvSpPr>
          <p:cNvPr id="80" name="Google Shape;446;p53">
            <a:extLst>
              <a:ext uri="{FF2B5EF4-FFF2-40B4-BE49-F238E27FC236}">
                <a16:creationId xmlns:a16="http://schemas.microsoft.com/office/drawing/2014/main" id="{1E58469F-5EA1-B448-623F-1B951463843C}"/>
              </a:ext>
            </a:extLst>
          </p:cNvPr>
          <p:cNvSpPr txBox="1"/>
          <p:nvPr/>
        </p:nvSpPr>
        <p:spPr>
          <a:xfrm>
            <a:off x="3687127" y="4389784"/>
            <a:ext cx="2009188" cy="32368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914332">
              <a:buClr>
                <a:srgbClr val="F9F9F9"/>
              </a:buClr>
              <a:buSzPts val="1000"/>
              <a:defRPr/>
            </a:pPr>
            <a:r>
              <a:rPr lang="fr-FR" sz="933" b="1">
                <a:solidFill>
                  <a:srgbClr val="666666"/>
                </a:solidFill>
                <a:latin typeface="Montserrat" pitchFamily="2" charset="77"/>
                <a:ea typeface="Montserrat"/>
                <a:cs typeface="Montserrat"/>
                <a:sym typeface="Montserrat SemiBold"/>
              </a:rPr>
              <a:t>PEOPLE &amp; CULTURE</a:t>
            </a:r>
          </a:p>
        </p:txBody>
      </p:sp>
      <p:sp>
        <p:nvSpPr>
          <p:cNvPr id="81" name="Google Shape;446;p53">
            <a:extLst>
              <a:ext uri="{FF2B5EF4-FFF2-40B4-BE49-F238E27FC236}">
                <a16:creationId xmlns:a16="http://schemas.microsoft.com/office/drawing/2014/main" id="{0508947C-1A80-571D-44AB-3F86865EFB3C}"/>
              </a:ext>
            </a:extLst>
          </p:cNvPr>
          <p:cNvSpPr txBox="1"/>
          <p:nvPr/>
        </p:nvSpPr>
        <p:spPr>
          <a:xfrm>
            <a:off x="3550089" y="5098019"/>
            <a:ext cx="2283264" cy="33867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914332">
              <a:buClr>
                <a:srgbClr val="F9F9F9"/>
              </a:buClr>
              <a:buSzPts val="1000"/>
              <a:defRPr/>
            </a:pPr>
            <a:r>
              <a:rPr lang="fr-FR" sz="933" b="1">
                <a:solidFill>
                  <a:srgbClr val="666666"/>
                </a:solidFill>
                <a:latin typeface="Montserrat" pitchFamily="2" charset="77"/>
                <a:ea typeface="Montserrat"/>
                <a:cs typeface="Montserrat"/>
                <a:sym typeface="Montserrat SemiBold"/>
              </a:rPr>
              <a:t>INTELLIGENCE, DATA &amp; ORGANISATION</a:t>
            </a:r>
          </a:p>
        </p:txBody>
      </p:sp>
      <p:sp>
        <p:nvSpPr>
          <p:cNvPr id="83" name="Rectangle 82">
            <a:extLst>
              <a:ext uri="{FF2B5EF4-FFF2-40B4-BE49-F238E27FC236}">
                <a16:creationId xmlns:a16="http://schemas.microsoft.com/office/drawing/2014/main" id="{CE3D3161-58F5-A8C5-785A-17922B4B28ED}"/>
              </a:ext>
            </a:extLst>
          </p:cNvPr>
          <p:cNvSpPr/>
          <p:nvPr/>
        </p:nvSpPr>
        <p:spPr>
          <a:xfrm>
            <a:off x="6613527" y="4389784"/>
            <a:ext cx="4814378" cy="266553"/>
          </a:xfrm>
          <a:prstGeom prst="rect">
            <a:avLst/>
          </a:prstGeom>
          <a:solidFill>
            <a:schemeClr val="accent1">
              <a:lumMod val="20000"/>
              <a:lumOff val="80000"/>
              <a:alpha val="46000"/>
            </a:schemeClr>
          </a:solidFill>
          <a:ln>
            <a:solidFill>
              <a:srgbClr val="E3E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1600">
              <a:solidFill>
                <a:srgbClr val="FFFFFF"/>
              </a:solidFill>
              <a:latin typeface="Arial"/>
            </a:endParaRPr>
          </a:p>
        </p:txBody>
      </p:sp>
      <p:sp>
        <p:nvSpPr>
          <p:cNvPr id="84" name="Rectangle 83">
            <a:extLst>
              <a:ext uri="{FF2B5EF4-FFF2-40B4-BE49-F238E27FC236}">
                <a16:creationId xmlns:a16="http://schemas.microsoft.com/office/drawing/2014/main" id="{5F7E78C9-3CA1-2554-7324-926B816A4297}"/>
              </a:ext>
            </a:extLst>
          </p:cNvPr>
          <p:cNvSpPr/>
          <p:nvPr/>
        </p:nvSpPr>
        <p:spPr>
          <a:xfrm>
            <a:off x="6613528" y="5098678"/>
            <a:ext cx="4814378" cy="266553"/>
          </a:xfrm>
          <a:prstGeom prst="rect">
            <a:avLst/>
          </a:prstGeom>
          <a:solidFill>
            <a:schemeClr val="accent1">
              <a:lumMod val="20000"/>
              <a:lumOff val="80000"/>
              <a:alpha val="46000"/>
            </a:schemeClr>
          </a:solidFill>
          <a:ln>
            <a:solidFill>
              <a:srgbClr val="E3E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1600">
              <a:solidFill>
                <a:srgbClr val="FFFFFF"/>
              </a:solidFill>
              <a:latin typeface="Arial"/>
            </a:endParaRPr>
          </a:p>
        </p:txBody>
      </p:sp>
      <p:cxnSp>
        <p:nvCxnSpPr>
          <p:cNvPr id="100" name="Connecteur droit 99">
            <a:extLst>
              <a:ext uri="{FF2B5EF4-FFF2-40B4-BE49-F238E27FC236}">
                <a16:creationId xmlns:a16="http://schemas.microsoft.com/office/drawing/2014/main" id="{D25199C2-1573-9353-FB55-280805D6FC85}"/>
              </a:ext>
            </a:extLst>
          </p:cNvPr>
          <p:cNvCxnSpPr>
            <a:cxnSpLocks/>
          </p:cNvCxnSpPr>
          <p:nvPr/>
        </p:nvCxnSpPr>
        <p:spPr>
          <a:xfrm>
            <a:off x="3296764" y="3129535"/>
            <a:ext cx="0" cy="331200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Ellipse 101">
            <a:extLst>
              <a:ext uri="{FF2B5EF4-FFF2-40B4-BE49-F238E27FC236}">
                <a16:creationId xmlns:a16="http://schemas.microsoft.com/office/drawing/2014/main" id="{40750017-943A-A139-CCAF-5E45382B7A04}"/>
              </a:ext>
            </a:extLst>
          </p:cNvPr>
          <p:cNvSpPr/>
          <p:nvPr/>
        </p:nvSpPr>
        <p:spPr>
          <a:xfrm>
            <a:off x="778422" y="3457718"/>
            <a:ext cx="1215715" cy="1178218"/>
          </a:xfrm>
          <a:prstGeom prst="ellipse">
            <a:avLst/>
          </a:prstGeom>
          <a:solidFill>
            <a:schemeClr val="bg1"/>
          </a:solidFill>
          <a:ln w="571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a:p>
        </p:txBody>
      </p:sp>
      <p:sp>
        <p:nvSpPr>
          <p:cNvPr id="103" name="Ellipse 102">
            <a:extLst>
              <a:ext uri="{FF2B5EF4-FFF2-40B4-BE49-F238E27FC236}">
                <a16:creationId xmlns:a16="http://schemas.microsoft.com/office/drawing/2014/main" id="{6A0952E1-5649-028A-9D22-1A2BA889F30C}"/>
              </a:ext>
            </a:extLst>
          </p:cNvPr>
          <p:cNvSpPr/>
          <p:nvPr/>
        </p:nvSpPr>
        <p:spPr>
          <a:xfrm>
            <a:off x="865259" y="3541876"/>
            <a:ext cx="1042041" cy="1009901"/>
          </a:xfrm>
          <a:prstGeom prst="ellips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r>
              <a:rPr lang="fr-FR" sz="2400">
                <a:solidFill>
                  <a:schemeClr val="bg1"/>
                </a:solidFill>
                <a:latin typeface="Arial Black"/>
              </a:rPr>
              <a:t>250</a:t>
            </a:r>
            <a:endParaRPr lang="fr-FR" sz="1600">
              <a:solidFill>
                <a:schemeClr val="bg1"/>
              </a:solidFill>
              <a:latin typeface="Arial Black" panose="020B0A04020102020204" pitchFamily="34" charset="0"/>
            </a:endParaRPr>
          </a:p>
          <a:p>
            <a:pPr algn="ctr"/>
            <a:r>
              <a:rPr lang="fr-FR" sz="1100" err="1"/>
              <a:t>Collabora-teurs</a:t>
            </a:r>
            <a:endParaRPr lang="fr-FR" sz="1100">
              <a:cs typeface="Arial"/>
            </a:endParaRPr>
          </a:p>
        </p:txBody>
      </p:sp>
      <p:sp>
        <p:nvSpPr>
          <p:cNvPr id="104" name="Ellipse 103">
            <a:extLst>
              <a:ext uri="{FF2B5EF4-FFF2-40B4-BE49-F238E27FC236}">
                <a16:creationId xmlns:a16="http://schemas.microsoft.com/office/drawing/2014/main" id="{1F333425-16A8-99E6-59B0-1BB4957420C4}"/>
              </a:ext>
            </a:extLst>
          </p:cNvPr>
          <p:cNvSpPr/>
          <p:nvPr/>
        </p:nvSpPr>
        <p:spPr>
          <a:xfrm>
            <a:off x="1758727" y="4230069"/>
            <a:ext cx="1215715" cy="1178218"/>
          </a:xfrm>
          <a:prstGeom prst="ellipse">
            <a:avLst/>
          </a:prstGeom>
          <a:solidFill>
            <a:schemeClr val="bg1"/>
          </a:solidFill>
          <a:ln w="571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a:p>
        </p:txBody>
      </p:sp>
      <p:sp>
        <p:nvSpPr>
          <p:cNvPr id="105" name="Ellipse 104">
            <a:extLst>
              <a:ext uri="{FF2B5EF4-FFF2-40B4-BE49-F238E27FC236}">
                <a16:creationId xmlns:a16="http://schemas.microsoft.com/office/drawing/2014/main" id="{8383CE85-A910-B611-93D0-FCC24DEAF4DA}"/>
              </a:ext>
            </a:extLst>
          </p:cNvPr>
          <p:cNvSpPr/>
          <p:nvPr/>
        </p:nvSpPr>
        <p:spPr>
          <a:xfrm>
            <a:off x="1845564" y="4314227"/>
            <a:ext cx="1042041" cy="1009901"/>
          </a:xfrm>
          <a:prstGeom prst="ellips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45720" rIns="36000" bIns="45720" rtlCol="0" anchor="ctr"/>
          <a:lstStyle/>
          <a:p>
            <a:pPr algn="ctr"/>
            <a:r>
              <a:rPr lang="fr-FR" sz="2400">
                <a:latin typeface="Arial Black"/>
              </a:rPr>
              <a:t>34</a:t>
            </a:r>
            <a:endParaRPr lang="fr-FR" sz="2400">
              <a:latin typeface="Arial Black" panose="020B0A04020102020204" pitchFamily="34" charset="0"/>
            </a:endParaRPr>
          </a:p>
          <a:p>
            <a:pPr algn="ctr"/>
            <a:r>
              <a:rPr lang="fr-FR" sz="1100"/>
              <a:t>M€ de CA</a:t>
            </a:r>
            <a:endParaRPr lang="fr-FR" sz="1100">
              <a:cs typeface="Arial"/>
            </a:endParaRPr>
          </a:p>
        </p:txBody>
      </p:sp>
      <p:sp>
        <p:nvSpPr>
          <p:cNvPr id="106" name="Ellipse 105">
            <a:extLst>
              <a:ext uri="{FF2B5EF4-FFF2-40B4-BE49-F238E27FC236}">
                <a16:creationId xmlns:a16="http://schemas.microsoft.com/office/drawing/2014/main" id="{DF362A5A-096E-9D29-E15A-3CBBBB9A6175}"/>
              </a:ext>
            </a:extLst>
          </p:cNvPr>
          <p:cNvSpPr/>
          <p:nvPr/>
        </p:nvSpPr>
        <p:spPr>
          <a:xfrm>
            <a:off x="773281" y="5057312"/>
            <a:ext cx="1215714" cy="1178218"/>
          </a:xfrm>
          <a:prstGeom prst="ellipse">
            <a:avLst/>
          </a:prstGeom>
          <a:solidFill>
            <a:schemeClr val="bg1"/>
          </a:solidFill>
          <a:ln w="571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a:p>
        </p:txBody>
      </p:sp>
      <p:sp>
        <p:nvSpPr>
          <p:cNvPr id="107" name="Ellipse 106">
            <a:extLst>
              <a:ext uri="{FF2B5EF4-FFF2-40B4-BE49-F238E27FC236}">
                <a16:creationId xmlns:a16="http://schemas.microsoft.com/office/drawing/2014/main" id="{FB1FA702-C903-4597-40FE-24BCA1E0211D}"/>
              </a:ext>
            </a:extLst>
          </p:cNvPr>
          <p:cNvSpPr/>
          <p:nvPr/>
        </p:nvSpPr>
        <p:spPr>
          <a:xfrm>
            <a:off x="860117" y="5141470"/>
            <a:ext cx="1042041" cy="1009901"/>
          </a:xfrm>
          <a:prstGeom prst="ellips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45720" rIns="36000" bIns="45720" rtlCol="0" anchor="ctr"/>
          <a:lstStyle/>
          <a:p>
            <a:pPr algn="ctr"/>
            <a:r>
              <a:rPr lang="fr-FR" sz="2400">
                <a:latin typeface="Arial Black"/>
              </a:rPr>
              <a:t>31</a:t>
            </a:r>
            <a:endParaRPr lang="fr-FR" sz="2400">
              <a:latin typeface="Arial Black" panose="020B0A04020102020204" pitchFamily="34" charset="0"/>
            </a:endParaRPr>
          </a:p>
          <a:p>
            <a:pPr algn="ctr"/>
            <a:r>
              <a:rPr lang="fr-FR" sz="1100"/>
              <a:t>Moyenne d’âge</a:t>
            </a:r>
            <a:endParaRPr lang="fr-FR" sz="1100">
              <a:cs typeface="Arial"/>
            </a:endParaRPr>
          </a:p>
        </p:txBody>
      </p:sp>
      <p:sp>
        <p:nvSpPr>
          <p:cNvPr id="108" name="Google Shape;430;p58">
            <a:extLst>
              <a:ext uri="{FF2B5EF4-FFF2-40B4-BE49-F238E27FC236}">
                <a16:creationId xmlns:a16="http://schemas.microsoft.com/office/drawing/2014/main" id="{DD3AE652-760D-4994-074B-2ECB8339E0BF}"/>
              </a:ext>
            </a:extLst>
          </p:cNvPr>
          <p:cNvSpPr txBox="1"/>
          <p:nvPr/>
        </p:nvSpPr>
        <p:spPr>
          <a:xfrm>
            <a:off x="565667" y="3086154"/>
            <a:ext cx="2577234" cy="467435"/>
          </a:xfrm>
          <a:prstGeom prst="rect">
            <a:avLst/>
          </a:prstGeom>
          <a:noFill/>
          <a:ln>
            <a:noFill/>
          </a:ln>
        </p:spPr>
        <p:txBody>
          <a:bodyPr spcFirstLastPara="1" wrap="square" lIns="91425" tIns="45700" rIns="91425" bIns="45700" anchor="t" anchorCtr="0">
            <a:noAutofit/>
          </a:bodyPr>
          <a:lstStyle/>
          <a:p>
            <a:pPr>
              <a:buClr>
                <a:srgbClr val="000000"/>
              </a:buClr>
              <a:defRPr/>
            </a:pPr>
            <a:r>
              <a:rPr lang="fr-FR" b="1">
                <a:solidFill>
                  <a:srgbClr val="44388A"/>
                </a:solidFill>
                <a:latin typeface="Montserrat" panose="00000500000000000000" pitchFamily="2" charset="0"/>
                <a:sym typeface="Montserrat"/>
              </a:rPr>
              <a:t>3 CHIFFRES CLES</a:t>
            </a:r>
          </a:p>
          <a:p>
            <a:pPr>
              <a:buClr>
                <a:srgbClr val="000000"/>
              </a:buClr>
              <a:buFont typeface="Arial"/>
              <a:buNone/>
              <a:defRPr/>
            </a:pPr>
            <a:endParaRPr lang="fr-FR" b="1">
              <a:solidFill>
                <a:srgbClr val="0078D2"/>
              </a:solidFill>
              <a:latin typeface="Montserrat" panose="00000500000000000000" pitchFamily="2" charset="0"/>
              <a:ea typeface="Montserrat"/>
              <a:cs typeface="Montserrat"/>
              <a:sym typeface="Montserrat"/>
            </a:endParaRPr>
          </a:p>
          <a:p>
            <a:pPr>
              <a:buClr>
                <a:srgbClr val="000000"/>
              </a:buClr>
              <a:buFont typeface="Arial"/>
              <a:buNone/>
              <a:defRPr/>
            </a:pPr>
            <a:endParaRPr lang="fr-FR" sz="1100" b="1">
              <a:solidFill>
                <a:srgbClr val="0078D2"/>
              </a:solidFill>
              <a:latin typeface="Montserrat" panose="00000500000000000000" pitchFamily="2" charset="0"/>
              <a:ea typeface="Montserrat"/>
              <a:cs typeface="Montserrat"/>
              <a:sym typeface="Montserrat"/>
            </a:endParaRPr>
          </a:p>
        </p:txBody>
      </p:sp>
      <p:sp>
        <p:nvSpPr>
          <p:cNvPr id="109" name="Google Shape;430;p58">
            <a:extLst>
              <a:ext uri="{FF2B5EF4-FFF2-40B4-BE49-F238E27FC236}">
                <a16:creationId xmlns:a16="http://schemas.microsoft.com/office/drawing/2014/main" id="{471914D3-40EB-2EC1-14B5-BFEF34087744}"/>
              </a:ext>
            </a:extLst>
          </p:cNvPr>
          <p:cNvSpPr txBox="1"/>
          <p:nvPr/>
        </p:nvSpPr>
        <p:spPr>
          <a:xfrm>
            <a:off x="3455207" y="3104590"/>
            <a:ext cx="2987145" cy="727699"/>
          </a:xfrm>
          <a:prstGeom prst="rect">
            <a:avLst/>
          </a:prstGeom>
          <a:noFill/>
          <a:ln>
            <a:noFill/>
          </a:ln>
        </p:spPr>
        <p:txBody>
          <a:bodyPr spcFirstLastPara="1" wrap="square" lIns="91425" tIns="45700" rIns="91425" bIns="45700" anchor="t" anchorCtr="0">
            <a:noAutofit/>
          </a:bodyPr>
          <a:lstStyle/>
          <a:p>
            <a:pPr>
              <a:buClr>
                <a:srgbClr val="000000"/>
              </a:buClr>
              <a:defRPr/>
            </a:pPr>
            <a:r>
              <a:rPr lang="fr-FR" b="1">
                <a:solidFill>
                  <a:srgbClr val="44388A"/>
                </a:solidFill>
                <a:latin typeface="Montserrat" panose="00000500000000000000" pitchFamily="2" charset="0"/>
                <a:sym typeface="Montserrat"/>
              </a:rPr>
              <a:t>NOS OFFRES ET TYPES DE PRESTATION</a:t>
            </a:r>
          </a:p>
          <a:p>
            <a:pPr>
              <a:buClr>
                <a:srgbClr val="000000"/>
              </a:buClr>
              <a:buFont typeface="Arial"/>
              <a:buNone/>
              <a:defRPr/>
            </a:pPr>
            <a:endParaRPr lang="fr-FR" b="1">
              <a:solidFill>
                <a:srgbClr val="0078D2"/>
              </a:solidFill>
              <a:latin typeface="Montserrat" panose="00000500000000000000" pitchFamily="2" charset="0"/>
              <a:ea typeface="Montserrat"/>
              <a:cs typeface="Montserrat"/>
              <a:sym typeface="Montserrat"/>
            </a:endParaRPr>
          </a:p>
          <a:p>
            <a:pPr>
              <a:buClr>
                <a:srgbClr val="000000"/>
              </a:buClr>
              <a:buFont typeface="Arial"/>
              <a:buNone/>
              <a:defRPr/>
            </a:pPr>
            <a:endParaRPr lang="fr-FR" sz="1100" b="1">
              <a:solidFill>
                <a:srgbClr val="0078D2"/>
              </a:solidFill>
              <a:latin typeface="Montserrat" panose="00000500000000000000" pitchFamily="2" charset="0"/>
              <a:ea typeface="Montserrat"/>
              <a:cs typeface="Montserrat"/>
              <a:sym typeface="Montserrat"/>
            </a:endParaRPr>
          </a:p>
        </p:txBody>
      </p:sp>
      <p:sp>
        <p:nvSpPr>
          <p:cNvPr id="3" name="Google Shape;446;p53">
            <a:extLst>
              <a:ext uri="{FF2B5EF4-FFF2-40B4-BE49-F238E27FC236}">
                <a16:creationId xmlns:a16="http://schemas.microsoft.com/office/drawing/2014/main" id="{27F8CC0C-3965-87CE-1E2D-733E1FC398B0}"/>
              </a:ext>
            </a:extLst>
          </p:cNvPr>
          <p:cNvSpPr txBox="1"/>
          <p:nvPr/>
        </p:nvSpPr>
        <p:spPr>
          <a:xfrm>
            <a:off x="3677543" y="5821245"/>
            <a:ext cx="2028356" cy="323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914332">
              <a:buClr>
                <a:srgbClr val="F9F9F9"/>
              </a:buClr>
              <a:buSzPts val="1000"/>
              <a:defRPr/>
            </a:pPr>
            <a:r>
              <a:rPr lang="fr-FR" sz="933" b="1">
                <a:solidFill>
                  <a:srgbClr val="666666"/>
                </a:solidFill>
                <a:latin typeface="Montserrat" pitchFamily="2" charset="77"/>
                <a:ea typeface="Montserrat"/>
                <a:cs typeface="Montserrat"/>
                <a:sym typeface="Montserrat SemiBold"/>
              </a:rPr>
              <a:t>RSE FACTORY</a:t>
            </a:r>
          </a:p>
        </p:txBody>
      </p:sp>
      <p:grpSp>
        <p:nvGrpSpPr>
          <p:cNvPr id="14" name="Groupe 13">
            <a:extLst>
              <a:ext uri="{FF2B5EF4-FFF2-40B4-BE49-F238E27FC236}">
                <a16:creationId xmlns:a16="http://schemas.microsoft.com/office/drawing/2014/main" id="{B71A9C82-8374-9042-976D-0A2EF735C6F1}"/>
              </a:ext>
            </a:extLst>
          </p:cNvPr>
          <p:cNvGrpSpPr/>
          <p:nvPr/>
        </p:nvGrpSpPr>
        <p:grpSpPr>
          <a:xfrm>
            <a:off x="6052483" y="5743322"/>
            <a:ext cx="457157" cy="457157"/>
            <a:chOff x="6151098" y="6177913"/>
            <a:chExt cx="457157" cy="457157"/>
          </a:xfrm>
        </p:grpSpPr>
        <p:sp>
          <p:nvSpPr>
            <p:cNvPr id="5" name="Ellipse 4">
              <a:extLst>
                <a:ext uri="{FF2B5EF4-FFF2-40B4-BE49-F238E27FC236}">
                  <a16:creationId xmlns:a16="http://schemas.microsoft.com/office/drawing/2014/main" id="{4EECC8A0-6027-18F3-1A73-0F8F6C21AADE}"/>
                </a:ext>
              </a:extLst>
            </p:cNvPr>
            <p:cNvSpPr/>
            <p:nvPr/>
          </p:nvSpPr>
          <p:spPr>
            <a:xfrm>
              <a:off x="6151098" y="6177913"/>
              <a:ext cx="457157" cy="457157"/>
            </a:xfrm>
            <a:prstGeom prst="ellipse">
              <a:avLst/>
            </a:prstGeom>
            <a:noFill/>
            <a:ln>
              <a:solidFill>
                <a:srgbClr val="44388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1333">
                <a:solidFill>
                  <a:srgbClr val="FFFFFF"/>
                </a:solidFill>
                <a:latin typeface="Arial"/>
              </a:endParaRPr>
            </a:p>
          </p:txBody>
        </p:sp>
        <p:pic>
          <p:nvPicPr>
            <p:cNvPr id="8" name="Graphique 7" descr="Aspiration avec un remplissage uni">
              <a:extLst>
                <a:ext uri="{FF2B5EF4-FFF2-40B4-BE49-F238E27FC236}">
                  <a16:creationId xmlns:a16="http://schemas.microsoft.com/office/drawing/2014/main" id="{F4597B89-A32F-2916-69EB-64658ABCEFB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205247" y="6244606"/>
              <a:ext cx="323770" cy="323770"/>
            </a:xfrm>
            <a:prstGeom prst="rect">
              <a:avLst/>
            </a:prstGeom>
          </p:spPr>
        </p:pic>
      </p:grpSp>
      <p:sp>
        <p:nvSpPr>
          <p:cNvPr id="9" name="Rectangle 8">
            <a:extLst>
              <a:ext uri="{FF2B5EF4-FFF2-40B4-BE49-F238E27FC236}">
                <a16:creationId xmlns:a16="http://schemas.microsoft.com/office/drawing/2014/main" id="{C8D2514E-E0FE-4C79-3C9E-49DA34216579}"/>
              </a:ext>
            </a:extLst>
          </p:cNvPr>
          <p:cNvSpPr/>
          <p:nvPr/>
        </p:nvSpPr>
        <p:spPr>
          <a:xfrm>
            <a:off x="6613527" y="5830315"/>
            <a:ext cx="4814378" cy="266553"/>
          </a:xfrm>
          <a:prstGeom prst="rect">
            <a:avLst/>
          </a:prstGeom>
          <a:solidFill>
            <a:schemeClr val="accent1">
              <a:lumMod val="20000"/>
              <a:lumOff val="80000"/>
              <a:alpha val="46000"/>
            </a:schemeClr>
          </a:solidFill>
          <a:ln>
            <a:solidFill>
              <a:srgbClr val="E3E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1600">
              <a:solidFill>
                <a:srgbClr val="FFFFFF"/>
              </a:solidFill>
              <a:latin typeface="Arial"/>
            </a:endParaRPr>
          </a:p>
        </p:txBody>
      </p:sp>
      <p:cxnSp>
        <p:nvCxnSpPr>
          <p:cNvPr id="85" name="Connecteur droit avec flèche 84">
            <a:extLst>
              <a:ext uri="{FF2B5EF4-FFF2-40B4-BE49-F238E27FC236}">
                <a16:creationId xmlns:a16="http://schemas.microsoft.com/office/drawing/2014/main" id="{E03A3DEF-E006-8120-CD71-FBB4219AEA22}"/>
              </a:ext>
            </a:extLst>
          </p:cNvPr>
          <p:cNvCxnSpPr>
            <a:cxnSpLocks/>
          </p:cNvCxnSpPr>
          <p:nvPr/>
        </p:nvCxnSpPr>
        <p:spPr>
          <a:xfrm>
            <a:off x="6988828" y="4122847"/>
            <a:ext cx="0" cy="2232000"/>
          </a:xfrm>
          <a:prstGeom prst="straightConnector1">
            <a:avLst/>
          </a:prstGeom>
          <a:ln w="38100">
            <a:solidFill>
              <a:schemeClr val="accent5"/>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Connecteur droit avec flèche 85">
            <a:extLst>
              <a:ext uri="{FF2B5EF4-FFF2-40B4-BE49-F238E27FC236}">
                <a16:creationId xmlns:a16="http://schemas.microsoft.com/office/drawing/2014/main" id="{6FAAF09F-DCBC-800E-6DF2-0F0CB1E91A7C}"/>
              </a:ext>
            </a:extLst>
          </p:cNvPr>
          <p:cNvCxnSpPr>
            <a:cxnSpLocks/>
          </p:cNvCxnSpPr>
          <p:nvPr/>
        </p:nvCxnSpPr>
        <p:spPr>
          <a:xfrm>
            <a:off x="8321084" y="4122847"/>
            <a:ext cx="0" cy="2232000"/>
          </a:xfrm>
          <a:prstGeom prst="straightConnector1">
            <a:avLst/>
          </a:prstGeom>
          <a:ln w="38100">
            <a:solidFill>
              <a:schemeClr val="accent5"/>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7" name="Connecteur droit avec flèche 86">
            <a:extLst>
              <a:ext uri="{FF2B5EF4-FFF2-40B4-BE49-F238E27FC236}">
                <a16:creationId xmlns:a16="http://schemas.microsoft.com/office/drawing/2014/main" id="{706FB435-AB65-ED33-8C57-DDD8E6BF713A}"/>
              </a:ext>
            </a:extLst>
          </p:cNvPr>
          <p:cNvCxnSpPr>
            <a:cxnSpLocks/>
          </p:cNvCxnSpPr>
          <p:nvPr/>
        </p:nvCxnSpPr>
        <p:spPr>
          <a:xfrm>
            <a:off x="10856835" y="4122847"/>
            <a:ext cx="0" cy="2232000"/>
          </a:xfrm>
          <a:prstGeom prst="straightConnector1">
            <a:avLst/>
          </a:prstGeom>
          <a:ln w="38100">
            <a:solidFill>
              <a:schemeClr val="accent5"/>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Connecteur droit avec flèche 87">
            <a:extLst>
              <a:ext uri="{FF2B5EF4-FFF2-40B4-BE49-F238E27FC236}">
                <a16:creationId xmlns:a16="http://schemas.microsoft.com/office/drawing/2014/main" id="{90EC46A2-34DC-A7FB-BAAC-ED9B66E3524A}"/>
              </a:ext>
            </a:extLst>
          </p:cNvPr>
          <p:cNvCxnSpPr>
            <a:cxnSpLocks/>
          </p:cNvCxnSpPr>
          <p:nvPr/>
        </p:nvCxnSpPr>
        <p:spPr>
          <a:xfrm>
            <a:off x="9620743" y="4122847"/>
            <a:ext cx="0" cy="2232000"/>
          </a:xfrm>
          <a:prstGeom prst="straightConnector1">
            <a:avLst/>
          </a:prstGeom>
          <a:ln w="38100">
            <a:solidFill>
              <a:schemeClr val="accent5"/>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87908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EB377E-74CD-1214-ACD3-B4289D738B76}"/>
              </a:ext>
            </a:extLst>
          </p:cNvPr>
          <p:cNvSpPr>
            <a:spLocks noGrp="1"/>
          </p:cNvSpPr>
          <p:nvPr>
            <p:ph type="title"/>
          </p:nvPr>
        </p:nvSpPr>
        <p:spPr/>
        <p:txBody>
          <a:bodyPr/>
          <a:lstStyle/>
          <a:p>
            <a:r>
              <a:rPr lang="fr-FR" sz="2000"/>
              <a:t>ACCOMPAGNER NOS CLIENTS DANS LEURS TRANSFORMATIONS</a:t>
            </a:r>
          </a:p>
        </p:txBody>
      </p:sp>
      <p:sp>
        <p:nvSpPr>
          <p:cNvPr id="5" name="Espace réservé du texte 3">
            <a:extLst>
              <a:ext uri="{FF2B5EF4-FFF2-40B4-BE49-F238E27FC236}">
                <a16:creationId xmlns:a16="http://schemas.microsoft.com/office/drawing/2014/main" id="{C88DD84C-D59C-8104-B45A-8CC3806529C0}"/>
              </a:ext>
            </a:extLst>
          </p:cNvPr>
          <p:cNvSpPr txBox="1">
            <a:spLocks/>
          </p:cNvSpPr>
          <p:nvPr/>
        </p:nvSpPr>
        <p:spPr>
          <a:xfrm>
            <a:off x="478200" y="1833018"/>
            <a:ext cx="2226500" cy="757485"/>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86055" algn="ctr"/>
            <a:endParaRPr lang="fr-FR" sz="1600">
              <a:solidFill>
                <a:srgbClr val="002060"/>
              </a:solidFill>
              <a:latin typeface="Arial Black" panose="020B0A04020102020204" pitchFamily="34" charset="0"/>
            </a:endParaRPr>
          </a:p>
        </p:txBody>
      </p:sp>
      <p:sp>
        <p:nvSpPr>
          <p:cNvPr id="6" name="Espace réservé du texte 3">
            <a:extLst>
              <a:ext uri="{FF2B5EF4-FFF2-40B4-BE49-F238E27FC236}">
                <a16:creationId xmlns:a16="http://schemas.microsoft.com/office/drawing/2014/main" id="{7002B0CB-1EE7-2BBF-B2B6-97053A1F6F46}"/>
              </a:ext>
            </a:extLst>
          </p:cNvPr>
          <p:cNvSpPr txBox="1">
            <a:spLocks/>
          </p:cNvSpPr>
          <p:nvPr/>
        </p:nvSpPr>
        <p:spPr>
          <a:xfrm>
            <a:off x="478200" y="3429000"/>
            <a:ext cx="2226500" cy="757485"/>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86055" algn="ctr"/>
            <a:endParaRPr lang="fr-FR" sz="1600">
              <a:solidFill>
                <a:srgbClr val="002060"/>
              </a:solidFill>
              <a:latin typeface="Arial Black" panose="020B0A04020102020204" pitchFamily="34" charset="0"/>
            </a:endParaRPr>
          </a:p>
        </p:txBody>
      </p:sp>
      <p:sp>
        <p:nvSpPr>
          <p:cNvPr id="7" name="Espace réservé du texte 3">
            <a:extLst>
              <a:ext uri="{FF2B5EF4-FFF2-40B4-BE49-F238E27FC236}">
                <a16:creationId xmlns:a16="http://schemas.microsoft.com/office/drawing/2014/main" id="{7F26C1C5-E908-C0FA-7D40-1F99B690B569}"/>
              </a:ext>
            </a:extLst>
          </p:cNvPr>
          <p:cNvSpPr txBox="1">
            <a:spLocks/>
          </p:cNvSpPr>
          <p:nvPr/>
        </p:nvSpPr>
        <p:spPr>
          <a:xfrm>
            <a:off x="478200" y="5103484"/>
            <a:ext cx="2226500" cy="757485"/>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86055" algn="ctr"/>
            <a:endParaRPr lang="fr-FR" sz="1600">
              <a:solidFill>
                <a:srgbClr val="002060"/>
              </a:solidFill>
              <a:latin typeface="Arial Black" panose="020B0A04020102020204" pitchFamily="34" charset="0"/>
            </a:endParaRPr>
          </a:p>
        </p:txBody>
      </p:sp>
      <p:sp>
        <p:nvSpPr>
          <p:cNvPr id="8" name="Espace réservé du texte 3">
            <a:extLst>
              <a:ext uri="{FF2B5EF4-FFF2-40B4-BE49-F238E27FC236}">
                <a16:creationId xmlns:a16="http://schemas.microsoft.com/office/drawing/2014/main" id="{1B57E1A0-23C5-9F2B-8993-966ABA8EF43B}"/>
              </a:ext>
            </a:extLst>
          </p:cNvPr>
          <p:cNvSpPr txBox="1">
            <a:spLocks/>
          </p:cNvSpPr>
          <p:nvPr/>
        </p:nvSpPr>
        <p:spPr>
          <a:xfrm>
            <a:off x="3955098" y="1754516"/>
            <a:ext cx="3934907" cy="120980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471805" indent="-285750">
              <a:buFont typeface="Arial" panose="020B0604020202020204" pitchFamily="34" charset="0"/>
              <a:buChar char="•"/>
            </a:pPr>
            <a:endParaRPr lang="fr-FR" kern="1200">
              <a:solidFill>
                <a:srgbClr val="002060"/>
              </a:solidFill>
              <a:latin typeface="Montserrat" panose="00000500000000000000" pitchFamily="2" charset="0"/>
              <a:ea typeface="+mn-ea"/>
              <a:cs typeface="+mn-cs"/>
            </a:endParaRPr>
          </a:p>
        </p:txBody>
      </p:sp>
      <p:sp>
        <p:nvSpPr>
          <p:cNvPr id="11" name="Espace réservé du texte 3">
            <a:extLst>
              <a:ext uri="{FF2B5EF4-FFF2-40B4-BE49-F238E27FC236}">
                <a16:creationId xmlns:a16="http://schemas.microsoft.com/office/drawing/2014/main" id="{6C0E384E-A93C-A47E-FEC7-A2D17FA612C2}"/>
              </a:ext>
            </a:extLst>
          </p:cNvPr>
          <p:cNvSpPr txBox="1">
            <a:spLocks/>
          </p:cNvSpPr>
          <p:nvPr/>
        </p:nvSpPr>
        <p:spPr>
          <a:xfrm>
            <a:off x="3752248" y="5103484"/>
            <a:ext cx="6102417" cy="1209808"/>
          </a:xfrm>
          <a:prstGeom prst="rect">
            <a:avLst/>
          </a:prstGeom>
        </p:spPr>
        <p:txBody>
          <a:bodyPr/>
          <a:lstStyle>
            <a:defPPr marR="0" lvl="0" algn="l" rtl="0">
              <a:lnSpc>
                <a:spcPct val="100000"/>
              </a:lnSpc>
              <a:spcBef>
                <a:spcPts val="0"/>
              </a:spcBef>
              <a:spcAft>
                <a:spcPts val="0"/>
              </a:spcAft>
              <a:defRPr/>
            </a:defPPr>
            <a:lvl1pPr marL="471805" indent="-285750" eaLnBrk="1" hangingPunct="1">
              <a:buFont typeface="Arial" panose="020B0604020202020204" pitchFamily="34" charset="0"/>
              <a:buChar char="•"/>
              <a:defRPr kern="1200">
                <a:solidFill>
                  <a:srgbClr val="002060"/>
                </a:solidFill>
                <a:latin typeface="Montserrat" panose="00000500000000000000" pitchFamily="2" charset="0"/>
                <a:ea typeface="+mn-ea"/>
                <a:cs typeface="+mn-cs"/>
              </a:defRPr>
            </a:lvl1pPr>
            <a:lvl2pPr eaLnBrk="1" hangingPunct="1"/>
            <a:lvl3pPr eaLnBrk="1" hangingPunct="1"/>
            <a:lvl4pPr eaLnBrk="1" hangingPunct="1"/>
            <a:lvl5pPr eaLnBrk="1" hangingPunct="1"/>
            <a:lvl6pPr eaLnBrk="1" hangingPunct="1"/>
            <a:lvl7pPr eaLnBrk="1" hangingPunct="1"/>
            <a:lvl8pPr eaLnBrk="1" hangingPunct="1"/>
            <a:lvl9pPr eaLnBrk="1" hangingPunct="1"/>
          </a:lstStyle>
          <a:p>
            <a:endParaRPr lang="fr-FR"/>
          </a:p>
        </p:txBody>
      </p:sp>
      <p:graphicFrame>
        <p:nvGraphicFramePr>
          <p:cNvPr id="13" name="Tableau 13">
            <a:extLst>
              <a:ext uri="{FF2B5EF4-FFF2-40B4-BE49-F238E27FC236}">
                <a16:creationId xmlns:a16="http://schemas.microsoft.com/office/drawing/2014/main" id="{712C7C49-BC0B-D91A-9738-DA6089A85CD6}"/>
              </a:ext>
            </a:extLst>
          </p:cNvPr>
          <p:cNvGraphicFramePr>
            <a:graphicFrameLocks noGrp="1"/>
          </p:cNvGraphicFramePr>
          <p:nvPr>
            <p:extLst>
              <p:ext uri="{D42A27DB-BD31-4B8C-83A1-F6EECF244321}">
                <p14:modId xmlns:p14="http://schemas.microsoft.com/office/powerpoint/2010/main" val="3000065957"/>
              </p:ext>
            </p:extLst>
          </p:nvPr>
        </p:nvGraphicFramePr>
        <p:xfrm>
          <a:off x="346589" y="1078787"/>
          <a:ext cx="11845411" cy="5424478"/>
        </p:xfrm>
        <a:graphic>
          <a:graphicData uri="http://schemas.openxmlformats.org/drawingml/2006/table">
            <a:tbl>
              <a:tblPr firstRow="1" bandRow="1">
                <a:tableStyleId>{5C22544A-7EE6-4342-B048-85BDC9FD1C3A}</a:tableStyleId>
              </a:tblPr>
              <a:tblGrid>
                <a:gridCol w="2807570">
                  <a:extLst>
                    <a:ext uri="{9D8B030D-6E8A-4147-A177-3AD203B41FA5}">
                      <a16:colId xmlns:a16="http://schemas.microsoft.com/office/drawing/2014/main" val="2205362002"/>
                    </a:ext>
                  </a:extLst>
                </a:gridCol>
                <a:gridCol w="5661525">
                  <a:extLst>
                    <a:ext uri="{9D8B030D-6E8A-4147-A177-3AD203B41FA5}">
                      <a16:colId xmlns:a16="http://schemas.microsoft.com/office/drawing/2014/main" val="2648612829"/>
                    </a:ext>
                  </a:extLst>
                </a:gridCol>
                <a:gridCol w="3376316">
                  <a:extLst>
                    <a:ext uri="{9D8B030D-6E8A-4147-A177-3AD203B41FA5}">
                      <a16:colId xmlns:a16="http://schemas.microsoft.com/office/drawing/2014/main" val="2311507252"/>
                    </a:ext>
                  </a:extLst>
                </a:gridCol>
              </a:tblGrid>
              <a:tr h="246482">
                <a:tc>
                  <a:txBody>
                    <a:bodyPr/>
                    <a:lstStyle/>
                    <a:p>
                      <a:pPr algn="ctr"/>
                      <a:r>
                        <a:rPr lang="fr-FR">
                          <a:solidFill>
                            <a:schemeClr val="bg2"/>
                          </a:solidFill>
                          <a:latin typeface="Montserrat" panose="00000500000000000000" pitchFamily="2" charset="0"/>
                        </a:rPr>
                        <a:t>MISSIONS</a:t>
                      </a:r>
                    </a:p>
                  </a:txBody>
                  <a:tcPr>
                    <a:lnB w="12700" cap="flat" cmpd="sng" algn="ctr">
                      <a:solidFill>
                        <a:schemeClr val="accent3"/>
                      </a:solidFill>
                      <a:prstDash val="solid"/>
                      <a:round/>
                      <a:headEnd type="none" w="med" len="med"/>
                      <a:tailEnd type="none" w="med" len="med"/>
                    </a:lnB>
                    <a:noFill/>
                  </a:tcPr>
                </a:tc>
                <a:tc>
                  <a:txBody>
                    <a:bodyPr/>
                    <a:lstStyle/>
                    <a:p>
                      <a:pPr algn="ctr"/>
                      <a:r>
                        <a:rPr lang="fr-FR">
                          <a:solidFill>
                            <a:schemeClr val="bg2"/>
                          </a:solidFill>
                          <a:latin typeface="Montserrat" panose="00000500000000000000" pitchFamily="2" charset="0"/>
                        </a:rPr>
                        <a:t>CAPACITÉS D’INTERVENTION </a:t>
                      </a:r>
                    </a:p>
                  </a:txBody>
                  <a:tcPr>
                    <a:lnB w="12700" cap="flat" cmpd="sng" algn="ctr">
                      <a:solidFill>
                        <a:schemeClr val="accent3"/>
                      </a:solidFill>
                      <a:prstDash val="solid"/>
                      <a:round/>
                      <a:headEnd type="none" w="med" len="med"/>
                      <a:tailEnd type="none" w="med" len="med"/>
                    </a:lnB>
                    <a:noFill/>
                  </a:tcPr>
                </a:tc>
                <a:tc>
                  <a:txBody>
                    <a:bodyPr/>
                    <a:lstStyle/>
                    <a:p>
                      <a:pPr algn="ctr"/>
                      <a:r>
                        <a:rPr lang="fr-FR">
                          <a:solidFill>
                            <a:schemeClr val="bg2"/>
                          </a:solidFill>
                          <a:latin typeface="Montserrat" panose="00000500000000000000" pitchFamily="2" charset="0"/>
                        </a:rPr>
                        <a:t>ILS NOUS FONT CONFIANCE</a:t>
                      </a:r>
                    </a:p>
                  </a:txBody>
                  <a:tcPr>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213667023"/>
                  </a:ext>
                </a:extLst>
              </a:tr>
              <a:tr h="1622433">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b="1" kern="1200">
                          <a:solidFill>
                            <a:srgbClr val="002060"/>
                          </a:solidFill>
                          <a:latin typeface="Montserrat" panose="00000500000000000000" pitchFamily="2" charset="0"/>
                          <a:ea typeface="+mn-ea"/>
                          <a:cs typeface="+mn-cs"/>
                        </a:rPr>
                        <a:t>Eclairer la route des dirigeants </a:t>
                      </a:r>
                      <a:endParaRPr lang="fr-FR" sz="1600">
                        <a:solidFill>
                          <a:srgbClr val="002060"/>
                        </a:solidFill>
                        <a:latin typeface="Arial Black" panose="020B0A04020102020204" pitchFamily="34" charset="0"/>
                      </a:endParaRPr>
                    </a:p>
                    <a:p>
                      <a:pPr algn="ctr"/>
                      <a:endParaRPr lang="fr-F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Analyse stratégique d’offres</a:t>
                      </a:r>
                    </a:p>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Schémas directeurs Métiers et Systèmes d’information</a:t>
                      </a:r>
                    </a:p>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Audit des organisations</a:t>
                      </a:r>
                    </a:p>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Stratégie digitale, Business Case</a:t>
                      </a:r>
                    </a:p>
                    <a:p>
                      <a:endParaRPr lang="fr-F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rowSpan="3">
                  <a:txBody>
                    <a:bodyPr/>
                    <a:lstStyle/>
                    <a:p>
                      <a:endParaRPr lang="fr-FR"/>
                    </a:p>
                  </a:txBody>
                  <a:tcPr>
                    <a:lnT w="12700" cap="flat" cmpd="sng" algn="ctr">
                      <a:solidFill>
                        <a:schemeClr val="accent3"/>
                      </a:solidFill>
                      <a:prstDash val="solid"/>
                      <a:round/>
                      <a:headEnd type="none" w="med" len="med"/>
                      <a:tailEnd type="none" w="med" len="med"/>
                    </a:lnT>
                    <a:noFill/>
                  </a:tcPr>
                </a:tc>
                <a:extLst>
                  <a:ext uri="{0D108BD9-81ED-4DB2-BD59-A6C34878D82A}">
                    <a16:rowId xmlns:a16="http://schemas.microsoft.com/office/drawing/2014/main" val="4051997585"/>
                  </a:ext>
                </a:extLst>
              </a:tr>
              <a:tr h="1874812">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b="1" kern="1200">
                          <a:solidFill>
                            <a:srgbClr val="002060"/>
                          </a:solidFill>
                          <a:latin typeface="Montserrat" panose="00000500000000000000" pitchFamily="2" charset="0"/>
                          <a:ea typeface="+mn-ea"/>
                          <a:cs typeface="+mn-cs"/>
                        </a:rPr>
                        <a:t>Optimiser le quotidien</a:t>
                      </a:r>
                      <a:endParaRPr lang="fr-FR" sz="1600">
                        <a:solidFill>
                          <a:srgbClr val="002060"/>
                        </a:solidFill>
                        <a:latin typeface="Arial Black" panose="020B0A04020102020204" pitchFamily="34" charset="0"/>
                      </a:endParaRPr>
                    </a:p>
                    <a:p>
                      <a:pPr algn="ctr"/>
                      <a:endParaRPr lang="fr-F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Implémentation de nouvelles organisations</a:t>
                      </a:r>
                    </a:p>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Refontes des processus métiers et déploiement</a:t>
                      </a:r>
                    </a:p>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Amélioration des opérations</a:t>
                      </a:r>
                    </a:p>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Structuration et mise en service d’un contrôle de gestion</a:t>
                      </a:r>
                    </a:p>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Mise en place de gouvernance et d’indicateurs de pilotage </a:t>
                      </a: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vMerge="1">
                  <a:txBody>
                    <a:bodyPr/>
                    <a:lstStyle/>
                    <a:p>
                      <a:endParaRPr lang="fr-F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901885676"/>
                  </a:ext>
                </a:extLst>
              </a:tr>
              <a:tr h="1622433">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b="1" kern="1200">
                          <a:solidFill>
                            <a:srgbClr val="002060"/>
                          </a:solidFill>
                          <a:latin typeface="Montserrat" panose="00000500000000000000" pitchFamily="2" charset="0"/>
                          <a:ea typeface="+mn-ea"/>
                          <a:cs typeface="+mn-cs"/>
                        </a:rPr>
                        <a:t>Soutenir les grands projets ou programmes</a:t>
                      </a:r>
                      <a:endParaRPr lang="fr-FR" sz="1600">
                        <a:solidFill>
                          <a:srgbClr val="002060"/>
                        </a:solidFill>
                        <a:latin typeface="Arial Black" panose="020B0A04020102020204" pitchFamily="34" charset="0"/>
                      </a:endParaRPr>
                    </a:p>
                    <a:p>
                      <a:pPr algn="ctr"/>
                      <a:endParaRPr lang="fr-FR"/>
                    </a:p>
                  </a:txBody>
                  <a:tcPr>
                    <a:lnT w="12700" cap="flat" cmpd="sng" algn="ctr">
                      <a:solidFill>
                        <a:schemeClr val="accent3"/>
                      </a:solidFill>
                      <a:prstDash val="solid"/>
                      <a:round/>
                      <a:headEnd type="none" w="med" len="med"/>
                      <a:tailEnd type="none" w="med" len="med"/>
                    </a:lnT>
                    <a:noFill/>
                  </a:tcPr>
                </a:tc>
                <a:tc>
                  <a:txBody>
                    <a:bodyPr/>
                    <a:lstStyle/>
                    <a:p>
                      <a:pPr marL="471805" marR="0" indent="-285750" algn="l" rtl="0" eaLnBrk="1" hangingPunct="1">
                        <a:lnSpc>
                          <a:spcPct val="100000"/>
                        </a:lnSpc>
                        <a:spcBef>
                          <a:spcPts val="0"/>
                        </a:spcBef>
                        <a:spcAft>
                          <a:spcPts val="0"/>
                        </a:spcAft>
                        <a:buClr>
                          <a:srgbClr val="000000"/>
                        </a:buClr>
                        <a:buFont typeface="Arial" panose="020B0604020202020204" pitchFamily="34" charset="0"/>
                        <a:buChar char="•"/>
                      </a:pPr>
                      <a:r>
                        <a:rPr lang="fr-FR" sz="1400" b="0" i="0" u="none" strike="noStrike" kern="1200" cap="none">
                          <a:solidFill>
                            <a:srgbClr val="002060"/>
                          </a:solidFill>
                          <a:latin typeface="Montserrat" panose="00000500000000000000" pitchFamily="2" charset="0"/>
                          <a:ea typeface="+mn-ea"/>
                          <a:cs typeface="+mn-cs"/>
                          <a:sym typeface="Arial"/>
                        </a:rPr>
                        <a:t>Accompagnement au lancement de nouveaux concepts</a:t>
                      </a:r>
                    </a:p>
                    <a:p>
                      <a:pPr marL="471805" marR="0" indent="-285750" algn="l" rtl="0" eaLnBrk="1" hangingPunct="1">
                        <a:lnSpc>
                          <a:spcPct val="100000"/>
                        </a:lnSpc>
                        <a:spcBef>
                          <a:spcPts val="0"/>
                        </a:spcBef>
                        <a:spcAft>
                          <a:spcPts val="0"/>
                        </a:spcAft>
                        <a:buClr>
                          <a:srgbClr val="000000"/>
                        </a:buClr>
                        <a:buFont typeface="Arial" panose="020B0604020202020204" pitchFamily="34" charset="0"/>
                        <a:buChar char="•"/>
                      </a:pPr>
                      <a:r>
                        <a:rPr lang="fr-FR" sz="1400" b="0" i="0" u="none" strike="noStrike" kern="1200" cap="none">
                          <a:solidFill>
                            <a:srgbClr val="002060"/>
                          </a:solidFill>
                          <a:latin typeface="Montserrat" panose="00000500000000000000" pitchFamily="2" charset="0"/>
                          <a:ea typeface="+mn-ea"/>
                          <a:cs typeface="+mn-cs"/>
                          <a:sym typeface="Arial"/>
                        </a:rPr>
                        <a:t>Aide au pilotage et à la conduite du changement</a:t>
                      </a:r>
                    </a:p>
                    <a:p>
                      <a:pPr marL="471805" marR="0" indent="-285750" algn="l" rtl="0" eaLnBrk="1" hangingPunct="1">
                        <a:lnSpc>
                          <a:spcPct val="100000"/>
                        </a:lnSpc>
                        <a:spcBef>
                          <a:spcPts val="0"/>
                        </a:spcBef>
                        <a:spcAft>
                          <a:spcPts val="0"/>
                        </a:spcAft>
                        <a:buClr>
                          <a:srgbClr val="000000"/>
                        </a:buClr>
                        <a:buFont typeface="Arial" panose="020B0604020202020204" pitchFamily="34" charset="0"/>
                        <a:buChar char="•"/>
                      </a:pPr>
                      <a:r>
                        <a:rPr lang="fr-FR" sz="1400" b="0" i="0" u="none" strike="noStrike" kern="1200" cap="none">
                          <a:solidFill>
                            <a:srgbClr val="002060"/>
                          </a:solidFill>
                          <a:latin typeface="Montserrat" panose="00000500000000000000" pitchFamily="2" charset="0"/>
                          <a:ea typeface="+mn-ea"/>
                          <a:cs typeface="+mn-cs"/>
                          <a:sym typeface="Arial"/>
                        </a:rPr>
                        <a:t>Appui opérationnel sur projet : PMO, déploiement </a:t>
                      </a:r>
                    </a:p>
                    <a:p>
                      <a:pPr marL="471805" marR="0" indent="-285750" algn="l" rtl="0" eaLnBrk="1" hangingPunct="1">
                        <a:lnSpc>
                          <a:spcPct val="100000"/>
                        </a:lnSpc>
                        <a:spcBef>
                          <a:spcPts val="0"/>
                        </a:spcBef>
                        <a:spcAft>
                          <a:spcPts val="0"/>
                        </a:spcAft>
                        <a:buClr>
                          <a:srgbClr val="000000"/>
                        </a:buClr>
                        <a:buFont typeface="Arial" panose="020B0604020202020204" pitchFamily="34" charset="0"/>
                        <a:buChar char="•"/>
                      </a:pPr>
                      <a:r>
                        <a:rPr lang="fr-FR" sz="1400" b="0" i="0" u="none" strike="noStrike" kern="1200" cap="none">
                          <a:solidFill>
                            <a:srgbClr val="002060"/>
                          </a:solidFill>
                          <a:latin typeface="Montserrat" panose="00000500000000000000" pitchFamily="2" charset="0"/>
                          <a:ea typeface="+mn-ea"/>
                          <a:cs typeface="+mn-cs"/>
                          <a:sym typeface="Arial"/>
                        </a:rPr>
                        <a:t>Interventions « SWAT » sur projet / </a:t>
                      </a:r>
                      <a:r>
                        <a:rPr lang="fr-FR" sz="1400" b="0" i="0" u="none" strike="noStrike" kern="1200" cap="none" err="1">
                          <a:solidFill>
                            <a:srgbClr val="002060"/>
                          </a:solidFill>
                          <a:latin typeface="Montserrat" panose="00000500000000000000" pitchFamily="2" charset="0"/>
                          <a:ea typeface="+mn-ea"/>
                          <a:cs typeface="+mn-cs"/>
                          <a:sym typeface="Arial"/>
                        </a:rPr>
                        <a:t>derisking</a:t>
                      </a:r>
                      <a:endParaRPr lang="fr-FR" sz="1400" b="0" i="0" u="none" strike="noStrike" kern="1200" cap="none">
                        <a:solidFill>
                          <a:srgbClr val="002060"/>
                        </a:solidFill>
                        <a:latin typeface="Montserrat" panose="00000500000000000000" pitchFamily="2" charset="0"/>
                        <a:ea typeface="+mn-ea"/>
                        <a:cs typeface="+mn-cs"/>
                        <a:sym typeface="Arial"/>
                      </a:endParaRPr>
                    </a:p>
                    <a:p>
                      <a:endParaRPr lang="fr-FR"/>
                    </a:p>
                  </a:txBody>
                  <a:tcPr>
                    <a:lnT w="12700" cap="flat" cmpd="sng" algn="ctr">
                      <a:solidFill>
                        <a:schemeClr val="accent3"/>
                      </a:solidFill>
                      <a:prstDash val="solid"/>
                      <a:round/>
                      <a:headEnd type="none" w="med" len="med"/>
                      <a:tailEnd type="none" w="med" len="med"/>
                    </a:lnT>
                    <a:noFill/>
                  </a:tcPr>
                </a:tc>
                <a:tc vMerge="1">
                  <a:txBody>
                    <a:bodyPr/>
                    <a:lstStyle/>
                    <a:p>
                      <a:endParaRPr lang="fr-FR"/>
                    </a:p>
                  </a:txBody>
                  <a:tcPr>
                    <a:lnT w="12700" cap="flat" cmpd="sng" algn="ctr">
                      <a:solidFill>
                        <a:schemeClr val="accent3"/>
                      </a:solidFill>
                      <a:prstDash val="solid"/>
                      <a:round/>
                      <a:headEnd type="none" w="med" len="med"/>
                      <a:tailEnd type="none" w="med" len="med"/>
                    </a:lnT>
                    <a:noFill/>
                  </a:tcPr>
                </a:tc>
                <a:extLst>
                  <a:ext uri="{0D108BD9-81ED-4DB2-BD59-A6C34878D82A}">
                    <a16:rowId xmlns:a16="http://schemas.microsoft.com/office/drawing/2014/main" val="1188775873"/>
                  </a:ext>
                </a:extLst>
              </a:tr>
            </a:tbl>
          </a:graphicData>
        </a:graphic>
      </p:graphicFrame>
      <p:pic>
        <p:nvPicPr>
          <p:cNvPr id="14" name="Image 13">
            <a:extLst>
              <a:ext uri="{FF2B5EF4-FFF2-40B4-BE49-F238E27FC236}">
                <a16:creationId xmlns:a16="http://schemas.microsoft.com/office/drawing/2014/main" id="{9DD6244A-A334-73F3-4264-B637C1BD9B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1318" t="9454" r="13391" b="81829"/>
          <a:stretch/>
        </p:blipFill>
        <p:spPr bwMode="auto">
          <a:xfrm>
            <a:off x="8566175" y="1402698"/>
            <a:ext cx="1798198" cy="450334"/>
          </a:xfrm>
          <a:prstGeom prst="rect">
            <a:avLst/>
          </a:prstGeom>
          <a:noFill/>
        </p:spPr>
      </p:pic>
      <p:pic>
        <p:nvPicPr>
          <p:cNvPr id="15" name="Image 14" descr="Une image contenant texte, clipart&#10;&#10;Description générée automatiquement">
            <a:extLst>
              <a:ext uri="{FF2B5EF4-FFF2-40B4-BE49-F238E27FC236}">
                <a16:creationId xmlns:a16="http://schemas.microsoft.com/office/drawing/2014/main" id="{C93D567B-20AA-D985-A06A-204448C0CC4F}"/>
              </a:ext>
            </a:extLst>
          </p:cNvPr>
          <p:cNvPicPr>
            <a:picLocks noChangeAspect="1"/>
          </p:cNvPicPr>
          <p:nvPr/>
        </p:nvPicPr>
        <p:blipFill>
          <a:blip r:embed="rId3"/>
          <a:stretch>
            <a:fillRect/>
          </a:stretch>
        </p:blipFill>
        <p:spPr>
          <a:xfrm>
            <a:off x="10138052" y="1932046"/>
            <a:ext cx="1628570" cy="429018"/>
          </a:xfrm>
          <a:prstGeom prst="rect">
            <a:avLst/>
          </a:prstGeom>
        </p:spPr>
      </p:pic>
      <p:pic>
        <p:nvPicPr>
          <p:cNvPr id="16" name="Image 15">
            <a:extLst>
              <a:ext uri="{FF2B5EF4-FFF2-40B4-BE49-F238E27FC236}">
                <a16:creationId xmlns:a16="http://schemas.microsoft.com/office/drawing/2014/main" id="{2ED3DCA9-576C-1F4B-0756-C0184E76CCC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83383" t="59850" b="25475"/>
          <a:stretch/>
        </p:blipFill>
        <p:spPr bwMode="auto">
          <a:xfrm>
            <a:off x="8787070" y="2113215"/>
            <a:ext cx="1636294" cy="634842"/>
          </a:xfrm>
          <a:prstGeom prst="rect">
            <a:avLst/>
          </a:prstGeom>
          <a:noFill/>
        </p:spPr>
      </p:pic>
      <p:pic>
        <p:nvPicPr>
          <p:cNvPr id="17" name="Image 16">
            <a:extLst>
              <a:ext uri="{FF2B5EF4-FFF2-40B4-BE49-F238E27FC236}">
                <a16:creationId xmlns:a16="http://schemas.microsoft.com/office/drawing/2014/main" id="{2EE2D480-3E6A-36E6-733E-2175BD9DFBE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5343" t="75749" r="18685" b="9576"/>
          <a:stretch/>
        </p:blipFill>
        <p:spPr bwMode="auto">
          <a:xfrm>
            <a:off x="10192590" y="2369607"/>
            <a:ext cx="707167" cy="763363"/>
          </a:xfrm>
          <a:prstGeom prst="rect">
            <a:avLst/>
          </a:prstGeom>
          <a:noFill/>
        </p:spPr>
      </p:pic>
      <p:pic>
        <p:nvPicPr>
          <p:cNvPr id="18" name="Image 17">
            <a:extLst>
              <a:ext uri="{FF2B5EF4-FFF2-40B4-BE49-F238E27FC236}">
                <a16:creationId xmlns:a16="http://schemas.microsoft.com/office/drawing/2014/main" id="{20289373-EE12-EF7D-63F3-EBF1FE7E5F1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3390" t="41345" r="15957" b="38208"/>
          <a:stretch/>
        </p:blipFill>
        <p:spPr bwMode="auto">
          <a:xfrm>
            <a:off x="11053444" y="2421284"/>
            <a:ext cx="894635" cy="754430"/>
          </a:xfrm>
          <a:prstGeom prst="rect">
            <a:avLst/>
          </a:prstGeom>
          <a:noFill/>
        </p:spPr>
      </p:pic>
      <p:pic>
        <p:nvPicPr>
          <p:cNvPr id="19" name="Image 18">
            <a:extLst>
              <a:ext uri="{FF2B5EF4-FFF2-40B4-BE49-F238E27FC236}">
                <a16:creationId xmlns:a16="http://schemas.microsoft.com/office/drawing/2014/main" id="{05AF71A5-D5E5-C5F3-8A82-CBF90004FA0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0395" t="91166" r="12280" b="-2943"/>
          <a:stretch/>
        </p:blipFill>
        <p:spPr bwMode="auto">
          <a:xfrm>
            <a:off x="10173340" y="3471595"/>
            <a:ext cx="1915992" cy="572161"/>
          </a:xfrm>
          <a:prstGeom prst="rect">
            <a:avLst/>
          </a:prstGeom>
          <a:noFill/>
        </p:spPr>
      </p:pic>
      <p:pic>
        <p:nvPicPr>
          <p:cNvPr id="21" name="Image 20" descr="Une image contenant texte&#10;&#10;Description générée automatiquement">
            <a:extLst>
              <a:ext uri="{FF2B5EF4-FFF2-40B4-BE49-F238E27FC236}">
                <a16:creationId xmlns:a16="http://schemas.microsoft.com/office/drawing/2014/main" id="{799B33D7-FDBF-AA0F-59D1-AF2D6A3DE379}"/>
              </a:ext>
            </a:extLst>
          </p:cNvPr>
          <p:cNvPicPr>
            <a:picLocks noChangeAspect="1"/>
          </p:cNvPicPr>
          <p:nvPr/>
        </p:nvPicPr>
        <p:blipFill>
          <a:blip r:embed="rId4"/>
          <a:stretch>
            <a:fillRect/>
          </a:stretch>
        </p:blipFill>
        <p:spPr>
          <a:xfrm>
            <a:off x="10450271" y="3990748"/>
            <a:ext cx="1512938" cy="352622"/>
          </a:xfrm>
          <a:prstGeom prst="rect">
            <a:avLst/>
          </a:prstGeom>
        </p:spPr>
      </p:pic>
      <p:pic>
        <p:nvPicPr>
          <p:cNvPr id="23" name="Image 22">
            <a:extLst>
              <a:ext uri="{FF2B5EF4-FFF2-40B4-BE49-F238E27FC236}">
                <a16:creationId xmlns:a16="http://schemas.microsoft.com/office/drawing/2014/main" id="{7D1C069E-D1C8-EFC3-051D-D82EB9A4201A}"/>
              </a:ext>
            </a:extLst>
          </p:cNvPr>
          <p:cNvPicPr>
            <a:picLocks noChangeAspect="1"/>
          </p:cNvPicPr>
          <p:nvPr/>
        </p:nvPicPr>
        <p:blipFill>
          <a:blip r:embed="rId5"/>
          <a:stretch>
            <a:fillRect/>
          </a:stretch>
        </p:blipFill>
        <p:spPr>
          <a:xfrm>
            <a:off x="8961486" y="2816813"/>
            <a:ext cx="844495" cy="518789"/>
          </a:xfrm>
          <a:prstGeom prst="rect">
            <a:avLst/>
          </a:prstGeom>
        </p:spPr>
      </p:pic>
      <p:pic>
        <p:nvPicPr>
          <p:cNvPr id="25" name="Image 24" descr="Une image contenant texte, clipart&#10;&#10;Description générée automatiquement">
            <a:extLst>
              <a:ext uri="{FF2B5EF4-FFF2-40B4-BE49-F238E27FC236}">
                <a16:creationId xmlns:a16="http://schemas.microsoft.com/office/drawing/2014/main" id="{F50C149E-3277-9A78-0A91-5B6DE2AFDF50}"/>
              </a:ext>
            </a:extLst>
          </p:cNvPr>
          <p:cNvPicPr>
            <a:picLocks noChangeAspect="1"/>
          </p:cNvPicPr>
          <p:nvPr/>
        </p:nvPicPr>
        <p:blipFill>
          <a:blip r:embed="rId6"/>
          <a:stretch>
            <a:fillRect/>
          </a:stretch>
        </p:blipFill>
        <p:spPr>
          <a:xfrm>
            <a:off x="9182076" y="4779221"/>
            <a:ext cx="1064742" cy="407796"/>
          </a:xfrm>
          <a:prstGeom prst="rect">
            <a:avLst/>
          </a:prstGeom>
        </p:spPr>
      </p:pic>
      <p:pic>
        <p:nvPicPr>
          <p:cNvPr id="26" name="Image 25">
            <a:extLst>
              <a:ext uri="{FF2B5EF4-FFF2-40B4-BE49-F238E27FC236}">
                <a16:creationId xmlns:a16="http://schemas.microsoft.com/office/drawing/2014/main" id="{A507A164-664A-001E-78B5-D2992DBE090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86775" t="91480"/>
          <a:stretch/>
        </p:blipFill>
        <p:spPr bwMode="auto">
          <a:xfrm>
            <a:off x="8923539" y="4211560"/>
            <a:ext cx="1440834" cy="407794"/>
          </a:xfrm>
          <a:prstGeom prst="rect">
            <a:avLst/>
          </a:prstGeom>
          <a:noFill/>
        </p:spPr>
      </p:pic>
      <p:pic>
        <p:nvPicPr>
          <p:cNvPr id="27" name="Image 26">
            <a:extLst>
              <a:ext uri="{FF2B5EF4-FFF2-40B4-BE49-F238E27FC236}">
                <a16:creationId xmlns:a16="http://schemas.microsoft.com/office/drawing/2014/main" id="{DF24143A-2849-9516-9E00-805AB8B44F7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81449" t="76112" r="8964" b="9213"/>
          <a:stretch/>
        </p:blipFill>
        <p:spPr bwMode="auto">
          <a:xfrm>
            <a:off x="10598982" y="1345734"/>
            <a:ext cx="944010" cy="634842"/>
          </a:xfrm>
          <a:prstGeom prst="rect">
            <a:avLst/>
          </a:prstGeom>
          <a:noFill/>
        </p:spPr>
      </p:pic>
      <p:pic>
        <p:nvPicPr>
          <p:cNvPr id="28" name="Image 27">
            <a:extLst>
              <a:ext uri="{FF2B5EF4-FFF2-40B4-BE49-F238E27FC236}">
                <a16:creationId xmlns:a16="http://schemas.microsoft.com/office/drawing/2014/main" id="{189F89FF-8C82-4B9F-6031-A45994E51F4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153970" y="3505088"/>
            <a:ext cx="944170" cy="472085"/>
          </a:xfrm>
          <a:prstGeom prst="rect">
            <a:avLst/>
          </a:prstGeom>
        </p:spPr>
      </p:pic>
      <p:pic>
        <p:nvPicPr>
          <p:cNvPr id="29" name="Image 28">
            <a:extLst>
              <a:ext uri="{FF2B5EF4-FFF2-40B4-BE49-F238E27FC236}">
                <a16:creationId xmlns:a16="http://schemas.microsoft.com/office/drawing/2014/main" id="{55583BAB-A998-72BB-8048-BDB55DC69E8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952337" y="4500428"/>
            <a:ext cx="1056907" cy="726623"/>
          </a:xfrm>
          <a:prstGeom prst="rect">
            <a:avLst/>
          </a:prstGeom>
        </p:spPr>
      </p:pic>
      <p:pic>
        <p:nvPicPr>
          <p:cNvPr id="30" name="Image 29">
            <a:extLst>
              <a:ext uri="{FF2B5EF4-FFF2-40B4-BE49-F238E27FC236}">
                <a16:creationId xmlns:a16="http://schemas.microsoft.com/office/drawing/2014/main" id="{66D1CD4A-9699-BCEC-9FE7-ADC8713423C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7616" t="16878" r="7270" b="17271"/>
          <a:stretch/>
        </p:blipFill>
        <p:spPr>
          <a:xfrm>
            <a:off x="9024940" y="5396996"/>
            <a:ext cx="1425331" cy="500655"/>
          </a:xfrm>
          <a:prstGeom prst="rect">
            <a:avLst/>
          </a:prstGeom>
        </p:spPr>
      </p:pic>
      <p:pic>
        <p:nvPicPr>
          <p:cNvPr id="31" name="Graphique 30">
            <a:extLst>
              <a:ext uri="{FF2B5EF4-FFF2-40B4-BE49-F238E27FC236}">
                <a16:creationId xmlns:a16="http://schemas.microsoft.com/office/drawing/2014/main" id="{48C5A5BE-AE6B-8282-A837-86B0FD063070}"/>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024940" y="1878952"/>
            <a:ext cx="543708" cy="386437"/>
          </a:xfrm>
          <a:prstGeom prst="rect">
            <a:avLst/>
          </a:prstGeom>
        </p:spPr>
      </p:pic>
      <p:pic>
        <p:nvPicPr>
          <p:cNvPr id="32" name="Image 31">
            <a:extLst>
              <a:ext uri="{FF2B5EF4-FFF2-40B4-BE49-F238E27FC236}">
                <a16:creationId xmlns:a16="http://schemas.microsoft.com/office/drawing/2014/main" id="{E4AFDF66-CFEF-BF6B-A621-2525B948095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650900" y="5650725"/>
            <a:ext cx="1369556" cy="338280"/>
          </a:xfrm>
          <a:prstGeom prst="rect">
            <a:avLst/>
          </a:prstGeom>
        </p:spPr>
      </p:pic>
      <p:pic>
        <p:nvPicPr>
          <p:cNvPr id="33" name="Image 32">
            <a:extLst>
              <a:ext uri="{FF2B5EF4-FFF2-40B4-BE49-F238E27FC236}">
                <a16:creationId xmlns:a16="http://schemas.microsoft.com/office/drawing/2014/main" id="{20FA6CC9-EEF2-27C8-3AF4-0673A46500C5}"/>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0442951" y="5061389"/>
            <a:ext cx="415897" cy="506420"/>
          </a:xfrm>
          <a:prstGeom prst="rect">
            <a:avLst/>
          </a:prstGeom>
        </p:spPr>
      </p:pic>
      <p:pic>
        <p:nvPicPr>
          <p:cNvPr id="34" name="Image 33">
            <a:extLst>
              <a:ext uri="{FF2B5EF4-FFF2-40B4-BE49-F238E27FC236}">
                <a16:creationId xmlns:a16="http://schemas.microsoft.com/office/drawing/2014/main" id="{90EACF0F-6CD4-D8E3-A7F1-1075DEF258CB}"/>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084605" y="6000462"/>
            <a:ext cx="864418" cy="258517"/>
          </a:xfrm>
          <a:prstGeom prst="rect">
            <a:avLst/>
          </a:prstGeom>
        </p:spPr>
      </p:pic>
      <p:pic>
        <p:nvPicPr>
          <p:cNvPr id="35" name="Image 34">
            <a:extLst>
              <a:ext uri="{FF2B5EF4-FFF2-40B4-BE49-F238E27FC236}">
                <a16:creationId xmlns:a16="http://schemas.microsoft.com/office/drawing/2014/main" id="{4D5860BE-C5EA-ACE2-CEB9-7BB84563604D}"/>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926590" y="3178764"/>
            <a:ext cx="1010981" cy="252746"/>
          </a:xfrm>
          <a:prstGeom prst="rect">
            <a:avLst/>
          </a:prstGeom>
        </p:spPr>
      </p:pic>
      <p:grpSp>
        <p:nvGrpSpPr>
          <p:cNvPr id="36" name="Group 80">
            <a:extLst>
              <a:ext uri="{FF2B5EF4-FFF2-40B4-BE49-F238E27FC236}">
                <a16:creationId xmlns:a16="http://schemas.microsoft.com/office/drawing/2014/main" id="{26D1090C-F937-43DE-467C-3D4CA08670F1}"/>
              </a:ext>
            </a:extLst>
          </p:cNvPr>
          <p:cNvGrpSpPr/>
          <p:nvPr/>
        </p:nvGrpSpPr>
        <p:grpSpPr>
          <a:xfrm>
            <a:off x="1350027" y="1917230"/>
            <a:ext cx="725332" cy="727251"/>
            <a:chOff x="-776288" y="2445544"/>
            <a:chExt cx="600075" cy="601663"/>
          </a:xfrm>
        </p:grpSpPr>
        <p:sp>
          <p:nvSpPr>
            <p:cNvPr id="37" name="Oval 14">
              <a:extLst>
                <a:ext uri="{FF2B5EF4-FFF2-40B4-BE49-F238E27FC236}">
                  <a16:creationId xmlns:a16="http://schemas.microsoft.com/office/drawing/2014/main" id="{5BDBD31E-408B-8CE6-D747-FFCF17677E7C}"/>
                </a:ext>
              </a:extLst>
            </p:cNvPr>
            <p:cNvSpPr>
              <a:spLocks noChangeArrowheads="1"/>
            </p:cNvSpPr>
            <p:nvPr/>
          </p:nvSpPr>
          <p:spPr bwMode="auto">
            <a:xfrm>
              <a:off x="-776288" y="2445544"/>
              <a:ext cx="600075" cy="601663"/>
            </a:xfrm>
            <a:prstGeom prst="ellipse">
              <a:avLst/>
            </a:prstGeom>
            <a:solidFill>
              <a:schemeClr val="accent1"/>
            </a:solidFill>
            <a:ln>
              <a:noFill/>
            </a:ln>
          </p:spPr>
          <p:txBody>
            <a:bodyPr vert="horz" wrap="square" lIns="121920" tIns="60960" rIns="121920" bIns="60960" numCol="1" anchor="t" anchorCtr="0" compatLnSpc="1">
              <a:prstTxWarp prst="textNoShape">
                <a:avLst/>
              </a:prstTxWarp>
            </a:bodyPr>
            <a:lstStyle/>
            <a:p>
              <a:endParaRPr lang="en-US" sz="3200"/>
            </a:p>
          </p:txBody>
        </p:sp>
        <p:grpSp>
          <p:nvGrpSpPr>
            <p:cNvPr id="38" name="Group 65">
              <a:extLst>
                <a:ext uri="{FF2B5EF4-FFF2-40B4-BE49-F238E27FC236}">
                  <a16:creationId xmlns:a16="http://schemas.microsoft.com/office/drawing/2014/main" id="{C87AB4F7-C18C-531D-945D-7ABED4E00E46}"/>
                </a:ext>
              </a:extLst>
            </p:cNvPr>
            <p:cNvGrpSpPr/>
            <p:nvPr/>
          </p:nvGrpSpPr>
          <p:grpSpPr>
            <a:xfrm>
              <a:off x="-606426" y="2534444"/>
              <a:ext cx="260350" cy="423863"/>
              <a:chOff x="2832100" y="2760663"/>
              <a:chExt cx="260350" cy="423863"/>
            </a:xfrm>
          </p:grpSpPr>
          <p:sp>
            <p:nvSpPr>
              <p:cNvPr id="39" name="Freeform 44">
                <a:extLst>
                  <a:ext uri="{FF2B5EF4-FFF2-40B4-BE49-F238E27FC236}">
                    <a16:creationId xmlns:a16="http://schemas.microsoft.com/office/drawing/2014/main" id="{63C8351B-A7AC-7EC3-6D8B-76A54D696157}"/>
                  </a:ext>
                </a:extLst>
              </p:cNvPr>
              <p:cNvSpPr>
                <a:spLocks noEditPoints="1"/>
              </p:cNvSpPr>
              <p:nvPr/>
            </p:nvSpPr>
            <p:spPr bwMode="auto">
              <a:xfrm>
                <a:off x="2898775" y="3095625"/>
                <a:ext cx="123825" cy="38100"/>
              </a:xfrm>
              <a:custGeom>
                <a:avLst/>
                <a:gdLst>
                  <a:gd name="T0" fmla="*/ 62 w 73"/>
                  <a:gd name="T1" fmla="*/ 22 h 22"/>
                  <a:gd name="T2" fmla="*/ 12 w 73"/>
                  <a:gd name="T3" fmla="*/ 22 h 22"/>
                  <a:gd name="T4" fmla="*/ 0 w 73"/>
                  <a:gd name="T5" fmla="*/ 11 h 22"/>
                  <a:gd name="T6" fmla="*/ 12 w 73"/>
                  <a:gd name="T7" fmla="*/ 0 h 22"/>
                  <a:gd name="T8" fmla="*/ 62 w 73"/>
                  <a:gd name="T9" fmla="*/ 0 h 22"/>
                  <a:gd name="T10" fmla="*/ 73 w 73"/>
                  <a:gd name="T11" fmla="*/ 11 h 22"/>
                  <a:gd name="T12" fmla="*/ 62 w 73"/>
                  <a:gd name="T13" fmla="*/ 22 h 22"/>
                  <a:gd name="T14" fmla="*/ 12 w 73"/>
                  <a:gd name="T15" fmla="*/ 5 h 22"/>
                  <a:gd name="T16" fmla="*/ 5 w 73"/>
                  <a:gd name="T17" fmla="*/ 11 h 22"/>
                  <a:gd name="T18" fmla="*/ 12 w 73"/>
                  <a:gd name="T19" fmla="*/ 18 h 22"/>
                  <a:gd name="T20" fmla="*/ 62 w 73"/>
                  <a:gd name="T21" fmla="*/ 18 h 22"/>
                  <a:gd name="T22" fmla="*/ 69 w 73"/>
                  <a:gd name="T23" fmla="*/ 11 h 22"/>
                  <a:gd name="T24" fmla="*/ 62 w 73"/>
                  <a:gd name="T25" fmla="*/ 5 h 22"/>
                  <a:gd name="T26" fmla="*/ 12 w 73"/>
                  <a:gd name="T27"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22">
                    <a:moveTo>
                      <a:pt x="62" y="22"/>
                    </a:moveTo>
                    <a:cubicBezTo>
                      <a:pt x="12" y="22"/>
                      <a:pt x="12" y="22"/>
                      <a:pt x="12" y="22"/>
                    </a:cubicBezTo>
                    <a:cubicBezTo>
                      <a:pt x="6" y="22"/>
                      <a:pt x="0" y="17"/>
                      <a:pt x="0" y="11"/>
                    </a:cubicBezTo>
                    <a:cubicBezTo>
                      <a:pt x="0" y="5"/>
                      <a:pt x="6" y="0"/>
                      <a:pt x="12" y="0"/>
                    </a:cubicBezTo>
                    <a:cubicBezTo>
                      <a:pt x="62" y="0"/>
                      <a:pt x="62" y="0"/>
                      <a:pt x="62" y="0"/>
                    </a:cubicBezTo>
                    <a:cubicBezTo>
                      <a:pt x="68" y="0"/>
                      <a:pt x="73" y="5"/>
                      <a:pt x="73" y="11"/>
                    </a:cubicBezTo>
                    <a:cubicBezTo>
                      <a:pt x="73" y="17"/>
                      <a:pt x="68" y="22"/>
                      <a:pt x="62" y="22"/>
                    </a:cubicBezTo>
                    <a:close/>
                    <a:moveTo>
                      <a:pt x="12" y="5"/>
                    </a:moveTo>
                    <a:cubicBezTo>
                      <a:pt x="8" y="5"/>
                      <a:pt x="5" y="7"/>
                      <a:pt x="5" y="11"/>
                    </a:cubicBezTo>
                    <a:cubicBezTo>
                      <a:pt x="5" y="15"/>
                      <a:pt x="8" y="18"/>
                      <a:pt x="12" y="18"/>
                    </a:cubicBezTo>
                    <a:cubicBezTo>
                      <a:pt x="62" y="18"/>
                      <a:pt x="62" y="18"/>
                      <a:pt x="62" y="18"/>
                    </a:cubicBezTo>
                    <a:cubicBezTo>
                      <a:pt x="66" y="18"/>
                      <a:pt x="69" y="15"/>
                      <a:pt x="69" y="11"/>
                    </a:cubicBezTo>
                    <a:cubicBezTo>
                      <a:pt x="69" y="7"/>
                      <a:pt x="66" y="5"/>
                      <a:pt x="62" y="5"/>
                    </a:cubicBezTo>
                    <a:lnTo>
                      <a:pt x="1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40" name="Freeform 45">
                <a:extLst>
                  <a:ext uri="{FF2B5EF4-FFF2-40B4-BE49-F238E27FC236}">
                    <a16:creationId xmlns:a16="http://schemas.microsoft.com/office/drawing/2014/main" id="{52FE328A-F897-0517-5CD0-4340FE6A80C3}"/>
                  </a:ext>
                </a:extLst>
              </p:cNvPr>
              <p:cNvSpPr>
                <a:spLocks noEditPoints="1"/>
              </p:cNvSpPr>
              <p:nvPr/>
            </p:nvSpPr>
            <p:spPr bwMode="auto">
              <a:xfrm>
                <a:off x="2898775" y="3127375"/>
                <a:ext cx="123825" cy="36513"/>
              </a:xfrm>
              <a:custGeom>
                <a:avLst/>
                <a:gdLst>
                  <a:gd name="T0" fmla="*/ 62 w 73"/>
                  <a:gd name="T1" fmla="*/ 22 h 22"/>
                  <a:gd name="T2" fmla="*/ 12 w 73"/>
                  <a:gd name="T3" fmla="*/ 22 h 22"/>
                  <a:gd name="T4" fmla="*/ 0 w 73"/>
                  <a:gd name="T5" fmla="*/ 11 h 22"/>
                  <a:gd name="T6" fmla="*/ 12 w 73"/>
                  <a:gd name="T7" fmla="*/ 0 h 22"/>
                  <a:gd name="T8" fmla="*/ 62 w 73"/>
                  <a:gd name="T9" fmla="*/ 0 h 22"/>
                  <a:gd name="T10" fmla="*/ 73 w 73"/>
                  <a:gd name="T11" fmla="*/ 11 h 22"/>
                  <a:gd name="T12" fmla="*/ 62 w 73"/>
                  <a:gd name="T13" fmla="*/ 22 h 22"/>
                  <a:gd name="T14" fmla="*/ 12 w 73"/>
                  <a:gd name="T15" fmla="*/ 4 h 22"/>
                  <a:gd name="T16" fmla="*/ 5 w 73"/>
                  <a:gd name="T17" fmla="*/ 11 h 22"/>
                  <a:gd name="T18" fmla="*/ 12 w 73"/>
                  <a:gd name="T19" fmla="*/ 18 h 22"/>
                  <a:gd name="T20" fmla="*/ 62 w 73"/>
                  <a:gd name="T21" fmla="*/ 18 h 22"/>
                  <a:gd name="T22" fmla="*/ 69 w 73"/>
                  <a:gd name="T23" fmla="*/ 11 h 22"/>
                  <a:gd name="T24" fmla="*/ 62 w 73"/>
                  <a:gd name="T25" fmla="*/ 4 h 22"/>
                  <a:gd name="T26" fmla="*/ 12 w 73"/>
                  <a:gd name="T27"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22">
                    <a:moveTo>
                      <a:pt x="62" y="22"/>
                    </a:moveTo>
                    <a:cubicBezTo>
                      <a:pt x="12" y="22"/>
                      <a:pt x="12" y="22"/>
                      <a:pt x="12" y="22"/>
                    </a:cubicBezTo>
                    <a:cubicBezTo>
                      <a:pt x="6" y="22"/>
                      <a:pt x="0" y="17"/>
                      <a:pt x="0" y="11"/>
                    </a:cubicBezTo>
                    <a:cubicBezTo>
                      <a:pt x="0" y="5"/>
                      <a:pt x="6" y="0"/>
                      <a:pt x="12" y="0"/>
                    </a:cubicBezTo>
                    <a:cubicBezTo>
                      <a:pt x="62" y="0"/>
                      <a:pt x="62" y="0"/>
                      <a:pt x="62" y="0"/>
                    </a:cubicBezTo>
                    <a:cubicBezTo>
                      <a:pt x="68" y="0"/>
                      <a:pt x="73" y="5"/>
                      <a:pt x="73" y="11"/>
                    </a:cubicBezTo>
                    <a:cubicBezTo>
                      <a:pt x="73" y="17"/>
                      <a:pt x="68" y="22"/>
                      <a:pt x="62" y="22"/>
                    </a:cubicBezTo>
                    <a:close/>
                    <a:moveTo>
                      <a:pt x="12" y="4"/>
                    </a:moveTo>
                    <a:cubicBezTo>
                      <a:pt x="8" y="4"/>
                      <a:pt x="5" y="7"/>
                      <a:pt x="5" y="11"/>
                    </a:cubicBezTo>
                    <a:cubicBezTo>
                      <a:pt x="5" y="15"/>
                      <a:pt x="8" y="18"/>
                      <a:pt x="12" y="18"/>
                    </a:cubicBezTo>
                    <a:cubicBezTo>
                      <a:pt x="62" y="18"/>
                      <a:pt x="62" y="18"/>
                      <a:pt x="62" y="18"/>
                    </a:cubicBezTo>
                    <a:cubicBezTo>
                      <a:pt x="66" y="18"/>
                      <a:pt x="69" y="15"/>
                      <a:pt x="69" y="11"/>
                    </a:cubicBezTo>
                    <a:cubicBezTo>
                      <a:pt x="69" y="7"/>
                      <a:pt x="66" y="4"/>
                      <a:pt x="62" y="4"/>
                    </a:cubicBezTo>
                    <a:lnTo>
                      <a:pt x="1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41" name="Freeform 46">
                <a:extLst>
                  <a:ext uri="{FF2B5EF4-FFF2-40B4-BE49-F238E27FC236}">
                    <a16:creationId xmlns:a16="http://schemas.microsoft.com/office/drawing/2014/main" id="{56426CD1-1D4C-DD74-5961-7480BAF5CE68}"/>
                  </a:ext>
                </a:extLst>
              </p:cNvPr>
              <p:cNvSpPr>
                <a:spLocks/>
              </p:cNvSpPr>
              <p:nvPr/>
            </p:nvSpPr>
            <p:spPr bwMode="auto">
              <a:xfrm>
                <a:off x="2921000" y="3157538"/>
                <a:ext cx="80963" cy="26988"/>
              </a:xfrm>
              <a:custGeom>
                <a:avLst/>
                <a:gdLst>
                  <a:gd name="T0" fmla="*/ 24 w 48"/>
                  <a:gd name="T1" fmla="*/ 16 h 16"/>
                  <a:gd name="T2" fmla="*/ 0 w 48"/>
                  <a:gd name="T3" fmla="*/ 2 h 16"/>
                  <a:gd name="T4" fmla="*/ 2 w 48"/>
                  <a:gd name="T5" fmla="*/ 0 h 16"/>
                  <a:gd name="T6" fmla="*/ 4 w 48"/>
                  <a:gd name="T7" fmla="*/ 2 h 16"/>
                  <a:gd name="T8" fmla="*/ 24 w 48"/>
                  <a:gd name="T9" fmla="*/ 11 h 16"/>
                  <a:gd name="T10" fmla="*/ 43 w 48"/>
                  <a:gd name="T11" fmla="*/ 2 h 16"/>
                  <a:gd name="T12" fmla="*/ 46 w 48"/>
                  <a:gd name="T13" fmla="*/ 0 h 16"/>
                  <a:gd name="T14" fmla="*/ 48 w 48"/>
                  <a:gd name="T15" fmla="*/ 2 h 16"/>
                  <a:gd name="T16" fmla="*/ 24 w 4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6">
                    <a:moveTo>
                      <a:pt x="24" y="16"/>
                    </a:moveTo>
                    <a:cubicBezTo>
                      <a:pt x="10" y="16"/>
                      <a:pt x="0" y="10"/>
                      <a:pt x="0" y="2"/>
                    </a:cubicBezTo>
                    <a:cubicBezTo>
                      <a:pt x="0" y="1"/>
                      <a:pt x="1" y="0"/>
                      <a:pt x="2" y="0"/>
                    </a:cubicBezTo>
                    <a:cubicBezTo>
                      <a:pt x="3" y="0"/>
                      <a:pt x="4" y="1"/>
                      <a:pt x="4" y="2"/>
                    </a:cubicBezTo>
                    <a:cubicBezTo>
                      <a:pt x="4" y="6"/>
                      <a:pt x="12" y="11"/>
                      <a:pt x="24" y="11"/>
                    </a:cubicBezTo>
                    <a:cubicBezTo>
                      <a:pt x="35" y="11"/>
                      <a:pt x="43" y="6"/>
                      <a:pt x="43" y="2"/>
                    </a:cubicBezTo>
                    <a:cubicBezTo>
                      <a:pt x="43" y="1"/>
                      <a:pt x="44" y="0"/>
                      <a:pt x="46" y="0"/>
                    </a:cubicBezTo>
                    <a:cubicBezTo>
                      <a:pt x="47" y="0"/>
                      <a:pt x="48" y="1"/>
                      <a:pt x="48" y="2"/>
                    </a:cubicBezTo>
                    <a:cubicBezTo>
                      <a:pt x="48" y="10"/>
                      <a:pt x="37" y="16"/>
                      <a:pt x="24"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42" name="Freeform 47">
                <a:extLst>
                  <a:ext uri="{FF2B5EF4-FFF2-40B4-BE49-F238E27FC236}">
                    <a16:creationId xmlns:a16="http://schemas.microsoft.com/office/drawing/2014/main" id="{54DC318A-8951-2DA9-0EC9-6B3CEB275961}"/>
                  </a:ext>
                </a:extLst>
              </p:cNvPr>
              <p:cNvSpPr>
                <a:spLocks noEditPoints="1"/>
              </p:cNvSpPr>
              <p:nvPr/>
            </p:nvSpPr>
            <p:spPr bwMode="auto">
              <a:xfrm>
                <a:off x="2832100" y="2760663"/>
                <a:ext cx="260350" cy="314325"/>
              </a:xfrm>
              <a:custGeom>
                <a:avLst/>
                <a:gdLst>
                  <a:gd name="T0" fmla="*/ 101 w 154"/>
                  <a:gd name="T1" fmla="*/ 185 h 185"/>
                  <a:gd name="T2" fmla="*/ 53 w 154"/>
                  <a:gd name="T3" fmla="*/ 185 h 185"/>
                  <a:gd name="T4" fmla="*/ 32 w 154"/>
                  <a:gd name="T5" fmla="*/ 164 h 185"/>
                  <a:gd name="T6" fmla="*/ 32 w 154"/>
                  <a:gd name="T7" fmla="*/ 149 h 185"/>
                  <a:gd name="T8" fmla="*/ 22 w 154"/>
                  <a:gd name="T9" fmla="*/ 130 h 185"/>
                  <a:gd name="T10" fmla="*/ 0 w 154"/>
                  <a:gd name="T11" fmla="*/ 77 h 185"/>
                  <a:gd name="T12" fmla="*/ 77 w 154"/>
                  <a:gd name="T13" fmla="*/ 0 h 185"/>
                  <a:gd name="T14" fmla="*/ 154 w 154"/>
                  <a:gd name="T15" fmla="*/ 77 h 185"/>
                  <a:gd name="T16" fmla="*/ 132 w 154"/>
                  <a:gd name="T17" fmla="*/ 130 h 185"/>
                  <a:gd name="T18" fmla="*/ 122 w 154"/>
                  <a:gd name="T19" fmla="*/ 149 h 185"/>
                  <a:gd name="T20" fmla="*/ 122 w 154"/>
                  <a:gd name="T21" fmla="*/ 164 h 185"/>
                  <a:gd name="T22" fmla="*/ 101 w 154"/>
                  <a:gd name="T23" fmla="*/ 185 h 185"/>
                  <a:gd name="T24" fmla="*/ 77 w 154"/>
                  <a:gd name="T25" fmla="*/ 5 h 185"/>
                  <a:gd name="T26" fmla="*/ 5 w 154"/>
                  <a:gd name="T27" fmla="*/ 77 h 185"/>
                  <a:gd name="T28" fmla="*/ 25 w 154"/>
                  <a:gd name="T29" fmla="*/ 127 h 185"/>
                  <a:gd name="T30" fmla="*/ 36 w 154"/>
                  <a:gd name="T31" fmla="*/ 149 h 185"/>
                  <a:gd name="T32" fmla="*/ 36 w 154"/>
                  <a:gd name="T33" fmla="*/ 164 h 185"/>
                  <a:gd name="T34" fmla="*/ 53 w 154"/>
                  <a:gd name="T35" fmla="*/ 180 h 185"/>
                  <a:gd name="T36" fmla="*/ 101 w 154"/>
                  <a:gd name="T37" fmla="*/ 180 h 185"/>
                  <a:gd name="T38" fmla="*/ 117 w 154"/>
                  <a:gd name="T39" fmla="*/ 164 h 185"/>
                  <a:gd name="T40" fmla="*/ 117 w 154"/>
                  <a:gd name="T41" fmla="*/ 149 h 185"/>
                  <a:gd name="T42" fmla="*/ 129 w 154"/>
                  <a:gd name="T43" fmla="*/ 127 h 185"/>
                  <a:gd name="T44" fmla="*/ 149 w 154"/>
                  <a:gd name="T45" fmla="*/ 77 h 185"/>
                  <a:gd name="T46" fmla="*/ 77 w 154"/>
                  <a:gd name="T47" fmla="*/ 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4" h="185">
                    <a:moveTo>
                      <a:pt x="101" y="185"/>
                    </a:moveTo>
                    <a:cubicBezTo>
                      <a:pt x="53" y="185"/>
                      <a:pt x="53" y="185"/>
                      <a:pt x="53" y="185"/>
                    </a:cubicBezTo>
                    <a:cubicBezTo>
                      <a:pt x="41" y="185"/>
                      <a:pt x="32" y="175"/>
                      <a:pt x="32" y="164"/>
                    </a:cubicBezTo>
                    <a:cubicBezTo>
                      <a:pt x="32" y="149"/>
                      <a:pt x="32" y="149"/>
                      <a:pt x="32" y="149"/>
                    </a:cubicBezTo>
                    <a:cubicBezTo>
                      <a:pt x="32" y="141"/>
                      <a:pt x="28" y="137"/>
                      <a:pt x="22" y="130"/>
                    </a:cubicBezTo>
                    <a:cubicBezTo>
                      <a:pt x="8" y="117"/>
                      <a:pt x="0" y="97"/>
                      <a:pt x="0" y="77"/>
                    </a:cubicBezTo>
                    <a:cubicBezTo>
                      <a:pt x="0" y="34"/>
                      <a:pt x="34" y="0"/>
                      <a:pt x="77" y="0"/>
                    </a:cubicBezTo>
                    <a:cubicBezTo>
                      <a:pt x="119" y="0"/>
                      <a:pt x="154" y="34"/>
                      <a:pt x="154" y="77"/>
                    </a:cubicBezTo>
                    <a:cubicBezTo>
                      <a:pt x="154" y="97"/>
                      <a:pt x="146" y="117"/>
                      <a:pt x="132" y="130"/>
                    </a:cubicBezTo>
                    <a:cubicBezTo>
                      <a:pt x="125" y="137"/>
                      <a:pt x="122" y="141"/>
                      <a:pt x="122" y="149"/>
                    </a:cubicBezTo>
                    <a:cubicBezTo>
                      <a:pt x="122" y="164"/>
                      <a:pt x="122" y="164"/>
                      <a:pt x="122" y="164"/>
                    </a:cubicBezTo>
                    <a:cubicBezTo>
                      <a:pt x="122" y="175"/>
                      <a:pt x="113" y="185"/>
                      <a:pt x="101" y="185"/>
                    </a:cubicBezTo>
                    <a:close/>
                    <a:moveTo>
                      <a:pt x="77" y="5"/>
                    </a:moveTo>
                    <a:cubicBezTo>
                      <a:pt x="37" y="5"/>
                      <a:pt x="5" y="37"/>
                      <a:pt x="5" y="77"/>
                    </a:cubicBezTo>
                    <a:cubicBezTo>
                      <a:pt x="5" y="96"/>
                      <a:pt x="12" y="114"/>
                      <a:pt x="25" y="127"/>
                    </a:cubicBezTo>
                    <a:cubicBezTo>
                      <a:pt x="32" y="134"/>
                      <a:pt x="36" y="140"/>
                      <a:pt x="36" y="149"/>
                    </a:cubicBezTo>
                    <a:cubicBezTo>
                      <a:pt x="36" y="164"/>
                      <a:pt x="36" y="164"/>
                      <a:pt x="36" y="164"/>
                    </a:cubicBezTo>
                    <a:cubicBezTo>
                      <a:pt x="36" y="173"/>
                      <a:pt x="44" y="180"/>
                      <a:pt x="53" y="180"/>
                    </a:cubicBezTo>
                    <a:cubicBezTo>
                      <a:pt x="101" y="180"/>
                      <a:pt x="101" y="180"/>
                      <a:pt x="101" y="180"/>
                    </a:cubicBezTo>
                    <a:cubicBezTo>
                      <a:pt x="110" y="180"/>
                      <a:pt x="117" y="173"/>
                      <a:pt x="117" y="164"/>
                    </a:cubicBezTo>
                    <a:cubicBezTo>
                      <a:pt x="117" y="149"/>
                      <a:pt x="117" y="149"/>
                      <a:pt x="117" y="149"/>
                    </a:cubicBezTo>
                    <a:cubicBezTo>
                      <a:pt x="117" y="140"/>
                      <a:pt x="122" y="134"/>
                      <a:pt x="129" y="127"/>
                    </a:cubicBezTo>
                    <a:cubicBezTo>
                      <a:pt x="142" y="114"/>
                      <a:pt x="149" y="96"/>
                      <a:pt x="149" y="77"/>
                    </a:cubicBezTo>
                    <a:cubicBezTo>
                      <a:pt x="149" y="37"/>
                      <a:pt x="117" y="5"/>
                      <a:pt x="7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43" name="Freeform 48">
                <a:extLst>
                  <a:ext uri="{FF2B5EF4-FFF2-40B4-BE49-F238E27FC236}">
                    <a16:creationId xmlns:a16="http://schemas.microsoft.com/office/drawing/2014/main" id="{FD6C8871-A5B9-0CD4-AA00-48C2D90FE52D}"/>
                  </a:ext>
                </a:extLst>
              </p:cNvPr>
              <p:cNvSpPr>
                <a:spLocks noEditPoints="1"/>
              </p:cNvSpPr>
              <p:nvPr/>
            </p:nvSpPr>
            <p:spPr bwMode="auto">
              <a:xfrm>
                <a:off x="2898775" y="3065463"/>
                <a:ext cx="123825" cy="39688"/>
              </a:xfrm>
              <a:custGeom>
                <a:avLst/>
                <a:gdLst>
                  <a:gd name="T0" fmla="*/ 62 w 73"/>
                  <a:gd name="T1" fmla="*/ 23 h 23"/>
                  <a:gd name="T2" fmla="*/ 12 w 73"/>
                  <a:gd name="T3" fmla="*/ 23 h 23"/>
                  <a:gd name="T4" fmla="*/ 0 w 73"/>
                  <a:gd name="T5" fmla="*/ 11 h 23"/>
                  <a:gd name="T6" fmla="*/ 12 w 73"/>
                  <a:gd name="T7" fmla="*/ 0 h 23"/>
                  <a:gd name="T8" fmla="*/ 62 w 73"/>
                  <a:gd name="T9" fmla="*/ 0 h 23"/>
                  <a:gd name="T10" fmla="*/ 73 w 73"/>
                  <a:gd name="T11" fmla="*/ 11 h 23"/>
                  <a:gd name="T12" fmla="*/ 62 w 73"/>
                  <a:gd name="T13" fmla="*/ 23 h 23"/>
                  <a:gd name="T14" fmla="*/ 12 w 73"/>
                  <a:gd name="T15" fmla="*/ 5 h 23"/>
                  <a:gd name="T16" fmla="*/ 5 w 73"/>
                  <a:gd name="T17" fmla="*/ 11 h 23"/>
                  <a:gd name="T18" fmla="*/ 12 w 73"/>
                  <a:gd name="T19" fmla="*/ 18 h 23"/>
                  <a:gd name="T20" fmla="*/ 62 w 73"/>
                  <a:gd name="T21" fmla="*/ 18 h 23"/>
                  <a:gd name="T22" fmla="*/ 69 w 73"/>
                  <a:gd name="T23" fmla="*/ 11 h 23"/>
                  <a:gd name="T24" fmla="*/ 62 w 73"/>
                  <a:gd name="T25" fmla="*/ 5 h 23"/>
                  <a:gd name="T26" fmla="*/ 12 w 73"/>
                  <a:gd name="T27"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23">
                    <a:moveTo>
                      <a:pt x="62" y="23"/>
                    </a:moveTo>
                    <a:cubicBezTo>
                      <a:pt x="12" y="23"/>
                      <a:pt x="12" y="23"/>
                      <a:pt x="12" y="23"/>
                    </a:cubicBezTo>
                    <a:cubicBezTo>
                      <a:pt x="6" y="23"/>
                      <a:pt x="0" y="17"/>
                      <a:pt x="0" y="11"/>
                    </a:cubicBezTo>
                    <a:cubicBezTo>
                      <a:pt x="0" y="5"/>
                      <a:pt x="6" y="0"/>
                      <a:pt x="12" y="0"/>
                    </a:cubicBezTo>
                    <a:cubicBezTo>
                      <a:pt x="62" y="0"/>
                      <a:pt x="62" y="0"/>
                      <a:pt x="62" y="0"/>
                    </a:cubicBezTo>
                    <a:cubicBezTo>
                      <a:pt x="68" y="0"/>
                      <a:pt x="73" y="5"/>
                      <a:pt x="73" y="11"/>
                    </a:cubicBezTo>
                    <a:cubicBezTo>
                      <a:pt x="73" y="17"/>
                      <a:pt x="68" y="23"/>
                      <a:pt x="62" y="23"/>
                    </a:cubicBezTo>
                    <a:close/>
                    <a:moveTo>
                      <a:pt x="12" y="5"/>
                    </a:moveTo>
                    <a:cubicBezTo>
                      <a:pt x="8" y="5"/>
                      <a:pt x="5" y="8"/>
                      <a:pt x="5" y="11"/>
                    </a:cubicBezTo>
                    <a:cubicBezTo>
                      <a:pt x="5" y="15"/>
                      <a:pt x="8" y="18"/>
                      <a:pt x="12" y="18"/>
                    </a:cubicBezTo>
                    <a:cubicBezTo>
                      <a:pt x="62" y="18"/>
                      <a:pt x="62" y="18"/>
                      <a:pt x="62" y="18"/>
                    </a:cubicBezTo>
                    <a:cubicBezTo>
                      <a:pt x="66" y="18"/>
                      <a:pt x="69" y="15"/>
                      <a:pt x="69" y="11"/>
                    </a:cubicBezTo>
                    <a:cubicBezTo>
                      <a:pt x="69" y="8"/>
                      <a:pt x="66" y="5"/>
                      <a:pt x="62" y="5"/>
                    </a:cubicBezTo>
                    <a:lnTo>
                      <a:pt x="1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grpSp>
      </p:grpSp>
      <p:grpSp>
        <p:nvGrpSpPr>
          <p:cNvPr id="44" name="Group 75">
            <a:extLst>
              <a:ext uri="{FF2B5EF4-FFF2-40B4-BE49-F238E27FC236}">
                <a16:creationId xmlns:a16="http://schemas.microsoft.com/office/drawing/2014/main" id="{8B97B61A-9D2A-08AF-3579-294760EC0F3C}"/>
              </a:ext>
            </a:extLst>
          </p:cNvPr>
          <p:cNvGrpSpPr/>
          <p:nvPr/>
        </p:nvGrpSpPr>
        <p:grpSpPr>
          <a:xfrm>
            <a:off x="1340413" y="3596093"/>
            <a:ext cx="732562" cy="728708"/>
            <a:chOff x="3503613" y="2446338"/>
            <a:chExt cx="603250" cy="600075"/>
          </a:xfrm>
        </p:grpSpPr>
        <p:sp>
          <p:nvSpPr>
            <p:cNvPr id="45" name="Oval 15">
              <a:extLst>
                <a:ext uri="{FF2B5EF4-FFF2-40B4-BE49-F238E27FC236}">
                  <a16:creationId xmlns:a16="http://schemas.microsoft.com/office/drawing/2014/main" id="{541F317E-1F76-EA74-61CB-ED71355C0BC5}"/>
                </a:ext>
              </a:extLst>
            </p:cNvPr>
            <p:cNvSpPr>
              <a:spLocks noChangeArrowheads="1"/>
            </p:cNvSpPr>
            <p:nvPr/>
          </p:nvSpPr>
          <p:spPr bwMode="auto">
            <a:xfrm>
              <a:off x="3503613" y="2446338"/>
              <a:ext cx="603250" cy="600075"/>
            </a:xfrm>
            <a:prstGeom prst="ellipse">
              <a:avLst/>
            </a:prstGeom>
            <a:solidFill>
              <a:schemeClr val="accent6"/>
            </a:solidFill>
            <a:ln>
              <a:noFill/>
            </a:ln>
          </p:spPr>
          <p:txBody>
            <a:bodyPr vert="horz" wrap="square" lIns="121920" tIns="60960" rIns="121920" bIns="60960" numCol="1" anchor="t" anchorCtr="0" compatLnSpc="1">
              <a:prstTxWarp prst="textNoShape">
                <a:avLst/>
              </a:prstTxWarp>
            </a:bodyPr>
            <a:lstStyle/>
            <a:p>
              <a:endParaRPr lang="en-US" sz="3200"/>
            </a:p>
          </p:txBody>
        </p:sp>
        <p:grpSp>
          <p:nvGrpSpPr>
            <p:cNvPr id="46" name="Group 66">
              <a:extLst>
                <a:ext uri="{FF2B5EF4-FFF2-40B4-BE49-F238E27FC236}">
                  <a16:creationId xmlns:a16="http://schemas.microsoft.com/office/drawing/2014/main" id="{6277C63E-3773-413C-5C08-F8586075FC2C}"/>
                </a:ext>
              </a:extLst>
            </p:cNvPr>
            <p:cNvGrpSpPr/>
            <p:nvPr/>
          </p:nvGrpSpPr>
          <p:grpSpPr>
            <a:xfrm>
              <a:off x="3622675" y="2555875"/>
              <a:ext cx="365125" cy="381001"/>
              <a:chOff x="3622675" y="2749550"/>
              <a:chExt cx="365125" cy="381001"/>
            </a:xfrm>
          </p:grpSpPr>
          <p:sp>
            <p:nvSpPr>
              <p:cNvPr id="47" name="Freeform 27">
                <a:extLst>
                  <a:ext uri="{FF2B5EF4-FFF2-40B4-BE49-F238E27FC236}">
                    <a16:creationId xmlns:a16="http://schemas.microsoft.com/office/drawing/2014/main" id="{4CF850CE-8E84-7F4D-0913-7D452281A5C2}"/>
                  </a:ext>
                </a:extLst>
              </p:cNvPr>
              <p:cNvSpPr>
                <a:spLocks/>
              </p:cNvSpPr>
              <p:nvPr/>
            </p:nvSpPr>
            <p:spPr bwMode="auto">
              <a:xfrm>
                <a:off x="3622675" y="2749550"/>
                <a:ext cx="365125" cy="141288"/>
              </a:xfrm>
              <a:custGeom>
                <a:avLst/>
                <a:gdLst>
                  <a:gd name="T0" fmla="*/ 215 w 215"/>
                  <a:gd name="T1" fmla="*/ 80 h 83"/>
                  <a:gd name="T2" fmla="*/ 193 w 215"/>
                  <a:gd name="T3" fmla="*/ 39 h 83"/>
                  <a:gd name="T4" fmla="*/ 192 w 215"/>
                  <a:gd name="T5" fmla="*/ 39 h 83"/>
                  <a:gd name="T6" fmla="*/ 192 w 215"/>
                  <a:gd name="T7" fmla="*/ 39 h 83"/>
                  <a:gd name="T8" fmla="*/ 175 w 215"/>
                  <a:gd name="T9" fmla="*/ 22 h 83"/>
                  <a:gd name="T10" fmla="*/ 107 w 215"/>
                  <a:gd name="T11" fmla="*/ 0 h 83"/>
                  <a:gd name="T12" fmla="*/ 107 w 215"/>
                  <a:gd name="T13" fmla="*/ 0 h 83"/>
                  <a:gd name="T14" fmla="*/ 107 w 215"/>
                  <a:gd name="T15" fmla="*/ 0 h 83"/>
                  <a:gd name="T16" fmla="*/ 107 w 215"/>
                  <a:gd name="T17" fmla="*/ 0 h 83"/>
                  <a:gd name="T18" fmla="*/ 40 w 215"/>
                  <a:gd name="T19" fmla="*/ 22 h 83"/>
                  <a:gd name="T20" fmla="*/ 22 w 215"/>
                  <a:gd name="T21" fmla="*/ 39 h 83"/>
                  <a:gd name="T22" fmla="*/ 22 w 215"/>
                  <a:gd name="T23" fmla="*/ 39 h 83"/>
                  <a:gd name="T24" fmla="*/ 22 w 215"/>
                  <a:gd name="T25" fmla="*/ 39 h 83"/>
                  <a:gd name="T26" fmla="*/ 0 w 215"/>
                  <a:gd name="T27" fmla="*/ 80 h 83"/>
                  <a:gd name="T28" fmla="*/ 1 w 215"/>
                  <a:gd name="T29" fmla="*/ 83 h 83"/>
                  <a:gd name="T30" fmla="*/ 2 w 215"/>
                  <a:gd name="T31" fmla="*/ 83 h 83"/>
                  <a:gd name="T32" fmla="*/ 4 w 215"/>
                  <a:gd name="T33" fmla="*/ 81 h 83"/>
                  <a:gd name="T34" fmla="*/ 24 w 215"/>
                  <a:gd name="T35" fmla="*/ 44 h 83"/>
                  <a:gd name="T36" fmla="*/ 33 w 215"/>
                  <a:gd name="T37" fmla="*/ 57 h 83"/>
                  <a:gd name="T38" fmla="*/ 35 w 215"/>
                  <a:gd name="T39" fmla="*/ 58 h 83"/>
                  <a:gd name="T40" fmla="*/ 37 w 215"/>
                  <a:gd name="T41" fmla="*/ 57 h 83"/>
                  <a:gd name="T42" fmla="*/ 37 w 215"/>
                  <a:gd name="T43" fmla="*/ 54 h 83"/>
                  <a:gd name="T44" fmla="*/ 27 w 215"/>
                  <a:gd name="T45" fmla="*/ 41 h 83"/>
                  <a:gd name="T46" fmla="*/ 43 w 215"/>
                  <a:gd name="T47" fmla="*/ 26 h 83"/>
                  <a:gd name="T48" fmla="*/ 105 w 215"/>
                  <a:gd name="T49" fmla="*/ 4 h 83"/>
                  <a:gd name="T50" fmla="*/ 105 w 215"/>
                  <a:gd name="T51" fmla="*/ 25 h 83"/>
                  <a:gd name="T52" fmla="*/ 107 w 215"/>
                  <a:gd name="T53" fmla="*/ 27 h 83"/>
                  <a:gd name="T54" fmla="*/ 110 w 215"/>
                  <a:gd name="T55" fmla="*/ 25 h 83"/>
                  <a:gd name="T56" fmla="*/ 110 w 215"/>
                  <a:gd name="T57" fmla="*/ 4 h 83"/>
                  <a:gd name="T58" fmla="*/ 172 w 215"/>
                  <a:gd name="T59" fmla="*/ 26 h 83"/>
                  <a:gd name="T60" fmla="*/ 188 w 215"/>
                  <a:gd name="T61" fmla="*/ 41 h 83"/>
                  <a:gd name="T62" fmla="*/ 178 w 215"/>
                  <a:gd name="T63" fmla="*/ 54 h 83"/>
                  <a:gd name="T64" fmla="*/ 178 w 215"/>
                  <a:gd name="T65" fmla="*/ 57 h 83"/>
                  <a:gd name="T66" fmla="*/ 180 w 215"/>
                  <a:gd name="T67" fmla="*/ 58 h 83"/>
                  <a:gd name="T68" fmla="*/ 181 w 215"/>
                  <a:gd name="T69" fmla="*/ 57 h 83"/>
                  <a:gd name="T70" fmla="*/ 191 w 215"/>
                  <a:gd name="T71" fmla="*/ 44 h 83"/>
                  <a:gd name="T72" fmla="*/ 210 w 215"/>
                  <a:gd name="T73" fmla="*/ 81 h 83"/>
                  <a:gd name="T74" fmla="*/ 213 w 215"/>
                  <a:gd name="T75" fmla="*/ 83 h 83"/>
                  <a:gd name="T76" fmla="*/ 215 w 215"/>
                  <a:gd name="T77" fmla="*/ 8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5" h="83">
                    <a:moveTo>
                      <a:pt x="215" y="80"/>
                    </a:moveTo>
                    <a:cubicBezTo>
                      <a:pt x="211" y="65"/>
                      <a:pt x="203" y="51"/>
                      <a:pt x="193" y="39"/>
                    </a:cubicBezTo>
                    <a:cubicBezTo>
                      <a:pt x="193" y="39"/>
                      <a:pt x="193" y="39"/>
                      <a:pt x="192" y="39"/>
                    </a:cubicBezTo>
                    <a:cubicBezTo>
                      <a:pt x="192" y="39"/>
                      <a:pt x="192" y="39"/>
                      <a:pt x="192" y="39"/>
                    </a:cubicBezTo>
                    <a:cubicBezTo>
                      <a:pt x="187" y="33"/>
                      <a:pt x="181" y="27"/>
                      <a:pt x="175" y="22"/>
                    </a:cubicBezTo>
                    <a:cubicBezTo>
                      <a:pt x="155" y="7"/>
                      <a:pt x="132" y="0"/>
                      <a:pt x="107" y="0"/>
                    </a:cubicBezTo>
                    <a:cubicBezTo>
                      <a:pt x="107" y="0"/>
                      <a:pt x="107" y="0"/>
                      <a:pt x="107" y="0"/>
                    </a:cubicBezTo>
                    <a:cubicBezTo>
                      <a:pt x="107" y="0"/>
                      <a:pt x="107" y="0"/>
                      <a:pt x="107" y="0"/>
                    </a:cubicBezTo>
                    <a:cubicBezTo>
                      <a:pt x="107" y="0"/>
                      <a:pt x="107" y="0"/>
                      <a:pt x="107" y="0"/>
                    </a:cubicBezTo>
                    <a:cubicBezTo>
                      <a:pt x="83" y="0"/>
                      <a:pt x="59" y="7"/>
                      <a:pt x="40" y="22"/>
                    </a:cubicBezTo>
                    <a:cubicBezTo>
                      <a:pt x="33" y="27"/>
                      <a:pt x="28" y="33"/>
                      <a:pt x="22" y="39"/>
                    </a:cubicBezTo>
                    <a:cubicBezTo>
                      <a:pt x="22" y="39"/>
                      <a:pt x="22" y="39"/>
                      <a:pt x="22" y="39"/>
                    </a:cubicBezTo>
                    <a:cubicBezTo>
                      <a:pt x="22" y="39"/>
                      <a:pt x="22" y="39"/>
                      <a:pt x="22" y="39"/>
                    </a:cubicBezTo>
                    <a:cubicBezTo>
                      <a:pt x="12" y="51"/>
                      <a:pt x="4" y="65"/>
                      <a:pt x="0" y="80"/>
                    </a:cubicBezTo>
                    <a:cubicBezTo>
                      <a:pt x="0" y="81"/>
                      <a:pt x="0" y="82"/>
                      <a:pt x="1" y="83"/>
                    </a:cubicBezTo>
                    <a:cubicBezTo>
                      <a:pt x="2" y="83"/>
                      <a:pt x="2" y="83"/>
                      <a:pt x="2" y="83"/>
                    </a:cubicBezTo>
                    <a:cubicBezTo>
                      <a:pt x="3" y="83"/>
                      <a:pt x="4" y="82"/>
                      <a:pt x="4" y="81"/>
                    </a:cubicBezTo>
                    <a:cubicBezTo>
                      <a:pt x="8" y="68"/>
                      <a:pt x="15" y="55"/>
                      <a:pt x="24" y="44"/>
                    </a:cubicBezTo>
                    <a:cubicBezTo>
                      <a:pt x="33" y="57"/>
                      <a:pt x="33" y="57"/>
                      <a:pt x="33" y="57"/>
                    </a:cubicBezTo>
                    <a:cubicBezTo>
                      <a:pt x="34" y="57"/>
                      <a:pt x="34" y="58"/>
                      <a:pt x="35" y="58"/>
                    </a:cubicBezTo>
                    <a:cubicBezTo>
                      <a:pt x="36" y="58"/>
                      <a:pt x="36" y="57"/>
                      <a:pt x="37" y="57"/>
                    </a:cubicBezTo>
                    <a:cubicBezTo>
                      <a:pt x="38" y="56"/>
                      <a:pt x="38" y="55"/>
                      <a:pt x="37" y="54"/>
                    </a:cubicBezTo>
                    <a:cubicBezTo>
                      <a:pt x="27" y="41"/>
                      <a:pt x="27" y="41"/>
                      <a:pt x="27" y="41"/>
                    </a:cubicBezTo>
                    <a:cubicBezTo>
                      <a:pt x="32" y="35"/>
                      <a:pt x="37" y="30"/>
                      <a:pt x="43" y="26"/>
                    </a:cubicBezTo>
                    <a:cubicBezTo>
                      <a:pt x="61" y="12"/>
                      <a:pt x="82" y="5"/>
                      <a:pt x="105" y="4"/>
                    </a:cubicBezTo>
                    <a:cubicBezTo>
                      <a:pt x="105" y="25"/>
                      <a:pt x="105" y="25"/>
                      <a:pt x="105" y="25"/>
                    </a:cubicBezTo>
                    <a:cubicBezTo>
                      <a:pt x="105" y="26"/>
                      <a:pt x="106" y="27"/>
                      <a:pt x="107" y="27"/>
                    </a:cubicBezTo>
                    <a:cubicBezTo>
                      <a:pt x="109" y="27"/>
                      <a:pt x="110" y="26"/>
                      <a:pt x="110" y="25"/>
                    </a:cubicBezTo>
                    <a:cubicBezTo>
                      <a:pt x="110" y="4"/>
                      <a:pt x="110" y="4"/>
                      <a:pt x="110" y="4"/>
                    </a:cubicBezTo>
                    <a:cubicBezTo>
                      <a:pt x="132" y="5"/>
                      <a:pt x="154" y="12"/>
                      <a:pt x="172" y="26"/>
                    </a:cubicBezTo>
                    <a:cubicBezTo>
                      <a:pt x="178" y="30"/>
                      <a:pt x="183" y="35"/>
                      <a:pt x="188" y="41"/>
                    </a:cubicBezTo>
                    <a:cubicBezTo>
                      <a:pt x="178" y="54"/>
                      <a:pt x="178" y="54"/>
                      <a:pt x="178" y="54"/>
                    </a:cubicBezTo>
                    <a:cubicBezTo>
                      <a:pt x="177" y="55"/>
                      <a:pt x="177" y="56"/>
                      <a:pt x="178" y="57"/>
                    </a:cubicBezTo>
                    <a:cubicBezTo>
                      <a:pt x="179" y="57"/>
                      <a:pt x="179" y="58"/>
                      <a:pt x="180" y="58"/>
                    </a:cubicBezTo>
                    <a:cubicBezTo>
                      <a:pt x="180" y="58"/>
                      <a:pt x="181" y="57"/>
                      <a:pt x="181" y="57"/>
                    </a:cubicBezTo>
                    <a:cubicBezTo>
                      <a:pt x="191" y="44"/>
                      <a:pt x="191" y="44"/>
                      <a:pt x="191" y="44"/>
                    </a:cubicBezTo>
                    <a:cubicBezTo>
                      <a:pt x="200" y="55"/>
                      <a:pt x="206" y="68"/>
                      <a:pt x="210" y="81"/>
                    </a:cubicBezTo>
                    <a:cubicBezTo>
                      <a:pt x="211" y="82"/>
                      <a:pt x="212" y="83"/>
                      <a:pt x="213" y="83"/>
                    </a:cubicBezTo>
                    <a:cubicBezTo>
                      <a:pt x="215" y="82"/>
                      <a:pt x="215" y="81"/>
                      <a:pt x="215"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48" name="Freeform 28">
                <a:extLst>
                  <a:ext uri="{FF2B5EF4-FFF2-40B4-BE49-F238E27FC236}">
                    <a16:creationId xmlns:a16="http://schemas.microsoft.com/office/drawing/2014/main" id="{29153632-0758-C94C-CFED-5ABB7C3DF752}"/>
                  </a:ext>
                </a:extLst>
              </p:cNvPr>
              <p:cNvSpPr>
                <a:spLocks/>
              </p:cNvSpPr>
              <p:nvPr/>
            </p:nvSpPr>
            <p:spPr bwMode="auto">
              <a:xfrm>
                <a:off x="3643313" y="3033713"/>
                <a:ext cx="323850" cy="96838"/>
              </a:xfrm>
              <a:custGeom>
                <a:avLst/>
                <a:gdLst>
                  <a:gd name="T0" fmla="*/ 190 w 191"/>
                  <a:gd name="T1" fmla="*/ 1 h 57"/>
                  <a:gd name="T2" fmla="*/ 187 w 191"/>
                  <a:gd name="T3" fmla="*/ 2 h 57"/>
                  <a:gd name="T4" fmla="*/ 95 w 191"/>
                  <a:gd name="T5" fmla="*/ 52 h 57"/>
                  <a:gd name="T6" fmla="*/ 4 w 191"/>
                  <a:gd name="T7" fmla="*/ 2 h 57"/>
                  <a:gd name="T8" fmla="*/ 1 w 191"/>
                  <a:gd name="T9" fmla="*/ 1 h 57"/>
                  <a:gd name="T10" fmla="*/ 0 w 191"/>
                  <a:gd name="T11" fmla="*/ 4 h 57"/>
                  <a:gd name="T12" fmla="*/ 95 w 191"/>
                  <a:gd name="T13" fmla="*/ 57 h 57"/>
                  <a:gd name="T14" fmla="*/ 190 w 191"/>
                  <a:gd name="T15" fmla="*/ 4 h 57"/>
                  <a:gd name="T16" fmla="*/ 190 w 191"/>
                  <a:gd name="T17" fmla="*/ 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 h="57">
                    <a:moveTo>
                      <a:pt x="190" y="1"/>
                    </a:moveTo>
                    <a:cubicBezTo>
                      <a:pt x="189" y="0"/>
                      <a:pt x="187" y="1"/>
                      <a:pt x="187" y="2"/>
                    </a:cubicBezTo>
                    <a:cubicBezTo>
                      <a:pt x="167" y="33"/>
                      <a:pt x="133" y="52"/>
                      <a:pt x="95" y="52"/>
                    </a:cubicBezTo>
                    <a:cubicBezTo>
                      <a:pt x="58" y="52"/>
                      <a:pt x="24" y="33"/>
                      <a:pt x="4" y="2"/>
                    </a:cubicBezTo>
                    <a:cubicBezTo>
                      <a:pt x="4" y="1"/>
                      <a:pt x="2" y="0"/>
                      <a:pt x="1" y="1"/>
                    </a:cubicBezTo>
                    <a:cubicBezTo>
                      <a:pt x="0" y="2"/>
                      <a:pt x="0" y="3"/>
                      <a:pt x="0" y="4"/>
                    </a:cubicBezTo>
                    <a:cubicBezTo>
                      <a:pt x="21" y="37"/>
                      <a:pt x="57" y="57"/>
                      <a:pt x="95" y="57"/>
                    </a:cubicBezTo>
                    <a:cubicBezTo>
                      <a:pt x="134" y="57"/>
                      <a:pt x="170" y="37"/>
                      <a:pt x="190" y="4"/>
                    </a:cubicBezTo>
                    <a:cubicBezTo>
                      <a:pt x="191" y="3"/>
                      <a:pt x="191" y="2"/>
                      <a:pt x="19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49" name="Freeform 29">
                <a:extLst>
                  <a:ext uri="{FF2B5EF4-FFF2-40B4-BE49-F238E27FC236}">
                    <a16:creationId xmlns:a16="http://schemas.microsoft.com/office/drawing/2014/main" id="{0DF07F5C-871D-FC52-2FFD-56E1AEEC84A1}"/>
                  </a:ext>
                </a:extLst>
              </p:cNvPr>
              <p:cNvSpPr>
                <a:spLocks noEditPoints="1"/>
              </p:cNvSpPr>
              <p:nvPr/>
            </p:nvSpPr>
            <p:spPr bwMode="auto">
              <a:xfrm>
                <a:off x="3735388" y="2900363"/>
                <a:ext cx="200025" cy="141288"/>
              </a:xfrm>
              <a:custGeom>
                <a:avLst/>
                <a:gdLst>
                  <a:gd name="T0" fmla="*/ 118 w 118"/>
                  <a:gd name="T1" fmla="*/ 1 h 83"/>
                  <a:gd name="T2" fmla="*/ 114 w 118"/>
                  <a:gd name="T3" fmla="*/ 1 h 83"/>
                  <a:gd name="T4" fmla="*/ 64 w 118"/>
                  <a:gd name="T5" fmla="*/ 54 h 83"/>
                  <a:gd name="T6" fmla="*/ 41 w 118"/>
                  <a:gd name="T7" fmla="*/ 48 h 83"/>
                  <a:gd name="T8" fmla="*/ 0 w 118"/>
                  <a:gd name="T9" fmla="*/ 80 h 83"/>
                  <a:gd name="T10" fmla="*/ 1 w 118"/>
                  <a:gd name="T11" fmla="*/ 82 h 83"/>
                  <a:gd name="T12" fmla="*/ 2 w 118"/>
                  <a:gd name="T13" fmla="*/ 83 h 83"/>
                  <a:gd name="T14" fmla="*/ 80 w 118"/>
                  <a:gd name="T15" fmla="*/ 83 h 83"/>
                  <a:gd name="T16" fmla="*/ 82 w 118"/>
                  <a:gd name="T17" fmla="*/ 82 h 83"/>
                  <a:gd name="T18" fmla="*/ 83 w 118"/>
                  <a:gd name="T19" fmla="*/ 80 h 83"/>
                  <a:gd name="T20" fmla="*/ 68 w 118"/>
                  <a:gd name="T21" fmla="*/ 57 h 83"/>
                  <a:gd name="T22" fmla="*/ 118 w 118"/>
                  <a:gd name="T23" fmla="*/ 5 h 83"/>
                  <a:gd name="T24" fmla="*/ 118 w 118"/>
                  <a:gd name="T25" fmla="*/ 1 h 83"/>
                  <a:gd name="T26" fmla="*/ 77 w 118"/>
                  <a:gd name="T27" fmla="*/ 79 h 83"/>
                  <a:gd name="T28" fmla="*/ 5 w 118"/>
                  <a:gd name="T29" fmla="*/ 79 h 83"/>
                  <a:gd name="T30" fmla="*/ 41 w 118"/>
                  <a:gd name="T31" fmla="*/ 52 h 83"/>
                  <a:gd name="T32" fmla="*/ 63 w 118"/>
                  <a:gd name="T33" fmla="*/ 59 h 83"/>
                  <a:gd name="T34" fmla="*/ 63 w 118"/>
                  <a:gd name="T35" fmla="*/ 59 h 83"/>
                  <a:gd name="T36" fmla="*/ 63 w 118"/>
                  <a:gd name="T37" fmla="*/ 59 h 83"/>
                  <a:gd name="T38" fmla="*/ 77 w 118"/>
                  <a:gd name="T39" fmla="*/ 7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83">
                    <a:moveTo>
                      <a:pt x="118" y="1"/>
                    </a:moveTo>
                    <a:cubicBezTo>
                      <a:pt x="117" y="0"/>
                      <a:pt x="115" y="0"/>
                      <a:pt x="114" y="1"/>
                    </a:cubicBezTo>
                    <a:cubicBezTo>
                      <a:pt x="64" y="54"/>
                      <a:pt x="64" y="54"/>
                      <a:pt x="64" y="54"/>
                    </a:cubicBezTo>
                    <a:cubicBezTo>
                      <a:pt x="57" y="50"/>
                      <a:pt x="50" y="48"/>
                      <a:pt x="41" y="48"/>
                    </a:cubicBezTo>
                    <a:cubicBezTo>
                      <a:pt x="22" y="48"/>
                      <a:pt x="5" y="61"/>
                      <a:pt x="0" y="80"/>
                    </a:cubicBezTo>
                    <a:cubicBezTo>
                      <a:pt x="0" y="81"/>
                      <a:pt x="0" y="82"/>
                      <a:pt x="1" y="82"/>
                    </a:cubicBezTo>
                    <a:cubicBezTo>
                      <a:pt x="1" y="83"/>
                      <a:pt x="2" y="83"/>
                      <a:pt x="2" y="83"/>
                    </a:cubicBezTo>
                    <a:cubicBezTo>
                      <a:pt x="80" y="83"/>
                      <a:pt x="80" y="83"/>
                      <a:pt x="80" y="83"/>
                    </a:cubicBezTo>
                    <a:cubicBezTo>
                      <a:pt x="81" y="83"/>
                      <a:pt x="82" y="83"/>
                      <a:pt x="82" y="82"/>
                    </a:cubicBezTo>
                    <a:cubicBezTo>
                      <a:pt x="83" y="82"/>
                      <a:pt x="83" y="81"/>
                      <a:pt x="83" y="80"/>
                    </a:cubicBezTo>
                    <a:cubicBezTo>
                      <a:pt x="80" y="71"/>
                      <a:pt x="75" y="62"/>
                      <a:pt x="68" y="57"/>
                    </a:cubicBezTo>
                    <a:cubicBezTo>
                      <a:pt x="118" y="5"/>
                      <a:pt x="118" y="5"/>
                      <a:pt x="118" y="5"/>
                    </a:cubicBezTo>
                    <a:cubicBezTo>
                      <a:pt x="118" y="4"/>
                      <a:pt x="118" y="2"/>
                      <a:pt x="118" y="1"/>
                    </a:cubicBezTo>
                    <a:close/>
                    <a:moveTo>
                      <a:pt x="77" y="79"/>
                    </a:moveTo>
                    <a:cubicBezTo>
                      <a:pt x="5" y="79"/>
                      <a:pt x="5" y="79"/>
                      <a:pt x="5" y="79"/>
                    </a:cubicBezTo>
                    <a:cubicBezTo>
                      <a:pt x="10" y="63"/>
                      <a:pt x="25" y="52"/>
                      <a:pt x="41" y="52"/>
                    </a:cubicBezTo>
                    <a:cubicBezTo>
                      <a:pt x="49" y="52"/>
                      <a:pt x="57" y="55"/>
                      <a:pt x="63" y="59"/>
                    </a:cubicBezTo>
                    <a:cubicBezTo>
                      <a:pt x="63" y="59"/>
                      <a:pt x="63" y="59"/>
                      <a:pt x="63" y="59"/>
                    </a:cubicBezTo>
                    <a:cubicBezTo>
                      <a:pt x="63" y="59"/>
                      <a:pt x="63" y="59"/>
                      <a:pt x="63" y="59"/>
                    </a:cubicBezTo>
                    <a:cubicBezTo>
                      <a:pt x="70" y="64"/>
                      <a:pt x="75" y="71"/>
                      <a:pt x="77"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grpSp>
      </p:grpSp>
      <p:grpSp>
        <p:nvGrpSpPr>
          <p:cNvPr id="50" name="Group 13">
            <a:extLst>
              <a:ext uri="{FF2B5EF4-FFF2-40B4-BE49-F238E27FC236}">
                <a16:creationId xmlns:a16="http://schemas.microsoft.com/office/drawing/2014/main" id="{F6A261FD-4CF3-A880-7D44-83D80C12F091}"/>
              </a:ext>
            </a:extLst>
          </p:cNvPr>
          <p:cNvGrpSpPr/>
          <p:nvPr/>
        </p:nvGrpSpPr>
        <p:grpSpPr>
          <a:xfrm>
            <a:off x="1329942" y="5424286"/>
            <a:ext cx="753501" cy="757486"/>
            <a:chOff x="9788525" y="2444750"/>
            <a:chExt cx="600075" cy="603250"/>
          </a:xfrm>
        </p:grpSpPr>
        <p:sp>
          <p:nvSpPr>
            <p:cNvPr id="51" name="Oval 14">
              <a:extLst>
                <a:ext uri="{FF2B5EF4-FFF2-40B4-BE49-F238E27FC236}">
                  <a16:creationId xmlns:a16="http://schemas.microsoft.com/office/drawing/2014/main" id="{14438894-039F-CB9B-5F3A-3409025422F3}"/>
                </a:ext>
              </a:extLst>
            </p:cNvPr>
            <p:cNvSpPr>
              <a:spLocks noChangeArrowheads="1"/>
            </p:cNvSpPr>
            <p:nvPr/>
          </p:nvSpPr>
          <p:spPr bwMode="auto">
            <a:xfrm>
              <a:off x="9788525" y="2444750"/>
              <a:ext cx="600075" cy="603250"/>
            </a:xfrm>
            <a:prstGeom prst="ellipse">
              <a:avLst/>
            </a:prstGeom>
            <a:solidFill>
              <a:schemeClr val="tx2"/>
            </a:solidFill>
            <a:ln>
              <a:noFill/>
            </a:ln>
          </p:spPr>
          <p:txBody>
            <a:bodyPr vert="horz" wrap="square" lIns="121920" tIns="60960" rIns="121920" bIns="60960" numCol="1" anchor="t" anchorCtr="0" compatLnSpc="1">
              <a:prstTxWarp prst="textNoShape">
                <a:avLst/>
              </a:prstTxWarp>
            </a:bodyPr>
            <a:lstStyle/>
            <a:p>
              <a:endParaRPr lang="en-US" sz="3200"/>
            </a:p>
          </p:txBody>
        </p:sp>
        <p:grpSp>
          <p:nvGrpSpPr>
            <p:cNvPr id="52" name="Group 15">
              <a:extLst>
                <a:ext uri="{FF2B5EF4-FFF2-40B4-BE49-F238E27FC236}">
                  <a16:creationId xmlns:a16="http://schemas.microsoft.com/office/drawing/2014/main" id="{30A6A82A-78F5-0FC0-CF68-FBB216BC5CB7}"/>
                </a:ext>
              </a:extLst>
            </p:cNvPr>
            <p:cNvGrpSpPr/>
            <p:nvPr/>
          </p:nvGrpSpPr>
          <p:grpSpPr>
            <a:xfrm>
              <a:off x="9928225" y="2586038"/>
              <a:ext cx="328613" cy="320675"/>
              <a:chOff x="9928225" y="2871788"/>
              <a:chExt cx="328613" cy="320675"/>
            </a:xfrm>
          </p:grpSpPr>
          <p:sp>
            <p:nvSpPr>
              <p:cNvPr id="53" name="Freeform 16">
                <a:extLst>
                  <a:ext uri="{FF2B5EF4-FFF2-40B4-BE49-F238E27FC236}">
                    <a16:creationId xmlns:a16="http://schemas.microsoft.com/office/drawing/2014/main" id="{F7E88EA7-93A5-8628-7D2C-64584CF1A61A}"/>
                  </a:ext>
                </a:extLst>
              </p:cNvPr>
              <p:cNvSpPr>
                <a:spLocks noEditPoints="1"/>
              </p:cNvSpPr>
              <p:nvPr/>
            </p:nvSpPr>
            <p:spPr bwMode="auto">
              <a:xfrm>
                <a:off x="9952038" y="2871788"/>
                <a:ext cx="304800" cy="296863"/>
              </a:xfrm>
              <a:custGeom>
                <a:avLst/>
                <a:gdLst>
                  <a:gd name="T0" fmla="*/ 173 w 180"/>
                  <a:gd name="T1" fmla="*/ 2 h 175"/>
                  <a:gd name="T2" fmla="*/ 163 w 180"/>
                  <a:gd name="T3" fmla="*/ 0 h 175"/>
                  <a:gd name="T4" fmla="*/ 98 w 180"/>
                  <a:gd name="T5" fmla="*/ 29 h 175"/>
                  <a:gd name="T6" fmla="*/ 65 w 180"/>
                  <a:gd name="T7" fmla="*/ 65 h 175"/>
                  <a:gd name="T8" fmla="*/ 25 w 180"/>
                  <a:gd name="T9" fmla="*/ 68 h 175"/>
                  <a:gd name="T10" fmla="*/ 0 w 180"/>
                  <a:gd name="T11" fmla="*/ 95 h 175"/>
                  <a:gd name="T12" fmla="*/ 1 w 180"/>
                  <a:gd name="T13" fmla="*/ 97 h 175"/>
                  <a:gd name="T14" fmla="*/ 3 w 180"/>
                  <a:gd name="T15" fmla="*/ 98 h 175"/>
                  <a:gd name="T16" fmla="*/ 34 w 180"/>
                  <a:gd name="T17" fmla="*/ 99 h 175"/>
                  <a:gd name="T18" fmla="*/ 32 w 180"/>
                  <a:gd name="T19" fmla="*/ 101 h 175"/>
                  <a:gd name="T20" fmla="*/ 32 w 180"/>
                  <a:gd name="T21" fmla="*/ 110 h 175"/>
                  <a:gd name="T22" fmla="*/ 22 w 180"/>
                  <a:gd name="T23" fmla="*/ 120 h 175"/>
                  <a:gd name="T24" fmla="*/ 32 w 180"/>
                  <a:gd name="T25" fmla="*/ 143 h 175"/>
                  <a:gd name="T26" fmla="*/ 52 w 180"/>
                  <a:gd name="T27" fmla="*/ 155 h 175"/>
                  <a:gd name="T28" fmla="*/ 55 w 180"/>
                  <a:gd name="T29" fmla="*/ 153 h 175"/>
                  <a:gd name="T30" fmla="*/ 65 w 180"/>
                  <a:gd name="T31" fmla="*/ 143 h 175"/>
                  <a:gd name="T32" fmla="*/ 71 w 180"/>
                  <a:gd name="T33" fmla="*/ 145 h 175"/>
                  <a:gd name="T34" fmla="*/ 74 w 180"/>
                  <a:gd name="T35" fmla="*/ 143 h 175"/>
                  <a:gd name="T36" fmla="*/ 77 w 180"/>
                  <a:gd name="T37" fmla="*/ 141 h 175"/>
                  <a:gd name="T38" fmla="*/ 78 w 180"/>
                  <a:gd name="T39" fmla="*/ 172 h 175"/>
                  <a:gd name="T40" fmla="*/ 78 w 180"/>
                  <a:gd name="T41" fmla="*/ 175 h 175"/>
                  <a:gd name="T42" fmla="*/ 80 w 180"/>
                  <a:gd name="T43" fmla="*/ 175 h 175"/>
                  <a:gd name="T44" fmla="*/ 81 w 180"/>
                  <a:gd name="T45" fmla="*/ 175 h 175"/>
                  <a:gd name="T46" fmla="*/ 108 w 180"/>
                  <a:gd name="T47" fmla="*/ 151 h 175"/>
                  <a:gd name="T48" fmla="*/ 111 w 180"/>
                  <a:gd name="T49" fmla="*/ 110 h 175"/>
                  <a:gd name="T50" fmla="*/ 146 w 180"/>
                  <a:gd name="T51" fmla="*/ 78 h 175"/>
                  <a:gd name="T52" fmla="*/ 173 w 180"/>
                  <a:gd name="T53" fmla="*/ 2 h 175"/>
                  <a:gd name="T54" fmla="*/ 7 w 180"/>
                  <a:gd name="T55" fmla="*/ 92 h 175"/>
                  <a:gd name="T56" fmla="*/ 26 w 180"/>
                  <a:gd name="T57" fmla="*/ 72 h 175"/>
                  <a:gd name="T58" fmla="*/ 61 w 180"/>
                  <a:gd name="T59" fmla="*/ 69 h 175"/>
                  <a:gd name="T60" fmla="*/ 38 w 180"/>
                  <a:gd name="T61" fmla="*/ 95 h 175"/>
                  <a:gd name="T62" fmla="*/ 7 w 180"/>
                  <a:gd name="T63" fmla="*/ 92 h 175"/>
                  <a:gd name="T64" fmla="*/ 52 w 180"/>
                  <a:gd name="T65" fmla="*/ 150 h 175"/>
                  <a:gd name="T66" fmla="*/ 36 w 180"/>
                  <a:gd name="T67" fmla="*/ 140 h 175"/>
                  <a:gd name="T68" fmla="*/ 25 w 180"/>
                  <a:gd name="T69" fmla="*/ 123 h 175"/>
                  <a:gd name="T70" fmla="*/ 34 w 180"/>
                  <a:gd name="T71" fmla="*/ 114 h 175"/>
                  <a:gd name="T72" fmla="*/ 46 w 180"/>
                  <a:gd name="T73" fmla="*/ 129 h 175"/>
                  <a:gd name="T74" fmla="*/ 61 w 180"/>
                  <a:gd name="T75" fmla="*/ 141 h 175"/>
                  <a:gd name="T76" fmla="*/ 52 w 180"/>
                  <a:gd name="T77" fmla="*/ 150 h 175"/>
                  <a:gd name="T78" fmla="*/ 103 w 180"/>
                  <a:gd name="T79" fmla="*/ 149 h 175"/>
                  <a:gd name="T80" fmla="*/ 83 w 180"/>
                  <a:gd name="T81" fmla="*/ 168 h 175"/>
                  <a:gd name="T82" fmla="*/ 81 w 180"/>
                  <a:gd name="T83" fmla="*/ 137 h 175"/>
                  <a:gd name="T84" fmla="*/ 106 w 180"/>
                  <a:gd name="T85" fmla="*/ 115 h 175"/>
                  <a:gd name="T86" fmla="*/ 103 w 180"/>
                  <a:gd name="T87" fmla="*/ 149 h 175"/>
                  <a:gd name="T88" fmla="*/ 77 w 180"/>
                  <a:gd name="T89" fmla="*/ 135 h 175"/>
                  <a:gd name="T90" fmla="*/ 76 w 180"/>
                  <a:gd name="T91" fmla="*/ 135 h 175"/>
                  <a:gd name="T92" fmla="*/ 71 w 180"/>
                  <a:gd name="T93" fmla="*/ 140 h 175"/>
                  <a:gd name="T94" fmla="*/ 71 w 180"/>
                  <a:gd name="T95" fmla="*/ 140 h 175"/>
                  <a:gd name="T96" fmla="*/ 50 w 180"/>
                  <a:gd name="T97" fmla="*/ 126 h 175"/>
                  <a:gd name="T98" fmla="*/ 35 w 180"/>
                  <a:gd name="T99" fmla="*/ 104 h 175"/>
                  <a:gd name="T100" fmla="*/ 40 w 180"/>
                  <a:gd name="T101" fmla="*/ 99 h 175"/>
                  <a:gd name="T102" fmla="*/ 40 w 180"/>
                  <a:gd name="T103" fmla="*/ 99 h 175"/>
                  <a:gd name="T104" fmla="*/ 101 w 180"/>
                  <a:gd name="T105" fmla="*/ 32 h 175"/>
                  <a:gd name="T106" fmla="*/ 163 w 180"/>
                  <a:gd name="T107" fmla="*/ 4 h 175"/>
                  <a:gd name="T108" fmla="*/ 170 w 180"/>
                  <a:gd name="T109" fmla="*/ 6 h 175"/>
                  <a:gd name="T110" fmla="*/ 143 w 180"/>
                  <a:gd name="T111" fmla="*/ 74 h 175"/>
                  <a:gd name="T112" fmla="*/ 77 w 180"/>
                  <a:gd name="T113" fmla="*/ 13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 h="175">
                    <a:moveTo>
                      <a:pt x="173" y="2"/>
                    </a:moveTo>
                    <a:cubicBezTo>
                      <a:pt x="171" y="0"/>
                      <a:pt x="168" y="0"/>
                      <a:pt x="163" y="0"/>
                    </a:cubicBezTo>
                    <a:cubicBezTo>
                      <a:pt x="150" y="0"/>
                      <a:pt x="121" y="6"/>
                      <a:pt x="98" y="29"/>
                    </a:cubicBezTo>
                    <a:cubicBezTo>
                      <a:pt x="65" y="65"/>
                      <a:pt x="65" y="65"/>
                      <a:pt x="65" y="65"/>
                    </a:cubicBezTo>
                    <a:cubicBezTo>
                      <a:pt x="60" y="65"/>
                      <a:pt x="37" y="63"/>
                      <a:pt x="25" y="68"/>
                    </a:cubicBezTo>
                    <a:cubicBezTo>
                      <a:pt x="11" y="73"/>
                      <a:pt x="1" y="94"/>
                      <a:pt x="0" y="95"/>
                    </a:cubicBezTo>
                    <a:cubicBezTo>
                      <a:pt x="0" y="95"/>
                      <a:pt x="0" y="96"/>
                      <a:pt x="1" y="97"/>
                    </a:cubicBezTo>
                    <a:cubicBezTo>
                      <a:pt x="1" y="98"/>
                      <a:pt x="2" y="98"/>
                      <a:pt x="3" y="98"/>
                    </a:cubicBezTo>
                    <a:cubicBezTo>
                      <a:pt x="16" y="94"/>
                      <a:pt x="29" y="97"/>
                      <a:pt x="34" y="99"/>
                    </a:cubicBezTo>
                    <a:cubicBezTo>
                      <a:pt x="32" y="101"/>
                      <a:pt x="32" y="101"/>
                      <a:pt x="32" y="101"/>
                    </a:cubicBezTo>
                    <a:cubicBezTo>
                      <a:pt x="30" y="103"/>
                      <a:pt x="30" y="106"/>
                      <a:pt x="32" y="110"/>
                    </a:cubicBezTo>
                    <a:cubicBezTo>
                      <a:pt x="22" y="120"/>
                      <a:pt x="22" y="120"/>
                      <a:pt x="22" y="120"/>
                    </a:cubicBezTo>
                    <a:cubicBezTo>
                      <a:pt x="18" y="125"/>
                      <a:pt x="24" y="135"/>
                      <a:pt x="32" y="143"/>
                    </a:cubicBezTo>
                    <a:cubicBezTo>
                      <a:pt x="38" y="149"/>
                      <a:pt x="46" y="155"/>
                      <a:pt x="52" y="155"/>
                    </a:cubicBezTo>
                    <a:cubicBezTo>
                      <a:pt x="53" y="155"/>
                      <a:pt x="54" y="154"/>
                      <a:pt x="55" y="153"/>
                    </a:cubicBezTo>
                    <a:cubicBezTo>
                      <a:pt x="65" y="143"/>
                      <a:pt x="65" y="143"/>
                      <a:pt x="65" y="143"/>
                    </a:cubicBezTo>
                    <a:cubicBezTo>
                      <a:pt x="67" y="144"/>
                      <a:pt x="69" y="145"/>
                      <a:pt x="71" y="145"/>
                    </a:cubicBezTo>
                    <a:cubicBezTo>
                      <a:pt x="73" y="145"/>
                      <a:pt x="74" y="144"/>
                      <a:pt x="74" y="143"/>
                    </a:cubicBezTo>
                    <a:cubicBezTo>
                      <a:pt x="77" y="141"/>
                      <a:pt x="77" y="141"/>
                      <a:pt x="77" y="141"/>
                    </a:cubicBezTo>
                    <a:cubicBezTo>
                      <a:pt x="79" y="147"/>
                      <a:pt x="82" y="160"/>
                      <a:pt x="78" y="172"/>
                    </a:cubicBezTo>
                    <a:cubicBezTo>
                      <a:pt x="77" y="173"/>
                      <a:pt x="78" y="174"/>
                      <a:pt x="78" y="175"/>
                    </a:cubicBezTo>
                    <a:cubicBezTo>
                      <a:pt x="79" y="175"/>
                      <a:pt x="79" y="175"/>
                      <a:pt x="80" y="175"/>
                    </a:cubicBezTo>
                    <a:cubicBezTo>
                      <a:pt x="80" y="175"/>
                      <a:pt x="81" y="175"/>
                      <a:pt x="81" y="175"/>
                    </a:cubicBezTo>
                    <a:cubicBezTo>
                      <a:pt x="82" y="175"/>
                      <a:pt x="103" y="165"/>
                      <a:pt x="108" y="151"/>
                    </a:cubicBezTo>
                    <a:cubicBezTo>
                      <a:pt x="112" y="138"/>
                      <a:pt x="111" y="116"/>
                      <a:pt x="111" y="110"/>
                    </a:cubicBezTo>
                    <a:cubicBezTo>
                      <a:pt x="146" y="78"/>
                      <a:pt x="146" y="78"/>
                      <a:pt x="146" y="78"/>
                    </a:cubicBezTo>
                    <a:cubicBezTo>
                      <a:pt x="174" y="50"/>
                      <a:pt x="180" y="9"/>
                      <a:pt x="173" y="2"/>
                    </a:cubicBezTo>
                    <a:close/>
                    <a:moveTo>
                      <a:pt x="7" y="92"/>
                    </a:moveTo>
                    <a:cubicBezTo>
                      <a:pt x="11" y="86"/>
                      <a:pt x="18" y="75"/>
                      <a:pt x="26" y="72"/>
                    </a:cubicBezTo>
                    <a:cubicBezTo>
                      <a:pt x="36" y="69"/>
                      <a:pt x="53" y="69"/>
                      <a:pt x="61" y="69"/>
                    </a:cubicBezTo>
                    <a:cubicBezTo>
                      <a:pt x="38" y="95"/>
                      <a:pt x="38" y="95"/>
                      <a:pt x="38" y="95"/>
                    </a:cubicBezTo>
                    <a:cubicBezTo>
                      <a:pt x="33" y="93"/>
                      <a:pt x="21" y="89"/>
                      <a:pt x="7" y="92"/>
                    </a:cubicBezTo>
                    <a:close/>
                    <a:moveTo>
                      <a:pt x="52" y="150"/>
                    </a:moveTo>
                    <a:cubicBezTo>
                      <a:pt x="51" y="151"/>
                      <a:pt x="44" y="148"/>
                      <a:pt x="36" y="140"/>
                    </a:cubicBezTo>
                    <a:cubicBezTo>
                      <a:pt x="27" y="131"/>
                      <a:pt x="25" y="124"/>
                      <a:pt x="25" y="123"/>
                    </a:cubicBezTo>
                    <a:cubicBezTo>
                      <a:pt x="34" y="114"/>
                      <a:pt x="34" y="114"/>
                      <a:pt x="34" y="114"/>
                    </a:cubicBezTo>
                    <a:cubicBezTo>
                      <a:pt x="38" y="120"/>
                      <a:pt x="42" y="125"/>
                      <a:pt x="46" y="129"/>
                    </a:cubicBezTo>
                    <a:cubicBezTo>
                      <a:pt x="51" y="134"/>
                      <a:pt x="56" y="138"/>
                      <a:pt x="61" y="141"/>
                    </a:cubicBezTo>
                    <a:lnTo>
                      <a:pt x="52" y="150"/>
                    </a:lnTo>
                    <a:close/>
                    <a:moveTo>
                      <a:pt x="103" y="149"/>
                    </a:moveTo>
                    <a:cubicBezTo>
                      <a:pt x="100" y="158"/>
                      <a:pt x="90" y="165"/>
                      <a:pt x="83" y="168"/>
                    </a:cubicBezTo>
                    <a:cubicBezTo>
                      <a:pt x="86" y="155"/>
                      <a:pt x="82" y="142"/>
                      <a:pt x="81" y="137"/>
                    </a:cubicBezTo>
                    <a:cubicBezTo>
                      <a:pt x="106" y="115"/>
                      <a:pt x="106" y="115"/>
                      <a:pt x="106" y="115"/>
                    </a:cubicBezTo>
                    <a:cubicBezTo>
                      <a:pt x="107" y="123"/>
                      <a:pt x="107" y="140"/>
                      <a:pt x="103" y="149"/>
                    </a:cubicBezTo>
                    <a:close/>
                    <a:moveTo>
                      <a:pt x="77" y="135"/>
                    </a:moveTo>
                    <a:cubicBezTo>
                      <a:pt x="77" y="135"/>
                      <a:pt x="77" y="135"/>
                      <a:pt x="76" y="135"/>
                    </a:cubicBezTo>
                    <a:cubicBezTo>
                      <a:pt x="71" y="140"/>
                      <a:pt x="71" y="140"/>
                      <a:pt x="71" y="140"/>
                    </a:cubicBezTo>
                    <a:cubicBezTo>
                      <a:pt x="71" y="140"/>
                      <a:pt x="71" y="140"/>
                      <a:pt x="71" y="140"/>
                    </a:cubicBezTo>
                    <a:cubicBezTo>
                      <a:pt x="67" y="140"/>
                      <a:pt x="59" y="135"/>
                      <a:pt x="50" y="126"/>
                    </a:cubicBezTo>
                    <a:cubicBezTo>
                      <a:pt x="39" y="115"/>
                      <a:pt x="35" y="106"/>
                      <a:pt x="35" y="104"/>
                    </a:cubicBezTo>
                    <a:cubicBezTo>
                      <a:pt x="40" y="99"/>
                      <a:pt x="40" y="99"/>
                      <a:pt x="40" y="99"/>
                    </a:cubicBezTo>
                    <a:cubicBezTo>
                      <a:pt x="40" y="99"/>
                      <a:pt x="40" y="99"/>
                      <a:pt x="40" y="99"/>
                    </a:cubicBezTo>
                    <a:cubicBezTo>
                      <a:pt x="101" y="32"/>
                      <a:pt x="101" y="32"/>
                      <a:pt x="101" y="32"/>
                    </a:cubicBezTo>
                    <a:cubicBezTo>
                      <a:pt x="122" y="12"/>
                      <a:pt x="149" y="4"/>
                      <a:pt x="163" y="4"/>
                    </a:cubicBezTo>
                    <a:cubicBezTo>
                      <a:pt x="167" y="4"/>
                      <a:pt x="169" y="5"/>
                      <a:pt x="170" y="6"/>
                    </a:cubicBezTo>
                    <a:cubicBezTo>
                      <a:pt x="174" y="10"/>
                      <a:pt x="170" y="48"/>
                      <a:pt x="143" y="74"/>
                    </a:cubicBezTo>
                    <a:lnTo>
                      <a:pt x="77"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54" name="Freeform 17">
                <a:extLst>
                  <a:ext uri="{FF2B5EF4-FFF2-40B4-BE49-F238E27FC236}">
                    <a16:creationId xmlns:a16="http://schemas.microsoft.com/office/drawing/2014/main" id="{78F50166-65B4-AFCA-B659-026689576C62}"/>
                  </a:ext>
                </a:extLst>
              </p:cNvPr>
              <p:cNvSpPr>
                <a:spLocks noEditPoints="1"/>
              </p:cNvSpPr>
              <p:nvPr/>
            </p:nvSpPr>
            <p:spPr bwMode="auto">
              <a:xfrm>
                <a:off x="10123488" y="2941638"/>
                <a:ext cx="58738" cy="53975"/>
              </a:xfrm>
              <a:custGeom>
                <a:avLst/>
                <a:gdLst>
                  <a:gd name="T0" fmla="*/ 17 w 35"/>
                  <a:gd name="T1" fmla="*/ 0 h 32"/>
                  <a:gd name="T2" fmla="*/ 6 w 35"/>
                  <a:gd name="T3" fmla="*/ 5 h 32"/>
                  <a:gd name="T4" fmla="*/ 6 w 35"/>
                  <a:gd name="T5" fmla="*/ 28 h 32"/>
                  <a:gd name="T6" fmla="*/ 17 w 35"/>
                  <a:gd name="T7" fmla="*/ 32 h 32"/>
                  <a:gd name="T8" fmla="*/ 28 w 35"/>
                  <a:gd name="T9" fmla="*/ 28 h 32"/>
                  <a:gd name="T10" fmla="*/ 28 w 35"/>
                  <a:gd name="T11" fmla="*/ 5 h 32"/>
                  <a:gd name="T12" fmla="*/ 17 w 35"/>
                  <a:gd name="T13" fmla="*/ 0 h 32"/>
                  <a:gd name="T14" fmla="*/ 25 w 35"/>
                  <a:gd name="T15" fmla="*/ 24 h 32"/>
                  <a:gd name="T16" fmla="*/ 17 w 35"/>
                  <a:gd name="T17" fmla="*/ 28 h 32"/>
                  <a:gd name="T18" fmla="*/ 9 w 35"/>
                  <a:gd name="T19" fmla="*/ 24 h 32"/>
                  <a:gd name="T20" fmla="*/ 9 w 35"/>
                  <a:gd name="T21" fmla="*/ 8 h 32"/>
                  <a:gd name="T22" fmla="*/ 17 w 35"/>
                  <a:gd name="T23" fmla="*/ 5 h 32"/>
                  <a:gd name="T24" fmla="*/ 25 w 35"/>
                  <a:gd name="T25" fmla="*/ 8 h 32"/>
                  <a:gd name="T26" fmla="*/ 25 w 35"/>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2">
                    <a:moveTo>
                      <a:pt x="17" y="0"/>
                    </a:moveTo>
                    <a:cubicBezTo>
                      <a:pt x="13" y="0"/>
                      <a:pt x="9" y="2"/>
                      <a:pt x="6" y="5"/>
                    </a:cubicBezTo>
                    <a:cubicBezTo>
                      <a:pt x="0" y="11"/>
                      <a:pt x="0" y="21"/>
                      <a:pt x="6" y="28"/>
                    </a:cubicBezTo>
                    <a:cubicBezTo>
                      <a:pt x="9" y="31"/>
                      <a:pt x="13" y="32"/>
                      <a:pt x="17" y="32"/>
                    </a:cubicBezTo>
                    <a:cubicBezTo>
                      <a:pt x="21" y="32"/>
                      <a:pt x="25" y="31"/>
                      <a:pt x="28" y="28"/>
                    </a:cubicBezTo>
                    <a:cubicBezTo>
                      <a:pt x="35" y="21"/>
                      <a:pt x="35" y="11"/>
                      <a:pt x="28" y="5"/>
                    </a:cubicBezTo>
                    <a:cubicBezTo>
                      <a:pt x="25" y="2"/>
                      <a:pt x="21" y="0"/>
                      <a:pt x="17" y="0"/>
                    </a:cubicBezTo>
                    <a:close/>
                    <a:moveTo>
                      <a:pt x="25" y="24"/>
                    </a:moveTo>
                    <a:cubicBezTo>
                      <a:pt x="23" y="26"/>
                      <a:pt x="20" y="28"/>
                      <a:pt x="17" y="28"/>
                    </a:cubicBezTo>
                    <a:cubicBezTo>
                      <a:pt x="14" y="28"/>
                      <a:pt x="11" y="26"/>
                      <a:pt x="9" y="24"/>
                    </a:cubicBezTo>
                    <a:cubicBezTo>
                      <a:pt x="5" y="20"/>
                      <a:pt x="5" y="13"/>
                      <a:pt x="9" y="8"/>
                    </a:cubicBezTo>
                    <a:cubicBezTo>
                      <a:pt x="11" y="6"/>
                      <a:pt x="14" y="5"/>
                      <a:pt x="17" y="5"/>
                    </a:cubicBezTo>
                    <a:cubicBezTo>
                      <a:pt x="20" y="5"/>
                      <a:pt x="23" y="6"/>
                      <a:pt x="25" y="8"/>
                    </a:cubicBezTo>
                    <a:cubicBezTo>
                      <a:pt x="29" y="13"/>
                      <a:pt x="29" y="20"/>
                      <a:pt x="25"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55" name="Freeform 18">
                <a:extLst>
                  <a:ext uri="{FF2B5EF4-FFF2-40B4-BE49-F238E27FC236}">
                    <a16:creationId xmlns:a16="http://schemas.microsoft.com/office/drawing/2014/main" id="{6D638F5B-5219-0554-AC40-56B1F17BB3FA}"/>
                  </a:ext>
                </a:extLst>
              </p:cNvPr>
              <p:cNvSpPr>
                <a:spLocks/>
              </p:cNvSpPr>
              <p:nvPr/>
            </p:nvSpPr>
            <p:spPr bwMode="auto">
              <a:xfrm>
                <a:off x="9928225" y="3106738"/>
                <a:ext cx="85725" cy="85725"/>
              </a:xfrm>
              <a:custGeom>
                <a:avLst/>
                <a:gdLst>
                  <a:gd name="T0" fmla="*/ 47 w 51"/>
                  <a:gd name="T1" fmla="*/ 16 h 51"/>
                  <a:gd name="T2" fmla="*/ 45 w 51"/>
                  <a:gd name="T3" fmla="*/ 19 h 51"/>
                  <a:gd name="T4" fmla="*/ 39 w 51"/>
                  <a:gd name="T5" fmla="*/ 35 h 51"/>
                  <a:gd name="T6" fmla="*/ 17 w 51"/>
                  <a:gd name="T7" fmla="*/ 43 h 51"/>
                  <a:gd name="T8" fmla="*/ 6 w 51"/>
                  <a:gd name="T9" fmla="*/ 45 h 51"/>
                  <a:gd name="T10" fmla="*/ 7 w 51"/>
                  <a:gd name="T11" fmla="*/ 36 h 51"/>
                  <a:gd name="T12" fmla="*/ 16 w 51"/>
                  <a:gd name="T13" fmla="*/ 12 h 51"/>
                  <a:gd name="T14" fmla="*/ 33 w 51"/>
                  <a:gd name="T15" fmla="*/ 7 h 51"/>
                  <a:gd name="T16" fmla="*/ 35 w 51"/>
                  <a:gd name="T17" fmla="*/ 5 h 51"/>
                  <a:gd name="T18" fmla="*/ 34 w 51"/>
                  <a:gd name="T19" fmla="*/ 2 h 51"/>
                  <a:gd name="T20" fmla="*/ 13 w 51"/>
                  <a:gd name="T21" fmla="*/ 9 h 51"/>
                  <a:gd name="T22" fmla="*/ 3 w 51"/>
                  <a:gd name="T23" fmla="*/ 36 h 51"/>
                  <a:gd name="T24" fmla="*/ 0 w 51"/>
                  <a:gd name="T25" fmla="*/ 48 h 51"/>
                  <a:gd name="T26" fmla="*/ 1 w 51"/>
                  <a:gd name="T27" fmla="*/ 51 h 51"/>
                  <a:gd name="T28" fmla="*/ 2 w 51"/>
                  <a:gd name="T29" fmla="*/ 51 h 51"/>
                  <a:gd name="T30" fmla="*/ 3 w 51"/>
                  <a:gd name="T31" fmla="*/ 51 h 51"/>
                  <a:gd name="T32" fmla="*/ 18 w 51"/>
                  <a:gd name="T33" fmla="*/ 48 h 51"/>
                  <a:gd name="T34" fmla="*/ 43 w 51"/>
                  <a:gd name="T35" fmla="*/ 39 h 51"/>
                  <a:gd name="T36" fmla="*/ 49 w 51"/>
                  <a:gd name="T37" fmla="*/ 18 h 51"/>
                  <a:gd name="T38" fmla="*/ 47 w 51"/>
                  <a:gd name="T39" fmla="*/ 1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 h="51">
                    <a:moveTo>
                      <a:pt x="47" y="16"/>
                    </a:moveTo>
                    <a:cubicBezTo>
                      <a:pt x="45" y="16"/>
                      <a:pt x="45" y="18"/>
                      <a:pt x="45" y="19"/>
                    </a:cubicBezTo>
                    <a:cubicBezTo>
                      <a:pt x="46" y="24"/>
                      <a:pt x="44" y="30"/>
                      <a:pt x="39" y="35"/>
                    </a:cubicBezTo>
                    <a:cubicBezTo>
                      <a:pt x="34" y="41"/>
                      <a:pt x="26" y="42"/>
                      <a:pt x="17" y="43"/>
                    </a:cubicBezTo>
                    <a:cubicBezTo>
                      <a:pt x="13" y="44"/>
                      <a:pt x="9" y="45"/>
                      <a:pt x="6" y="45"/>
                    </a:cubicBezTo>
                    <a:cubicBezTo>
                      <a:pt x="6" y="43"/>
                      <a:pt x="7" y="39"/>
                      <a:pt x="7" y="36"/>
                    </a:cubicBezTo>
                    <a:cubicBezTo>
                      <a:pt x="9" y="27"/>
                      <a:pt x="10" y="18"/>
                      <a:pt x="16" y="12"/>
                    </a:cubicBezTo>
                    <a:cubicBezTo>
                      <a:pt x="21" y="7"/>
                      <a:pt x="27" y="5"/>
                      <a:pt x="33" y="7"/>
                    </a:cubicBezTo>
                    <a:cubicBezTo>
                      <a:pt x="34" y="7"/>
                      <a:pt x="35" y="6"/>
                      <a:pt x="35" y="5"/>
                    </a:cubicBezTo>
                    <a:cubicBezTo>
                      <a:pt x="36" y="4"/>
                      <a:pt x="35" y="2"/>
                      <a:pt x="34" y="2"/>
                    </a:cubicBezTo>
                    <a:cubicBezTo>
                      <a:pt x="27" y="0"/>
                      <a:pt x="19" y="3"/>
                      <a:pt x="13" y="9"/>
                    </a:cubicBezTo>
                    <a:cubicBezTo>
                      <a:pt x="6" y="16"/>
                      <a:pt x="4" y="26"/>
                      <a:pt x="3" y="36"/>
                    </a:cubicBezTo>
                    <a:cubicBezTo>
                      <a:pt x="2" y="40"/>
                      <a:pt x="1" y="45"/>
                      <a:pt x="0" y="48"/>
                    </a:cubicBezTo>
                    <a:cubicBezTo>
                      <a:pt x="0" y="49"/>
                      <a:pt x="0" y="50"/>
                      <a:pt x="1" y="51"/>
                    </a:cubicBezTo>
                    <a:cubicBezTo>
                      <a:pt x="1" y="51"/>
                      <a:pt x="2" y="51"/>
                      <a:pt x="2" y="51"/>
                    </a:cubicBezTo>
                    <a:cubicBezTo>
                      <a:pt x="3" y="51"/>
                      <a:pt x="3" y="51"/>
                      <a:pt x="3" y="51"/>
                    </a:cubicBezTo>
                    <a:cubicBezTo>
                      <a:pt x="8" y="50"/>
                      <a:pt x="13" y="49"/>
                      <a:pt x="18" y="48"/>
                    </a:cubicBezTo>
                    <a:cubicBezTo>
                      <a:pt x="27" y="47"/>
                      <a:pt x="36" y="45"/>
                      <a:pt x="43" y="39"/>
                    </a:cubicBezTo>
                    <a:cubicBezTo>
                      <a:pt x="49" y="32"/>
                      <a:pt x="51" y="25"/>
                      <a:pt x="49" y="18"/>
                    </a:cubicBezTo>
                    <a:cubicBezTo>
                      <a:pt x="49" y="16"/>
                      <a:pt x="48" y="16"/>
                      <a:pt x="4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grpSp>
      </p:grpSp>
      <p:pic>
        <p:nvPicPr>
          <p:cNvPr id="3" name="Picture 3">
            <a:extLst>
              <a:ext uri="{FF2B5EF4-FFF2-40B4-BE49-F238E27FC236}">
                <a16:creationId xmlns:a16="http://schemas.microsoft.com/office/drawing/2014/main" id="{7C6E9CA0-9F94-F40B-CB90-29F6F473D00F}"/>
              </a:ext>
            </a:extLst>
          </p:cNvPr>
          <p:cNvPicPr>
            <a:picLocks noChangeAspect="1"/>
          </p:cNvPicPr>
          <p:nvPr/>
        </p:nvPicPr>
        <p:blipFill>
          <a:blip r:embed="rId16"/>
          <a:stretch>
            <a:fillRect/>
          </a:stretch>
        </p:blipFill>
        <p:spPr>
          <a:xfrm>
            <a:off x="10076985" y="6126052"/>
            <a:ext cx="1470102" cy="348773"/>
          </a:xfrm>
          <a:prstGeom prst="rect">
            <a:avLst/>
          </a:prstGeom>
        </p:spPr>
      </p:pic>
      <p:pic>
        <p:nvPicPr>
          <p:cNvPr id="4" name="Picture 2">
            <a:extLst>
              <a:ext uri="{FF2B5EF4-FFF2-40B4-BE49-F238E27FC236}">
                <a16:creationId xmlns:a16="http://schemas.microsoft.com/office/drawing/2014/main" id="{9A37A736-E41A-8D68-A952-B2FFF36A11D8}"/>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b="27687"/>
          <a:stretch/>
        </p:blipFill>
        <p:spPr bwMode="auto">
          <a:xfrm>
            <a:off x="11103584" y="3181836"/>
            <a:ext cx="844495" cy="14082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Tableau 13">
            <a:extLst>
              <a:ext uri="{FF2B5EF4-FFF2-40B4-BE49-F238E27FC236}">
                <a16:creationId xmlns:a16="http://schemas.microsoft.com/office/drawing/2014/main" id="{D5BB8C66-04D6-E1AF-3D3D-D02C3CABA575}"/>
              </a:ext>
            </a:extLst>
          </p:cNvPr>
          <p:cNvGraphicFramePr>
            <a:graphicFrameLocks noGrp="1"/>
          </p:cNvGraphicFramePr>
          <p:nvPr>
            <p:extLst>
              <p:ext uri="{D42A27DB-BD31-4B8C-83A1-F6EECF244321}">
                <p14:modId xmlns:p14="http://schemas.microsoft.com/office/powerpoint/2010/main" val="3000065957"/>
              </p:ext>
            </p:extLst>
          </p:nvPr>
        </p:nvGraphicFramePr>
        <p:xfrm>
          <a:off x="346589" y="1070832"/>
          <a:ext cx="11845411" cy="5424478"/>
        </p:xfrm>
        <a:graphic>
          <a:graphicData uri="http://schemas.openxmlformats.org/drawingml/2006/table">
            <a:tbl>
              <a:tblPr firstRow="1" bandRow="1">
                <a:tableStyleId>{5C22544A-7EE6-4342-B048-85BDC9FD1C3A}</a:tableStyleId>
              </a:tblPr>
              <a:tblGrid>
                <a:gridCol w="2807570">
                  <a:extLst>
                    <a:ext uri="{9D8B030D-6E8A-4147-A177-3AD203B41FA5}">
                      <a16:colId xmlns:a16="http://schemas.microsoft.com/office/drawing/2014/main" val="2205362002"/>
                    </a:ext>
                  </a:extLst>
                </a:gridCol>
                <a:gridCol w="5661525">
                  <a:extLst>
                    <a:ext uri="{9D8B030D-6E8A-4147-A177-3AD203B41FA5}">
                      <a16:colId xmlns:a16="http://schemas.microsoft.com/office/drawing/2014/main" val="2648612829"/>
                    </a:ext>
                  </a:extLst>
                </a:gridCol>
                <a:gridCol w="3376316">
                  <a:extLst>
                    <a:ext uri="{9D8B030D-6E8A-4147-A177-3AD203B41FA5}">
                      <a16:colId xmlns:a16="http://schemas.microsoft.com/office/drawing/2014/main" val="2311507252"/>
                    </a:ext>
                  </a:extLst>
                </a:gridCol>
              </a:tblGrid>
              <a:tr h="246482">
                <a:tc>
                  <a:txBody>
                    <a:bodyPr/>
                    <a:lstStyle/>
                    <a:p>
                      <a:pPr algn="ctr"/>
                      <a:r>
                        <a:rPr lang="fr-FR">
                          <a:solidFill>
                            <a:schemeClr val="bg2"/>
                          </a:solidFill>
                          <a:latin typeface="Montserrat" panose="00000500000000000000" pitchFamily="2" charset="0"/>
                        </a:rPr>
                        <a:t>MISSIONS</a:t>
                      </a:r>
                    </a:p>
                  </a:txBody>
                  <a:tcPr>
                    <a:lnB w="12700" cap="flat" cmpd="sng" algn="ctr">
                      <a:solidFill>
                        <a:schemeClr val="accent3"/>
                      </a:solidFill>
                      <a:prstDash val="solid"/>
                      <a:round/>
                      <a:headEnd type="none" w="med" len="med"/>
                      <a:tailEnd type="none" w="med" len="med"/>
                    </a:lnB>
                    <a:noFill/>
                  </a:tcPr>
                </a:tc>
                <a:tc>
                  <a:txBody>
                    <a:bodyPr/>
                    <a:lstStyle/>
                    <a:p>
                      <a:pPr algn="ctr"/>
                      <a:r>
                        <a:rPr lang="fr-FR">
                          <a:solidFill>
                            <a:schemeClr val="bg2"/>
                          </a:solidFill>
                          <a:latin typeface="Montserrat" panose="00000500000000000000" pitchFamily="2" charset="0"/>
                        </a:rPr>
                        <a:t>CAPACITÉS D’INTERVENTION </a:t>
                      </a:r>
                    </a:p>
                  </a:txBody>
                  <a:tcPr>
                    <a:lnB w="12700" cap="flat" cmpd="sng" algn="ctr">
                      <a:solidFill>
                        <a:schemeClr val="accent3"/>
                      </a:solidFill>
                      <a:prstDash val="solid"/>
                      <a:round/>
                      <a:headEnd type="none" w="med" len="med"/>
                      <a:tailEnd type="none" w="med" len="med"/>
                    </a:lnB>
                    <a:noFill/>
                  </a:tcPr>
                </a:tc>
                <a:tc>
                  <a:txBody>
                    <a:bodyPr/>
                    <a:lstStyle/>
                    <a:p>
                      <a:pPr algn="ctr"/>
                      <a:r>
                        <a:rPr lang="fr-FR">
                          <a:solidFill>
                            <a:schemeClr val="bg2"/>
                          </a:solidFill>
                          <a:latin typeface="Montserrat" panose="00000500000000000000" pitchFamily="2" charset="0"/>
                        </a:rPr>
                        <a:t>ILS NOUS FONT CONFIANCE</a:t>
                      </a:r>
                    </a:p>
                  </a:txBody>
                  <a:tcPr>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213667023"/>
                  </a:ext>
                </a:extLst>
              </a:tr>
              <a:tr h="1622433">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b="1" kern="1200">
                          <a:solidFill>
                            <a:srgbClr val="002060"/>
                          </a:solidFill>
                          <a:latin typeface="Montserrat" panose="00000500000000000000" pitchFamily="2" charset="0"/>
                          <a:ea typeface="+mn-ea"/>
                          <a:cs typeface="+mn-cs"/>
                        </a:rPr>
                        <a:t>Eclairer la route des dirigeants </a:t>
                      </a:r>
                      <a:endParaRPr lang="fr-FR" sz="1600">
                        <a:solidFill>
                          <a:srgbClr val="002060"/>
                        </a:solidFill>
                        <a:latin typeface="Arial Black" panose="020B0A04020102020204" pitchFamily="34" charset="0"/>
                      </a:endParaRPr>
                    </a:p>
                    <a:p>
                      <a:pPr algn="ctr"/>
                      <a:endParaRPr lang="fr-F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Analyse stratégique d’offres</a:t>
                      </a:r>
                    </a:p>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Schémas directeurs Métiers et Systèmes d’information</a:t>
                      </a:r>
                    </a:p>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Audit des organisations</a:t>
                      </a:r>
                    </a:p>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Stratégie digitale, Business Case</a:t>
                      </a:r>
                    </a:p>
                    <a:p>
                      <a:endParaRPr lang="fr-F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rowSpan="3">
                  <a:txBody>
                    <a:bodyPr/>
                    <a:lstStyle/>
                    <a:p>
                      <a:endParaRPr lang="fr-FR"/>
                    </a:p>
                  </a:txBody>
                  <a:tcPr>
                    <a:lnT w="12700" cap="flat" cmpd="sng" algn="ctr">
                      <a:solidFill>
                        <a:schemeClr val="accent3"/>
                      </a:solidFill>
                      <a:prstDash val="solid"/>
                      <a:round/>
                      <a:headEnd type="none" w="med" len="med"/>
                      <a:tailEnd type="none" w="med" len="med"/>
                    </a:lnT>
                    <a:noFill/>
                  </a:tcPr>
                </a:tc>
                <a:extLst>
                  <a:ext uri="{0D108BD9-81ED-4DB2-BD59-A6C34878D82A}">
                    <a16:rowId xmlns:a16="http://schemas.microsoft.com/office/drawing/2014/main" val="4051997585"/>
                  </a:ext>
                </a:extLst>
              </a:tr>
              <a:tr h="1874812">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b="1" kern="1200">
                          <a:solidFill>
                            <a:srgbClr val="002060"/>
                          </a:solidFill>
                          <a:latin typeface="Montserrat" panose="00000500000000000000" pitchFamily="2" charset="0"/>
                          <a:ea typeface="+mn-ea"/>
                          <a:cs typeface="+mn-cs"/>
                        </a:rPr>
                        <a:t>Optimiser le quotidien</a:t>
                      </a:r>
                      <a:endParaRPr lang="fr-FR" sz="1600">
                        <a:solidFill>
                          <a:srgbClr val="002060"/>
                        </a:solidFill>
                        <a:latin typeface="Arial Black" panose="020B0A04020102020204" pitchFamily="34" charset="0"/>
                      </a:endParaRPr>
                    </a:p>
                    <a:p>
                      <a:pPr algn="ctr"/>
                      <a:endParaRPr lang="fr-F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Implémentation de nouvelles organisations</a:t>
                      </a:r>
                    </a:p>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Refontes des processus métiers et déploiement</a:t>
                      </a:r>
                    </a:p>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Amélioration des opérations</a:t>
                      </a:r>
                    </a:p>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Structuration et mise en service d’un contrôle de gestion</a:t>
                      </a:r>
                    </a:p>
                    <a:p>
                      <a:pPr marL="471805" indent="-285750">
                        <a:buFont typeface="Arial" panose="020B0604020202020204" pitchFamily="34" charset="0"/>
                        <a:buChar char="•"/>
                      </a:pPr>
                      <a:r>
                        <a:rPr lang="fr-FR" kern="1200">
                          <a:solidFill>
                            <a:srgbClr val="002060"/>
                          </a:solidFill>
                          <a:latin typeface="Montserrat" panose="00000500000000000000" pitchFamily="2" charset="0"/>
                          <a:ea typeface="+mn-ea"/>
                          <a:cs typeface="+mn-cs"/>
                        </a:rPr>
                        <a:t>Mise en place de gouvernance et d’indicateurs de pilotage </a:t>
                      </a: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vMerge="1">
                  <a:txBody>
                    <a:bodyPr/>
                    <a:lstStyle/>
                    <a:p>
                      <a:endParaRPr lang="fr-F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901885676"/>
                  </a:ext>
                </a:extLst>
              </a:tr>
              <a:tr h="1622433">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b="1" kern="1200">
                          <a:solidFill>
                            <a:srgbClr val="002060"/>
                          </a:solidFill>
                          <a:latin typeface="Montserrat" panose="00000500000000000000" pitchFamily="2" charset="0"/>
                          <a:ea typeface="+mn-ea"/>
                          <a:cs typeface="+mn-cs"/>
                        </a:rPr>
                        <a:t>Soutenir les grands projets ou programmes</a:t>
                      </a:r>
                      <a:endParaRPr lang="fr-FR" sz="1600">
                        <a:solidFill>
                          <a:srgbClr val="002060"/>
                        </a:solidFill>
                        <a:latin typeface="Arial Black" panose="020B0A04020102020204" pitchFamily="34" charset="0"/>
                      </a:endParaRPr>
                    </a:p>
                    <a:p>
                      <a:pPr algn="ctr"/>
                      <a:endParaRPr lang="fr-FR"/>
                    </a:p>
                  </a:txBody>
                  <a:tcPr>
                    <a:lnT w="12700" cap="flat" cmpd="sng" algn="ctr">
                      <a:solidFill>
                        <a:schemeClr val="accent3"/>
                      </a:solidFill>
                      <a:prstDash val="solid"/>
                      <a:round/>
                      <a:headEnd type="none" w="med" len="med"/>
                      <a:tailEnd type="none" w="med" len="med"/>
                    </a:lnT>
                    <a:noFill/>
                  </a:tcPr>
                </a:tc>
                <a:tc>
                  <a:txBody>
                    <a:bodyPr/>
                    <a:lstStyle/>
                    <a:p>
                      <a:pPr marL="471805" marR="0" indent="-285750" algn="l" rtl="0" eaLnBrk="1" hangingPunct="1">
                        <a:lnSpc>
                          <a:spcPct val="100000"/>
                        </a:lnSpc>
                        <a:spcBef>
                          <a:spcPts val="0"/>
                        </a:spcBef>
                        <a:spcAft>
                          <a:spcPts val="0"/>
                        </a:spcAft>
                        <a:buClr>
                          <a:srgbClr val="000000"/>
                        </a:buClr>
                        <a:buFont typeface="Arial" panose="020B0604020202020204" pitchFamily="34" charset="0"/>
                        <a:buChar char="•"/>
                      </a:pPr>
                      <a:r>
                        <a:rPr lang="fr-FR" sz="1400" b="0" i="0" u="none" strike="noStrike" kern="1200" cap="none">
                          <a:solidFill>
                            <a:srgbClr val="002060"/>
                          </a:solidFill>
                          <a:latin typeface="Montserrat" panose="00000500000000000000" pitchFamily="2" charset="0"/>
                          <a:ea typeface="+mn-ea"/>
                          <a:cs typeface="+mn-cs"/>
                          <a:sym typeface="Arial"/>
                        </a:rPr>
                        <a:t>Accompagnement au lancement de nouveaux concepts</a:t>
                      </a:r>
                    </a:p>
                    <a:p>
                      <a:pPr marL="471805" marR="0" indent="-285750" algn="l" rtl="0" eaLnBrk="1" hangingPunct="1">
                        <a:lnSpc>
                          <a:spcPct val="100000"/>
                        </a:lnSpc>
                        <a:spcBef>
                          <a:spcPts val="0"/>
                        </a:spcBef>
                        <a:spcAft>
                          <a:spcPts val="0"/>
                        </a:spcAft>
                        <a:buClr>
                          <a:srgbClr val="000000"/>
                        </a:buClr>
                        <a:buFont typeface="Arial" panose="020B0604020202020204" pitchFamily="34" charset="0"/>
                        <a:buChar char="•"/>
                      </a:pPr>
                      <a:r>
                        <a:rPr lang="fr-FR" sz="1400" b="0" i="0" u="none" strike="noStrike" kern="1200" cap="none">
                          <a:solidFill>
                            <a:srgbClr val="002060"/>
                          </a:solidFill>
                          <a:latin typeface="Montserrat" panose="00000500000000000000" pitchFamily="2" charset="0"/>
                          <a:ea typeface="+mn-ea"/>
                          <a:cs typeface="+mn-cs"/>
                          <a:sym typeface="Arial"/>
                        </a:rPr>
                        <a:t>Aide au pilotage et à la conduite du changement</a:t>
                      </a:r>
                    </a:p>
                    <a:p>
                      <a:pPr marL="471805" marR="0" indent="-285750" algn="l" rtl="0" eaLnBrk="1" hangingPunct="1">
                        <a:lnSpc>
                          <a:spcPct val="100000"/>
                        </a:lnSpc>
                        <a:spcBef>
                          <a:spcPts val="0"/>
                        </a:spcBef>
                        <a:spcAft>
                          <a:spcPts val="0"/>
                        </a:spcAft>
                        <a:buClr>
                          <a:srgbClr val="000000"/>
                        </a:buClr>
                        <a:buFont typeface="Arial" panose="020B0604020202020204" pitchFamily="34" charset="0"/>
                        <a:buChar char="•"/>
                      </a:pPr>
                      <a:r>
                        <a:rPr lang="fr-FR" sz="1400" b="0" i="0" u="none" strike="noStrike" kern="1200" cap="none">
                          <a:solidFill>
                            <a:srgbClr val="002060"/>
                          </a:solidFill>
                          <a:latin typeface="Montserrat" panose="00000500000000000000" pitchFamily="2" charset="0"/>
                          <a:ea typeface="+mn-ea"/>
                          <a:cs typeface="+mn-cs"/>
                          <a:sym typeface="Arial"/>
                        </a:rPr>
                        <a:t>Appui opérationnel sur projet : PMO, déploiement </a:t>
                      </a:r>
                    </a:p>
                    <a:p>
                      <a:pPr marL="471805" marR="0" indent="-285750" algn="l" rtl="0" eaLnBrk="1" hangingPunct="1">
                        <a:lnSpc>
                          <a:spcPct val="100000"/>
                        </a:lnSpc>
                        <a:spcBef>
                          <a:spcPts val="0"/>
                        </a:spcBef>
                        <a:spcAft>
                          <a:spcPts val="0"/>
                        </a:spcAft>
                        <a:buClr>
                          <a:srgbClr val="000000"/>
                        </a:buClr>
                        <a:buFont typeface="Arial" panose="020B0604020202020204" pitchFamily="34" charset="0"/>
                        <a:buChar char="•"/>
                      </a:pPr>
                      <a:r>
                        <a:rPr lang="fr-FR" sz="1400" b="0" i="0" u="none" strike="noStrike" kern="1200" cap="none">
                          <a:solidFill>
                            <a:srgbClr val="002060"/>
                          </a:solidFill>
                          <a:latin typeface="Montserrat" panose="00000500000000000000" pitchFamily="2" charset="0"/>
                          <a:ea typeface="+mn-ea"/>
                          <a:cs typeface="+mn-cs"/>
                          <a:sym typeface="Arial"/>
                        </a:rPr>
                        <a:t>Interventions « SWAT » sur projet / </a:t>
                      </a:r>
                      <a:r>
                        <a:rPr lang="fr-FR" sz="1400" b="0" i="0" u="none" strike="noStrike" kern="1200" cap="none" err="1">
                          <a:solidFill>
                            <a:srgbClr val="002060"/>
                          </a:solidFill>
                          <a:latin typeface="Montserrat" panose="00000500000000000000" pitchFamily="2" charset="0"/>
                          <a:ea typeface="+mn-ea"/>
                          <a:cs typeface="+mn-cs"/>
                          <a:sym typeface="Arial"/>
                        </a:rPr>
                        <a:t>derisking</a:t>
                      </a:r>
                      <a:endParaRPr lang="fr-FR" sz="1400" b="0" i="0" u="none" strike="noStrike" kern="1200" cap="none">
                        <a:solidFill>
                          <a:srgbClr val="002060"/>
                        </a:solidFill>
                        <a:latin typeface="Montserrat" panose="00000500000000000000" pitchFamily="2" charset="0"/>
                        <a:ea typeface="+mn-ea"/>
                        <a:cs typeface="+mn-cs"/>
                        <a:sym typeface="Arial"/>
                      </a:endParaRPr>
                    </a:p>
                    <a:p>
                      <a:endParaRPr lang="fr-FR"/>
                    </a:p>
                  </a:txBody>
                  <a:tcPr>
                    <a:lnT w="12700" cap="flat" cmpd="sng" algn="ctr">
                      <a:solidFill>
                        <a:schemeClr val="accent3"/>
                      </a:solidFill>
                      <a:prstDash val="solid"/>
                      <a:round/>
                      <a:headEnd type="none" w="med" len="med"/>
                      <a:tailEnd type="none" w="med" len="med"/>
                    </a:lnT>
                    <a:noFill/>
                  </a:tcPr>
                </a:tc>
                <a:tc vMerge="1">
                  <a:txBody>
                    <a:bodyPr/>
                    <a:lstStyle/>
                    <a:p>
                      <a:endParaRPr lang="fr-FR"/>
                    </a:p>
                  </a:txBody>
                  <a:tcPr>
                    <a:lnT w="12700" cap="flat" cmpd="sng" algn="ctr">
                      <a:solidFill>
                        <a:schemeClr val="accent3"/>
                      </a:solidFill>
                      <a:prstDash val="solid"/>
                      <a:round/>
                      <a:headEnd type="none" w="med" len="med"/>
                      <a:tailEnd type="none" w="med" len="med"/>
                    </a:lnT>
                    <a:noFill/>
                  </a:tcPr>
                </a:tc>
                <a:extLst>
                  <a:ext uri="{0D108BD9-81ED-4DB2-BD59-A6C34878D82A}">
                    <a16:rowId xmlns:a16="http://schemas.microsoft.com/office/drawing/2014/main" val="1188775873"/>
                  </a:ext>
                </a:extLst>
              </a:tr>
            </a:tbl>
          </a:graphicData>
        </a:graphic>
      </p:graphicFrame>
      <p:grpSp>
        <p:nvGrpSpPr>
          <p:cNvPr id="20" name="Group 80">
            <a:extLst>
              <a:ext uri="{FF2B5EF4-FFF2-40B4-BE49-F238E27FC236}">
                <a16:creationId xmlns:a16="http://schemas.microsoft.com/office/drawing/2014/main" id="{B6415A77-A9F8-C130-FD8A-99229E69CB50}"/>
              </a:ext>
            </a:extLst>
          </p:cNvPr>
          <p:cNvGrpSpPr/>
          <p:nvPr/>
        </p:nvGrpSpPr>
        <p:grpSpPr>
          <a:xfrm>
            <a:off x="1350027" y="1909275"/>
            <a:ext cx="725332" cy="727251"/>
            <a:chOff x="-776288" y="2445544"/>
            <a:chExt cx="600075" cy="601663"/>
          </a:xfrm>
        </p:grpSpPr>
        <p:sp>
          <p:nvSpPr>
            <p:cNvPr id="22" name="Oval 14">
              <a:extLst>
                <a:ext uri="{FF2B5EF4-FFF2-40B4-BE49-F238E27FC236}">
                  <a16:creationId xmlns:a16="http://schemas.microsoft.com/office/drawing/2014/main" id="{0A58666B-6C99-C825-4CDF-E9123AB6BFEB}"/>
                </a:ext>
              </a:extLst>
            </p:cNvPr>
            <p:cNvSpPr>
              <a:spLocks noChangeArrowheads="1"/>
            </p:cNvSpPr>
            <p:nvPr/>
          </p:nvSpPr>
          <p:spPr bwMode="auto">
            <a:xfrm>
              <a:off x="-776288" y="2445544"/>
              <a:ext cx="600075" cy="601663"/>
            </a:xfrm>
            <a:prstGeom prst="ellipse">
              <a:avLst/>
            </a:prstGeom>
            <a:solidFill>
              <a:schemeClr val="accent1"/>
            </a:solidFill>
            <a:ln>
              <a:noFill/>
            </a:ln>
          </p:spPr>
          <p:txBody>
            <a:bodyPr vert="horz" wrap="square" lIns="121920" tIns="60960" rIns="121920" bIns="60960" numCol="1" anchor="t" anchorCtr="0" compatLnSpc="1">
              <a:prstTxWarp prst="textNoShape">
                <a:avLst/>
              </a:prstTxWarp>
            </a:bodyPr>
            <a:lstStyle/>
            <a:p>
              <a:endParaRPr lang="en-US" sz="3200"/>
            </a:p>
          </p:txBody>
        </p:sp>
        <p:grpSp>
          <p:nvGrpSpPr>
            <p:cNvPr id="24" name="Group 65">
              <a:extLst>
                <a:ext uri="{FF2B5EF4-FFF2-40B4-BE49-F238E27FC236}">
                  <a16:creationId xmlns:a16="http://schemas.microsoft.com/office/drawing/2014/main" id="{04BE39A6-449F-CB8E-217B-11A7E1313B04}"/>
                </a:ext>
              </a:extLst>
            </p:cNvPr>
            <p:cNvGrpSpPr/>
            <p:nvPr/>
          </p:nvGrpSpPr>
          <p:grpSpPr>
            <a:xfrm>
              <a:off x="-606426" y="2534444"/>
              <a:ext cx="260350" cy="423863"/>
              <a:chOff x="2832100" y="2760663"/>
              <a:chExt cx="260350" cy="423863"/>
            </a:xfrm>
          </p:grpSpPr>
          <p:sp>
            <p:nvSpPr>
              <p:cNvPr id="56" name="Freeform 44">
                <a:extLst>
                  <a:ext uri="{FF2B5EF4-FFF2-40B4-BE49-F238E27FC236}">
                    <a16:creationId xmlns:a16="http://schemas.microsoft.com/office/drawing/2014/main" id="{CF1B5CC3-E597-DDD6-DEB8-D55D1FE7F1F6}"/>
                  </a:ext>
                </a:extLst>
              </p:cNvPr>
              <p:cNvSpPr>
                <a:spLocks noEditPoints="1"/>
              </p:cNvSpPr>
              <p:nvPr/>
            </p:nvSpPr>
            <p:spPr bwMode="auto">
              <a:xfrm>
                <a:off x="2898775" y="3095625"/>
                <a:ext cx="123825" cy="38100"/>
              </a:xfrm>
              <a:custGeom>
                <a:avLst/>
                <a:gdLst>
                  <a:gd name="T0" fmla="*/ 62 w 73"/>
                  <a:gd name="T1" fmla="*/ 22 h 22"/>
                  <a:gd name="T2" fmla="*/ 12 w 73"/>
                  <a:gd name="T3" fmla="*/ 22 h 22"/>
                  <a:gd name="T4" fmla="*/ 0 w 73"/>
                  <a:gd name="T5" fmla="*/ 11 h 22"/>
                  <a:gd name="T6" fmla="*/ 12 w 73"/>
                  <a:gd name="T7" fmla="*/ 0 h 22"/>
                  <a:gd name="T8" fmla="*/ 62 w 73"/>
                  <a:gd name="T9" fmla="*/ 0 h 22"/>
                  <a:gd name="T10" fmla="*/ 73 w 73"/>
                  <a:gd name="T11" fmla="*/ 11 h 22"/>
                  <a:gd name="T12" fmla="*/ 62 w 73"/>
                  <a:gd name="T13" fmla="*/ 22 h 22"/>
                  <a:gd name="T14" fmla="*/ 12 w 73"/>
                  <a:gd name="T15" fmla="*/ 5 h 22"/>
                  <a:gd name="T16" fmla="*/ 5 w 73"/>
                  <a:gd name="T17" fmla="*/ 11 h 22"/>
                  <a:gd name="T18" fmla="*/ 12 w 73"/>
                  <a:gd name="T19" fmla="*/ 18 h 22"/>
                  <a:gd name="T20" fmla="*/ 62 w 73"/>
                  <a:gd name="T21" fmla="*/ 18 h 22"/>
                  <a:gd name="T22" fmla="*/ 69 w 73"/>
                  <a:gd name="T23" fmla="*/ 11 h 22"/>
                  <a:gd name="T24" fmla="*/ 62 w 73"/>
                  <a:gd name="T25" fmla="*/ 5 h 22"/>
                  <a:gd name="T26" fmla="*/ 12 w 73"/>
                  <a:gd name="T27"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22">
                    <a:moveTo>
                      <a:pt x="62" y="22"/>
                    </a:moveTo>
                    <a:cubicBezTo>
                      <a:pt x="12" y="22"/>
                      <a:pt x="12" y="22"/>
                      <a:pt x="12" y="22"/>
                    </a:cubicBezTo>
                    <a:cubicBezTo>
                      <a:pt x="6" y="22"/>
                      <a:pt x="0" y="17"/>
                      <a:pt x="0" y="11"/>
                    </a:cubicBezTo>
                    <a:cubicBezTo>
                      <a:pt x="0" y="5"/>
                      <a:pt x="6" y="0"/>
                      <a:pt x="12" y="0"/>
                    </a:cubicBezTo>
                    <a:cubicBezTo>
                      <a:pt x="62" y="0"/>
                      <a:pt x="62" y="0"/>
                      <a:pt x="62" y="0"/>
                    </a:cubicBezTo>
                    <a:cubicBezTo>
                      <a:pt x="68" y="0"/>
                      <a:pt x="73" y="5"/>
                      <a:pt x="73" y="11"/>
                    </a:cubicBezTo>
                    <a:cubicBezTo>
                      <a:pt x="73" y="17"/>
                      <a:pt x="68" y="22"/>
                      <a:pt x="62" y="22"/>
                    </a:cubicBezTo>
                    <a:close/>
                    <a:moveTo>
                      <a:pt x="12" y="5"/>
                    </a:moveTo>
                    <a:cubicBezTo>
                      <a:pt x="8" y="5"/>
                      <a:pt x="5" y="7"/>
                      <a:pt x="5" y="11"/>
                    </a:cubicBezTo>
                    <a:cubicBezTo>
                      <a:pt x="5" y="15"/>
                      <a:pt x="8" y="18"/>
                      <a:pt x="12" y="18"/>
                    </a:cubicBezTo>
                    <a:cubicBezTo>
                      <a:pt x="62" y="18"/>
                      <a:pt x="62" y="18"/>
                      <a:pt x="62" y="18"/>
                    </a:cubicBezTo>
                    <a:cubicBezTo>
                      <a:pt x="66" y="18"/>
                      <a:pt x="69" y="15"/>
                      <a:pt x="69" y="11"/>
                    </a:cubicBezTo>
                    <a:cubicBezTo>
                      <a:pt x="69" y="7"/>
                      <a:pt x="66" y="5"/>
                      <a:pt x="62" y="5"/>
                    </a:cubicBezTo>
                    <a:lnTo>
                      <a:pt x="1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57" name="Freeform 45">
                <a:extLst>
                  <a:ext uri="{FF2B5EF4-FFF2-40B4-BE49-F238E27FC236}">
                    <a16:creationId xmlns:a16="http://schemas.microsoft.com/office/drawing/2014/main" id="{86A505EB-BC6E-9B6A-FB04-FDD3E7B506D8}"/>
                  </a:ext>
                </a:extLst>
              </p:cNvPr>
              <p:cNvSpPr>
                <a:spLocks noEditPoints="1"/>
              </p:cNvSpPr>
              <p:nvPr/>
            </p:nvSpPr>
            <p:spPr bwMode="auto">
              <a:xfrm>
                <a:off x="2898775" y="3127375"/>
                <a:ext cx="123825" cy="36513"/>
              </a:xfrm>
              <a:custGeom>
                <a:avLst/>
                <a:gdLst>
                  <a:gd name="T0" fmla="*/ 62 w 73"/>
                  <a:gd name="T1" fmla="*/ 22 h 22"/>
                  <a:gd name="T2" fmla="*/ 12 w 73"/>
                  <a:gd name="T3" fmla="*/ 22 h 22"/>
                  <a:gd name="T4" fmla="*/ 0 w 73"/>
                  <a:gd name="T5" fmla="*/ 11 h 22"/>
                  <a:gd name="T6" fmla="*/ 12 w 73"/>
                  <a:gd name="T7" fmla="*/ 0 h 22"/>
                  <a:gd name="T8" fmla="*/ 62 w 73"/>
                  <a:gd name="T9" fmla="*/ 0 h 22"/>
                  <a:gd name="T10" fmla="*/ 73 w 73"/>
                  <a:gd name="T11" fmla="*/ 11 h 22"/>
                  <a:gd name="T12" fmla="*/ 62 w 73"/>
                  <a:gd name="T13" fmla="*/ 22 h 22"/>
                  <a:gd name="T14" fmla="*/ 12 w 73"/>
                  <a:gd name="T15" fmla="*/ 4 h 22"/>
                  <a:gd name="T16" fmla="*/ 5 w 73"/>
                  <a:gd name="T17" fmla="*/ 11 h 22"/>
                  <a:gd name="T18" fmla="*/ 12 w 73"/>
                  <a:gd name="T19" fmla="*/ 18 h 22"/>
                  <a:gd name="T20" fmla="*/ 62 w 73"/>
                  <a:gd name="T21" fmla="*/ 18 h 22"/>
                  <a:gd name="T22" fmla="*/ 69 w 73"/>
                  <a:gd name="T23" fmla="*/ 11 h 22"/>
                  <a:gd name="T24" fmla="*/ 62 w 73"/>
                  <a:gd name="T25" fmla="*/ 4 h 22"/>
                  <a:gd name="T26" fmla="*/ 12 w 73"/>
                  <a:gd name="T27"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22">
                    <a:moveTo>
                      <a:pt x="62" y="22"/>
                    </a:moveTo>
                    <a:cubicBezTo>
                      <a:pt x="12" y="22"/>
                      <a:pt x="12" y="22"/>
                      <a:pt x="12" y="22"/>
                    </a:cubicBezTo>
                    <a:cubicBezTo>
                      <a:pt x="6" y="22"/>
                      <a:pt x="0" y="17"/>
                      <a:pt x="0" y="11"/>
                    </a:cubicBezTo>
                    <a:cubicBezTo>
                      <a:pt x="0" y="5"/>
                      <a:pt x="6" y="0"/>
                      <a:pt x="12" y="0"/>
                    </a:cubicBezTo>
                    <a:cubicBezTo>
                      <a:pt x="62" y="0"/>
                      <a:pt x="62" y="0"/>
                      <a:pt x="62" y="0"/>
                    </a:cubicBezTo>
                    <a:cubicBezTo>
                      <a:pt x="68" y="0"/>
                      <a:pt x="73" y="5"/>
                      <a:pt x="73" y="11"/>
                    </a:cubicBezTo>
                    <a:cubicBezTo>
                      <a:pt x="73" y="17"/>
                      <a:pt x="68" y="22"/>
                      <a:pt x="62" y="22"/>
                    </a:cubicBezTo>
                    <a:close/>
                    <a:moveTo>
                      <a:pt x="12" y="4"/>
                    </a:moveTo>
                    <a:cubicBezTo>
                      <a:pt x="8" y="4"/>
                      <a:pt x="5" y="7"/>
                      <a:pt x="5" y="11"/>
                    </a:cubicBezTo>
                    <a:cubicBezTo>
                      <a:pt x="5" y="15"/>
                      <a:pt x="8" y="18"/>
                      <a:pt x="12" y="18"/>
                    </a:cubicBezTo>
                    <a:cubicBezTo>
                      <a:pt x="62" y="18"/>
                      <a:pt x="62" y="18"/>
                      <a:pt x="62" y="18"/>
                    </a:cubicBezTo>
                    <a:cubicBezTo>
                      <a:pt x="66" y="18"/>
                      <a:pt x="69" y="15"/>
                      <a:pt x="69" y="11"/>
                    </a:cubicBezTo>
                    <a:cubicBezTo>
                      <a:pt x="69" y="7"/>
                      <a:pt x="66" y="4"/>
                      <a:pt x="62" y="4"/>
                    </a:cubicBezTo>
                    <a:lnTo>
                      <a:pt x="1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58" name="Freeform 46">
                <a:extLst>
                  <a:ext uri="{FF2B5EF4-FFF2-40B4-BE49-F238E27FC236}">
                    <a16:creationId xmlns:a16="http://schemas.microsoft.com/office/drawing/2014/main" id="{73DE1DCA-4FFA-4BC0-4406-BA9AE7CD7371}"/>
                  </a:ext>
                </a:extLst>
              </p:cNvPr>
              <p:cNvSpPr>
                <a:spLocks/>
              </p:cNvSpPr>
              <p:nvPr/>
            </p:nvSpPr>
            <p:spPr bwMode="auto">
              <a:xfrm>
                <a:off x="2921000" y="3157538"/>
                <a:ext cx="80963" cy="26988"/>
              </a:xfrm>
              <a:custGeom>
                <a:avLst/>
                <a:gdLst>
                  <a:gd name="T0" fmla="*/ 24 w 48"/>
                  <a:gd name="T1" fmla="*/ 16 h 16"/>
                  <a:gd name="T2" fmla="*/ 0 w 48"/>
                  <a:gd name="T3" fmla="*/ 2 h 16"/>
                  <a:gd name="T4" fmla="*/ 2 w 48"/>
                  <a:gd name="T5" fmla="*/ 0 h 16"/>
                  <a:gd name="T6" fmla="*/ 4 w 48"/>
                  <a:gd name="T7" fmla="*/ 2 h 16"/>
                  <a:gd name="T8" fmla="*/ 24 w 48"/>
                  <a:gd name="T9" fmla="*/ 11 h 16"/>
                  <a:gd name="T10" fmla="*/ 43 w 48"/>
                  <a:gd name="T11" fmla="*/ 2 h 16"/>
                  <a:gd name="T12" fmla="*/ 46 w 48"/>
                  <a:gd name="T13" fmla="*/ 0 h 16"/>
                  <a:gd name="T14" fmla="*/ 48 w 48"/>
                  <a:gd name="T15" fmla="*/ 2 h 16"/>
                  <a:gd name="T16" fmla="*/ 24 w 4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6">
                    <a:moveTo>
                      <a:pt x="24" y="16"/>
                    </a:moveTo>
                    <a:cubicBezTo>
                      <a:pt x="10" y="16"/>
                      <a:pt x="0" y="10"/>
                      <a:pt x="0" y="2"/>
                    </a:cubicBezTo>
                    <a:cubicBezTo>
                      <a:pt x="0" y="1"/>
                      <a:pt x="1" y="0"/>
                      <a:pt x="2" y="0"/>
                    </a:cubicBezTo>
                    <a:cubicBezTo>
                      <a:pt x="3" y="0"/>
                      <a:pt x="4" y="1"/>
                      <a:pt x="4" y="2"/>
                    </a:cubicBezTo>
                    <a:cubicBezTo>
                      <a:pt x="4" y="6"/>
                      <a:pt x="12" y="11"/>
                      <a:pt x="24" y="11"/>
                    </a:cubicBezTo>
                    <a:cubicBezTo>
                      <a:pt x="35" y="11"/>
                      <a:pt x="43" y="6"/>
                      <a:pt x="43" y="2"/>
                    </a:cubicBezTo>
                    <a:cubicBezTo>
                      <a:pt x="43" y="1"/>
                      <a:pt x="44" y="0"/>
                      <a:pt x="46" y="0"/>
                    </a:cubicBezTo>
                    <a:cubicBezTo>
                      <a:pt x="47" y="0"/>
                      <a:pt x="48" y="1"/>
                      <a:pt x="48" y="2"/>
                    </a:cubicBezTo>
                    <a:cubicBezTo>
                      <a:pt x="48" y="10"/>
                      <a:pt x="37" y="16"/>
                      <a:pt x="24"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59" name="Freeform 47">
                <a:extLst>
                  <a:ext uri="{FF2B5EF4-FFF2-40B4-BE49-F238E27FC236}">
                    <a16:creationId xmlns:a16="http://schemas.microsoft.com/office/drawing/2014/main" id="{7276E124-20E7-170B-B54D-BDB6E1E2A1F1}"/>
                  </a:ext>
                </a:extLst>
              </p:cNvPr>
              <p:cNvSpPr>
                <a:spLocks noEditPoints="1"/>
              </p:cNvSpPr>
              <p:nvPr/>
            </p:nvSpPr>
            <p:spPr bwMode="auto">
              <a:xfrm>
                <a:off x="2832100" y="2760663"/>
                <a:ext cx="260350" cy="314325"/>
              </a:xfrm>
              <a:custGeom>
                <a:avLst/>
                <a:gdLst>
                  <a:gd name="T0" fmla="*/ 101 w 154"/>
                  <a:gd name="T1" fmla="*/ 185 h 185"/>
                  <a:gd name="T2" fmla="*/ 53 w 154"/>
                  <a:gd name="T3" fmla="*/ 185 h 185"/>
                  <a:gd name="T4" fmla="*/ 32 w 154"/>
                  <a:gd name="T5" fmla="*/ 164 h 185"/>
                  <a:gd name="T6" fmla="*/ 32 w 154"/>
                  <a:gd name="T7" fmla="*/ 149 h 185"/>
                  <a:gd name="T8" fmla="*/ 22 w 154"/>
                  <a:gd name="T9" fmla="*/ 130 h 185"/>
                  <a:gd name="T10" fmla="*/ 0 w 154"/>
                  <a:gd name="T11" fmla="*/ 77 h 185"/>
                  <a:gd name="T12" fmla="*/ 77 w 154"/>
                  <a:gd name="T13" fmla="*/ 0 h 185"/>
                  <a:gd name="T14" fmla="*/ 154 w 154"/>
                  <a:gd name="T15" fmla="*/ 77 h 185"/>
                  <a:gd name="T16" fmla="*/ 132 w 154"/>
                  <a:gd name="T17" fmla="*/ 130 h 185"/>
                  <a:gd name="T18" fmla="*/ 122 w 154"/>
                  <a:gd name="T19" fmla="*/ 149 h 185"/>
                  <a:gd name="T20" fmla="*/ 122 w 154"/>
                  <a:gd name="T21" fmla="*/ 164 h 185"/>
                  <a:gd name="T22" fmla="*/ 101 w 154"/>
                  <a:gd name="T23" fmla="*/ 185 h 185"/>
                  <a:gd name="T24" fmla="*/ 77 w 154"/>
                  <a:gd name="T25" fmla="*/ 5 h 185"/>
                  <a:gd name="T26" fmla="*/ 5 w 154"/>
                  <a:gd name="T27" fmla="*/ 77 h 185"/>
                  <a:gd name="T28" fmla="*/ 25 w 154"/>
                  <a:gd name="T29" fmla="*/ 127 h 185"/>
                  <a:gd name="T30" fmla="*/ 36 w 154"/>
                  <a:gd name="T31" fmla="*/ 149 h 185"/>
                  <a:gd name="T32" fmla="*/ 36 w 154"/>
                  <a:gd name="T33" fmla="*/ 164 h 185"/>
                  <a:gd name="T34" fmla="*/ 53 w 154"/>
                  <a:gd name="T35" fmla="*/ 180 h 185"/>
                  <a:gd name="T36" fmla="*/ 101 w 154"/>
                  <a:gd name="T37" fmla="*/ 180 h 185"/>
                  <a:gd name="T38" fmla="*/ 117 w 154"/>
                  <a:gd name="T39" fmla="*/ 164 h 185"/>
                  <a:gd name="T40" fmla="*/ 117 w 154"/>
                  <a:gd name="T41" fmla="*/ 149 h 185"/>
                  <a:gd name="T42" fmla="*/ 129 w 154"/>
                  <a:gd name="T43" fmla="*/ 127 h 185"/>
                  <a:gd name="T44" fmla="*/ 149 w 154"/>
                  <a:gd name="T45" fmla="*/ 77 h 185"/>
                  <a:gd name="T46" fmla="*/ 77 w 154"/>
                  <a:gd name="T47" fmla="*/ 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4" h="185">
                    <a:moveTo>
                      <a:pt x="101" y="185"/>
                    </a:moveTo>
                    <a:cubicBezTo>
                      <a:pt x="53" y="185"/>
                      <a:pt x="53" y="185"/>
                      <a:pt x="53" y="185"/>
                    </a:cubicBezTo>
                    <a:cubicBezTo>
                      <a:pt x="41" y="185"/>
                      <a:pt x="32" y="175"/>
                      <a:pt x="32" y="164"/>
                    </a:cubicBezTo>
                    <a:cubicBezTo>
                      <a:pt x="32" y="149"/>
                      <a:pt x="32" y="149"/>
                      <a:pt x="32" y="149"/>
                    </a:cubicBezTo>
                    <a:cubicBezTo>
                      <a:pt x="32" y="141"/>
                      <a:pt x="28" y="137"/>
                      <a:pt x="22" y="130"/>
                    </a:cubicBezTo>
                    <a:cubicBezTo>
                      <a:pt x="8" y="117"/>
                      <a:pt x="0" y="97"/>
                      <a:pt x="0" y="77"/>
                    </a:cubicBezTo>
                    <a:cubicBezTo>
                      <a:pt x="0" y="34"/>
                      <a:pt x="34" y="0"/>
                      <a:pt x="77" y="0"/>
                    </a:cubicBezTo>
                    <a:cubicBezTo>
                      <a:pt x="119" y="0"/>
                      <a:pt x="154" y="34"/>
                      <a:pt x="154" y="77"/>
                    </a:cubicBezTo>
                    <a:cubicBezTo>
                      <a:pt x="154" y="97"/>
                      <a:pt x="146" y="117"/>
                      <a:pt x="132" y="130"/>
                    </a:cubicBezTo>
                    <a:cubicBezTo>
                      <a:pt x="125" y="137"/>
                      <a:pt x="122" y="141"/>
                      <a:pt x="122" y="149"/>
                    </a:cubicBezTo>
                    <a:cubicBezTo>
                      <a:pt x="122" y="164"/>
                      <a:pt x="122" y="164"/>
                      <a:pt x="122" y="164"/>
                    </a:cubicBezTo>
                    <a:cubicBezTo>
                      <a:pt x="122" y="175"/>
                      <a:pt x="113" y="185"/>
                      <a:pt x="101" y="185"/>
                    </a:cubicBezTo>
                    <a:close/>
                    <a:moveTo>
                      <a:pt x="77" y="5"/>
                    </a:moveTo>
                    <a:cubicBezTo>
                      <a:pt x="37" y="5"/>
                      <a:pt x="5" y="37"/>
                      <a:pt x="5" y="77"/>
                    </a:cubicBezTo>
                    <a:cubicBezTo>
                      <a:pt x="5" y="96"/>
                      <a:pt x="12" y="114"/>
                      <a:pt x="25" y="127"/>
                    </a:cubicBezTo>
                    <a:cubicBezTo>
                      <a:pt x="32" y="134"/>
                      <a:pt x="36" y="140"/>
                      <a:pt x="36" y="149"/>
                    </a:cubicBezTo>
                    <a:cubicBezTo>
                      <a:pt x="36" y="164"/>
                      <a:pt x="36" y="164"/>
                      <a:pt x="36" y="164"/>
                    </a:cubicBezTo>
                    <a:cubicBezTo>
                      <a:pt x="36" y="173"/>
                      <a:pt x="44" y="180"/>
                      <a:pt x="53" y="180"/>
                    </a:cubicBezTo>
                    <a:cubicBezTo>
                      <a:pt x="101" y="180"/>
                      <a:pt x="101" y="180"/>
                      <a:pt x="101" y="180"/>
                    </a:cubicBezTo>
                    <a:cubicBezTo>
                      <a:pt x="110" y="180"/>
                      <a:pt x="117" y="173"/>
                      <a:pt x="117" y="164"/>
                    </a:cubicBezTo>
                    <a:cubicBezTo>
                      <a:pt x="117" y="149"/>
                      <a:pt x="117" y="149"/>
                      <a:pt x="117" y="149"/>
                    </a:cubicBezTo>
                    <a:cubicBezTo>
                      <a:pt x="117" y="140"/>
                      <a:pt x="122" y="134"/>
                      <a:pt x="129" y="127"/>
                    </a:cubicBezTo>
                    <a:cubicBezTo>
                      <a:pt x="142" y="114"/>
                      <a:pt x="149" y="96"/>
                      <a:pt x="149" y="77"/>
                    </a:cubicBezTo>
                    <a:cubicBezTo>
                      <a:pt x="149" y="37"/>
                      <a:pt x="117" y="5"/>
                      <a:pt x="7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60" name="Freeform 48">
                <a:extLst>
                  <a:ext uri="{FF2B5EF4-FFF2-40B4-BE49-F238E27FC236}">
                    <a16:creationId xmlns:a16="http://schemas.microsoft.com/office/drawing/2014/main" id="{5E57B6BD-3B1B-4D58-5C5F-265681C27441}"/>
                  </a:ext>
                </a:extLst>
              </p:cNvPr>
              <p:cNvSpPr>
                <a:spLocks noEditPoints="1"/>
              </p:cNvSpPr>
              <p:nvPr/>
            </p:nvSpPr>
            <p:spPr bwMode="auto">
              <a:xfrm>
                <a:off x="2898775" y="3065463"/>
                <a:ext cx="123825" cy="39688"/>
              </a:xfrm>
              <a:custGeom>
                <a:avLst/>
                <a:gdLst>
                  <a:gd name="T0" fmla="*/ 62 w 73"/>
                  <a:gd name="T1" fmla="*/ 23 h 23"/>
                  <a:gd name="T2" fmla="*/ 12 w 73"/>
                  <a:gd name="T3" fmla="*/ 23 h 23"/>
                  <a:gd name="T4" fmla="*/ 0 w 73"/>
                  <a:gd name="T5" fmla="*/ 11 h 23"/>
                  <a:gd name="T6" fmla="*/ 12 w 73"/>
                  <a:gd name="T7" fmla="*/ 0 h 23"/>
                  <a:gd name="T8" fmla="*/ 62 w 73"/>
                  <a:gd name="T9" fmla="*/ 0 h 23"/>
                  <a:gd name="T10" fmla="*/ 73 w 73"/>
                  <a:gd name="T11" fmla="*/ 11 h 23"/>
                  <a:gd name="T12" fmla="*/ 62 w 73"/>
                  <a:gd name="T13" fmla="*/ 23 h 23"/>
                  <a:gd name="T14" fmla="*/ 12 w 73"/>
                  <a:gd name="T15" fmla="*/ 5 h 23"/>
                  <a:gd name="T16" fmla="*/ 5 w 73"/>
                  <a:gd name="T17" fmla="*/ 11 h 23"/>
                  <a:gd name="T18" fmla="*/ 12 w 73"/>
                  <a:gd name="T19" fmla="*/ 18 h 23"/>
                  <a:gd name="T20" fmla="*/ 62 w 73"/>
                  <a:gd name="T21" fmla="*/ 18 h 23"/>
                  <a:gd name="T22" fmla="*/ 69 w 73"/>
                  <a:gd name="T23" fmla="*/ 11 h 23"/>
                  <a:gd name="T24" fmla="*/ 62 w 73"/>
                  <a:gd name="T25" fmla="*/ 5 h 23"/>
                  <a:gd name="T26" fmla="*/ 12 w 73"/>
                  <a:gd name="T27"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23">
                    <a:moveTo>
                      <a:pt x="62" y="23"/>
                    </a:moveTo>
                    <a:cubicBezTo>
                      <a:pt x="12" y="23"/>
                      <a:pt x="12" y="23"/>
                      <a:pt x="12" y="23"/>
                    </a:cubicBezTo>
                    <a:cubicBezTo>
                      <a:pt x="6" y="23"/>
                      <a:pt x="0" y="17"/>
                      <a:pt x="0" y="11"/>
                    </a:cubicBezTo>
                    <a:cubicBezTo>
                      <a:pt x="0" y="5"/>
                      <a:pt x="6" y="0"/>
                      <a:pt x="12" y="0"/>
                    </a:cubicBezTo>
                    <a:cubicBezTo>
                      <a:pt x="62" y="0"/>
                      <a:pt x="62" y="0"/>
                      <a:pt x="62" y="0"/>
                    </a:cubicBezTo>
                    <a:cubicBezTo>
                      <a:pt x="68" y="0"/>
                      <a:pt x="73" y="5"/>
                      <a:pt x="73" y="11"/>
                    </a:cubicBezTo>
                    <a:cubicBezTo>
                      <a:pt x="73" y="17"/>
                      <a:pt x="68" y="23"/>
                      <a:pt x="62" y="23"/>
                    </a:cubicBezTo>
                    <a:close/>
                    <a:moveTo>
                      <a:pt x="12" y="5"/>
                    </a:moveTo>
                    <a:cubicBezTo>
                      <a:pt x="8" y="5"/>
                      <a:pt x="5" y="8"/>
                      <a:pt x="5" y="11"/>
                    </a:cubicBezTo>
                    <a:cubicBezTo>
                      <a:pt x="5" y="15"/>
                      <a:pt x="8" y="18"/>
                      <a:pt x="12" y="18"/>
                    </a:cubicBezTo>
                    <a:cubicBezTo>
                      <a:pt x="62" y="18"/>
                      <a:pt x="62" y="18"/>
                      <a:pt x="62" y="18"/>
                    </a:cubicBezTo>
                    <a:cubicBezTo>
                      <a:pt x="66" y="18"/>
                      <a:pt x="69" y="15"/>
                      <a:pt x="69" y="11"/>
                    </a:cubicBezTo>
                    <a:cubicBezTo>
                      <a:pt x="69" y="8"/>
                      <a:pt x="66" y="5"/>
                      <a:pt x="62" y="5"/>
                    </a:cubicBezTo>
                    <a:lnTo>
                      <a:pt x="1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grpSp>
      </p:grpSp>
      <p:grpSp>
        <p:nvGrpSpPr>
          <p:cNvPr id="61" name="Group 75">
            <a:extLst>
              <a:ext uri="{FF2B5EF4-FFF2-40B4-BE49-F238E27FC236}">
                <a16:creationId xmlns:a16="http://schemas.microsoft.com/office/drawing/2014/main" id="{8F05B246-D9AE-392E-D88F-BB5FD015452A}"/>
              </a:ext>
            </a:extLst>
          </p:cNvPr>
          <p:cNvGrpSpPr/>
          <p:nvPr/>
        </p:nvGrpSpPr>
        <p:grpSpPr>
          <a:xfrm>
            <a:off x="1340413" y="3588138"/>
            <a:ext cx="732562" cy="728708"/>
            <a:chOff x="3503613" y="2446338"/>
            <a:chExt cx="603250" cy="600075"/>
          </a:xfrm>
        </p:grpSpPr>
        <p:sp>
          <p:nvSpPr>
            <p:cNvPr id="62" name="Oval 15">
              <a:extLst>
                <a:ext uri="{FF2B5EF4-FFF2-40B4-BE49-F238E27FC236}">
                  <a16:creationId xmlns:a16="http://schemas.microsoft.com/office/drawing/2014/main" id="{7C7D4679-7AE2-F4E6-DFE8-225528C13E15}"/>
                </a:ext>
              </a:extLst>
            </p:cNvPr>
            <p:cNvSpPr>
              <a:spLocks noChangeArrowheads="1"/>
            </p:cNvSpPr>
            <p:nvPr/>
          </p:nvSpPr>
          <p:spPr bwMode="auto">
            <a:xfrm>
              <a:off x="3503613" y="2446338"/>
              <a:ext cx="603250" cy="600075"/>
            </a:xfrm>
            <a:prstGeom prst="ellipse">
              <a:avLst/>
            </a:prstGeom>
            <a:solidFill>
              <a:schemeClr val="accent6"/>
            </a:solidFill>
            <a:ln>
              <a:noFill/>
            </a:ln>
          </p:spPr>
          <p:txBody>
            <a:bodyPr vert="horz" wrap="square" lIns="121920" tIns="60960" rIns="121920" bIns="60960" numCol="1" anchor="t" anchorCtr="0" compatLnSpc="1">
              <a:prstTxWarp prst="textNoShape">
                <a:avLst/>
              </a:prstTxWarp>
            </a:bodyPr>
            <a:lstStyle/>
            <a:p>
              <a:endParaRPr lang="en-US" sz="3200"/>
            </a:p>
          </p:txBody>
        </p:sp>
        <p:grpSp>
          <p:nvGrpSpPr>
            <p:cNvPr id="63" name="Group 66">
              <a:extLst>
                <a:ext uri="{FF2B5EF4-FFF2-40B4-BE49-F238E27FC236}">
                  <a16:creationId xmlns:a16="http://schemas.microsoft.com/office/drawing/2014/main" id="{DDABE396-3CA3-AC8D-9745-56EC36EA9304}"/>
                </a:ext>
              </a:extLst>
            </p:cNvPr>
            <p:cNvGrpSpPr/>
            <p:nvPr/>
          </p:nvGrpSpPr>
          <p:grpSpPr>
            <a:xfrm>
              <a:off x="3622675" y="2555875"/>
              <a:ext cx="365125" cy="381001"/>
              <a:chOff x="3622675" y="2749550"/>
              <a:chExt cx="365125" cy="381001"/>
            </a:xfrm>
          </p:grpSpPr>
          <p:sp>
            <p:nvSpPr>
              <p:cNvPr id="64" name="Freeform 27">
                <a:extLst>
                  <a:ext uri="{FF2B5EF4-FFF2-40B4-BE49-F238E27FC236}">
                    <a16:creationId xmlns:a16="http://schemas.microsoft.com/office/drawing/2014/main" id="{2B3231F8-FD9A-2AC4-2E19-6EA88EC72CAC}"/>
                  </a:ext>
                </a:extLst>
              </p:cNvPr>
              <p:cNvSpPr>
                <a:spLocks/>
              </p:cNvSpPr>
              <p:nvPr/>
            </p:nvSpPr>
            <p:spPr bwMode="auto">
              <a:xfrm>
                <a:off x="3622675" y="2749550"/>
                <a:ext cx="365125" cy="141288"/>
              </a:xfrm>
              <a:custGeom>
                <a:avLst/>
                <a:gdLst>
                  <a:gd name="T0" fmla="*/ 215 w 215"/>
                  <a:gd name="T1" fmla="*/ 80 h 83"/>
                  <a:gd name="T2" fmla="*/ 193 w 215"/>
                  <a:gd name="T3" fmla="*/ 39 h 83"/>
                  <a:gd name="T4" fmla="*/ 192 w 215"/>
                  <a:gd name="T5" fmla="*/ 39 h 83"/>
                  <a:gd name="T6" fmla="*/ 192 w 215"/>
                  <a:gd name="T7" fmla="*/ 39 h 83"/>
                  <a:gd name="T8" fmla="*/ 175 w 215"/>
                  <a:gd name="T9" fmla="*/ 22 h 83"/>
                  <a:gd name="T10" fmla="*/ 107 w 215"/>
                  <a:gd name="T11" fmla="*/ 0 h 83"/>
                  <a:gd name="T12" fmla="*/ 107 w 215"/>
                  <a:gd name="T13" fmla="*/ 0 h 83"/>
                  <a:gd name="T14" fmla="*/ 107 w 215"/>
                  <a:gd name="T15" fmla="*/ 0 h 83"/>
                  <a:gd name="T16" fmla="*/ 107 w 215"/>
                  <a:gd name="T17" fmla="*/ 0 h 83"/>
                  <a:gd name="T18" fmla="*/ 40 w 215"/>
                  <a:gd name="T19" fmla="*/ 22 h 83"/>
                  <a:gd name="T20" fmla="*/ 22 w 215"/>
                  <a:gd name="T21" fmla="*/ 39 h 83"/>
                  <a:gd name="T22" fmla="*/ 22 w 215"/>
                  <a:gd name="T23" fmla="*/ 39 h 83"/>
                  <a:gd name="T24" fmla="*/ 22 w 215"/>
                  <a:gd name="T25" fmla="*/ 39 h 83"/>
                  <a:gd name="T26" fmla="*/ 0 w 215"/>
                  <a:gd name="T27" fmla="*/ 80 h 83"/>
                  <a:gd name="T28" fmla="*/ 1 w 215"/>
                  <a:gd name="T29" fmla="*/ 83 h 83"/>
                  <a:gd name="T30" fmla="*/ 2 w 215"/>
                  <a:gd name="T31" fmla="*/ 83 h 83"/>
                  <a:gd name="T32" fmla="*/ 4 w 215"/>
                  <a:gd name="T33" fmla="*/ 81 h 83"/>
                  <a:gd name="T34" fmla="*/ 24 w 215"/>
                  <a:gd name="T35" fmla="*/ 44 h 83"/>
                  <a:gd name="T36" fmla="*/ 33 w 215"/>
                  <a:gd name="T37" fmla="*/ 57 h 83"/>
                  <a:gd name="T38" fmla="*/ 35 w 215"/>
                  <a:gd name="T39" fmla="*/ 58 h 83"/>
                  <a:gd name="T40" fmla="*/ 37 w 215"/>
                  <a:gd name="T41" fmla="*/ 57 h 83"/>
                  <a:gd name="T42" fmla="*/ 37 w 215"/>
                  <a:gd name="T43" fmla="*/ 54 h 83"/>
                  <a:gd name="T44" fmla="*/ 27 w 215"/>
                  <a:gd name="T45" fmla="*/ 41 h 83"/>
                  <a:gd name="T46" fmla="*/ 43 w 215"/>
                  <a:gd name="T47" fmla="*/ 26 h 83"/>
                  <a:gd name="T48" fmla="*/ 105 w 215"/>
                  <a:gd name="T49" fmla="*/ 4 h 83"/>
                  <a:gd name="T50" fmla="*/ 105 w 215"/>
                  <a:gd name="T51" fmla="*/ 25 h 83"/>
                  <a:gd name="T52" fmla="*/ 107 w 215"/>
                  <a:gd name="T53" fmla="*/ 27 h 83"/>
                  <a:gd name="T54" fmla="*/ 110 w 215"/>
                  <a:gd name="T55" fmla="*/ 25 h 83"/>
                  <a:gd name="T56" fmla="*/ 110 w 215"/>
                  <a:gd name="T57" fmla="*/ 4 h 83"/>
                  <a:gd name="T58" fmla="*/ 172 w 215"/>
                  <a:gd name="T59" fmla="*/ 26 h 83"/>
                  <a:gd name="T60" fmla="*/ 188 w 215"/>
                  <a:gd name="T61" fmla="*/ 41 h 83"/>
                  <a:gd name="T62" fmla="*/ 178 w 215"/>
                  <a:gd name="T63" fmla="*/ 54 h 83"/>
                  <a:gd name="T64" fmla="*/ 178 w 215"/>
                  <a:gd name="T65" fmla="*/ 57 h 83"/>
                  <a:gd name="T66" fmla="*/ 180 w 215"/>
                  <a:gd name="T67" fmla="*/ 58 h 83"/>
                  <a:gd name="T68" fmla="*/ 181 w 215"/>
                  <a:gd name="T69" fmla="*/ 57 h 83"/>
                  <a:gd name="T70" fmla="*/ 191 w 215"/>
                  <a:gd name="T71" fmla="*/ 44 h 83"/>
                  <a:gd name="T72" fmla="*/ 210 w 215"/>
                  <a:gd name="T73" fmla="*/ 81 h 83"/>
                  <a:gd name="T74" fmla="*/ 213 w 215"/>
                  <a:gd name="T75" fmla="*/ 83 h 83"/>
                  <a:gd name="T76" fmla="*/ 215 w 215"/>
                  <a:gd name="T77" fmla="*/ 8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5" h="83">
                    <a:moveTo>
                      <a:pt x="215" y="80"/>
                    </a:moveTo>
                    <a:cubicBezTo>
                      <a:pt x="211" y="65"/>
                      <a:pt x="203" y="51"/>
                      <a:pt x="193" y="39"/>
                    </a:cubicBezTo>
                    <a:cubicBezTo>
                      <a:pt x="193" y="39"/>
                      <a:pt x="193" y="39"/>
                      <a:pt x="192" y="39"/>
                    </a:cubicBezTo>
                    <a:cubicBezTo>
                      <a:pt x="192" y="39"/>
                      <a:pt x="192" y="39"/>
                      <a:pt x="192" y="39"/>
                    </a:cubicBezTo>
                    <a:cubicBezTo>
                      <a:pt x="187" y="33"/>
                      <a:pt x="181" y="27"/>
                      <a:pt x="175" y="22"/>
                    </a:cubicBezTo>
                    <a:cubicBezTo>
                      <a:pt x="155" y="7"/>
                      <a:pt x="132" y="0"/>
                      <a:pt x="107" y="0"/>
                    </a:cubicBezTo>
                    <a:cubicBezTo>
                      <a:pt x="107" y="0"/>
                      <a:pt x="107" y="0"/>
                      <a:pt x="107" y="0"/>
                    </a:cubicBezTo>
                    <a:cubicBezTo>
                      <a:pt x="107" y="0"/>
                      <a:pt x="107" y="0"/>
                      <a:pt x="107" y="0"/>
                    </a:cubicBezTo>
                    <a:cubicBezTo>
                      <a:pt x="107" y="0"/>
                      <a:pt x="107" y="0"/>
                      <a:pt x="107" y="0"/>
                    </a:cubicBezTo>
                    <a:cubicBezTo>
                      <a:pt x="83" y="0"/>
                      <a:pt x="59" y="7"/>
                      <a:pt x="40" y="22"/>
                    </a:cubicBezTo>
                    <a:cubicBezTo>
                      <a:pt x="33" y="27"/>
                      <a:pt x="28" y="33"/>
                      <a:pt x="22" y="39"/>
                    </a:cubicBezTo>
                    <a:cubicBezTo>
                      <a:pt x="22" y="39"/>
                      <a:pt x="22" y="39"/>
                      <a:pt x="22" y="39"/>
                    </a:cubicBezTo>
                    <a:cubicBezTo>
                      <a:pt x="22" y="39"/>
                      <a:pt x="22" y="39"/>
                      <a:pt x="22" y="39"/>
                    </a:cubicBezTo>
                    <a:cubicBezTo>
                      <a:pt x="12" y="51"/>
                      <a:pt x="4" y="65"/>
                      <a:pt x="0" y="80"/>
                    </a:cubicBezTo>
                    <a:cubicBezTo>
                      <a:pt x="0" y="81"/>
                      <a:pt x="0" y="82"/>
                      <a:pt x="1" y="83"/>
                    </a:cubicBezTo>
                    <a:cubicBezTo>
                      <a:pt x="2" y="83"/>
                      <a:pt x="2" y="83"/>
                      <a:pt x="2" y="83"/>
                    </a:cubicBezTo>
                    <a:cubicBezTo>
                      <a:pt x="3" y="83"/>
                      <a:pt x="4" y="82"/>
                      <a:pt x="4" y="81"/>
                    </a:cubicBezTo>
                    <a:cubicBezTo>
                      <a:pt x="8" y="68"/>
                      <a:pt x="15" y="55"/>
                      <a:pt x="24" y="44"/>
                    </a:cubicBezTo>
                    <a:cubicBezTo>
                      <a:pt x="33" y="57"/>
                      <a:pt x="33" y="57"/>
                      <a:pt x="33" y="57"/>
                    </a:cubicBezTo>
                    <a:cubicBezTo>
                      <a:pt x="34" y="57"/>
                      <a:pt x="34" y="58"/>
                      <a:pt x="35" y="58"/>
                    </a:cubicBezTo>
                    <a:cubicBezTo>
                      <a:pt x="36" y="58"/>
                      <a:pt x="36" y="57"/>
                      <a:pt x="37" y="57"/>
                    </a:cubicBezTo>
                    <a:cubicBezTo>
                      <a:pt x="38" y="56"/>
                      <a:pt x="38" y="55"/>
                      <a:pt x="37" y="54"/>
                    </a:cubicBezTo>
                    <a:cubicBezTo>
                      <a:pt x="27" y="41"/>
                      <a:pt x="27" y="41"/>
                      <a:pt x="27" y="41"/>
                    </a:cubicBezTo>
                    <a:cubicBezTo>
                      <a:pt x="32" y="35"/>
                      <a:pt x="37" y="30"/>
                      <a:pt x="43" y="26"/>
                    </a:cubicBezTo>
                    <a:cubicBezTo>
                      <a:pt x="61" y="12"/>
                      <a:pt x="82" y="5"/>
                      <a:pt x="105" y="4"/>
                    </a:cubicBezTo>
                    <a:cubicBezTo>
                      <a:pt x="105" y="25"/>
                      <a:pt x="105" y="25"/>
                      <a:pt x="105" y="25"/>
                    </a:cubicBezTo>
                    <a:cubicBezTo>
                      <a:pt x="105" y="26"/>
                      <a:pt x="106" y="27"/>
                      <a:pt x="107" y="27"/>
                    </a:cubicBezTo>
                    <a:cubicBezTo>
                      <a:pt x="109" y="27"/>
                      <a:pt x="110" y="26"/>
                      <a:pt x="110" y="25"/>
                    </a:cubicBezTo>
                    <a:cubicBezTo>
                      <a:pt x="110" y="4"/>
                      <a:pt x="110" y="4"/>
                      <a:pt x="110" y="4"/>
                    </a:cubicBezTo>
                    <a:cubicBezTo>
                      <a:pt x="132" y="5"/>
                      <a:pt x="154" y="12"/>
                      <a:pt x="172" y="26"/>
                    </a:cubicBezTo>
                    <a:cubicBezTo>
                      <a:pt x="178" y="30"/>
                      <a:pt x="183" y="35"/>
                      <a:pt x="188" y="41"/>
                    </a:cubicBezTo>
                    <a:cubicBezTo>
                      <a:pt x="178" y="54"/>
                      <a:pt x="178" y="54"/>
                      <a:pt x="178" y="54"/>
                    </a:cubicBezTo>
                    <a:cubicBezTo>
                      <a:pt x="177" y="55"/>
                      <a:pt x="177" y="56"/>
                      <a:pt x="178" y="57"/>
                    </a:cubicBezTo>
                    <a:cubicBezTo>
                      <a:pt x="179" y="57"/>
                      <a:pt x="179" y="58"/>
                      <a:pt x="180" y="58"/>
                    </a:cubicBezTo>
                    <a:cubicBezTo>
                      <a:pt x="180" y="58"/>
                      <a:pt x="181" y="57"/>
                      <a:pt x="181" y="57"/>
                    </a:cubicBezTo>
                    <a:cubicBezTo>
                      <a:pt x="191" y="44"/>
                      <a:pt x="191" y="44"/>
                      <a:pt x="191" y="44"/>
                    </a:cubicBezTo>
                    <a:cubicBezTo>
                      <a:pt x="200" y="55"/>
                      <a:pt x="206" y="68"/>
                      <a:pt x="210" y="81"/>
                    </a:cubicBezTo>
                    <a:cubicBezTo>
                      <a:pt x="211" y="82"/>
                      <a:pt x="212" y="83"/>
                      <a:pt x="213" y="83"/>
                    </a:cubicBezTo>
                    <a:cubicBezTo>
                      <a:pt x="215" y="82"/>
                      <a:pt x="215" y="81"/>
                      <a:pt x="215"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65" name="Freeform 28">
                <a:extLst>
                  <a:ext uri="{FF2B5EF4-FFF2-40B4-BE49-F238E27FC236}">
                    <a16:creationId xmlns:a16="http://schemas.microsoft.com/office/drawing/2014/main" id="{7FD96C10-85A6-63CB-F810-53A339CDCC8B}"/>
                  </a:ext>
                </a:extLst>
              </p:cNvPr>
              <p:cNvSpPr>
                <a:spLocks/>
              </p:cNvSpPr>
              <p:nvPr/>
            </p:nvSpPr>
            <p:spPr bwMode="auto">
              <a:xfrm>
                <a:off x="3643313" y="3033713"/>
                <a:ext cx="323850" cy="96838"/>
              </a:xfrm>
              <a:custGeom>
                <a:avLst/>
                <a:gdLst>
                  <a:gd name="T0" fmla="*/ 190 w 191"/>
                  <a:gd name="T1" fmla="*/ 1 h 57"/>
                  <a:gd name="T2" fmla="*/ 187 w 191"/>
                  <a:gd name="T3" fmla="*/ 2 h 57"/>
                  <a:gd name="T4" fmla="*/ 95 w 191"/>
                  <a:gd name="T5" fmla="*/ 52 h 57"/>
                  <a:gd name="T6" fmla="*/ 4 w 191"/>
                  <a:gd name="T7" fmla="*/ 2 h 57"/>
                  <a:gd name="T8" fmla="*/ 1 w 191"/>
                  <a:gd name="T9" fmla="*/ 1 h 57"/>
                  <a:gd name="T10" fmla="*/ 0 w 191"/>
                  <a:gd name="T11" fmla="*/ 4 h 57"/>
                  <a:gd name="T12" fmla="*/ 95 w 191"/>
                  <a:gd name="T13" fmla="*/ 57 h 57"/>
                  <a:gd name="T14" fmla="*/ 190 w 191"/>
                  <a:gd name="T15" fmla="*/ 4 h 57"/>
                  <a:gd name="T16" fmla="*/ 190 w 191"/>
                  <a:gd name="T17" fmla="*/ 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 h="57">
                    <a:moveTo>
                      <a:pt x="190" y="1"/>
                    </a:moveTo>
                    <a:cubicBezTo>
                      <a:pt x="189" y="0"/>
                      <a:pt x="187" y="1"/>
                      <a:pt x="187" y="2"/>
                    </a:cubicBezTo>
                    <a:cubicBezTo>
                      <a:pt x="167" y="33"/>
                      <a:pt x="133" y="52"/>
                      <a:pt x="95" y="52"/>
                    </a:cubicBezTo>
                    <a:cubicBezTo>
                      <a:pt x="58" y="52"/>
                      <a:pt x="24" y="33"/>
                      <a:pt x="4" y="2"/>
                    </a:cubicBezTo>
                    <a:cubicBezTo>
                      <a:pt x="4" y="1"/>
                      <a:pt x="2" y="0"/>
                      <a:pt x="1" y="1"/>
                    </a:cubicBezTo>
                    <a:cubicBezTo>
                      <a:pt x="0" y="2"/>
                      <a:pt x="0" y="3"/>
                      <a:pt x="0" y="4"/>
                    </a:cubicBezTo>
                    <a:cubicBezTo>
                      <a:pt x="21" y="37"/>
                      <a:pt x="57" y="57"/>
                      <a:pt x="95" y="57"/>
                    </a:cubicBezTo>
                    <a:cubicBezTo>
                      <a:pt x="134" y="57"/>
                      <a:pt x="170" y="37"/>
                      <a:pt x="190" y="4"/>
                    </a:cubicBezTo>
                    <a:cubicBezTo>
                      <a:pt x="191" y="3"/>
                      <a:pt x="191" y="2"/>
                      <a:pt x="19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66" name="Freeform 29">
                <a:extLst>
                  <a:ext uri="{FF2B5EF4-FFF2-40B4-BE49-F238E27FC236}">
                    <a16:creationId xmlns:a16="http://schemas.microsoft.com/office/drawing/2014/main" id="{C1CFFF8A-67D0-7112-EF06-72E7DBF77B64}"/>
                  </a:ext>
                </a:extLst>
              </p:cNvPr>
              <p:cNvSpPr>
                <a:spLocks noEditPoints="1"/>
              </p:cNvSpPr>
              <p:nvPr/>
            </p:nvSpPr>
            <p:spPr bwMode="auto">
              <a:xfrm>
                <a:off x="3735388" y="2900363"/>
                <a:ext cx="200025" cy="141288"/>
              </a:xfrm>
              <a:custGeom>
                <a:avLst/>
                <a:gdLst>
                  <a:gd name="T0" fmla="*/ 118 w 118"/>
                  <a:gd name="T1" fmla="*/ 1 h 83"/>
                  <a:gd name="T2" fmla="*/ 114 w 118"/>
                  <a:gd name="T3" fmla="*/ 1 h 83"/>
                  <a:gd name="T4" fmla="*/ 64 w 118"/>
                  <a:gd name="T5" fmla="*/ 54 h 83"/>
                  <a:gd name="T6" fmla="*/ 41 w 118"/>
                  <a:gd name="T7" fmla="*/ 48 h 83"/>
                  <a:gd name="T8" fmla="*/ 0 w 118"/>
                  <a:gd name="T9" fmla="*/ 80 h 83"/>
                  <a:gd name="T10" fmla="*/ 1 w 118"/>
                  <a:gd name="T11" fmla="*/ 82 h 83"/>
                  <a:gd name="T12" fmla="*/ 2 w 118"/>
                  <a:gd name="T13" fmla="*/ 83 h 83"/>
                  <a:gd name="T14" fmla="*/ 80 w 118"/>
                  <a:gd name="T15" fmla="*/ 83 h 83"/>
                  <a:gd name="T16" fmla="*/ 82 w 118"/>
                  <a:gd name="T17" fmla="*/ 82 h 83"/>
                  <a:gd name="T18" fmla="*/ 83 w 118"/>
                  <a:gd name="T19" fmla="*/ 80 h 83"/>
                  <a:gd name="T20" fmla="*/ 68 w 118"/>
                  <a:gd name="T21" fmla="*/ 57 h 83"/>
                  <a:gd name="T22" fmla="*/ 118 w 118"/>
                  <a:gd name="T23" fmla="*/ 5 h 83"/>
                  <a:gd name="T24" fmla="*/ 118 w 118"/>
                  <a:gd name="T25" fmla="*/ 1 h 83"/>
                  <a:gd name="T26" fmla="*/ 77 w 118"/>
                  <a:gd name="T27" fmla="*/ 79 h 83"/>
                  <a:gd name="T28" fmla="*/ 5 w 118"/>
                  <a:gd name="T29" fmla="*/ 79 h 83"/>
                  <a:gd name="T30" fmla="*/ 41 w 118"/>
                  <a:gd name="T31" fmla="*/ 52 h 83"/>
                  <a:gd name="T32" fmla="*/ 63 w 118"/>
                  <a:gd name="T33" fmla="*/ 59 h 83"/>
                  <a:gd name="T34" fmla="*/ 63 w 118"/>
                  <a:gd name="T35" fmla="*/ 59 h 83"/>
                  <a:gd name="T36" fmla="*/ 63 w 118"/>
                  <a:gd name="T37" fmla="*/ 59 h 83"/>
                  <a:gd name="T38" fmla="*/ 77 w 118"/>
                  <a:gd name="T39" fmla="*/ 7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83">
                    <a:moveTo>
                      <a:pt x="118" y="1"/>
                    </a:moveTo>
                    <a:cubicBezTo>
                      <a:pt x="117" y="0"/>
                      <a:pt x="115" y="0"/>
                      <a:pt x="114" y="1"/>
                    </a:cubicBezTo>
                    <a:cubicBezTo>
                      <a:pt x="64" y="54"/>
                      <a:pt x="64" y="54"/>
                      <a:pt x="64" y="54"/>
                    </a:cubicBezTo>
                    <a:cubicBezTo>
                      <a:pt x="57" y="50"/>
                      <a:pt x="50" y="48"/>
                      <a:pt x="41" y="48"/>
                    </a:cubicBezTo>
                    <a:cubicBezTo>
                      <a:pt x="22" y="48"/>
                      <a:pt x="5" y="61"/>
                      <a:pt x="0" y="80"/>
                    </a:cubicBezTo>
                    <a:cubicBezTo>
                      <a:pt x="0" y="81"/>
                      <a:pt x="0" y="82"/>
                      <a:pt x="1" y="82"/>
                    </a:cubicBezTo>
                    <a:cubicBezTo>
                      <a:pt x="1" y="83"/>
                      <a:pt x="2" y="83"/>
                      <a:pt x="2" y="83"/>
                    </a:cubicBezTo>
                    <a:cubicBezTo>
                      <a:pt x="80" y="83"/>
                      <a:pt x="80" y="83"/>
                      <a:pt x="80" y="83"/>
                    </a:cubicBezTo>
                    <a:cubicBezTo>
                      <a:pt x="81" y="83"/>
                      <a:pt x="82" y="83"/>
                      <a:pt x="82" y="82"/>
                    </a:cubicBezTo>
                    <a:cubicBezTo>
                      <a:pt x="83" y="82"/>
                      <a:pt x="83" y="81"/>
                      <a:pt x="83" y="80"/>
                    </a:cubicBezTo>
                    <a:cubicBezTo>
                      <a:pt x="80" y="71"/>
                      <a:pt x="75" y="62"/>
                      <a:pt x="68" y="57"/>
                    </a:cubicBezTo>
                    <a:cubicBezTo>
                      <a:pt x="118" y="5"/>
                      <a:pt x="118" y="5"/>
                      <a:pt x="118" y="5"/>
                    </a:cubicBezTo>
                    <a:cubicBezTo>
                      <a:pt x="118" y="4"/>
                      <a:pt x="118" y="2"/>
                      <a:pt x="118" y="1"/>
                    </a:cubicBezTo>
                    <a:close/>
                    <a:moveTo>
                      <a:pt x="77" y="79"/>
                    </a:moveTo>
                    <a:cubicBezTo>
                      <a:pt x="5" y="79"/>
                      <a:pt x="5" y="79"/>
                      <a:pt x="5" y="79"/>
                    </a:cubicBezTo>
                    <a:cubicBezTo>
                      <a:pt x="10" y="63"/>
                      <a:pt x="25" y="52"/>
                      <a:pt x="41" y="52"/>
                    </a:cubicBezTo>
                    <a:cubicBezTo>
                      <a:pt x="49" y="52"/>
                      <a:pt x="57" y="55"/>
                      <a:pt x="63" y="59"/>
                    </a:cubicBezTo>
                    <a:cubicBezTo>
                      <a:pt x="63" y="59"/>
                      <a:pt x="63" y="59"/>
                      <a:pt x="63" y="59"/>
                    </a:cubicBezTo>
                    <a:cubicBezTo>
                      <a:pt x="63" y="59"/>
                      <a:pt x="63" y="59"/>
                      <a:pt x="63" y="59"/>
                    </a:cubicBezTo>
                    <a:cubicBezTo>
                      <a:pt x="70" y="64"/>
                      <a:pt x="75" y="71"/>
                      <a:pt x="77"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grpSp>
      </p:grpSp>
      <p:grpSp>
        <p:nvGrpSpPr>
          <p:cNvPr id="67" name="Group 13">
            <a:extLst>
              <a:ext uri="{FF2B5EF4-FFF2-40B4-BE49-F238E27FC236}">
                <a16:creationId xmlns:a16="http://schemas.microsoft.com/office/drawing/2014/main" id="{EAC8EDBE-3A4C-1FE3-91CC-B47C268C137B}"/>
              </a:ext>
            </a:extLst>
          </p:cNvPr>
          <p:cNvGrpSpPr/>
          <p:nvPr/>
        </p:nvGrpSpPr>
        <p:grpSpPr>
          <a:xfrm>
            <a:off x="1329942" y="5416331"/>
            <a:ext cx="753501" cy="757486"/>
            <a:chOff x="9788525" y="2444750"/>
            <a:chExt cx="600075" cy="603250"/>
          </a:xfrm>
        </p:grpSpPr>
        <p:sp>
          <p:nvSpPr>
            <p:cNvPr id="68" name="Oval 14">
              <a:extLst>
                <a:ext uri="{FF2B5EF4-FFF2-40B4-BE49-F238E27FC236}">
                  <a16:creationId xmlns:a16="http://schemas.microsoft.com/office/drawing/2014/main" id="{6686A077-7EED-A10E-9C70-494A27AC5DF4}"/>
                </a:ext>
              </a:extLst>
            </p:cNvPr>
            <p:cNvSpPr>
              <a:spLocks noChangeArrowheads="1"/>
            </p:cNvSpPr>
            <p:nvPr/>
          </p:nvSpPr>
          <p:spPr bwMode="auto">
            <a:xfrm>
              <a:off x="9788525" y="2444750"/>
              <a:ext cx="600075" cy="603250"/>
            </a:xfrm>
            <a:prstGeom prst="ellipse">
              <a:avLst/>
            </a:prstGeom>
            <a:solidFill>
              <a:schemeClr val="tx2"/>
            </a:solidFill>
            <a:ln>
              <a:noFill/>
            </a:ln>
          </p:spPr>
          <p:txBody>
            <a:bodyPr vert="horz" wrap="square" lIns="121920" tIns="60960" rIns="121920" bIns="60960" numCol="1" anchor="t" anchorCtr="0" compatLnSpc="1">
              <a:prstTxWarp prst="textNoShape">
                <a:avLst/>
              </a:prstTxWarp>
            </a:bodyPr>
            <a:lstStyle/>
            <a:p>
              <a:endParaRPr lang="en-US" sz="3200"/>
            </a:p>
          </p:txBody>
        </p:sp>
        <p:grpSp>
          <p:nvGrpSpPr>
            <p:cNvPr id="69" name="Group 15">
              <a:extLst>
                <a:ext uri="{FF2B5EF4-FFF2-40B4-BE49-F238E27FC236}">
                  <a16:creationId xmlns:a16="http://schemas.microsoft.com/office/drawing/2014/main" id="{2603FBB7-D089-745B-C157-4FA587DCBB14}"/>
                </a:ext>
              </a:extLst>
            </p:cNvPr>
            <p:cNvGrpSpPr/>
            <p:nvPr/>
          </p:nvGrpSpPr>
          <p:grpSpPr>
            <a:xfrm>
              <a:off x="9928225" y="2586038"/>
              <a:ext cx="328613" cy="320675"/>
              <a:chOff x="9928225" y="2871788"/>
              <a:chExt cx="328613" cy="320675"/>
            </a:xfrm>
          </p:grpSpPr>
          <p:sp>
            <p:nvSpPr>
              <p:cNvPr id="70" name="Freeform 16">
                <a:extLst>
                  <a:ext uri="{FF2B5EF4-FFF2-40B4-BE49-F238E27FC236}">
                    <a16:creationId xmlns:a16="http://schemas.microsoft.com/office/drawing/2014/main" id="{F489E3C2-B1DB-881C-D33A-7872E4D22E63}"/>
                  </a:ext>
                </a:extLst>
              </p:cNvPr>
              <p:cNvSpPr>
                <a:spLocks noEditPoints="1"/>
              </p:cNvSpPr>
              <p:nvPr/>
            </p:nvSpPr>
            <p:spPr bwMode="auto">
              <a:xfrm>
                <a:off x="9952038" y="2871788"/>
                <a:ext cx="304800" cy="296863"/>
              </a:xfrm>
              <a:custGeom>
                <a:avLst/>
                <a:gdLst>
                  <a:gd name="T0" fmla="*/ 173 w 180"/>
                  <a:gd name="T1" fmla="*/ 2 h 175"/>
                  <a:gd name="T2" fmla="*/ 163 w 180"/>
                  <a:gd name="T3" fmla="*/ 0 h 175"/>
                  <a:gd name="T4" fmla="*/ 98 w 180"/>
                  <a:gd name="T5" fmla="*/ 29 h 175"/>
                  <a:gd name="T6" fmla="*/ 65 w 180"/>
                  <a:gd name="T7" fmla="*/ 65 h 175"/>
                  <a:gd name="T8" fmla="*/ 25 w 180"/>
                  <a:gd name="T9" fmla="*/ 68 h 175"/>
                  <a:gd name="T10" fmla="*/ 0 w 180"/>
                  <a:gd name="T11" fmla="*/ 95 h 175"/>
                  <a:gd name="T12" fmla="*/ 1 w 180"/>
                  <a:gd name="T13" fmla="*/ 97 h 175"/>
                  <a:gd name="T14" fmla="*/ 3 w 180"/>
                  <a:gd name="T15" fmla="*/ 98 h 175"/>
                  <a:gd name="T16" fmla="*/ 34 w 180"/>
                  <a:gd name="T17" fmla="*/ 99 h 175"/>
                  <a:gd name="T18" fmla="*/ 32 w 180"/>
                  <a:gd name="T19" fmla="*/ 101 h 175"/>
                  <a:gd name="T20" fmla="*/ 32 w 180"/>
                  <a:gd name="T21" fmla="*/ 110 h 175"/>
                  <a:gd name="T22" fmla="*/ 22 w 180"/>
                  <a:gd name="T23" fmla="*/ 120 h 175"/>
                  <a:gd name="T24" fmla="*/ 32 w 180"/>
                  <a:gd name="T25" fmla="*/ 143 h 175"/>
                  <a:gd name="T26" fmla="*/ 52 w 180"/>
                  <a:gd name="T27" fmla="*/ 155 h 175"/>
                  <a:gd name="T28" fmla="*/ 55 w 180"/>
                  <a:gd name="T29" fmla="*/ 153 h 175"/>
                  <a:gd name="T30" fmla="*/ 65 w 180"/>
                  <a:gd name="T31" fmla="*/ 143 h 175"/>
                  <a:gd name="T32" fmla="*/ 71 w 180"/>
                  <a:gd name="T33" fmla="*/ 145 h 175"/>
                  <a:gd name="T34" fmla="*/ 74 w 180"/>
                  <a:gd name="T35" fmla="*/ 143 h 175"/>
                  <a:gd name="T36" fmla="*/ 77 w 180"/>
                  <a:gd name="T37" fmla="*/ 141 h 175"/>
                  <a:gd name="T38" fmla="*/ 78 w 180"/>
                  <a:gd name="T39" fmla="*/ 172 h 175"/>
                  <a:gd name="T40" fmla="*/ 78 w 180"/>
                  <a:gd name="T41" fmla="*/ 175 h 175"/>
                  <a:gd name="T42" fmla="*/ 80 w 180"/>
                  <a:gd name="T43" fmla="*/ 175 h 175"/>
                  <a:gd name="T44" fmla="*/ 81 w 180"/>
                  <a:gd name="T45" fmla="*/ 175 h 175"/>
                  <a:gd name="T46" fmla="*/ 108 w 180"/>
                  <a:gd name="T47" fmla="*/ 151 h 175"/>
                  <a:gd name="T48" fmla="*/ 111 w 180"/>
                  <a:gd name="T49" fmla="*/ 110 h 175"/>
                  <a:gd name="T50" fmla="*/ 146 w 180"/>
                  <a:gd name="T51" fmla="*/ 78 h 175"/>
                  <a:gd name="T52" fmla="*/ 173 w 180"/>
                  <a:gd name="T53" fmla="*/ 2 h 175"/>
                  <a:gd name="T54" fmla="*/ 7 w 180"/>
                  <a:gd name="T55" fmla="*/ 92 h 175"/>
                  <a:gd name="T56" fmla="*/ 26 w 180"/>
                  <a:gd name="T57" fmla="*/ 72 h 175"/>
                  <a:gd name="T58" fmla="*/ 61 w 180"/>
                  <a:gd name="T59" fmla="*/ 69 h 175"/>
                  <a:gd name="T60" fmla="*/ 38 w 180"/>
                  <a:gd name="T61" fmla="*/ 95 h 175"/>
                  <a:gd name="T62" fmla="*/ 7 w 180"/>
                  <a:gd name="T63" fmla="*/ 92 h 175"/>
                  <a:gd name="T64" fmla="*/ 52 w 180"/>
                  <a:gd name="T65" fmla="*/ 150 h 175"/>
                  <a:gd name="T66" fmla="*/ 36 w 180"/>
                  <a:gd name="T67" fmla="*/ 140 h 175"/>
                  <a:gd name="T68" fmla="*/ 25 w 180"/>
                  <a:gd name="T69" fmla="*/ 123 h 175"/>
                  <a:gd name="T70" fmla="*/ 34 w 180"/>
                  <a:gd name="T71" fmla="*/ 114 h 175"/>
                  <a:gd name="T72" fmla="*/ 46 w 180"/>
                  <a:gd name="T73" fmla="*/ 129 h 175"/>
                  <a:gd name="T74" fmla="*/ 61 w 180"/>
                  <a:gd name="T75" fmla="*/ 141 h 175"/>
                  <a:gd name="T76" fmla="*/ 52 w 180"/>
                  <a:gd name="T77" fmla="*/ 150 h 175"/>
                  <a:gd name="T78" fmla="*/ 103 w 180"/>
                  <a:gd name="T79" fmla="*/ 149 h 175"/>
                  <a:gd name="T80" fmla="*/ 83 w 180"/>
                  <a:gd name="T81" fmla="*/ 168 h 175"/>
                  <a:gd name="T82" fmla="*/ 81 w 180"/>
                  <a:gd name="T83" fmla="*/ 137 h 175"/>
                  <a:gd name="T84" fmla="*/ 106 w 180"/>
                  <a:gd name="T85" fmla="*/ 115 h 175"/>
                  <a:gd name="T86" fmla="*/ 103 w 180"/>
                  <a:gd name="T87" fmla="*/ 149 h 175"/>
                  <a:gd name="T88" fmla="*/ 77 w 180"/>
                  <a:gd name="T89" fmla="*/ 135 h 175"/>
                  <a:gd name="T90" fmla="*/ 76 w 180"/>
                  <a:gd name="T91" fmla="*/ 135 h 175"/>
                  <a:gd name="T92" fmla="*/ 71 w 180"/>
                  <a:gd name="T93" fmla="*/ 140 h 175"/>
                  <a:gd name="T94" fmla="*/ 71 w 180"/>
                  <a:gd name="T95" fmla="*/ 140 h 175"/>
                  <a:gd name="T96" fmla="*/ 50 w 180"/>
                  <a:gd name="T97" fmla="*/ 126 h 175"/>
                  <a:gd name="T98" fmla="*/ 35 w 180"/>
                  <a:gd name="T99" fmla="*/ 104 h 175"/>
                  <a:gd name="T100" fmla="*/ 40 w 180"/>
                  <a:gd name="T101" fmla="*/ 99 h 175"/>
                  <a:gd name="T102" fmla="*/ 40 w 180"/>
                  <a:gd name="T103" fmla="*/ 99 h 175"/>
                  <a:gd name="T104" fmla="*/ 101 w 180"/>
                  <a:gd name="T105" fmla="*/ 32 h 175"/>
                  <a:gd name="T106" fmla="*/ 163 w 180"/>
                  <a:gd name="T107" fmla="*/ 4 h 175"/>
                  <a:gd name="T108" fmla="*/ 170 w 180"/>
                  <a:gd name="T109" fmla="*/ 6 h 175"/>
                  <a:gd name="T110" fmla="*/ 143 w 180"/>
                  <a:gd name="T111" fmla="*/ 74 h 175"/>
                  <a:gd name="T112" fmla="*/ 77 w 180"/>
                  <a:gd name="T113" fmla="*/ 13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 h="175">
                    <a:moveTo>
                      <a:pt x="173" y="2"/>
                    </a:moveTo>
                    <a:cubicBezTo>
                      <a:pt x="171" y="0"/>
                      <a:pt x="168" y="0"/>
                      <a:pt x="163" y="0"/>
                    </a:cubicBezTo>
                    <a:cubicBezTo>
                      <a:pt x="150" y="0"/>
                      <a:pt x="121" y="6"/>
                      <a:pt x="98" y="29"/>
                    </a:cubicBezTo>
                    <a:cubicBezTo>
                      <a:pt x="65" y="65"/>
                      <a:pt x="65" y="65"/>
                      <a:pt x="65" y="65"/>
                    </a:cubicBezTo>
                    <a:cubicBezTo>
                      <a:pt x="60" y="65"/>
                      <a:pt x="37" y="63"/>
                      <a:pt x="25" y="68"/>
                    </a:cubicBezTo>
                    <a:cubicBezTo>
                      <a:pt x="11" y="73"/>
                      <a:pt x="1" y="94"/>
                      <a:pt x="0" y="95"/>
                    </a:cubicBezTo>
                    <a:cubicBezTo>
                      <a:pt x="0" y="95"/>
                      <a:pt x="0" y="96"/>
                      <a:pt x="1" y="97"/>
                    </a:cubicBezTo>
                    <a:cubicBezTo>
                      <a:pt x="1" y="98"/>
                      <a:pt x="2" y="98"/>
                      <a:pt x="3" y="98"/>
                    </a:cubicBezTo>
                    <a:cubicBezTo>
                      <a:pt x="16" y="94"/>
                      <a:pt x="29" y="97"/>
                      <a:pt x="34" y="99"/>
                    </a:cubicBezTo>
                    <a:cubicBezTo>
                      <a:pt x="32" y="101"/>
                      <a:pt x="32" y="101"/>
                      <a:pt x="32" y="101"/>
                    </a:cubicBezTo>
                    <a:cubicBezTo>
                      <a:pt x="30" y="103"/>
                      <a:pt x="30" y="106"/>
                      <a:pt x="32" y="110"/>
                    </a:cubicBezTo>
                    <a:cubicBezTo>
                      <a:pt x="22" y="120"/>
                      <a:pt x="22" y="120"/>
                      <a:pt x="22" y="120"/>
                    </a:cubicBezTo>
                    <a:cubicBezTo>
                      <a:pt x="18" y="125"/>
                      <a:pt x="24" y="135"/>
                      <a:pt x="32" y="143"/>
                    </a:cubicBezTo>
                    <a:cubicBezTo>
                      <a:pt x="38" y="149"/>
                      <a:pt x="46" y="155"/>
                      <a:pt x="52" y="155"/>
                    </a:cubicBezTo>
                    <a:cubicBezTo>
                      <a:pt x="53" y="155"/>
                      <a:pt x="54" y="154"/>
                      <a:pt x="55" y="153"/>
                    </a:cubicBezTo>
                    <a:cubicBezTo>
                      <a:pt x="65" y="143"/>
                      <a:pt x="65" y="143"/>
                      <a:pt x="65" y="143"/>
                    </a:cubicBezTo>
                    <a:cubicBezTo>
                      <a:pt x="67" y="144"/>
                      <a:pt x="69" y="145"/>
                      <a:pt x="71" y="145"/>
                    </a:cubicBezTo>
                    <a:cubicBezTo>
                      <a:pt x="73" y="145"/>
                      <a:pt x="74" y="144"/>
                      <a:pt x="74" y="143"/>
                    </a:cubicBezTo>
                    <a:cubicBezTo>
                      <a:pt x="77" y="141"/>
                      <a:pt x="77" y="141"/>
                      <a:pt x="77" y="141"/>
                    </a:cubicBezTo>
                    <a:cubicBezTo>
                      <a:pt x="79" y="147"/>
                      <a:pt x="82" y="160"/>
                      <a:pt x="78" y="172"/>
                    </a:cubicBezTo>
                    <a:cubicBezTo>
                      <a:pt x="77" y="173"/>
                      <a:pt x="78" y="174"/>
                      <a:pt x="78" y="175"/>
                    </a:cubicBezTo>
                    <a:cubicBezTo>
                      <a:pt x="79" y="175"/>
                      <a:pt x="79" y="175"/>
                      <a:pt x="80" y="175"/>
                    </a:cubicBezTo>
                    <a:cubicBezTo>
                      <a:pt x="80" y="175"/>
                      <a:pt x="81" y="175"/>
                      <a:pt x="81" y="175"/>
                    </a:cubicBezTo>
                    <a:cubicBezTo>
                      <a:pt x="82" y="175"/>
                      <a:pt x="103" y="165"/>
                      <a:pt x="108" y="151"/>
                    </a:cubicBezTo>
                    <a:cubicBezTo>
                      <a:pt x="112" y="138"/>
                      <a:pt x="111" y="116"/>
                      <a:pt x="111" y="110"/>
                    </a:cubicBezTo>
                    <a:cubicBezTo>
                      <a:pt x="146" y="78"/>
                      <a:pt x="146" y="78"/>
                      <a:pt x="146" y="78"/>
                    </a:cubicBezTo>
                    <a:cubicBezTo>
                      <a:pt x="174" y="50"/>
                      <a:pt x="180" y="9"/>
                      <a:pt x="173" y="2"/>
                    </a:cubicBezTo>
                    <a:close/>
                    <a:moveTo>
                      <a:pt x="7" y="92"/>
                    </a:moveTo>
                    <a:cubicBezTo>
                      <a:pt x="11" y="86"/>
                      <a:pt x="18" y="75"/>
                      <a:pt x="26" y="72"/>
                    </a:cubicBezTo>
                    <a:cubicBezTo>
                      <a:pt x="36" y="69"/>
                      <a:pt x="53" y="69"/>
                      <a:pt x="61" y="69"/>
                    </a:cubicBezTo>
                    <a:cubicBezTo>
                      <a:pt x="38" y="95"/>
                      <a:pt x="38" y="95"/>
                      <a:pt x="38" y="95"/>
                    </a:cubicBezTo>
                    <a:cubicBezTo>
                      <a:pt x="33" y="93"/>
                      <a:pt x="21" y="89"/>
                      <a:pt x="7" y="92"/>
                    </a:cubicBezTo>
                    <a:close/>
                    <a:moveTo>
                      <a:pt x="52" y="150"/>
                    </a:moveTo>
                    <a:cubicBezTo>
                      <a:pt x="51" y="151"/>
                      <a:pt x="44" y="148"/>
                      <a:pt x="36" y="140"/>
                    </a:cubicBezTo>
                    <a:cubicBezTo>
                      <a:pt x="27" y="131"/>
                      <a:pt x="25" y="124"/>
                      <a:pt x="25" y="123"/>
                    </a:cubicBezTo>
                    <a:cubicBezTo>
                      <a:pt x="34" y="114"/>
                      <a:pt x="34" y="114"/>
                      <a:pt x="34" y="114"/>
                    </a:cubicBezTo>
                    <a:cubicBezTo>
                      <a:pt x="38" y="120"/>
                      <a:pt x="42" y="125"/>
                      <a:pt x="46" y="129"/>
                    </a:cubicBezTo>
                    <a:cubicBezTo>
                      <a:pt x="51" y="134"/>
                      <a:pt x="56" y="138"/>
                      <a:pt x="61" y="141"/>
                    </a:cubicBezTo>
                    <a:lnTo>
                      <a:pt x="52" y="150"/>
                    </a:lnTo>
                    <a:close/>
                    <a:moveTo>
                      <a:pt x="103" y="149"/>
                    </a:moveTo>
                    <a:cubicBezTo>
                      <a:pt x="100" y="158"/>
                      <a:pt x="90" y="165"/>
                      <a:pt x="83" y="168"/>
                    </a:cubicBezTo>
                    <a:cubicBezTo>
                      <a:pt x="86" y="155"/>
                      <a:pt x="82" y="142"/>
                      <a:pt x="81" y="137"/>
                    </a:cubicBezTo>
                    <a:cubicBezTo>
                      <a:pt x="106" y="115"/>
                      <a:pt x="106" y="115"/>
                      <a:pt x="106" y="115"/>
                    </a:cubicBezTo>
                    <a:cubicBezTo>
                      <a:pt x="107" y="123"/>
                      <a:pt x="107" y="140"/>
                      <a:pt x="103" y="149"/>
                    </a:cubicBezTo>
                    <a:close/>
                    <a:moveTo>
                      <a:pt x="77" y="135"/>
                    </a:moveTo>
                    <a:cubicBezTo>
                      <a:pt x="77" y="135"/>
                      <a:pt x="77" y="135"/>
                      <a:pt x="76" y="135"/>
                    </a:cubicBezTo>
                    <a:cubicBezTo>
                      <a:pt x="71" y="140"/>
                      <a:pt x="71" y="140"/>
                      <a:pt x="71" y="140"/>
                    </a:cubicBezTo>
                    <a:cubicBezTo>
                      <a:pt x="71" y="140"/>
                      <a:pt x="71" y="140"/>
                      <a:pt x="71" y="140"/>
                    </a:cubicBezTo>
                    <a:cubicBezTo>
                      <a:pt x="67" y="140"/>
                      <a:pt x="59" y="135"/>
                      <a:pt x="50" y="126"/>
                    </a:cubicBezTo>
                    <a:cubicBezTo>
                      <a:pt x="39" y="115"/>
                      <a:pt x="35" y="106"/>
                      <a:pt x="35" y="104"/>
                    </a:cubicBezTo>
                    <a:cubicBezTo>
                      <a:pt x="40" y="99"/>
                      <a:pt x="40" y="99"/>
                      <a:pt x="40" y="99"/>
                    </a:cubicBezTo>
                    <a:cubicBezTo>
                      <a:pt x="40" y="99"/>
                      <a:pt x="40" y="99"/>
                      <a:pt x="40" y="99"/>
                    </a:cubicBezTo>
                    <a:cubicBezTo>
                      <a:pt x="101" y="32"/>
                      <a:pt x="101" y="32"/>
                      <a:pt x="101" y="32"/>
                    </a:cubicBezTo>
                    <a:cubicBezTo>
                      <a:pt x="122" y="12"/>
                      <a:pt x="149" y="4"/>
                      <a:pt x="163" y="4"/>
                    </a:cubicBezTo>
                    <a:cubicBezTo>
                      <a:pt x="167" y="4"/>
                      <a:pt x="169" y="5"/>
                      <a:pt x="170" y="6"/>
                    </a:cubicBezTo>
                    <a:cubicBezTo>
                      <a:pt x="174" y="10"/>
                      <a:pt x="170" y="48"/>
                      <a:pt x="143" y="74"/>
                    </a:cubicBezTo>
                    <a:lnTo>
                      <a:pt x="77"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71" name="Freeform 17">
                <a:extLst>
                  <a:ext uri="{FF2B5EF4-FFF2-40B4-BE49-F238E27FC236}">
                    <a16:creationId xmlns:a16="http://schemas.microsoft.com/office/drawing/2014/main" id="{C9DEFD58-8724-24FD-ED03-18AC11F488EB}"/>
                  </a:ext>
                </a:extLst>
              </p:cNvPr>
              <p:cNvSpPr>
                <a:spLocks noEditPoints="1"/>
              </p:cNvSpPr>
              <p:nvPr/>
            </p:nvSpPr>
            <p:spPr bwMode="auto">
              <a:xfrm>
                <a:off x="10123488" y="2941638"/>
                <a:ext cx="58738" cy="53975"/>
              </a:xfrm>
              <a:custGeom>
                <a:avLst/>
                <a:gdLst>
                  <a:gd name="T0" fmla="*/ 17 w 35"/>
                  <a:gd name="T1" fmla="*/ 0 h 32"/>
                  <a:gd name="T2" fmla="*/ 6 w 35"/>
                  <a:gd name="T3" fmla="*/ 5 h 32"/>
                  <a:gd name="T4" fmla="*/ 6 w 35"/>
                  <a:gd name="T5" fmla="*/ 28 h 32"/>
                  <a:gd name="T6" fmla="*/ 17 w 35"/>
                  <a:gd name="T7" fmla="*/ 32 h 32"/>
                  <a:gd name="T8" fmla="*/ 28 w 35"/>
                  <a:gd name="T9" fmla="*/ 28 h 32"/>
                  <a:gd name="T10" fmla="*/ 28 w 35"/>
                  <a:gd name="T11" fmla="*/ 5 h 32"/>
                  <a:gd name="T12" fmla="*/ 17 w 35"/>
                  <a:gd name="T13" fmla="*/ 0 h 32"/>
                  <a:gd name="T14" fmla="*/ 25 w 35"/>
                  <a:gd name="T15" fmla="*/ 24 h 32"/>
                  <a:gd name="T16" fmla="*/ 17 w 35"/>
                  <a:gd name="T17" fmla="*/ 28 h 32"/>
                  <a:gd name="T18" fmla="*/ 9 w 35"/>
                  <a:gd name="T19" fmla="*/ 24 h 32"/>
                  <a:gd name="T20" fmla="*/ 9 w 35"/>
                  <a:gd name="T21" fmla="*/ 8 h 32"/>
                  <a:gd name="T22" fmla="*/ 17 w 35"/>
                  <a:gd name="T23" fmla="*/ 5 h 32"/>
                  <a:gd name="T24" fmla="*/ 25 w 35"/>
                  <a:gd name="T25" fmla="*/ 8 h 32"/>
                  <a:gd name="T26" fmla="*/ 25 w 35"/>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2">
                    <a:moveTo>
                      <a:pt x="17" y="0"/>
                    </a:moveTo>
                    <a:cubicBezTo>
                      <a:pt x="13" y="0"/>
                      <a:pt x="9" y="2"/>
                      <a:pt x="6" y="5"/>
                    </a:cubicBezTo>
                    <a:cubicBezTo>
                      <a:pt x="0" y="11"/>
                      <a:pt x="0" y="21"/>
                      <a:pt x="6" y="28"/>
                    </a:cubicBezTo>
                    <a:cubicBezTo>
                      <a:pt x="9" y="31"/>
                      <a:pt x="13" y="32"/>
                      <a:pt x="17" y="32"/>
                    </a:cubicBezTo>
                    <a:cubicBezTo>
                      <a:pt x="21" y="32"/>
                      <a:pt x="25" y="31"/>
                      <a:pt x="28" y="28"/>
                    </a:cubicBezTo>
                    <a:cubicBezTo>
                      <a:pt x="35" y="21"/>
                      <a:pt x="35" y="11"/>
                      <a:pt x="28" y="5"/>
                    </a:cubicBezTo>
                    <a:cubicBezTo>
                      <a:pt x="25" y="2"/>
                      <a:pt x="21" y="0"/>
                      <a:pt x="17" y="0"/>
                    </a:cubicBezTo>
                    <a:close/>
                    <a:moveTo>
                      <a:pt x="25" y="24"/>
                    </a:moveTo>
                    <a:cubicBezTo>
                      <a:pt x="23" y="26"/>
                      <a:pt x="20" y="28"/>
                      <a:pt x="17" y="28"/>
                    </a:cubicBezTo>
                    <a:cubicBezTo>
                      <a:pt x="14" y="28"/>
                      <a:pt x="11" y="26"/>
                      <a:pt x="9" y="24"/>
                    </a:cubicBezTo>
                    <a:cubicBezTo>
                      <a:pt x="5" y="20"/>
                      <a:pt x="5" y="13"/>
                      <a:pt x="9" y="8"/>
                    </a:cubicBezTo>
                    <a:cubicBezTo>
                      <a:pt x="11" y="6"/>
                      <a:pt x="14" y="5"/>
                      <a:pt x="17" y="5"/>
                    </a:cubicBezTo>
                    <a:cubicBezTo>
                      <a:pt x="20" y="5"/>
                      <a:pt x="23" y="6"/>
                      <a:pt x="25" y="8"/>
                    </a:cubicBezTo>
                    <a:cubicBezTo>
                      <a:pt x="29" y="13"/>
                      <a:pt x="29" y="20"/>
                      <a:pt x="25"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72" name="Freeform 18">
                <a:extLst>
                  <a:ext uri="{FF2B5EF4-FFF2-40B4-BE49-F238E27FC236}">
                    <a16:creationId xmlns:a16="http://schemas.microsoft.com/office/drawing/2014/main" id="{279CB26E-45E6-60D5-FA17-C40797B68F7A}"/>
                  </a:ext>
                </a:extLst>
              </p:cNvPr>
              <p:cNvSpPr>
                <a:spLocks/>
              </p:cNvSpPr>
              <p:nvPr/>
            </p:nvSpPr>
            <p:spPr bwMode="auto">
              <a:xfrm>
                <a:off x="9928225" y="3106738"/>
                <a:ext cx="85725" cy="85725"/>
              </a:xfrm>
              <a:custGeom>
                <a:avLst/>
                <a:gdLst>
                  <a:gd name="T0" fmla="*/ 47 w 51"/>
                  <a:gd name="T1" fmla="*/ 16 h 51"/>
                  <a:gd name="T2" fmla="*/ 45 w 51"/>
                  <a:gd name="T3" fmla="*/ 19 h 51"/>
                  <a:gd name="T4" fmla="*/ 39 w 51"/>
                  <a:gd name="T5" fmla="*/ 35 h 51"/>
                  <a:gd name="T6" fmla="*/ 17 w 51"/>
                  <a:gd name="T7" fmla="*/ 43 h 51"/>
                  <a:gd name="T8" fmla="*/ 6 w 51"/>
                  <a:gd name="T9" fmla="*/ 45 h 51"/>
                  <a:gd name="T10" fmla="*/ 7 w 51"/>
                  <a:gd name="T11" fmla="*/ 36 h 51"/>
                  <a:gd name="T12" fmla="*/ 16 w 51"/>
                  <a:gd name="T13" fmla="*/ 12 h 51"/>
                  <a:gd name="T14" fmla="*/ 33 w 51"/>
                  <a:gd name="T15" fmla="*/ 7 h 51"/>
                  <a:gd name="T16" fmla="*/ 35 w 51"/>
                  <a:gd name="T17" fmla="*/ 5 h 51"/>
                  <a:gd name="T18" fmla="*/ 34 w 51"/>
                  <a:gd name="T19" fmla="*/ 2 h 51"/>
                  <a:gd name="T20" fmla="*/ 13 w 51"/>
                  <a:gd name="T21" fmla="*/ 9 h 51"/>
                  <a:gd name="T22" fmla="*/ 3 w 51"/>
                  <a:gd name="T23" fmla="*/ 36 h 51"/>
                  <a:gd name="T24" fmla="*/ 0 w 51"/>
                  <a:gd name="T25" fmla="*/ 48 h 51"/>
                  <a:gd name="T26" fmla="*/ 1 w 51"/>
                  <a:gd name="T27" fmla="*/ 51 h 51"/>
                  <a:gd name="T28" fmla="*/ 2 w 51"/>
                  <a:gd name="T29" fmla="*/ 51 h 51"/>
                  <a:gd name="T30" fmla="*/ 3 w 51"/>
                  <a:gd name="T31" fmla="*/ 51 h 51"/>
                  <a:gd name="T32" fmla="*/ 18 w 51"/>
                  <a:gd name="T33" fmla="*/ 48 h 51"/>
                  <a:gd name="T34" fmla="*/ 43 w 51"/>
                  <a:gd name="T35" fmla="*/ 39 h 51"/>
                  <a:gd name="T36" fmla="*/ 49 w 51"/>
                  <a:gd name="T37" fmla="*/ 18 h 51"/>
                  <a:gd name="T38" fmla="*/ 47 w 51"/>
                  <a:gd name="T39" fmla="*/ 1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 h="51">
                    <a:moveTo>
                      <a:pt x="47" y="16"/>
                    </a:moveTo>
                    <a:cubicBezTo>
                      <a:pt x="45" y="16"/>
                      <a:pt x="45" y="18"/>
                      <a:pt x="45" y="19"/>
                    </a:cubicBezTo>
                    <a:cubicBezTo>
                      <a:pt x="46" y="24"/>
                      <a:pt x="44" y="30"/>
                      <a:pt x="39" y="35"/>
                    </a:cubicBezTo>
                    <a:cubicBezTo>
                      <a:pt x="34" y="41"/>
                      <a:pt x="26" y="42"/>
                      <a:pt x="17" y="43"/>
                    </a:cubicBezTo>
                    <a:cubicBezTo>
                      <a:pt x="13" y="44"/>
                      <a:pt x="9" y="45"/>
                      <a:pt x="6" y="45"/>
                    </a:cubicBezTo>
                    <a:cubicBezTo>
                      <a:pt x="6" y="43"/>
                      <a:pt x="7" y="39"/>
                      <a:pt x="7" y="36"/>
                    </a:cubicBezTo>
                    <a:cubicBezTo>
                      <a:pt x="9" y="27"/>
                      <a:pt x="10" y="18"/>
                      <a:pt x="16" y="12"/>
                    </a:cubicBezTo>
                    <a:cubicBezTo>
                      <a:pt x="21" y="7"/>
                      <a:pt x="27" y="5"/>
                      <a:pt x="33" y="7"/>
                    </a:cubicBezTo>
                    <a:cubicBezTo>
                      <a:pt x="34" y="7"/>
                      <a:pt x="35" y="6"/>
                      <a:pt x="35" y="5"/>
                    </a:cubicBezTo>
                    <a:cubicBezTo>
                      <a:pt x="36" y="4"/>
                      <a:pt x="35" y="2"/>
                      <a:pt x="34" y="2"/>
                    </a:cubicBezTo>
                    <a:cubicBezTo>
                      <a:pt x="27" y="0"/>
                      <a:pt x="19" y="3"/>
                      <a:pt x="13" y="9"/>
                    </a:cubicBezTo>
                    <a:cubicBezTo>
                      <a:pt x="6" y="16"/>
                      <a:pt x="4" y="26"/>
                      <a:pt x="3" y="36"/>
                    </a:cubicBezTo>
                    <a:cubicBezTo>
                      <a:pt x="2" y="40"/>
                      <a:pt x="1" y="45"/>
                      <a:pt x="0" y="48"/>
                    </a:cubicBezTo>
                    <a:cubicBezTo>
                      <a:pt x="0" y="49"/>
                      <a:pt x="0" y="50"/>
                      <a:pt x="1" y="51"/>
                    </a:cubicBezTo>
                    <a:cubicBezTo>
                      <a:pt x="1" y="51"/>
                      <a:pt x="2" y="51"/>
                      <a:pt x="2" y="51"/>
                    </a:cubicBezTo>
                    <a:cubicBezTo>
                      <a:pt x="3" y="51"/>
                      <a:pt x="3" y="51"/>
                      <a:pt x="3" y="51"/>
                    </a:cubicBezTo>
                    <a:cubicBezTo>
                      <a:pt x="8" y="50"/>
                      <a:pt x="13" y="49"/>
                      <a:pt x="18" y="48"/>
                    </a:cubicBezTo>
                    <a:cubicBezTo>
                      <a:pt x="27" y="47"/>
                      <a:pt x="36" y="45"/>
                      <a:pt x="43" y="39"/>
                    </a:cubicBezTo>
                    <a:cubicBezTo>
                      <a:pt x="49" y="32"/>
                      <a:pt x="51" y="25"/>
                      <a:pt x="49" y="18"/>
                    </a:cubicBezTo>
                    <a:cubicBezTo>
                      <a:pt x="49" y="16"/>
                      <a:pt x="48" y="16"/>
                      <a:pt x="4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grpSp>
      </p:grpSp>
    </p:spTree>
    <p:extLst>
      <p:ext uri="{BB962C8B-B14F-4D97-AF65-F5344CB8AC3E}">
        <p14:creationId xmlns:p14="http://schemas.microsoft.com/office/powerpoint/2010/main" val="23838612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644;p64">
            <a:extLst>
              <a:ext uri="{FF2B5EF4-FFF2-40B4-BE49-F238E27FC236}">
                <a16:creationId xmlns:a16="http://schemas.microsoft.com/office/drawing/2014/main" id="{51A5D56B-DC75-4304-91E8-1A160DBEEB3E}"/>
              </a:ext>
            </a:extLst>
          </p:cNvPr>
          <p:cNvSpPr txBox="1"/>
          <p:nvPr/>
        </p:nvSpPr>
        <p:spPr>
          <a:xfrm>
            <a:off x="521539" y="1602118"/>
            <a:ext cx="4956151" cy="2483682"/>
          </a:xfrm>
          <a:prstGeom prst="rect">
            <a:avLst/>
          </a:prstGeom>
          <a:noFill/>
          <a:ln>
            <a:noFill/>
          </a:ln>
        </p:spPr>
        <p:txBody>
          <a:bodyPr spcFirstLastPara="1" wrap="square" lIns="36000" tIns="36000" rIns="0" bIns="36000" anchor="t" anchorCtr="0">
            <a:noAutofit/>
          </a:bodyPr>
          <a:lstStyle/>
          <a:p>
            <a:pPr marL="0" marR="0" lvl="0" indent="0" algn="just" defTabSz="914400" rtl="0" eaLnBrk="1" fontAlgn="auto" latinLnBrk="0" hangingPunct="1">
              <a:lnSpc>
                <a:spcPct val="100000"/>
              </a:lnSpc>
              <a:spcBef>
                <a:spcPts val="0"/>
              </a:spcBef>
              <a:spcAft>
                <a:spcPts val="0"/>
              </a:spcAft>
              <a:buClrTx/>
              <a:buSzPts val="900"/>
              <a:buFontTx/>
              <a:buNone/>
              <a:tabLst/>
              <a:defRPr/>
            </a:pPr>
            <a:r>
              <a:rPr kumimoji="0" lang="fr-FR" sz="10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Dans un contexte d’accroissement des flux voyageurs, le projet POGS (Planification et Ordonnancement pour la Gestion des Services TN), lancé en 2019, vise à intégrer un progiciel APS (Advanced Planning System) au sein de l’activité Transilien. L’implémentation de ce progiciel a pour but d’améliorer la planification et l’ordonnancement des agents sédentaires. Le projet, mené en agile, impacte 11.000 agents situés dans des établissements de services, des </a:t>
            </a:r>
            <a:r>
              <a:rPr kumimoji="0" lang="fr-FR" sz="1000" b="0" i="0" u="none" strike="noStrike" kern="1200" cap="none" spc="0" normalizeH="0" baseline="0" noProof="0" err="1">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technicentres</a:t>
            </a:r>
            <a:r>
              <a:rPr kumimoji="0" lang="fr-FR" sz="10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 de maintenance et des établissements prod-traction. Il a donc été intégré dans la stratégie de conduite du changement la réalisation d’un e-learning. </a:t>
            </a:r>
          </a:p>
        </p:txBody>
      </p:sp>
      <p:sp>
        <p:nvSpPr>
          <p:cNvPr id="5" name="Google Shape;645;p64">
            <a:extLst>
              <a:ext uri="{FF2B5EF4-FFF2-40B4-BE49-F238E27FC236}">
                <a16:creationId xmlns:a16="http://schemas.microsoft.com/office/drawing/2014/main" id="{86003A0A-DB97-4C93-A824-76C33B7B9C82}"/>
              </a:ext>
            </a:extLst>
          </p:cNvPr>
          <p:cNvSpPr txBox="1"/>
          <p:nvPr/>
        </p:nvSpPr>
        <p:spPr>
          <a:xfrm>
            <a:off x="521539" y="3511283"/>
            <a:ext cx="4956151" cy="1289018"/>
          </a:xfrm>
          <a:prstGeom prst="rect">
            <a:avLst/>
          </a:prstGeom>
          <a:noFill/>
          <a:ln>
            <a:noFill/>
          </a:ln>
        </p:spPr>
        <p:txBody>
          <a:bodyPr spcFirstLastPara="1" wrap="square" lIns="36000" tIns="36000" rIns="0" bIns="36000" anchor="t" anchorCtr="0">
            <a:noAutofit/>
          </a:bodyPr>
          <a:lstStyle>
            <a:defPPr marR="0" lvl="0" algn="l" rtl="0">
              <a:lnSpc>
                <a:spcPct val="100000"/>
              </a:lnSpc>
              <a:spcBef>
                <a:spcPts val="0"/>
              </a:spcBef>
              <a:spcAft>
                <a:spcPts val="0"/>
              </a:spcAft>
            </a:defPPr>
            <a:lvl1pPr marL="0" indent="0" algn="just" defTabSz="914400" eaLnBrk="1" fontAlgn="auto" latinLnBrk="0" hangingPunct="1">
              <a:buClrTx/>
              <a:buSzPts val="900"/>
              <a:buFontTx/>
              <a:buNone/>
              <a:tabLst/>
              <a:defRPr kumimoji="0" sz="1200" kern="1200" spc="0" normalizeH="0" baseline="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defRPr>
            </a:lvl1pPr>
          </a:lstStyle>
          <a:p>
            <a:pPr marL="171450" marR="0" lvl="0" indent="-171450" algn="just" defTabSz="914400" rtl="0" eaLnBrk="1" fontAlgn="auto" latinLnBrk="0" hangingPunct="1">
              <a:lnSpc>
                <a:spcPct val="100000"/>
              </a:lnSpc>
              <a:buClr>
                <a:srgbClr val="0070C0"/>
              </a:buClr>
              <a:buSzPts val="900"/>
              <a:buFontTx/>
              <a:buChar char="-"/>
              <a:tabLst/>
              <a:defRPr/>
            </a:pPr>
            <a:r>
              <a:rPr kumimoji="0" lang="fr-FR" sz="1000" i="0" u="none" strike="noStrike" kern="1200" cap="none" spc="0" normalizeH="0" baseline="0" noProof="0">
                <a:ln>
                  <a:noFill/>
                </a:ln>
                <a:solidFill>
                  <a:srgbClr val="171616"/>
                </a:solidFill>
                <a:effectLst/>
                <a:uLnTx/>
                <a:uFillTx/>
                <a:latin typeface="+mj-lt"/>
                <a:ea typeface="Montserrat"/>
                <a:cs typeface="Montserrat"/>
                <a:sym typeface="Montserrat"/>
              </a:rPr>
              <a:t>Cadrage de la stratégie à adopter pour former les 30 utilisateurs les plus impactés par l’implémentation du nouvel outil de planification des ressources. </a:t>
            </a:r>
          </a:p>
          <a:p>
            <a:pPr marL="171450" marR="0" lvl="0" indent="-171450" algn="just" defTabSz="914400" rtl="0" eaLnBrk="1" fontAlgn="auto" latinLnBrk="0" hangingPunct="1">
              <a:lnSpc>
                <a:spcPct val="100000"/>
              </a:lnSpc>
              <a:buClr>
                <a:srgbClr val="0070C0"/>
              </a:buClr>
              <a:buSzPts val="900"/>
              <a:buFontTx/>
              <a:buChar char="-"/>
              <a:tabLst/>
              <a:defRPr/>
            </a:pPr>
            <a:r>
              <a:rPr lang="fr-FR" sz="1000">
                <a:solidFill>
                  <a:srgbClr val="171616"/>
                </a:solidFill>
                <a:latin typeface="+mj-lt"/>
                <a:ea typeface="Montserrat"/>
                <a:cs typeface="Montserrat"/>
                <a:sym typeface="Montserrat"/>
              </a:rPr>
              <a:t>Mise en place d’un parcours de formation modulaire alliant formation outil et métier. </a:t>
            </a:r>
            <a:r>
              <a:rPr lang="fr-FR" sz="1000">
                <a:solidFill>
                  <a:srgbClr val="171616"/>
                </a:solidFill>
                <a:latin typeface="+mj-lt"/>
                <a:ea typeface="Montserrat"/>
                <a:cs typeface="Montserrat"/>
              </a:rPr>
              <a:t>Les formations combinent présentiel et distanciel ainsi que divers supports (PowerPoint, vidéos, Klaxoon, e-learning). </a:t>
            </a:r>
          </a:p>
          <a:p>
            <a:pPr marR="0" lvl="0" algn="just" defTabSz="914400" rtl="0" eaLnBrk="1" fontAlgn="auto" latinLnBrk="0" hangingPunct="1">
              <a:lnSpc>
                <a:spcPct val="100000"/>
              </a:lnSpc>
              <a:buClr>
                <a:srgbClr val="0070C0"/>
              </a:buClr>
              <a:buSzPts val="900"/>
              <a:tabLst/>
              <a:defRPr/>
            </a:pPr>
            <a:endParaRPr lang="fr-FR" sz="1000">
              <a:solidFill>
                <a:srgbClr val="171616"/>
              </a:solidFill>
              <a:ea typeface="Montserrat"/>
              <a:cs typeface="Montserrat"/>
            </a:endParaRPr>
          </a:p>
          <a:p>
            <a:pPr marR="0" lvl="0" algn="just" defTabSz="914400" rtl="0" eaLnBrk="1" fontAlgn="auto" latinLnBrk="0" hangingPunct="1">
              <a:lnSpc>
                <a:spcPct val="100000"/>
              </a:lnSpc>
              <a:buClr>
                <a:srgbClr val="0070C0"/>
              </a:buClr>
              <a:buSzPts val="900"/>
              <a:tabLst/>
              <a:defRPr/>
            </a:pPr>
            <a:r>
              <a:rPr lang="fr-FR" sz="1000" b="1">
                <a:solidFill>
                  <a:srgbClr val="171616"/>
                </a:solidFill>
                <a:ea typeface="Montserrat"/>
                <a:cs typeface="Montserrat"/>
              </a:rPr>
              <a:t>Focus sur le e-learning « Prendre en main l’outil ORION » </a:t>
            </a:r>
          </a:p>
          <a:p>
            <a:pPr marL="228600" marR="0" lvl="0" indent="-228600" algn="just" defTabSz="914400" rtl="0" eaLnBrk="1" fontAlgn="auto" latinLnBrk="0" hangingPunct="1">
              <a:lnSpc>
                <a:spcPct val="100000"/>
              </a:lnSpc>
              <a:buClr>
                <a:srgbClr val="0070C0"/>
              </a:buClr>
              <a:buSzPts val="900"/>
              <a:buAutoNum type="arabicPeriod"/>
              <a:tabLst/>
              <a:defRPr/>
            </a:pPr>
            <a:r>
              <a:rPr lang="fr-FR" sz="1000">
                <a:solidFill>
                  <a:srgbClr val="171616"/>
                </a:solidFill>
                <a:ea typeface="Montserrat"/>
                <a:cs typeface="Montserrat"/>
              </a:rPr>
              <a:t>Proposition d’un parcours de e-learning gamifié de 30mn</a:t>
            </a:r>
          </a:p>
          <a:p>
            <a:pPr marL="228600" marR="0" lvl="0" indent="-228600" algn="just" defTabSz="914400" rtl="0" eaLnBrk="1" fontAlgn="auto" latinLnBrk="0" hangingPunct="1">
              <a:lnSpc>
                <a:spcPct val="100000"/>
              </a:lnSpc>
              <a:buClr>
                <a:srgbClr val="0070C0"/>
              </a:buClr>
              <a:buSzPts val="900"/>
              <a:buAutoNum type="arabicPeriod"/>
              <a:tabLst/>
              <a:defRPr/>
            </a:pPr>
            <a:r>
              <a:rPr lang="fr-FR" sz="1000">
                <a:solidFill>
                  <a:srgbClr val="171616"/>
                </a:solidFill>
                <a:ea typeface="Montserrat"/>
                <a:cs typeface="Montserrat"/>
              </a:rPr>
              <a:t>Création du e-learning sous </a:t>
            </a:r>
            <a:r>
              <a:rPr lang="fr-FR" sz="1000" err="1">
                <a:solidFill>
                  <a:srgbClr val="171616"/>
                </a:solidFill>
                <a:ea typeface="Montserrat"/>
                <a:cs typeface="Montserrat"/>
              </a:rPr>
              <a:t>Articulate</a:t>
            </a:r>
            <a:r>
              <a:rPr lang="fr-FR" sz="1000">
                <a:solidFill>
                  <a:srgbClr val="171616"/>
                </a:solidFill>
                <a:ea typeface="Montserrat"/>
                <a:cs typeface="Montserrat"/>
              </a:rPr>
              <a:t> storyline</a:t>
            </a:r>
          </a:p>
          <a:p>
            <a:pPr marL="628650" lvl="1" indent="-171450" algn="just">
              <a:buClr>
                <a:srgbClr val="0070C0"/>
              </a:buClr>
              <a:buSzPts val="900"/>
              <a:buFontTx/>
              <a:buChar char="-"/>
              <a:defRPr/>
            </a:pPr>
            <a:r>
              <a:rPr lang="fr-FR" sz="1000">
                <a:solidFill>
                  <a:srgbClr val="171616"/>
                </a:solidFill>
                <a:ea typeface="Montserrat"/>
                <a:cs typeface="Montserrat"/>
              </a:rPr>
              <a:t>Module 1 : Présentation du projet sous forme de Motion Design</a:t>
            </a:r>
          </a:p>
          <a:p>
            <a:pPr marL="628650" lvl="1" indent="-171450" algn="just">
              <a:buClr>
                <a:srgbClr val="0070C0"/>
              </a:buClr>
              <a:buSzPts val="900"/>
              <a:buFontTx/>
              <a:buChar char="-"/>
              <a:defRPr/>
            </a:pPr>
            <a:r>
              <a:rPr lang="fr-FR" sz="1000">
                <a:solidFill>
                  <a:srgbClr val="171616"/>
                </a:solidFill>
                <a:ea typeface="Montserrat"/>
                <a:cs typeface="Montserrat"/>
              </a:rPr>
              <a:t>Module 2 : Compréhension des concept clés</a:t>
            </a:r>
          </a:p>
          <a:p>
            <a:pPr marL="628650" lvl="1" indent="-171450" algn="just">
              <a:buClr>
                <a:srgbClr val="0070C0"/>
              </a:buClr>
              <a:buSzPts val="900"/>
              <a:buFontTx/>
              <a:buChar char="-"/>
              <a:defRPr/>
            </a:pPr>
            <a:r>
              <a:rPr lang="fr-FR" sz="1000">
                <a:solidFill>
                  <a:srgbClr val="171616"/>
                </a:solidFill>
                <a:ea typeface="Montserrat"/>
                <a:cs typeface="Montserrat"/>
              </a:rPr>
              <a:t>Module 3 : Découverte de l’outil et navigation assistée</a:t>
            </a:r>
          </a:p>
          <a:p>
            <a:pPr marL="628650" lvl="1" indent="-171450" algn="just">
              <a:buClr>
                <a:srgbClr val="0070C0"/>
              </a:buClr>
              <a:buSzPts val="900"/>
              <a:buFontTx/>
              <a:buChar char="-"/>
              <a:defRPr/>
            </a:pPr>
            <a:r>
              <a:rPr lang="fr-FR" sz="1000">
                <a:solidFill>
                  <a:srgbClr val="171616"/>
                </a:solidFill>
                <a:ea typeface="Montserrat"/>
                <a:cs typeface="Montserrat"/>
              </a:rPr>
              <a:t>Module 4 : Rappels et mise à disposition des documents clés</a:t>
            </a:r>
          </a:p>
          <a:p>
            <a:pPr marL="228600" marR="0" lvl="0" indent="-228600" algn="just" defTabSz="914400" rtl="0" eaLnBrk="1" fontAlgn="auto" latinLnBrk="0" hangingPunct="1">
              <a:lnSpc>
                <a:spcPct val="100000"/>
              </a:lnSpc>
              <a:buClr>
                <a:srgbClr val="0070C0"/>
              </a:buClr>
              <a:buSzPts val="900"/>
              <a:buFont typeface="+mj-lt"/>
              <a:buAutoNum type="arabicPeriod"/>
              <a:tabLst/>
              <a:defRPr/>
            </a:pPr>
            <a:r>
              <a:rPr lang="fr-FR" sz="1000">
                <a:solidFill>
                  <a:srgbClr val="171616"/>
                </a:solidFill>
                <a:ea typeface="Montserrat"/>
                <a:cs typeface="Montserrat"/>
              </a:rPr>
              <a:t>Test auprès des experts métiers du projet et ajustements en fonction des retours </a:t>
            </a:r>
          </a:p>
          <a:p>
            <a:pPr marL="228600" marR="0" lvl="0" indent="-228600" algn="just" defTabSz="914400" rtl="0" eaLnBrk="1" fontAlgn="auto" latinLnBrk="0" hangingPunct="1">
              <a:lnSpc>
                <a:spcPct val="100000"/>
              </a:lnSpc>
              <a:buClr>
                <a:srgbClr val="0070C0"/>
              </a:buClr>
              <a:buSzPts val="900"/>
              <a:buFont typeface="+mj-lt"/>
              <a:buAutoNum type="arabicPeriod"/>
              <a:tabLst/>
              <a:defRPr/>
            </a:pPr>
            <a:r>
              <a:rPr lang="fr-FR" sz="1000">
                <a:solidFill>
                  <a:srgbClr val="171616"/>
                </a:solidFill>
                <a:ea typeface="Montserrat"/>
                <a:cs typeface="Montserrat"/>
              </a:rPr>
              <a:t>Déploiement du parcours sur la plateforme « Mon Académie », liée à 360 </a:t>
            </a:r>
            <a:r>
              <a:rPr lang="fr-FR" sz="1000" err="1">
                <a:solidFill>
                  <a:srgbClr val="171616"/>
                </a:solidFill>
                <a:ea typeface="Montserrat"/>
                <a:cs typeface="Montserrat"/>
              </a:rPr>
              <a:t>learning</a:t>
            </a:r>
            <a:r>
              <a:rPr lang="fr-FR" sz="1000">
                <a:solidFill>
                  <a:srgbClr val="171616"/>
                </a:solidFill>
                <a:ea typeface="Montserrat"/>
                <a:cs typeface="Montserrat"/>
              </a:rPr>
              <a:t>, de Transilien </a:t>
            </a:r>
          </a:p>
          <a:p>
            <a:pPr marL="228600" marR="0" lvl="0" indent="-228600" algn="just" defTabSz="914400" rtl="0" eaLnBrk="1" fontAlgn="auto" latinLnBrk="0" hangingPunct="1">
              <a:lnSpc>
                <a:spcPct val="100000"/>
              </a:lnSpc>
              <a:buClr>
                <a:srgbClr val="0070C0"/>
              </a:buClr>
              <a:buSzPts val="900"/>
              <a:buFont typeface="+mj-lt"/>
              <a:buAutoNum type="arabicPeriod"/>
              <a:tabLst/>
              <a:defRPr/>
            </a:pPr>
            <a:r>
              <a:rPr lang="fr-FR" sz="1000">
                <a:solidFill>
                  <a:srgbClr val="171616"/>
                </a:solidFill>
                <a:ea typeface="Montserrat"/>
                <a:cs typeface="Montserrat"/>
              </a:rPr>
              <a:t>Communication auprès des 30 utilisateurs pour leur présenter le e-learning; prérequis à la formation présentielle</a:t>
            </a:r>
          </a:p>
          <a:p>
            <a:pPr marL="228600" indent="-228600">
              <a:buClr>
                <a:schemeClr val="bg2"/>
              </a:buClr>
              <a:buFont typeface="Arial" panose="020B0604020202020204" pitchFamily="34" charset="0"/>
              <a:buChar char="•"/>
            </a:pPr>
            <a:endParaRPr>
              <a:sym typeface="Montserrat"/>
            </a:endParaRPr>
          </a:p>
        </p:txBody>
      </p:sp>
      <p:sp>
        <p:nvSpPr>
          <p:cNvPr id="8" name="Google Shape;644;p64">
            <a:extLst>
              <a:ext uri="{FF2B5EF4-FFF2-40B4-BE49-F238E27FC236}">
                <a16:creationId xmlns:a16="http://schemas.microsoft.com/office/drawing/2014/main" id="{40FDCFEB-94C1-4364-8A24-8CF1F4E5ACD6}"/>
              </a:ext>
            </a:extLst>
          </p:cNvPr>
          <p:cNvSpPr txBox="1"/>
          <p:nvPr/>
        </p:nvSpPr>
        <p:spPr>
          <a:xfrm>
            <a:off x="6125271" y="1583373"/>
            <a:ext cx="5517967" cy="2200765"/>
          </a:xfrm>
          <a:prstGeom prst="rect">
            <a:avLst/>
          </a:prstGeom>
          <a:noFill/>
          <a:ln>
            <a:noFill/>
          </a:ln>
        </p:spPr>
        <p:txBody>
          <a:bodyPr spcFirstLastPara="1" wrap="square" lIns="36000" tIns="36000" rIns="0" bIns="36000" anchor="t" anchorCtr="0">
            <a:noAutofit/>
          </a:bodyPr>
          <a:lstStyle>
            <a:defPPr marR="0" lvl="0" algn="l" rtl="0">
              <a:lnSpc>
                <a:spcPct val="100000"/>
              </a:lnSpc>
              <a:spcBef>
                <a:spcPts val="0"/>
              </a:spcBef>
              <a:spcAft>
                <a:spcPts val="0"/>
              </a:spcAft>
            </a:defPPr>
            <a:lvl1pPr marL="0" indent="0" algn="just" defTabSz="914400" eaLnBrk="1" fontAlgn="auto" latinLnBrk="0" hangingPunct="1">
              <a:buClrTx/>
              <a:buSzPts val="900"/>
              <a:buFontTx/>
              <a:buNone/>
              <a:tabLst/>
              <a:defRPr kumimoji="0" sz="1200" kern="1200" spc="0" normalizeH="0" baseline="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defRPr>
            </a:lvl1pPr>
          </a:lstStyle>
          <a:p>
            <a:pPr marL="171450" indent="-171450">
              <a:buClr>
                <a:schemeClr val="bg2"/>
              </a:buClr>
              <a:buFont typeface="Arial" panose="020B0604020202020204" pitchFamily="34" charset="0"/>
              <a:buChar char="•"/>
            </a:pPr>
            <a:r>
              <a:rPr lang="fr-FR">
                <a:sym typeface="Montserrat"/>
              </a:rPr>
              <a:t>Accompagner l’appropriation des nouveaux gestes métiers et la prise en main du nouvel outil</a:t>
            </a:r>
          </a:p>
          <a:p>
            <a:pPr marL="171450" indent="-171450">
              <a:buClr>
                <a:schemeClr val="bg2"/>
              </a:buClr>
              <a:buFont typeface="Arial" panose="020B0604020202020204" pitchFamily="34" charset="0"/>
              <a:buChar char="•"/>
            </a:pPr>
            <a:r>
              <a:rPr lang="fr-FR">
                <a:sym typeface="Montserrat"/>
              </a:rPr>
              <a:t>Comprendre le projet </a:t>
            </a:r>
          </a:p>
          <a:p>
            <a:pPr marL="171450" indent="-171450">
              <a:buClr>
                <a:schemeClr val="bg2"/>
              </a:buClr>
              <a:buFont typeface="Arial" panose="020B0604020202020204" pitchFamily="34" charset="0"/>
              <a:buChar char="•"/>
            </a:pPr>
            <a:r>
              <a:rPr lang="fr-FR">
                <a:sym typeface="Montserrat"/>
              </a:rPr>
              <a:t>Accéder à l’outil en réalisant  une première utilisation sur le nouvel environnement</a:t>
            </a:r>
          </a:p>
        </p:txBody>
      </p:sp>
      <p:sp>
        <p:nvSpPr>
          <p:cNvPr id="11" name="Google Shape;156;p28">
            <a:extLst>
              <a:ext uri="{FF2B5EF4-FFF2-40B4-BE49-F238E27FC236}">
                <a16:creationId xmlns:a16="http://schemas.microsoft.com/office/drawing/2014/main" id="{9C7B3D68-58D9-47BA-A8BF-B0C65E88364F}"/>
              </a:ext>
            </a:extLst>
          </p:cNvPr>
          <p:cNvSpPr/>
          <p:nvPr/>
        </p:nvSpPr>
        <p:spPr>
          <a:xfrm>
            <a:off x="9801473" y="71120"/>
            <a:ext cx="2353192" cy="810400"/>
          </a:xfrm>
          <a:prstGeom prst="rect">
            <a:avLst/>
          </a:prstGeom>
          <a:solidFill>
            <a:schemeClr val="lt1"/>
          </a:solidFill>
          <a:ln>
            <a:noFill/>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lang="fr-FR" sz="1467" b="0" i="0" u="none" strike="noStrike" kern="0" cap="none" spc="0" normalizeH="0" baseline="0" noProof="0">
              <a:ln>
                <a:noFill/>
              </a:ln>
              <a:solidFill>
                <a:srgbClr val="000000"/>
              </a:solidFill>
              <a:effectLst/>
              <a:uLnTx/>
              <a:uFillTx/>
              <a:latin typeface="Arial" panose="020B0604020202020204" pitchFamily="34" charset="0"/>
              <a:sym typeface="Arial"/>
            </a:endParaRPr>
          </a:p>
        </p:txBody>
      </p:sp>
      <p:sp>
        <p:nvSpPr>
          <p:cNvPr id="13" name="ListLeanHorizontalTextDetail1">
            <a:extLst>
              <a:ext uri="{FF2B5EF4-FFF2-40B4-BE49-F238E27FC236}">
                <a16:creationId xmlns:a16="http://schemas.microsoft.com/office/drawing/2014/main" id="{2D8B0E4F-32EA-4629-9D69-E3E324F9CC73}"/>
              </a:ext>
            </a:extLst>
          </p:cNvPr>
          <p:cNvSpPr txBox="1">
            <a:spLocks/>
          </p:cNvSpPr>
          <p:nvPr/>
        </p:nvSpPr>
        <p:spPr>
          <a:xfrm>
            <a:off x="846763" y="1243525"/>
            <a:ext cx="4354776" cy="226259"/>
          </a:xfrm>
          <a:prstGeom prst="rect">
            <a:avLst/>
          </a:prstGeom>
          <a:noFill/>
          <a:ln w="12700">
            <a:noFill/>
          </a:ln>
        </p:spPr>
        <p:txBody>
          <a:bodyPr wrap="square" lIns="0" tIns="0" rIns="0" bIns="0" anchor="ctr" anchorCtr="0">
            <a:noAutofit/>
          </a:bodyPr>
          <a:lstStyle/>
          <a:p>
            <a:pPr marL="95250" marR="0" lvl="3" indent="0" algn="l" defTabSz="360363" rtl="0" eaLnBrk="1" fontAlgn="auto" latinLnBrk="0" hangingPunct="1">
              <a:lnSpc>
                <a:spcPct val="100000"/>
              </a:lnSpc>
              <a:spcBef>
                <a:spcPts val="600"/>
              </a:spcBef>
              <a:spcAft>
                <a:spcPts val="0"/>
              </a:spcAft>
              <a:buClr>
                <a:srgbClr val="0070C0"/>
              </a:buClr>
              <a:buSzPct val="100000"/>
              <a:buFontTx/>
              <a:buNone/>
              <a:tabLst/>
              <a:defRPr/>
            </a:pPr>
            <a:r>
              <a:rPr kumimoji="0" lang="fr-FR" sz="1400" b="1" i="0" u="none" strike="noStrike" kern="1200" cap="none" spc="0" normalizeH="0" baseline="0" noProof="0">
                <a:ln>
                  <a:noFill/>
                </a:ln>
                <a:solidFill>
                  <a:schemeClr val="accent1"/>
                </a:solidFill>
                <a:effectLst/>
                <a:uLnTx/>
                <a:uFillTx/>
                <a:latin typeface="Arial" panose="020B0604020202020204" pitchFamily="34" charset="0"/>
                <a:ea typeface="Calibri" charset="0"/>
                <a:cs typeface="Arial" panose="020B0604020202020204" pitchFamily="34" charset="0"/>
              </a:rPr>
              <a:t>Contexte</a:t>
            </a:r>
          </a:p>
        </p:txBody>
      </p:sp>
      <p:cxnSp>
        <p:nvCxnSpPr>
          <p:cNvPr id="14" name="Connecteur droit 13">
            <a:extLst>
              <a:ext uri="{FF2B5EF4-FFF2-40B4-BE49-F238E27FC236}">
                <a16:creationId xmlns:a16="http://schemas.microsoft.com/office/drawing/2014/main" id="{094F96C2-6152-4392-81B8-6B832186751A}"/>
              </a:ext>
            </a:extLst>
          </p:cNvPr>
          <p:cNvCxnSpPr>
            <a:cxnSpLocks/>
          </p:cNvCxnSpPr>
          <p:nvPr/>
        </p:nvCxnSpPr>
        <p:spPr>
          <a:xfrm flipH="1">
            <a:off x="521539" y="1562142"/>
            <a:ext cx="4956151"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grpSp>
        <p:nvGrpSpPr>
          <p:cNvPr id="15" name="Shape 426">
            <a:extLst>
              <a:ext uri="{FF2B5EF4-FFF2-40B4-BE49-F238E27FC236}">
                <a16:creationId xmlns:a16="http://schemas.microsoft.com/office/drawing/2014/main" id="{2FA91D2C-216A-4302-91C3-A236EBBBA892}"/>
              </a:ext>
            </a:extLst>
          </p:cNvPr>
          <p:cNvGrpSpPr/>
          <p:nvPr/>
        </p:nvGrpSpPr>
        <p:grpSpPr>
          <a:xfrm>
            <a:off x="521539" y="1194619"/>
            <a:ext cx="325224" cy="285971"/>
            <a:chOff x="1929775" y="320925"/>
            <a:chExt cx="423800" cy="372650"/>
          </a:xfrm>
        </p:grpSpPr>
        <p:sp>
          <p:nvSpPr>
            <p:cNvPr id="16" name="Shape 427">
              <a:extLst>
                <a:ext uri="{FF2B5EF4-FFF2-40B4-BE49-F238E27FC236}">
                  <a16:creationId xmlns:a16="http://schemas.microsoft.com/office/drawing/2014/main" id="{41097AC4-31B4-4C57-8E7C-DDCBE4CF5BEB}"/>
                </a:ext>
              </a:extLst>
            </p:cNvPr>
            <p:cNvSpPr/>
            <p:nvPr/>
          </p:nvSpPr>
          <p:spPr>
            <a:xfrm>
              <a:off x="1929775" y="320925"/>
              <a:ext cx="423800" cy="372650"/>
            </a:xfrm>
            <a:custGeom>
              <a:avLst/>
              <a:gdLst/>
              <a:ahLst/>
              <a:cxnLst/>
              <a:rect l="0" t="0" r="0" b="0"/>
              <a:pathLst>
                <a:path w="16952" h="14906" fill="none" extrusionOk="0">
                  <a:moveTo>
                    <a:pt x="16172" y="0"/>
                  </a:moveTo>
                  <a:lnTo>
                    <a:pt x="780" y="0"/>
                  </a:lnTo>
                  <a:lnTo>
                    <a:pt x="780" y="0"/>
                  </a:lnTo>
                  <a:lnTo>
                    <a:pt x="634" y="25"/>
                  </a:lnTo>
                  <a:lnTo>
                    <a:pt x="488" y="73"/>
                  </a:lnTo>
                  <a:lnTo>
                    <a:pt x="341" y="146"/>
                  </a:lnTo>
                  <a:lnTo>
                    <a:pt x="220" y="244"/>
                  </a:lnTo>
                  <a:lnTo>
                    <a:pt x="122" y="341"/>
                  </a:lnTo>
                  <a:lnTo>
                    <a:pt x="74" y="487"/>
                  </a:lnTo>
                  <a:lnTo>
                    <a:pt x="25" y="634"/>
                  </a:lnTo>
                  <a:lnTo>
                    <a:pt x="0" y="780"/>
                  </a:lnTo>
                  <a:lnTo>
                    <a:pt x="0" y="14126"/>
                  </a:lnTo>
                  <a:lnTo>
                    <a:pt x="0" y="14126"/>
                  </a:lnTo>
                  <a:lnTo>
                    <a:pt x="25" y="14272"/>
                  </a:lnTo>
                  <a:lnTo>
                    <a:pt x="74" y="14418"/>
                  </a:lnTo>
                  <a:lnTo>
                    <a:pt x="122" y="14565"/>
                  </a:lnTo>
                  <a:lnTo>
                    <a:pt x="220" y="14662"/>
                  </a:lnTo>
                  <a:lnTo>
                    <a:pt x="341" y="14759"/>
                  </a:lnTo>
                  <a:lnTo>
                    <a:pt x="488" y="14832"/>
                  </a:lnTo>
                  <a:lnTo>
                    <a:pt x="634" y="14881"/>
                  </a:lnTo>
                  <a:lnTo>
                    <a:pt x="780" y="14906"/>
                  </a:lnTo>
                  <a:lnTo>
                    <a:pt x="16172" y="14906"/>
                  </a:lnTo>
                  <a:lnTo>
                    <a:pt x="16172" y="14906"/>
                  </a:lnTo>
                  <a:lnTo>
                    <a:pt x="16318" y="14881"/>
                  </a:lnTo>
                  <a:lnTo>
                    <a:pt x="16464" y="14832"/>
                  </a:lnTo>
                  <a:lnTo>
                    <a:pt x="16611" y="14759"/>
                  </a:lnTo>
                  <a:lnTo>
                    <a:pt x="16732" y="14662"/>
                  </a:lnTo>
                  <a:lnTo>
                    <a:pt x="16830" y="14565"/>
                  </a:lnTo>
                  <a:lnTo>
                    <a:pt x="16878" y="14418"/>
                  </a:lnTo>
                  <a:lnTo>
                    <a:pt x="16927" y="14272"/>
                  </a:lnTo>
                  <a:lnTo>
                    <a:pt x="16952" y="14126"/>
                  </a:lnTo>
                  <a:lnTo>
                    <a:pt x="16952" y="780"/>
                  </a:lnTo>
                  <a:lnTo>
                    <a:pt x="16952" y="780"/>
                  </a:lnTo>
                  <a:lnTo>
                    <a:pt x="16927" y="634"/>
                  </a:lnTo>
                  <a:lnTo>
                    <a:pt x="16878" y="487"/>
                  </a:lnTo>
                  <a:lnTo>
                    <a:pt x="16830" y="341"/>
                  </a:lnTo>
                  <a:lnTo>
                    <a:pt x="16732" y="244"/>
                  </a:lnTo>
                  <a:lnTo>
                    <a:pt x="16611" y="146"/>
                  </a:lnTo>
                  <a:lnTo>
                    <a:pt x="16464" y="73"/>
                  </a:lnTo>
                  <a:lnTo>
                    <a:pt x="16318" y="25"/>
                  </a:lnTo>
                  <a:lnTo>
                    <a:pt x="16172" y="0"/>
                  </a:lnTo>
                  <a:lnTo>
                    <a:pt x="16172" y="0"/>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17" name="Shape 428">
              <a:extLst>
                <a:ext uri="{FF2B5EF4-FFF2-40B4-BE49-F238E27FC236}">
                  <a16:creationId xmlns:a16="http://schemas.microsoft.com/office/drawing/2014/main" id="{FD436F0F-4D39-4FFA-8948-3AF7E449496F}"/>
                </a:ext>
              </a:extLst>
            </p:cNvPr>
            <p:cNvSpPr/>
            <p:nvPr/>
          </p:nvSpPr>
          <p:spPr>
            <a:xfrm>
              <a:off x="1954125" y="345275"/>
              <a:ext cx="375100" cy="323950"/>
            </a:xfrm>
            <a:custGeom>
              <a:avLst/>
              <a:gdLst/>
              <a:ahLst/>
              <a:cxnLst/>
              <a:rect l="0" t="0" r="0" b="0"/>
              <a:pathLst>
                <a:path w="15004" h="12958" fill="none" extrusionOk="0">
                  <a:moveTo>
                    <a:pt x="15003" y="12957"/>
                  </a:moveTo>
                  <a:lnTo>
                    <a:pt x="1" y="12957"/>
                  </a:lnTo>
                  <a:lnTo>
                    <a:pt x="1" y="0"/>
                  </a:lnTo>
                  <a:lnTo>
                    <a:pt x="15003" y="0"/>
                  </a:lnTo>
                  <a:lnTo>
                    <a:pt x="15003" y="12957"/>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18" name="Shape 429">
              <a:extLst>
                <a:ext uri="{FF2B5EF4-FFF2-40B4-BE49-F238E27FC236}">
                  <a16:creationId xmlns:a16="http://schemas.microsoft.com/office/drawing/2014/main" id="{AAA16E06-E8CA-4AAA-BEE6-779F46F77F52}"/>
                </a:ext>
              </a:extLst>
            </p:cNvPr>
            <p:cNvSpPr/>
            <p:nvPr/>
          </p:nvSpPr>
          <p:spPr>
            <a:xfrm>
              <a:off x="2162375" y="534625"/>
              <a:ext cx="146750" cy="113275"/>
            </a:xfrm>
            <a:custGeom>
              <a:avLst/>
              <a:gdLst/>
              <a:ahLst/>
              <a:cxnLst/>
              <a:rect l="0" t="0" r="0" b="0"/>
              <a:pathLst>
                <a:path w="5870" h="4531" fill="none" extrusionOk="0">
                  <a:moveTo>
                    <a:pt x="0" y="2266"/>
                  </a:moveTo>
                  <a:lnTo>
                    <a:pt x="1534" y="244"/>
                  </a:lnTo>
                  <a:lnTo>
                    <a:pt x="1534" y="244"/>
                  </a:lnTo>
                  <a:lnTo>
                    <a:pt x="1632" y="147"/>
                  </a:lnTo>
                  <a:lnTo>
                    <a:pt x="1754" y="50"/>
                  </a:lnTo>
                  <a:lnTo>
                    <a:pt x="1875" y="1"/>
                  </a:lnTo>
                  <a:lnTo>
                    <a:pt x="2022" y="1"/>
                  </a:lnTo>
                  <a:lnTo>
                    <a:pt x="2143" y="1"/>
                  </a:lnTo>
                  <a:lnTo>
                    <a:pt x="2289" y="50"/>
                  </a:lnTo>
                  <a:lnTo>
                    <a:pt x="2411" y="147"/>
                  </a:lnTo>
                  <a:lnTo>
                    <a:pt x="2509" y="244"/>
                  </a:lnTo>
                  <a:lnTo>
                    <a:pt x="5870" y="4531"/>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19" name="Shape 430">
              <a:extLst>
                <a:ext uri="{FF2B5EF4-FFF2-40B4-BE49-F238E27FC236}">
                  <a16:creationId xmlns:a16="http://schemas.microsoft.com/office/drawing/2014/main" id="{D5731BAA-A2E3-4D74-B9B3-C849DB70F84E}"/>
                </a:ext>
              </a:extLst>
            </p:cNvPr>
            <p:cNvSpPr/>
            <p:nvPr/>
          </p:nvSpPr>
          <p:spPr>
            <a:xfrm>
              <a:off x="1974225" y="468875"/>
              <a:ext cx="232600" cy="179025"/>
            </a:xfrm>
            <a:custGeom>
              <a:avLst/>
              <a:gdLst/>
              <a:ahLst/>
              <a:cxnLst/>
              <a:rect l="0" t="0" r="0" b="0"/>
              <a:pathLst>
                <a:path w="9304" h="7161" fill="none" extrusionOk="0">
                  <a:moveTo>
                    <a:pt x="0" y="3995"/>
                  </a:moveTo>
                  <a:lnTo>
                    <a:pt x="2923" y="244"/>
                  </a:lnTo>
                  <a:lnTo>
                    <a:pt x="2923" y="244"/>
                  </a:lnTo>
                  <a:lnTo>
                    <a:pt x="3020" y="147"/>
                  </a:lnTo>
                  <a:lnTo>
                    <a:pt x="3142" y="49"/>
                  </a:lnTo>
                  <a:lnTo>
                    <a:pt x="3264" y="1"/>
                  </a:lnTo>
                  <a:lnTo>
                    <a:pt x="3410" y="1"/>
                  </a:lnTo>
                  <a:lnTo>
                    <a:pt x="3532" y="1"/>
                  </a:lnTo>
                  <a:lnTo>
                    <a:pt x="3678" y="49"/>
                  </a:lnTo>
                  <a:lnTo>
                    <a:pt x="3800" y="147"/>
                  </a:lnTo>
                  <a:lnTo>
                    <a:pt x="3897" y="244"/>
                  </a:lnTo>
                  <a:lnTo>
                    <a:pt x="9304" y="7161"/>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20" name="Shape 431">
              <a:extLst>
                <a:ext uri="{FF2B5EF4-FFF2-40B4-BE49-F238E27FC236}">
                  <a16:creationId xmlns:a16="http://schemas.microsoft.com/office/drawing/2014/main" id="{E38287D1-E776-4B16-9875-0AF7341FCCF7}"/>
                </a:ext>
              </a:extLst>
            </p:cNvPr>
            <p:cNvSpPr/>
            <p:nvPr/>
          </p:nvSpPr>
          <p:spPr>
            <a:xfrm>
              <a:off x="2169675" y="396425"/>
              <a:ext cx="97450" cy="97450"/>
            </a:xfrm>
            <a:custGeom>
              <a:avLst/>
              <a:gdLst/>
              <a:ahLst/>
              <a:cxnLst/>
              <a:rect l="0" t="0" r="0" b="0"/>
              <a:pathLst>
                <a:path w="3898" h="3898" fill="none" extrusionOk="0">
                  <a:moveTo>
                    <a:pt x="1949" y="3897"/>
                  </a:moveTo>
                  <a:lnTo>
                    <a:pt x="1949" y="3897"/>
                  </a:lnTo>
                  <a:lnTo>
                    <a:pt x="1754" y="3897"/>
                  </a:lnTo>
                  <a:lnTo>
                    <a:pt x="1559" y="3873"/>
                  </a:lnTo>
                  <a:lnTo>
                    <a:pt x="1364" y="3824"/>
                  </a:lnTo>
                  <a:lnTo>
                    <a:pt x="1194" y="3751"/>
                  </a:lnTo>
                  <a:lnTo>
                    <a:pt x="1023" y="3678"/>
                  </a:lnTo>
                  <a:lnTo>
                    <a:pt x="853" y="3580"/>
                  </a:lnTo>
                  <a:lnTo>
                    <a:pt x="707" y="3459"/>
                  </a:lnTo>
                  <a:lnTo>
                    <a:pt x="560" y="3337"/>
                  </a:lnTo>
                  <a:lnTo>
                    <a:pt x="439" y="3191"/>
                  </a:lnTo>
                  <a:lnTo>
                    <a:pt x="317" y="3045"/>
                  </a:lnTo>
                  <a:lnTo>
                    <a:pt x="220" y="2874"/>
                  </a:lnTo>
                  <a:lnTo>
                    <a:pt x="146" y="2704"/>
                  </a:lnTo>
                  <a:lnTo>
                    <a:pt x="73" y="2533"/>
                  </a:lnTo>
                  <a:lnTo>
                    <a:pt x="25" y="2338"/>
                  </a:lnTo>
                  <a:lnTo>
                    <a:pt x="0" y="2168"/>
                  </a:lnTo>
                  <a:lnTo>
                    <a:pt x="0" y="1949"/>
                  </a:lnTo>
                  <a:lnTo>
                    <a:pt x="0" y="1949"/>
                  </a:lnTo>
                  <a:lnTo>
                    <a:pt x="0" y="1754"/>
                  </a:lnTo>
                  <a:lnTo>
                    <a:pt x="25" y="1559"/>
                  </a:lnTo>
                  <a:lnTo>
                    <a:pt x="73" y="1389"/>
                  </a:lnTo>
                  <a:lnTo>
                    <a:pt x="146" y="1194"/>
                  </a:lnTo>
                  <a:lnTo>
                    <a:pt x="220" y="1023"/>
                  </a:lnTo>
                  <a:lnTo>
                    <a:pt x="317" y="877"/>
                  </a:lnTo>
                  <a:lnTo>
                    <a:pt x="439" y="707"/>
                  </a:lnTo>
                  <a:lnTo>
                    <a:pt x="560" y="585"/>
                  </a:lnTo>
                  <a:lnTo>
                    <a:pt x="707" y="463"/>
                  </a:lnTo>
                  <a:lnTo>
                    <a:pt x="853" y="341"/>
                  </a:lnTo>
                  <a:lnTo>
                    <a:pt x="1023" y="244"/>
                  </a:lnTo>
                  <a:lnTo>
                    <a:pt x="1194" y="171"/>
                  </a:lnTo>
                  <a:lnTo>
                    <a:pt x="1364" y="98"/>
                  </a:lnTo>
                  <a:lnTo>
                    <a:pt x="1559" y="49"/>
                  </a:lnTo>
                  <a:lnTo>
                    <a:pt x="1754" y="25"/>
                  </a:lnTo>
                  <a:lnTo>
                    <a:pt x="1949" y="0"/>
                  </a:lnTo>
                  <a:lnTo>
                    <a:pt x="1949" y="0"/>
                  </a:lnTo>
                  <a:lnTo>
                    <a:pt x="2144" y="25"/>
                  </a:lnTo>
                  <a:lnTo>
                    <a:pt x="2338" y="49"/>
                  </a:lnTo>
                  <a:lnTo>
                    <a:pt x="2533" y="98"/>
                  </a:lnTo>
                  <a:lnTo>
                    <a:pt x="2704" y="171"/>
                  </a:lnTo>
                  <a:lnTo>
                    <a:pt x="2874" y="244"/>
                  </a:lnTo>
                  <a:lnTo>
                    <a:pt x="3020" y="341"/>
                  </a:lnTo>
                  <a:lnTo>
                    <a:pt x="3191" y="463"/>
                  </a:lnTo>
                  <a:lnTo>
                    <a:pt x="3313" y="585"/>
                  </a:lnTo>
                  <a:lnTo>
                    <a:pt x="3459" y="707"/>
                  </a:lnTo>
                  <a:lnTo>
                    <a:pt x="3556" y="877"/>
                  </a:lnTo>
                  <a:lnTo>
                    <a:pt x="3654" y="1023"/>
                  </a:lnTo>
                  <a:lnTo>
                    <a:pt x="3727" y="1194"/>
                  </a:lnTo>
                  <a:lnTo>
                    <a:pt x="3800" y="1389"/>
                  </a:lnTo>
                  <a:lnTo>
                    <a:pt x="3848" y="1559"/>
                  </a:lnTo>
                  <a:lnTo>
                    <a:pt x="3873" y="1754"/>
                  </a:lnTo>
                  <a:lnTo>
                    <a:pt x="3897" y="1949"/>
                  </a:lnTo>
                  <a:lnTo>
                    <a:pt x="3897" y="1949"/>
                  </a:lnTo>
                  <a:lnTo>
                    <a:pt x="3873" y="2168"/>
                  </a:lnTo>
                  <a:lnTo>
                    <a:pt x="3848" y="2338"/>
                  </a:lnTo>
                  <a:lnTo>
                    <a:pt x="3800" y="2533"/>
                  </a:lnTo>
                  <a:lnTo>
                    <a:pt x="3727" y="2704"/>
                  </a:lnTo>
                  <a:lnTo>
                    <a:pt x="3654" y="2874"/>
                  </a:lnTo>
                  <a:lnTo>
                    <a:pt x="3556" y="3045"/>
                  </a:lnTo>
                  <a:lnTo>
                    <a:pt x="3459" y="3191"/>
                  </a:lnTo>
                  <a:lnTo>
                    <a:pt x="3313" y="3337"/>
                  </a:lnTo>
                  <a:lnTo>
                    <a:pt x="3191" y="3459"/>
                  </a:lnTo>
                  <a:lnTo>
                    <a:pt x="3020" y="3580"/>
                  </a:lnTo>
                  <a:lnTo>
                    <a:pt x="2874" y="3678"/>
                  </a:lnTo>
                  <a:lnTo>
                    <a:pt x="2704" y="3751"/>
                  </a:lnTo>
                  <a:lnTo>
                    <a:pt x="2533" y="3824"/>
                  </a:lnTo>
                  <a:lnTo>
                    <a:pt x="2338" y="3873"/>
                  </a:lnTo>
                  <a:lnTo>
                    <a:pt x="2144" y="3897"/>
                  </a:lnTo>
                  <a:lnTo>
                    <a:pt x="1949" y="3897"/>
                  </a:lnTo>
                  <a:lnTo>
                    <a:pt x="1949" y="3897"/>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grpSp>
      <p:sp>
        <p:nvSpPr>
          <p:cNvPr id="21" name="ListLeanHorizontalTextDetail1">
            <a:extLst>
              <a:ext uri="{FF2B5EF4-FFF2-40B4-BE49-F238E27FC236}">
                <a16:creationId xmlns:a16="http://schemas.microsoft.com/office/drawing/2014/main" id="{1D3EA3B3-0152-49A7-B342-314106F9328B}"/>
              </a:ext>
            </a:extLst>
          </p:cNvPr>
          <p:cNvSpPr txBox="1">
            <a:spLocks/>
          </p:cNvSpPr>
          <p:nvPr/>
        </p:nvSpPr>
        <p:spPr>
          <a:xfrm>
            <a:off x="846763" y="3168546"/>
            <a:ext cx="4354776" cy="223918"/>
          </a:xfrm>
          <a:prstGeom prst="rect">
            <a:avLst/>
          </a:prstGeom>
          <a:noFill/>
          <a:ln w="12700">
            <a:noFill/>
          </a:ln>
        </p:spPr>
        <p:txBody>
          <a:bodyPr wrap="square" lIns="0" tIns="0" rIns="0" bIns="0" anchor="ctr" anchorCtr="0">
            <a:noAutofit/>
          </a:bodyPr>
          <a:lstStyle>
            <a:defPPr marR="0" lvl="0" algn="l" rtl="0">
              <a:lnSpc>
                <a:spcPct val="100000"/>
              </a:lnSpc>
              <a:spcBef>
                <a:spcPts val="0"/>
              </a:spcBef>
              <a:spcAft>
                <a:spcPts val="0"/>
              </a:spcAft>
            </a:defPPr>
            <a:lvl4pPr marL="95250" indent="0" defTabSz="360363" eaLnBrk="1" fontAlgn="auto" latinLnBrk="0" hangingPunct="1">
              <a:spcBef>
                <a:spcPts val="600"/>
              </a:spcBef>
              <a:buClr>
                <a:srgbClr val="0070C0"/>
              </a:buClr>
              <a:buSzPct val="100000"/>
              <a:buFontTx/>
              <a:buNone/>
              <a:tabLst/>
              <a:defRPr kumimoji="0" b="1" kern="1200" spc="0" normalizeH="0" baseline="0">
                <a:ln>
                  <a:noFill/>
                </a:ln>
                <a:solidFill>
                  <a:schemeClr val="bg2">
                    <a:lumMod val="60000"/>
                    <a:lumOff val="40000"/>
                  </a:schemeClr>
                </a:solidFill>
                <a:effectLst/>
                <a:uLnTx/>
                <a:uFillTx/>
                <a:latin typeface="Arial" panose="020B0604020202020204" pitchFamily="34" charset="0"/>
                <a:ea typeface="Calibri" charset="0"/>
                <a:cs typeface="Arial" panose="020B0604020202020204" pitchFamily="34" charset="0"/>
              </a:defRPr>
            </a:lvl4pPr>
          </a:lstStyle>
          <a:p>
            <a:pPr lvl="3"/>
            <a:r>
              <a:rPr lang="fr-FR">
                <a:solidFill>
                  <a:schemeClr val="accent1"/>
                </a:solidFill>
              </a:rPr>
              <a:t>Méthodologie et apports Talan Consulting</a:t>
            </a:r>
          </a:p>
        </p:txBody>
      </p:sp>
      <p:grpSp>
        <p:nvGrpSpPr>
          <p:cNvPr id="22" name="Shape 434">
            <a:extLst>
              <a:ext uri="{FF2B5EF4-FFF2-40B4-BE49-F238E27FC236}">
                <a16:creationId xmlns:a16="http://schemas.microsoft.com/office/drawing/2014/main" id="{C8D42E14-7E5F-488E-B43D-EED9604FB1F6}"/>
              </a:ext>
            </a:extLst>
          </p:cNvPr>
          <p:cNvGrpSpPr/>
          <p:nvPr/>
        </p:nvGrpSpPr>
        <p:grpSpPr>
          <a:xfrm>
            <a:off x="521539" y="3084555"/>
            <a:ext cx="270150" cy="307907"/>
            <a:chOff x="4630125" y="278900"/>
            <a:chExt cx="400675" cy="456675"/>
          </a:xfrm>
        </p:grpSpPr>
        <p:sp>
          <p:nvSpPr>
            <p:cNvPr id="23" name="Shape 435">
              <a:extLst>
                <a:ext uri="{FF2B5EF4-FFF2-40B4-BE49-F238E27FC236}">
                  <a16:creationId xmlns:a16="http://schemas.microsoft.com/office/drawing/2014/main" id="{80BFFFE1-C803-454B-B492-533EEF7D3047}"/>
                </a:ext>
              </a:extLst>
            </p:cNvPr>
            <p:cNvSpPr/>
            <p:nvPr/>
          </p:nvSpPr>
          <p:spPr>
            <a:xfrm>
              <a:off x="4659350" y="328825"/>
              <a:ext cx="371450" cy="96850"/>
            </a:xfrm>
            <a:custGeom>
              <a:avLst/>
              <a:gdLst/>
              <a:ahLst/>
              <a:cxnLst/>
              <a:rect l="0" t="0" r="0" b="0"/>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24" name="Shape 436">
              <a:extLst>
                <a:ext uri="{FF2B5EF4-FFF2-40B4-BE49-F238E27FC236}">
                  <a16:creationId xmlns:a16="http://schemas.microsoft.com/office/drawing/2014/main" id="{022C39A9-CBC2-4650-9FCA-0AE2EEE046F4}"/>
                </a:ext>
              </a:extLst>
            </p:cNvPr>
            <p:cNvSpPr/>
            <p:nvPr/>
          </p:nvSpPr>
          <p:spPr>
            <a:xfrm>
              <a:off x="4630125" y="452425"/>
              <a:ext cx="371450" cy="96850"/>
            </a:xfrm>
            <a:custGeom>
              <a:avLst/>
              <a:gdLst/>
              <a:ahLst/>
              <a:cxnLst/>
              <a:rect l="0" t="0" r="0" b="0"/>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25" name="Shape 437">
              <a:extLst>
                <a:ext uri="{FF2B5EF4-FFF2-40B4-BE49-F238E27FC236}">
                  <a16:creationId xmlns:a16="http://schemas.microsoft.com/office/drawing/2014/main" id="{FF3B7324-B629-4F5C-824E-9AF4CEA30DAA}"/>
                </a:ext>
              </a:extLst>
            </p:cNvPr>
            <p:cNvSpPr/>
            <p:nvPr/>
          </p:nvSpPr>
          <p:spPr>
            <a:xfrm>
              <a:off x="4808525" y="278900"/>
              <a:ext cx="43875" cy="49950"/>
            </a:xfrm>
            <a:custGeom>
              <a:avLst/>
              <a:gdLst/>
              <a:ahLst/>
              <a:cxnLst/>
              <a:rect l="0" t="0" r="0" b="0"/>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26" name="Shape 438">
              <a:extLst>
                <a:ext uri="{FF2B5EF4-FFF2-40B4-BE49-F238E27FC236}">
                  <a16:creationId xmlns:a16="http://schemas.microsoft.com/office/drawing/2014/main" id="{0B0DD715-E7D4-4BEB-9E43-B02C307AF6EB}"/>
                </a:ext>
              </a:extLst>
            </p:cNvPr>
            <p:cNvSpPr/>
            <p:nvPr/>
          </p:nvSpPr>
          <p:spPr>
            <a:xfrm>
              <a:off x="4808525" y="549250"/>
              <a:ext cx="43875" cy="186325"/>
            </a:xfrm>
            <a:custGeom>
              <a:avLst/>
              <a:gdLst/>
              <a:ahLst/>
              <a:cxnLst/>
              <a:rect l="0" t="0" r="0" b="0"/>
              <a:pathLst>
                <a:path w="1755" h="7453" fill="none" extrusionOk="0">
                  <a:moveTo>
                    <a:pt x="1" y="0"/>
                  </a:moveTo>
                  <a:lnTo>
                    <a:pt x="1" y="7453"/>
                  </a:lnTo>
                  <a:lnTo>
                    <a:pt x="1754" y="7453"/>
                  </a:lnTo>
                  <a:lnTo>
                    <a:pt x="1754" y="0"/>
                  </a:lnTo>
                  <a:lnTo>
                    <a:pt x="1" y="0"/>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grpSp>
      <p:sp>
        <p:nvSpPr>
          <p:cNvPr id="27" name="ListLeanHorizontalTextDetail1">
            <a:extLst>
              <a:ext uri="{FF2B5EF4-FFF2-40B4-BE49-F238E27FC236}">
                <a16:creationId xmlns:a16="http://schemas.microsoft.com/office/drawing/2014/main" id="{AB1C50DF-B242-4637-85B8-AFF33AF6FCDA}"/>
              </a:ext>
            </a:extLst>
          </p:cNvPr>
          <p:cNvSpPr txBox="1">
            <a:spLocks/>
          </p:cNvSpPr>
          <p:nvPr/>
        </p:nvSpPr>
        <p:spPr>
          <a:xfrm>
            <a:off x="6567419" y="1241187"/>
            <a:ext cx="4072207" cy="226259"/>
          </a:xfrm>
          <a:prstGeom prst="rect">
            <a:avLst/>
          </a:prstGeom>
          <a:noFill/>
          <a:ln w="12700">
            <a:noFill/>
          </a:ln>
        </p:spPr>
        <p:txBody>
          <a:bodyPr wrap="square" lIns="0" tIns="0" rIns="0" bIns="0" anchor="ctr" anchorCtr="0">
            <a:noAutofit/>
          </a:bodyPr>
          <a:lstStyle>
            <a:defPPr marR="0" lvl="0" algn="l" rtl="0">
              <a:lnSpc>
                <a:spcPct val="100000"/>
              </a:lnSpc>
              <a:spcBef>
                <a:spcPts val="0"/>
              </a:spcBef>
              <a:spcAft>
                <a:spcPts val="0"/>
              </a:spcAft>
            </a:defPPr>
            <a:lvl4pPr marL="95250" indent="0" defTabSz="360363" eaLnBrk="1" fontAlgn="auto" latinLnBrk="0" hangingPunct="1">
              <a:spcBef>
                <a:spcPts val="600"/>
              </a:spcBef>
              <a:buClr>
                <a:srgbClr val="0070C0"/>
              </a:buClr>
              <a:buSzPct val="100000"/>
              <a:buFontTx/>
              <a:buNone/>
              <a:tabLst/>
              <a:defRPr kumimoji="0" b="1" kern="1200" spc="0" normalizeH="0" baseline="0">
                <a:ln>
                  <a:noFill/>
                </a:ln>
                <a:solidFill>
                  <a:schemeClr val="tx2"/>
                </a:solidFill>
                <a:effectLst/>
                <a:uLnTx/>
                <a:uFillTx/>
                <a:latin typeface="Arial" panose="020B0604020202020204" pitchFamily="34" charset="0"/>
                <a:ea typeface="Calibri" charset="0"/>
                <a:cs typeface="Arial" panose="020B0604020202020204" pitchFamily="34" charset="0"/>
              </a:defRPr>
            </a:lvl4pPr>
          </a:lstStyle>
          <a:p>
            <a:pPr lvl="3"/>
            <a:r>
              <a:rPr lang="fr-FR">
                <a:solidFill>
                  <a:schemeClr val="accent1"/>
                </a:solidFill>
              </a:rPr>
              <a:t>Objectifs</a:t>
            </a:r>
          </a:p>
        </p:txBody>
      </p:sp>
      <p:cxnSp>
        <p:nvCxnSpPr>
          <p:cNvPr id="28" name="Connecteur droit 27">
            <a:extLst>
              <a:ext uri="{FF2B5EF4-FFF2-40B4-BE49-F238E27FC236}">
                <a16:creationId xmlns:a16="http://schemas.microsoft.com/office/drawing/2014/main" id="{076E9DA1-04E0-40D7-9E9E-34760800A390}"/>
              </a:ext>
            </a:extLst>
          </p:cNvPr>
          <p:cNvCxnSpPr>
            <a:cxnSpLocks/>
          </p:cNvCxnSpPr>
          <p:nvPr/>
        </p:nvCxnSpPr>
        <p:spPr>
          <a:xfrm flipH="1">
            <a:off x="6125274" y="1562142"/>
            <a:ext cx="5517964"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grpSp>
        <p:nvGrpSpPr>
          <p:cNvPr id="29" name="Shape 500">
            <a:extLst>
              <a:ext uri="{FF2B5EF4-FFF2-40B4-BE49-F238E27FC236}">
                <a16:creationId xmlns:a16="http://schemas.microsoft.com/office/drawing/2014/main" id="{A39F0604-8228-46C3-810C-CB30D772CE77}"/>
              </a:ext>
            </a:extLst>
          </p:cNvPr>
          <p:cNvGrpSpPr/>
          <p:nvPr/>
        </p:nvGrpSpPr>
        <p:grpSpPr>
          <a:xfrm>
            <a:off x="6184809" y="1163302"/>
            <a:ext cx="324000" cy="343929"/>
            <a:chOff x="5961125" y="1623900"/>
            <a:chExt cx="427450" cy="448175"/>
          </a:xfrm>
        </p:grpSpPr>
        <p:sp>
          <p:nvSpPr>
            <p:cNvPr id="30" name="Shape 501">
              <a:extLst>
                <a:ext uri="{FF2B5EF4-FFF2-40B4-BE49-F238E27FC236}">
                  <a16:creationId xmlns:a16="http://schemas.microsoft.com/office/drawing/2014/main" id="{F596662B-A42F-46EA-BF3C-8D49D5187D26}"/>
                </a:ext>
              </a:extLst>
            </p:cNvPr>
            <p:cNvSpPr/>
            <p:nvPr/>
          </p:nvSpPr>
          <p:spPr>
            <a:xfrm>
              <a:off x="5961125" y="1678700"/>
              <a:ext cx="376925" cy="376925"/>
            </a:xfrm>
            <a:custGeom>
              <a:avLst/>
              <a:gdLst/>
              <a:ahLst/>
              <a:cxnLst/>
              <a:rect l="0" t="0" r="0" b="0"/>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1" name="Shape 502">
              <a:extLst>
                <a:ext uri="{FF2B5EF4-FFF2-40B4-BE49-F238E27FC236}">
                  <a16:creationId xmlns:a16="http://schemas.microsoft.com/office/drawing/2014/main" id="{FBB086B4-C22E-4B89-BBA2-47CD31211B12}"/>
                </a:ext>
              </a:extLst>
            </p:cNvPr>
            <p:cNvSpPr/>
            <p:nvPr/>
          </p:nvSpPr>
          <p:spPr>
            <a:xfrm>
              <a:off x="6009825" y="1727425"/>
              <a:ext cx="279500" cy="279500"/>
            </a:xfrm>
            <a:custGeom>
              <a:avLst/>
              <a:gdLst/>
              <a:ahLst/>
              <a:cxnLst/>
              <a:rect l="0" t="0" r="0" b="0"/>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2" name="Shape 503">
              <a:extLst>
                <a:ext uri="{FF2B5EF4-FFF2-40B4-BE49-F238E27FC236}">
                  <a16:creationId xmlns:a16="http://schemas.microsoft.com/office/drawing/2014/main" id="{4CBCD712-CC28-446E-AE08-3CEF1B039126}"/>
                </a:ext>
              </a:extLst>
            </p:cNvPr>
            <p:cNvSpPr/>
            <p:nvPr/>
          </p:nvSpPr>
          <p:spPr>
            <a:xfrm>
              <a:off x="6107250" y="1824850"/>
              <a:ext cx="84650" cy="84650"/>
            </a:xfrm>
            <a:custGeom>
              <a:avLst/>
              <a:gdLst/>
              <a:ahLst/>
              <a:cxnLst/>
              <a:rect l="0" t="0" r="0" b="0"/>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3" name="Shape 504">
              <a:extLst>
                <a:ext uri="{FF2B5EF4-FFF2-40B4-BE49-F238E27FC236}">
                  <a16:creationId xmlns:a16="http://schemas.microsoft.com/office/drawing/2014/main" id="{B884389D-5B13-4AFE-AA9B-8E19D62B8B96}"/>
                </a:ext>
              </a:extLst>
            </p:cNvPr>
            <p:cNvSpPr/>
            <p:nvPr/>
          </p:nvSpPr>
          <p:spPr>
            <a:xfrm>
              <a:off x="6058550" y="1776125"/>
              <a:ext cx="182075" cy="182075"/>
            </a:xfrm>
            <a:custGeom>
              <a:avLst/>
              <a:gdLst/>
              <a:ahLst/>
              <a:cxnLst/>
              <a:rect l="0" t="0" r="0" b="0"/>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4" name="Shape 505">
              <a:extLst>
                <a:ext uri="{FF2B5EF4-FFF2-40B4-BE49-F238E27FC236}">
                  <a16:creationId xmlns:a16="http://schemas.microsoft.com/office/drawing/2014/main" id="{4DD7AC92-9592-4A59-BF16-CDCABCEE06F7}"/>
                </a:ext>
              </a:extLst>
            </p:cNvPr>
            <p:cNvSpPr/>
            <p:nvPr/>
          </p:nvSpPr>
          <p:spPr>
            <a:xfrm>
              <a:off x="5971475" y="2001400"/>
              <a:ext cx="74925" cy="70675"/>
            </a:xfrm>
            <a:custGeom>
              <a:avLst/>
              <a:gdLst/>
              <a:ahLst/>
              <a:cxnLst/>
              <a:rect l="0" t="0" r="0" b="0"/>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5" name="Shape 506">
              <a:extLst>
                <a:ext uri="{FF2B5EF4-FFF2-40B4-BE49-F238E27FC236}">
                  <a16:creationId xmlns:a16="http://schemas.microsoft.com/office/drawing/2014/main" id="{50838620-D323-42A1-9262-59336B3D9D2D}"/>
                </a:ext>
              </a:extLst>
            </p:cNvPr>
            <p:cNvSpPr/>
            <p:nvPr/>
          </p:nvSpPr>
          <p:spPr>
            <a:xfrm>
              <a:off x="6253375" y="2001400"/>
              <a:ext cx="74325" cy="70675"/>
            </a:xfrm>
            <a:custGeom>
              <a:avLst/>
              <a:gdLst/>
              <a:ahLst/>
              <a:cxnLst/>
              <a:rect l="0" t="0" r="0" b="0"/>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6" name="Shape 507">
              <a:extLst>
                <a:ext uri="{FF2B5EF4-FFF2-40B4-BE49-F238E27FC236}">
                  <a16:creationId xmlns:a16="http://schemas.microsoft.com/office/drawing/2014/main" id="{26036A4D-89E2-433B-B446-432CA6613440}"/>
                </a:ext>
              </a:extLst>
            </p:cNvPr>
            <p:cNvSpPr/>
            <p:nvPr/>
          </p:nvSpPr>
          <p:spPr>
            <a:xfrm>
              <a:off x="6137700" y="1623900"/>
              <a:ext cx="250875" cy="255150"/>
            </a:xfrm>
            <a:custGeom>
              <a:avLst/>
              <a:gdLst/>
              <a:ahLst/>
              <a:cxnLst/>
              <a:rect l="0" t="0" r="0" b="0"/>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grpSp>
      <p:sp>
        <p:nvSpPr>
          <p:cNvPr id="37" name="Titre 3">
            <a:extLst>
              <a:ext uri="{FF2B5EF4-FFF2-40B4-BE49-F238E27FC236}">
                <a16:creationId xmlns:a16="http://schemas.microsoft.com/office/drawing/2014/main" id="{7AF0E430-CDB8-4B45-8379-46CBA595C178}"/>
              </a:ext>
            </a:extLst>
          </p:cNvPr>
          <p:cNvSpPr>
            <a:spLocks noGrp="1"/>
          </p:cNvSpPr>
          <p:nvPr>
            <p:ph type="title"/>
          </p:nvPr>
        </p:nvSpPr>
        <p:spPr/>
        <p:txBody>
          <a:bodyPr/>
          <a:lstStyle/>
          <a:p>
            <a:r>
              <a:rPr lang="fr-FR"/>
              <a:t>RÉFÉRENCE PERTINENTE : SNCF TRANSILIEN</a:t>
            </a:r>
            <a:br>
              <a:rPr lang="fr-FR"/>
            </a:br>
            <a:r>
              <a:rPr lang="fr-FR" sz="1600" b="0">
                <a:solidFill>
                  <a:schemeClr val="bg2">
                    <a:lumMod val="60000"/>
                    <a:lumOff val="40000"/>
                  </a:schemeClr>
                </a:solidFill>
                <a:latin typeface="+mn-lt"/>
                <a:cs typeface="Arial" panose="020B0604020202020204" pitchFamily="34" charset="0"/>
              </a:rPr>
              <a:t>Création et déploiement d’un parcours de E-learning portant sur un progiciel de planification</a:t>
            </a:r>
          </a:p>
        </p:txBody>
      </p:sp>
      <p:cxnSp>
        <p:nvCxnSpPr>
          <p:cNvPr id="38" name="Connecteur droit 37">
            <a:extLst>
              <a:ext uri="{FF2B5EF4-FFF2-40B4-BE49-F238E27FC236}">
                <a16:creationId xmlns:a16="http://schemas.microsoft.com/office/drawing/2014/main" id="{91025DE0-102C-4CF5-AB7C-EB7281E6D5CE}"/>
              </a:ext>
            </a:extLst>
          </p:cNvPr>
          <p:cNvCxnSpPr>
            <a:cxnSpLocks/>
          </p:cNvCxnSpPr>
          <p:nvPr/>
        </p:nvCxnSpPr>
        <p:spPr>
          <a:xfrm flipH="1">
            <a:off x="521539" y="3488803"/>
            <a:ext cx="4956151"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9" name="Google Shape;641;p64">
            <a:extLst>
              <a:ext uri="{FF2B5EF4-FFF2-40B4-BE49-F238E27FC236}">
                <a16:creationId xmlns:a16="http://schemas.microsoft.com/office/drawing/2014/main" id="{79339183-0722-4C64-A1CF-A021ABD95820}"/>
              </a:ext>
            </a:extLst>
          </p:cNvPr>
          <p:cNvSpPr/>
          <p:nvPr/>
        </p:nvSpPr>
        <p:spPr>
          <a:xfrm>
            <a:off x="6125271" y="3486691"/>
            <a:ext cx="5517968" cy="956773"/>
          </a:xfrm>
          <a:prstGeom prst="rect">
            <a:avLst/>
          </a:prstGeom>
          <a:solidFill>
            <a:schemeClr val="tx2"/>
          </a:solidFill>
          <a:ln>
            <a:noFill/>
          </a:ln>
        </p:spPr>
        <p:txBody>
          <a:bodyPr spcFirstLastPara="1" wrap="square" lIns="99044" tIns="108000" rIns="99044" bIns="108000" anchor="t" anchorCtr="0">
            <a:spAutoFit/>
          </a:bodyPr>
          <a:lstStyle/>
          <a:p>
            <a:pPr marL="171446" indent="-171446" algn="just">
              <a:buClr>
                <a:prstClr val="white"/>
              </a:buClr>
              <a:buSzPts val="900"/>
              <a:buFont typeface="Arial" panose="020B0604020202020204" pitchFamily="34" charset="0"/>
              <a:buChar char="•"/>
            </a:pPr>
            <a:r>
              <a:rPr lang="fr-FR" sz="1200" kern="1200">
                <a:solidFill>
                  <a:srgbClr val="FFFFFF"/>
                </a:solidFill>
                <a:latin typeface="Arial" panose="020B0604020202020204" pitchFamily="34" charset="0"/>
                <a:cs typeface="Arial" panose="020B0604020202020204" pitchFamily="34" charset="0"/>
                <a:sym typeface="Montserrat"/>
              </a:rPr>
              <a:t>Un e-learning répondant aux besoins des équipes </a:t>
            </a:r>
          </a:p>
          <a:p>
            <a:pPr marL="171446" indent="-171446" algn="just">
              <a:buClr>
                <a:prstClr val="white"/>
              </a:buClr>
              <a:buSzPts val="900"/>
              <a:buFont typeface="Arial" panose="020B0604020202020204" pitchFamily="34" charset="0"/>
              <a:buChar char="•"/>
            </a:pPr>
            <a:r>
              <a:rPr lang="fr-FR" sz="1200" kern="1200">
                <a:solidFill>
                  <a:srgbClr val="FFFFFF"/>
                </a:solidFill>
                <a:latin typeface="Arial" panose="020B0604020202020204" pitchFamily="34" charset="0"/>
                <a:cs typeface="Arial" panose="020B0604020202020204" pitchFamily="34" charset="0"/>
                <a:sym typeface="Montserrat"/>
              </a:rPr>
              <a:t>Un e-learning plébiscité par les équipes et l’équipe de formation Transilien, notamment grâce à la gamification et au côté « décalé » des activités proposées</a:t>
            </a:r>
          </a:p>
        </p:txBody>
      </p:sp>
      <p:sp>
        <p:nvSpPr>
          <p:cNvPr id="40" name="ListLeanHorizontalTextDetail1">
            <a:extLst>
              <a:ext uri="{FF2B5EF4-FFF2-40B4-BE49-F238E27FC236}">
                <a16:creationId xmlns:a16="http://schemas.microsoft.com/office/drawing/2014/main" id="{61434720-D051-4849-ACA0-52B93A6BFAFA}"/>
              </a:ext>
            </a:extLst>
          </p:cNvPr>
          <p:cNvSpPr txBox="1">
            <a:spLocks/>
          </p:cNvSpPr>
          <p:nvPr/>
        </p:nvSpPr>
        <p:spPr>
          <a:xfrm>
            <a:off x="6567419" y="3114653"/>
            <a:ext cx="4072207" cy="226259"/>
          </a:xfrm>
          <a:prstGeom prst="rect">
            <a:avLst/>
          </a:prstGeom>
          <a:noFill/>
          <a:ln w="12700">
            <a:noFill/>
          </a:ln>
        </p:spPr>
        <p:txBody>
          <a:bodyPr wrap="square" lIns="0" tIns="0" rIns="0" bIns="0" anchor="ctr" anchorCtr="0">
            <a:noAutofit/>
          </a:bodyPr>
          <a:lstStyle/>
          <a:p>
            <a:pPr marL="95250" marR="0" lvl="3" indent="0" algn="l" defTabSz="360363" rtl="0" eaLnBrk="1" fontAlgn="auto" latinLnBrk="0" hangingPunct="1">
              <a:lnSpc>
                <a:spcPct val="100000"/>
              </a:lnSpc>
              <a:spcBef>
                <a:spcPts val="600"/>
              </a:spcBef>
              <a:spcAft>
                <a:spcPts val="0"/>
              </a:spcAft>
              <a:buClr>
                <a:srgbClr val="0070C0"/>
              </a:buClr>
              <a:buSzPct val="100000"/>
              <a:buFontTx/>
              <a:buNone/>
              <a:tabLst/>
              <a:defRPr/>
            </a:pPr>
            <a:r>
              <a:rPr kumimoji="0" lang="fr-FR" sz="1400" b="1" i="0" u="none" strike="noStrike" kern="1200" cap="none" spc="0" normalizeH="0" baseline="0" noProof="0">
                <a:ln>
                  <a:noFill/>
                </a:ln>
                <a:solidFill>
                  <a:schemeClr val="accent1"/>
                </a:solidFill>
                <a:effectLst/>
                <a:uLnTx/>
                <a:uFillTx/>
                <a:latin typeface="Arial" panose="020B0604020202020204" pitchFamily="34" charset="0"/>
                <a:ea typeface="Calibri" charset="0"/>
                <a:cs typeface="Arial" panose="020B0604020202020204" pitchFamily="34" charset="0"/>
              </a:rPr>
              <a:t>Gains </a:t>
            </a:r>
            <a:r>
              <a:rPr lang="fr-FR" b="1" kern="1200">
                <a:solidFill>
                  <a:schemeClr val="accent1"/>
                </a:solidFill>
                <a:latin typeface="Arial" panose="020B0604020202020204" pitchFamily="34" charset="0"/>
                <a:cs typeface="Arial" panose="020B0604020202020204" pitchFamily="34" charset="0"/>
              </a:rPr>
              <a:t>clients</a:t>
            </a:r>
            <a:r>
              <a:rPr kumimoji="0" lang="fr-FR" sz="1400" b="1" i="0" u="none" strike="noStrike" kern="1200" cap="none" spc="0" normalizeH="0" baseline="0" noProof="0">
                <a:ln>
                  <a:noFill/>
                </a:ln>
                <a:solidFill>
                  <a:schemeClr val="accent1"/>
                </a:solidFill>
                <a:effectLst/>
                <a:uLnTx/>
                <a:uFillTx/>
                <a:latin typeface="Arial" panose="020B0604020202020204" pitchFamily="34" charset="0"/>
                <a:ea typeface="Calibri" charset="0"/>
                <a:cs typeface="Arial" panose="020B0604020202020204" pitchFamily="34" charset="0"/>
              </a:rPr>
              <a:t> et résultats</a:t>
            </a:r>
          </a:p>
        </p:txBody>
      </p:sp>
      <p:grpSp>
        <p:nvGrpSpPr>
          <p:cNvPr id="41" name="Shape 613">
            <a:extLst>
              <a:ext uri="{FF2B5EF4-FFF2-40B4-BE49-F238E27FC236}">
                <a16:creationId xmlns:a16="http://schemas.microsoft.com/office/drawing/2014/main" id="{83A23B5F-9C90-4837-B479-1EBE4631E50D}"/>
              </a:ext>
            </a:extLst>
          </p:cNvPr>
          <p:cNvGrpSpPr/>
          <p:nvPr/>
        </p:nvGrpSpPr>
        <p:grpSpPr>
          <a:xfrm>
            <a:off x="6184809" y="3084555"/>
            <a:ext cx="322423" cy="286451"/>
            <a:chOff x="5292575" y="3681900"/>
            <a:chExt cx="420150" cy="373275"/>
          </a:xfrm>
        </p:grpSpPr>
        <p:sp>
          <p:nvSpPr>
            <p:cNvPr id="42" name="Shape 614">
              <a:extLst>
                <a:ext uri="{FF2B5EF4-FFF2-40B4-BE49-F238E27FC236}">
                  <a16:creationId xmlns:a16="http://schemas.microsoft.com/office/drawing/2014/main" id="{DEE69272-69A1-4813-8F81-6A1E8F8F65BA}"/>
                </a:ext>
              </a:extLst>
            </p:cNvPr>
            <p:cNvSpPr/>
            <p:nvPr/>
          </p:nvSpPr>
          <p:spPr>
            <a:xfrm>
              <a:off x="5292575" y="3706875"/>
              <a:ext cx="420150" cy="266700"/>
            </a:xfrm>
            <a:custGeom>
              <a:avLst/>
              <a:gdLst/>
              <a:ahLst/>
              <a:cxnLst/>
              <a:rect l="0" t="0" r="0" b="0"/>
              <a:pathLst>
                <a:path w="16806" h="10668" fill="none" extrusionOk="0">
                  <a:moveTo>
                    <a:pt x="16319" y="0"/>
                  </a:moveTo>
                  <a:lnTo>
                    <a:pt x="488" y="0"/>
                  </a:lnTo>
                  <a:lnTo>
                    <a:pt x="488" y="0"/>
                  </a:lnTo>
                  <a:lnTo>
                    <a:pt x="390" y="0"/>
                  </a:lnTo>
                  <a:lnTo>
                    <a:pt x="293" y="25"/>
                  </a:lnTo>
                  <a:lnTo>
                    <a:pt x="196" y="73"/>
                  </a:lnTo>
                  <a:lnTo>
                    <a:pt x="123" y="146"/>
                  </a:lnTo>
                  <a:lnTo>
                    <a:pt x="74" y="219"/>
                  </a:lnTo>
                  <a:lnTo>
                    <a:pt x="25" y="292"/>
                  </a:lnTo>
                  <a:lnTo>
                    <a:pt x="1" y="390"/>
                  </a:lnTo>
                  <a:lnTo>
                    <a:pt x="1" y="487"/>
                  </a:lnTo>
                  <a:lnTo>
                    <a:pt x="1" y="10181"/>
                  </a:lnTo>
                  <a:lnTo>
                    <a:pt x="1" y="10181"/>
                  </a:lnTo>
                  <a:lnTo>
                    <a:pt x="1" y="10278"/>
                  </a:lnTo>
                  <a:lnTo>
                    <a:pt x="25" y="10375"/>
                  </a:lnTo>
                  <a:lnTo>
                    <a:pt x="74" y="10448"/>
                  </a:lnTo>
                  <a:lnTo>
                    <a:pt x="123" y="10522"/>
                  </a:lnTo>
                  <a:lnTo>
                    <a:pt x="196" y="10570"/>
                  </a:lnTo>
                  <a:lnTo>
                    <a:pt x="293" y="10619"/>
                  </a:lnTo>
                  <a:lnTo>
                    <a:pt x="390" y="10643"/>
                  </a:lnTo>
                  <a:lnTo>
                    <a:pt x="488" y="10668"/>
                  </a:lnTo>
                  <a:lnTo>
                    <a:pt x="16319" y="10668"/>
                  </a:lnTo>
                  <a:lnTo>
                    <a:pt x="16319" y="10668"/>
                  </a:lnTo>
                  <a:lnTo>
                    <a:pt x="16416" y="10643"/>
                  </a:lnTo>
                  <a:lnTo>
                    <a:pt x="16513" y="10619"/>
                  </a:lnTo>
                  <a:lnTo>
                    <a:pt x="16611" y="10570"/>
                  </a:lnTo>
                  <a:lnTo>
                    <a:pt x="16684" y="10522"/>
                  </a:lnTo>
                  <a:lnTo>
                    <a:pt x="16733" y="10448"/>
                  </a:lnTo>
                  <a:lnTo>
                    <a:pt x="16781" y="10375"/>
                  </a:lnTo>
                  <a:lnTo>
                    <a:pt x="16806" y="10278"/>
                  </a:lnTo>
                  <a:lnTo>
                    <a:pt x="16806" y="10181"/>
                  </a:lnTo>
                  <a:lnTo>
                    <a:pt x="16806" y="487"/>
                  </a:lnTo>
                  <a:lnTo>
                    <a:pt x="16806" y="487"/>
                  </a:lnTo>
                  <a:lnTo>
                    <a:pt x="16806" y="390"/>
                  </a:lnTo>
                  <a:lnTo>
                    <a:pt x="16781" y="292"/>
                  </a:lnTo>
                  <a:lnTo>
                    <a:pt x="16733" y="219"/>
                  </a:lnTo>
                  <a:lnTo>
                    <a:pt x="16684" y="146"/>
                  </a:lnTo>
                  <a:lnTo>
                    <a:pt x="16611" y="73"/>
                  </a:lnTo>
                  <a:lnTo>
                    <a:pt x="16513" y="25"/>
                  </a:lnTo>
                  <a:lnTo>
                    <a:pt x="16416" y="0"/>
                  </a:lnTo>
                  <a:lnTo>
                    <a:pt x="16319" y="0"/>
                  </a:lnTo>
                  <a:lnTo>
                    <a:pt x="16319" y="0"/>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3" name="Shape 615">
              <a:extLst>
                <a:ext uri="{FF2B5EF4-FFF2-40B4-BE49-F238E27FC236}">
                  <a16:creationId xmlns:a16="http://schemas.microsoft.com/office/drawing/2014/main" id="{76A0ED75-FDD7-4F8E-8BF8-55FE7F28AE6C}"/>
                </a:ext>
              </a:extLst>
            </p:cNvPr>
            <p:cNvSpPr/>
            <p:nvPr/>
          </p:nvSpPr>
          <p:spPr>
            <a:xfrm>
              <a:off x="5490475" y="3681900"/>
              <a:ext cx="24375" cy="25000"/>
            </a:xfrm>
            <a:custGeom>
              <a:avLst/>
              <a:gdLst/>
              <a:ahLst/>
              <a:cxnLst/>
              <a:rect l="0" t="0" r="0" b="0"/>
              <a:pathLst>
                <a:path w="975" h="1000" fill="none" extrusionOk="0">
                  <a:moveTo>
                    <a:pt x="974" y="999"/>
                  </a:moveTo>
                  <a:lnTo>
                    <a:pt x="974" y="488"/>
                  </a:lnTo>
                  <a:lnTo>
                    <a:pt x="974" y="488"/>
                  </a:lnTo>
                  <a:lnTo>
                    <a:pt x="974" y="390"/>
                  </a:lnTo>
                  <a:lnTo>
                    <a:pt x="926" y="293"/>
                  </a:lnTo>
                  <a:lnTo>
                    <a:pt x="901" y="220"/>
                  </a:lnTo>
                  <a:lnTo>
                    <a:pt x="828" y="147"/>
                  </a:lnTo>
                  <a:lnTo>
                    <a:pt x="755" y="74"/>
                  </a:lnTo>
                  <a:lnTo>
                    <a:pt x="682" y="49"/>
                  </a:lnTo>
                  <a:lnTo>
                    <a:pt x="585" y="1"/>
                  </a:lnTo>
                  <a:lnTo>
                    <a:pt x="487" y="1"/>
                  </a:lnTo>
                  <a:lnTo>
                    <a:pt x="487" y="1"/>
                  </a:lnTo>
                  <a:lnTo>
                    <a:pt x="390" y="1"/>
                  </a:lnTo>
                  <a:lnTo>
                    <a:pt x="292" y="49"/>
                  </a:lnTo>
                  <a:lnTo>
                    <a:pt x="219" y="74"/>
                  </a:lnTo>
                  <a:lnTo>
                    <a:pt x="146" y="147"/>
                  </a:lnTo>
                  <a:lnTo>
                    <a:pt x="73" y="220"/>
                  </a:lnTo>
                  <a:lnTo>
                    <a:pt x="49" y="293"/>
                  </a:lnTo>
                  <a:lnTo>
                    <a:pt x="0" y="390"/>
                  </a:lnTo>
                  <a:lnTo>
                    <a:pt x="0" y="488"/>
                  </a:lnTo>
                  <a:lnTo>
                    <a:pt x="0" y="999"/>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4" name="Shape 616">
              <a:extLst>
                <a:ext uri="{FF2B5EF4-FFF2-40B4-BE49-F238E27FC236}">
                  <a16:creationId xmlns:a16="http://schemas.microsoft.com/office/drawing/2014/main" id="{7E2D6654-63C3-4662-868A-8F0E7BF20BEF}"/>
                </a:ext>
              </a:extLst>
            </p:cNvPr>
            <p:cNvSpPr/>
            <p:nvPr/>
          </p:nvSpPr>
          <p:spPr>
            <a:xfrm>
              <a:off x="5358350" y="3973550"/>
              <a:ext cx="60900" cy="81625"/>
            </a:xfrm>
            <a:custGeom>
              <a:avLst/>
              <a:gdLst/>
              <a:ahLst/>
              <a:cxnLst/>
              <a:rect l="0" t="0" r="0" b="0"/>
              <a:pathLst>
                <a:path w="2436" h="3265" fill="none" extrusionOk="0">
                  <a:moveTo>
                    <a:pt x="1340" y="1"/>
                  </a:moveTo>
                  <a:lnTo>
                    <a:pt x="49" y="2558"/>
                  </a:lnTo>
                  <a:lnTo>
                    <a:pt x="49" y="2558"/>
                  </a:lnTo>
                  <a:lnTo>
                    <a:pt x="24" y="2631"/>
                  </a:lnTo>
                  <a:lnTo>
                    <a:pt x="0" y="2728"/>
                  </a:lnTo>
                  <a:lnTo>
                    <a:pt x="0" y="2826"/>
                  </a:lnTo>
                  <a:lnTo>
                    <a:pt x="24" y="2923"/>
                  </a:lnTo>
                  <a:lnTo>
                    <a:pt x="73" y="2996"/>
                  </a:lnTo>
                  <a:lnTo>
                    <a:pt x="122" y="3094"/>
                  </a:lnTo>
                  <a:lnTo>
                    <a:pt x="195" y="3142"/>
                  </a:lnTo>
                  <a:lnTo>
                    <a:pt x="268" y="3215"/>
                  </a:lnTo>
                  <a:lnTo>
                    <a:pt x="268" y="3215"/>
                  </a:lnTo>
                  <a:lnTo>
                    <a:pt x="390" y="3240"/>
                  </a:lnTo>
                  <a:lnTo>
                    <a:pt x="487" y="3264"/>
                  </a:lnTo>
                  <a:lnTo>
                    <a:pt x="487" y="3264"/>
                  </a:lnTo>
                  <a:lnTo>
                    <a:pt x="633" y="3240"/>
                  </a:lnTo>
                  <a:lnTo>
                    <a:pt x="755" y="3191"/>
                  </a:lnTo>
                  <a:lnTo>
                    <a:pt x="853" y="3094"/>
                  </a:lnTo>
                  <a:lnTo>
                    <a:pt x="926" y="2996"/>
                  </a:lnTo>
                  <a:lnTo>
                    <a:pt x="2436" y="1"/>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5" name="Shape 617">
              <a:extLst>
                <a:ext uri="{FF2B5EF4-FFF2-40B4-BE49-F238E27FC236}">
                  <a16:creationId xmlns:a16="http://schemas.microsoft.com/office/drawing/2014/main" id="{69083BDB-8474-4B7D-8F14-5D2960D24ADD}"/>
                </a:ext>
              </a:extLst>
            </p:cNvPr>
            <p:cNvSpPr/>
            <p:nvPr/>
          </p:nvSpPr>
          <p:spPr>
            <a:xfrm>
              <a:off x="5586050" y="3973550"/>
              <a:ext cx="60925" cy="81625"/>
            </a:xfrm>
            <a:custGeom>
              <a:avLst/>
              <a:gdLst/>
              <a:ahLst/>
              <a:cxnLst/>
              <a:rect l="0" t="0" r="0" b="0"/>
              <a:pathLst>
                <a:path w="2437" h="3265" fill="none" extrusionOk="0">
                  <a:moveTo>
                    <a:pt x="1" y="1"/>
                  </a:moveTo>
                  <a:lnTo>
                    <a:pt x="1511" y="2996"/>
                  </a:lnTo>
                  <a:lnTo>
                    <a:pt x="1511" y="2996"/>
                  </a:lnTo>
                  <a:lnTo>
                    <a:pt x="1584" y="3094"/>
                  </a:lnTo>
                  <a:lnTo>
                    <a:pt x="1681" y="3191"/>
                  </a:lnTo>
                  <a:lnTo>
                    <a:pt x="1803" y="3240"/>
                  </a:lnTo>
                  <a:lnTo>
                    <a:pt x="1949" y="3264"/>
                  </a:lnTo>
                  <a:lnTo>
                    <a:pt x="1949" y="3264"/>
                  </a:lnTo>
                  <a:lnTo>
                    <a:pt x="2047" y="3240"/>
                  </a:lnTo>
                  <a:lnTo>
                    <a:pt x="2168" y="3215"/>
                  </a:lnTo>
                  <a:lnTo>
                    <a:pt x="2168" y="3215"/>
                  </a:lnTo>
                  <a:lnTo>
                    <a:pt x="2241" y="3142"/>
                  </a:lnTo>
                  <a:lnTo>
                    <a:pt x="2315" y="3094"/>
                  </a:lnTo>
                  <a:lnTo>
                    <a:pt x="2363" y="2996"/>
                  </a:lnTo>
                  <a:lnTo>
                    <a:pt x="2412" y="2923"/>
                  </a:lnTo>
                  <a:lnTo>
                    <a:pt x="2436" y="2826"/>
                  </a:lnTo>
                  <a:lnTo>
                    <a:pt x="2436" y="2728"/>
                  </a:lnTo>
                  <a:lnTo>
                    <a:pt x="2412" y="2631"/>
                  </a:lnTo>
                  <a:lnTo>
                    <a:pt x="2388" y="2558"/>
                  </a:lnTo>
                  <a:lnTo>
                    <a:pt x="1097" y="1"/>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6" name="Shape 618">
              <a:extLst>
                <a:ext uri="{FF2B5EF4-FFF2-40B4-BE49-F238E27FC236}">
                  <a16:creationId xmlns:a16="http://schemas.microsoft.com/office/drawing/2014/main" id="{7F7C37AE-8B58-4D07-8C82-257E5E234C7A}"/>
                </a:ext>
              </a:extLst>
            </p:cNvPr>
            <p:cNvSpPr/>
            <p:nvPr/>
          </p:nvSpPr>
          <p:spPr>
            <a:xfrm>
              <a:off x="5316925" y="3731225"/>
              <a:ext cx="371450" cy="218000"/>
            </a:xfrm>
            <a:custGeom>
              <a:avLst/>
              <a:gdLst/>
              <a:ahLst/>
              <a:cxnLst/>
              <a:rect l="0" t="0" r="0" b="0"/>
              <a:pathLst>
                <a:path w="14858" h="8720" fill="none" extrusionOk="0">
                  <a:moveTo>
                    <a:pt x="1" y="0"/>
                  </a:moveTo>
                  <a:lnTo>
                    <a:pt x="1" y="8719"/>
                  </a:lnTo>
                  <a:lnTo>
                    <a:pt x="14857" y="8719"/>
                  </a:lnTo>
                  <a:lnTo>
                    <a:pt x="14857" y="0"/>
                  </a:lnTo>
                  <a:lnTo>
                    <a:pt x="1" y="0"/>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7" name="Shape 619">
              <a:extLst>
                <a:ext uri="{FF2B5EF4-FFF2-40B4-BE49-F238E27FC236}">
                  <a16:creationId xmlns:a16="http://schemas.microsoft.com/office/drawing/2014/main" id="{D3176927-7AEC-4473-A554-CAF153B86A03}"/>
                </a:ext>
              </a:extLst>
            </p:cNvPr>
            <p:cNvSpPr/>
            <p:nvPr/>
          </p:nvSpPr>
          <p:spPr>
            <a:xfrm>
              <a:off x="5380250" y="3784800"/>
              <a:ext cx="230200" cy="115725"/>
            </a:xfrm>
            <a:custGeom>
              <a:avLst/>
              <a:gdLst/>
              <a:ahLst/>
              <a:cxnLst/>
              <a:rect l="0" t="0" r="0" b="0"/>
              <a:pathLst>
                <a:path w="9208" h="4629" fill="none" extrusionOk="0">
                  <a:moveTo>
                    <a:pt x="9207" y="1"/>
                  </a:moveTo>
                  <a:lnTo>
                    <a:pt x="5213" y="3995"/>
                  </a:lnTo>
                  <a:lnTo>
                    <a:pt x="5213" y="3995"/>
                  </a:lnTo>
                  <a:lnTo>
                    <a:pt x="5140" y="4044"/>
                  </a:lnTo>
                  <a:lnTo>
                    <a:pt x="5067" y="4092"/>
                  </a:lnTo>
                  <a:lnTo>
                    <a:pt x="4969" y="4117"/>
                  </a:lnTo>
                  <a:lnTo>
                    <a:pt x="4872" y="4141"/>
                  </a:lnTo>
                  <a:lnTo>
                    <a:pt x="4774" y="4117"/>
                  </a:lnTo>
                  <a:lnTo>
                    <a:pt x="4677" y="4092"/>
                  </a:lnTo>
                  <a:lnTo>
                    <a:pt x="4604" y="4044"/>
                  </a:lnTo>
                  <a:lnTo>
                    <a:pt x="4531" y="3995"/>
                  </a:lnTo>
                  <a:lnTo>
                    <a:pt x="2582" y="2046"/>
                  </a:lnTo>
                  <a:lnTo>
                    <a:pt x="1" y="4628"/>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8" name="Shape 620">
              <a:extLst>
                <a:ext uri="{FF2B5EF4-FFF2-40B4-BE49-F238E27FC236}">
                  <a16:creationId xmlns:a16="http://schemas.microsoft.com/office/drawing/2014/main" id="{E778690E-B137-49DF-BA19-9955D16319D7}"/>
                </a:ext>
              </a:extLst>
            </p:cNvPr>
            <p:cNvSpPr/>
            <p:nvPr/>
          </p:nvSpPr>
          <p:spPr>
            <a:xfrm>
              <a:off x="5547700" y="3779925"/>
              <a:ext cx="68825" cy="68825"/>
            </a:xfrm>
            <a:custGeom>
              <a:avLst/>
              <a:gdLst/>
              <a:ahLst/>
              <a:cxnLst/>
              <a:rect l="0" t="0" r="0" b="0"/>
              <a:pathLst>
                <a:path w="2753" h="2753" fill="none" extrusionOk="0">
                  <a:moveTo>
                    <a:pt x="0" y="1"/>
                  </a:moveTo>
                  <a:lnTo>
                    <a:pt x="2265" y="1"/>
                  </a:lnTo>
                  <a:lnTo>
                    <a:pt x="2265" y="1"/>
                  </a:lnTo>
                  <a:lnTo>
                    <a:pt x="2363" y="1"/>
                  </a:lnTo>
                  <a:lnTo>
                    <a:pt x="2460" y="25"/>
                  </a:lnTo>
                  <a:lnTo>
                    <a:pt x="2533" y="74"/>
                  </a:lnTo>
                  <a:lnTo>
                    <a:pt x="2606" y="147"/>
                  </a:lnTo>
                  <a:lnTo>
                    <a:pt x="2680" y="220"/>
                  </a:lnTo>
                  <a:lnTo>
                    <a:pt x="2728" y="293"/>
                  </a:lnTo>
                  <a:lnTo>
                    <a:pt x="2753" y="390"/>
                  </a:lnTo>
                  <a:lnTo>
                    <a:pt x="2753" y="488"/>
                  </a:lnTo>
                  <a:lnTo>
                    <a:pt x="2753" y="2753"/>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grpSp>
      <p:pic>
        <p:nvPicPr>
          <p:cNvPr id="2" name="Image 3" descr="Une image contenant dessin, alimentation, assiette, lumière&#10;&#10;Description générée automatiquement">
            <a:extLst>
              <a:ext uri="{FF2B5EF4-FFF2-40B4-BE49-F238E27FC236}">
                <a16:creationId xmlns:a16="http://schemas.microsoft.com/office/drawing/2014/main" id="{43964A4E-54E6-128F-B1FA-03831C76260D}"/>
              </a:ext>
            </a:extLst>
          </p:cNvPr>
          <p:cNvPicPr>
            <a:picLocks noChangeAspect="1"/>
          </p:cNvPicPr>
          <p:nvPr/>
        </p:nvPicPr>
        <p:blipFill>
          <a:blip r:embed="rId2"/>
          <a:stretch>
            <a:fillRect/>
          </a:stretch>
        </p:blipFill>
        <p:spPr>
          <a:xfrm>
            <a:off x="10303727" y="387122"/>
            <a:ext cx="1492370" cy="367737"/>
          </a:xfrm>
          <a:prstGeom prst="rect">
            <a:avLst/>
          </a:prstGeom>
        </p:spPr>
      </p:pic>
      <p:sp>
        <p:nvSpPr>
          <p:cNvPr id="12" name="Rectangle 11">
            <a:extLst>
              <a:ext uri="{FF2B5EF4-FFF2-40B4-BE49-F238E27FC236}">
                <a16:creationId xmlns:a16="http://schemas.microsoft.com/office/drawing/2014/main" id="{228CD6C0-079B-37A8-56AB-893F00A0B521}"/>
              </a:ext>
            </a:extLst>
          </p:cNvPr>
          <p:cNvSpPr/>
          <p:nvPr/>
        </p:nvSpPr>
        <p:spPr>
          <a:xfrm>
            <a:off x="6125271" y="4705213"/>
            <a:ext cx="5517968" cy="699791"/>
          </a:xfrm>
          <a:prstGeom prst="rect">
            <a:avLst/>
          </a:prstGeom>
          <a:ln w="9525">
            <a:solidFill>
              <a:schemeClr val="bg2"/>
            </a:solidFill>
          </a:ln>
        </p:spPr>
        <p:style>
          <a:lnRef idx="2">
            <a:schemeClr val="accent5"/>
          </a:lnRef>
          <a:fillRef idx="1">
            <a:schemeClr val="lt1"/>
          </a:fillRef>
          <a:effectRef idx="0">
            <a:schemeClr val="accent5"/>
          </a:effectRef>
          <a:fontRef idx="minor">
            <a:schemeClr val="dk1"/>
          </a:fontRef>
        </p:style>
        <p:txBody>
          <a:bodyPr lIns="72001" tIns="72001" rIns="72001" bIns="72001" anchor="ctr"/>
          <a:lstStyle/>
          <a:p>
            <a:pPr marL="914400" marR="0" lvl="2" indent="0" algn="l" defTabSz="304799" rtl="0" eaLnBrk="1" fontAlgn="auto" latinLnBrk="0" hangingPunct="1">
              <a:lnSpc>
                <a:spcPct val="100000"/>
              </a:lnSpc>
              <a:spcBef>
                <a:spcPts val="0"/>
              </a:spcBef>
              <a:spcAft>
                <a:spcPts val="0"/>
              </a:spcAft>
              <a:buClrTx/>
              <a:buSzPct val="100000"/>
              <a:buFontTx/>
              <a:buNone/>
              <a:tabLst/>
              <a:defRPr/>
            </a:pPr>
            <a:endParaRPr kumimoji="0" lang="fr-FR" sz="1051" b="0" i="0" u="none" strike="noStrike" kern="1200" cap="none" spc="0" normalizeH="0" baseline="0" noProof="0">
              <a:ln>
                <a:noFill/>
              </a:ln>
              <a:solidFill>
                <a:srgbClr val="404040"/>
              </a:solidFill>
              <a:effectLst/>
              <a:uLnTx/>
              <a:uFillTx/>
              <a:latin typeface="Arial Black" panose="020B0A04020102020204" pitchFamily="34" charset="0"/>
              <a:ea typeface="+mn-ea"/>
              <a:cs typeface="+mn-cs"/>
            </a:endParaRPr>
          </a:p>
        </p:txBody>
      </p:sp>
      <p:cxnSp>
        <p:nvCxnSpPr>
          <p:cNvPr id="49" name="Connecteur droit 48">
            <a:extLst>
              <a:ext uri="{FF2B5EF4-FFF2-40B4-BE49-F238E27FC236}">
                <a16:creationId xmlns:a16="http://schemas.microsoft.com/office/drawing/2014/main" id="{1250E0AD-B7A7-F4A0-B863-50A01C527B80}"/>
              </a:ext>
            </a:extLst>
          </p:cNvPr>
          <p:cNvCxnSpPr>
            <a:cxnSpLocks/>
          </p:cNvCxnSpPr>
          <p:nvPr/>
        </p:nvCxnSpPr>
        <p:spPr>
          <a:xfrm flipH="1">
            <a:off x="8884255" y="4820898"/>
            <a:ext cx="0" cy="46842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D94F6DC9-1210-0954-31CF-8C886AA92838}"/>
              </a:ext>
            </a:extLst>
          </p:cNvPr>
          <p:cNvSpPr/>
          <p:nvPr/>
        </p:nvSpPr>
        <p:spPr>
          <a:xfrm>
            <a:off x="6125271" y="4705213"/>
            <a:ext cx="2758971" cy="699791"/>
          </a:xfrm>
          <a:prstGeom prst="rect">
            <a:avLst/>
          </a:prstGeom>
          <a:noFill/>
          <a:ln>
            <a:solidFill>
              <a:schemeClr val="tx2"/>
            </a:solidFill>
          </a:ln>
        </p:spPr>
        <p:txBody>
          <a:bodyPr wrap="square" anchor="ctr">
            <a:noAutofit/>
          </a:bodyPr>
          <a:lstStyle/>
          <a:p>
            <a:pPr marL="67426" marR="0" lvl="0" algn="l" defTabSz="914400" rtl="0" eaLnBrk="1" fontAlgn="auto" latinLnBrk="0" hangingPunct="1">
              <a:lnSpc>
                <a:spcPct val="100000"/>
              </a:lnSpc>
              <a:spcBef>
                <a:spcPts val="0"/>
              </a:spcBef>
              <a:spcAft>
                <a:spcPts val="0"/>
              </a:spcAft>
              <a:buClr>
                <a:srgbClr val="000000"/>
              </a:buClr>
              <a:buSzPts val="1050"/>
              <a:tabLst/>
              <a:defRPr/>
            </a:pPr>
            <a:r>
              <a:rPr kumimoji="0" lang="fr-FR" sz="1200" b="0" i="0" u="none" strike="noStrike" kern="1200" cap="none" spc="0" normalizeH="0" baseline="0" noProof="0">
                <a:ln>
                  <a:noFill/>
                </a:ln>
                <a:solidFill>
                  <a:srgbClr val="404040"/>
                </a:solidFill>
                <a:effectLst/>
                <a:uLnTx/>
                <a:uFillTx/>
                <a:latin typeface="+mj-lt"/>
                <a:ea typeface="Montserrat"/>
                <a:cs typeface="Montserrat"/>
                <a:sym typeface="Montserrat"/>
              </a:rPr>
              <a:t>1 consultante senior</a:t>
            </a:r>
          </a:p>
        </p:txBody>
      </p:sp>
      <p:sp>
        <p:nvSpPr>
          <p:cNvPr id="51" name="Rectangle 50">
            <a:extLst>
              <a:ext uri="{FF2B5EF4-FFF2-40B4-BE49-F238E27FC236}">
                <a16:creationId xmlns:a16="http://schemas.microsoft.com/office/drawing/2014/main" id="{C7E1A2B9-EE4C-7749-04FA-BF2C7FA2C84D}"/>
              </a:ext>
            </a:extLst>
          </p:cNvPr>
          <p:cNvSpPr/>
          <p:nvPr/>
        </p:nvSpPr>
        <p:spPr>
          <a:xfrm>
            <a:off x="8884242" y="4705213"/>
            <a:ext cx="2758985" cy="699792"/>
          </a:xfrm>
          <a:prstGeom prst="rect">
            <a:avLst/>
          </a:prstGeom>
          <a:noFill/>
          <a:ln>
            <a:solidFill>
              <a:schemeClr val="tx2"/>
            </a:solidFill>
          </a:ln>
        </p:spPr>
        <p:txBody>
          <a:bodyPr wrap="square" anchor="ctr">
            <a:noAutofit/>
          </a:bodyPr>
          <a:lstStyle/>
          <a:p>
            <a:pPr algn="ctr">
              <a:buClrTx/>
            </a:pPr>
            <a:r>
              <a:rPr lang="fr-FR" sz="1200" kern="1200">
                <a:solidFill>
                  <a:schemeClr val="tx1">
                    <a:lumMod val="75000"/>
                    <a:lumOff val="25000"/>
                  </a:schemeClr>
                </a:solidFill>
                <a:highlight>
                  <a:srgbClr val="FFFFFF"/>
                </a:highlight>
                <a:latin typeface="Arial" panose="020B0604020202020204" pitchFamily="34" charset="0"/>
                <a:cs typeface="Arial" panose="020B0604020202020204" pitchFamily="34" charset="0"/>
                <a:sym typeface="Montserrat"/>
              </a:rPr>
              <a:t>Compris dans une mission de  18 mois</a:t>
            </a:r>
          </a:p>
        </p:txBody>
      </p:sp>
      <p:sp>
        <p:nvSpPr>
          <p:cNvPr id="52" name="ZoneTexte 51">
            <a:extLst>
              <a:ext uri="{FF2B5EF4-FFF2-40B4-BE49-F238E27FC236}">
                <a16:creationId xmlns:a16="http://schemas.microsoft.com/office/drawing/2014/main" id="{F0B7785A-F08A-30C2-502C-D4FCC66364A4}"/>
              </a:ext>
            </a:extLst>
          </p:cNvPr>
          <p:cNvSpPr txBox="1"/>
          <p:nvPr/>
        </p:nvSpPr>
        <p:spPr>
          <a:xfrm>
            <a:off x="7824846" y="5752459"/>
            <a:ext cx="3818381" cy="600164"/>
          </a:xfrm>
          <a:prstGeom prst="rect">
            <a:avLst/>
          </a:prstGeom>
          <a:noFill/>
        </p:spPr>
        <p:txBody>
          <a:bodyPr wrap="square">
            <a:spAutoFit/>
          </a:bodyPr>
          <a:lstStyle/>
          <a:p>
            <a:r>
              <a:rPr lang="fr-FR" sz="1100"/>
              <a:t>Contact : Gilles COLIN</a:t>
            </a:r>
          </a:p>
          <a:p>
            <a:r>
              <a:rPr lang="fr-FR" sz="1100"/>
              <a:t>E-mail : </a:t>
            </a:r>
            <a:r>
              <a:rPr lang="fr-FR" sz="1100">
                <a:hlinkClick r:id="rId3"/>
              </a:rPr>
              <a:t>gilles.colin@sncf.fr</a:t>
            </a:r>
            <a:endParaRPr lang="fr-FR" sz="1100"/>
          </a:p>
          <a:p>
            <a:r>
              <a:rPr lang="fr-FR" sz="1100"/>
              <a:t>Téléphone : 06 16 21 35 17</a:t>
            </a:r>
          </a:p>
        </p:txBody>
      </p:sp>
    </p:spTree>
    <p:extLst>
      <p:ext uri="{BB962C8B-B14F-4D97-AF65-F5344CB8AC3E}">
        <p14:creationId xmlns:p14="http://schemas.microsoft.com/office/powerpoint/2010/main" val="4043044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644;p64">
            <a:extLst>
              <a:ext uri="{FF2B5EF4-FFF2-40B4-BE49-F238E27FC236}">
                <a16:creationId xmlns:a16="http://schemas.microsoft.com/office/drawing/2014/main" id="{51A5D56B-DC75-4304-91E8-1A160DBEEB3E}"/>
              </a:ext>
            </a:extLst>
          </p:cNvPr>
          <p:cNvSpPr txBox="1"/>
          <p:nvPr/>
        </p:nvSpPr>
        <p:spPr>
          <a:xfrm>
            <a:off x="521539" y="1602118"/>
            <a:ext cx="4956151" cy="1884573"/>
          </a:xfrm>
          <a:prstGeom prst="rect">
            <a:avLst/>
          </a:prstGeom>
          <a:noFill/>
          <a:ln>
            <a:noFill/>
          </a:ln>
        </p:spPr>
        <p:txBody>
          <a:bodyPr spcFirstLastPara="1" wrap="square" lIns="36000" tIns="36000" rIns="0" bIns="36000" anchor="t" anchorCtr="0">
            <a:noAutofit/>
          </a:bodyPr>
          <a:lstStyle/>
          <a:p>
            <a:pPr marL="0" marR="0" lvl="0" indent="0" algn="just" defTabSz="914400" rtl="0" eaLnBrk="1" fontAlgn="auto" latinLnBrk="0" hangingPunct="1">
              <a:lnSpc>
                <a:spcPct val="100000"/>
              </a:lnSpc>
              <a:spcBef>
                <a:spcPts val="0"/>
              </a:spcBef>
              <a:spcAft>
                <a:spcPts val="0"/>
              </a:spcAft>
              <a:buClrTx/>
              <a:buSzPts val="900"/>
              <a:buFontTx/>
              <a:buNone/>
              <a:tabLst/>
              <a:defRPr/>
            </a:pPr>
            <a:r>
              <a:rPr kumimoji="0" lang="fr-FR"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L’offre IT TFM TUS Convoi ayant atteint un niveau de développement fonctionnel suffisant, elle doit se concrétiser par une phase de déploiement généralisé à l’échelle TFM. </a:t>
            </a:r>
          </a:p>
          <a:p>
            <a:pPr marL="0" marR="0" lvl="0" indent="0" algn="just" defTabSz="914400" rtl="0" eaLnBrk="1" fontAlgn="auto" latinLnBrk="0" hangingPunct="1">
              <a:lnSpc>
                <a:spcPct val="100000"/>
              </a:lnSpc>
              <a:spcBef>
                <a:spcPts val="0"/>
              </a:spcBef>
              <a:spcAft>
                <a:spcPts val="0"/>
              </a:spcAft>
              <a:buClrTx/>
              <a:buSzPts val="900"/>
              <a:buFontTx/>
              <a:buNone/>
              <a:tabLst/>
              <a:defRPr/>
            </a:pPr>
            <a:endParaRPr lang="fr-FR" sz="1200" kern="1200">
              <a:solidFill>
                <a:schemeClr val="tx1">
                  <a:lumMod val="75000"/>
                  <a:lumOff val="25000"/>
                </a:schemeClr>
              </a:solidFill>
              <a:latin typeface="Arial" panose="020B0604020202020204" pitchFamily="34" charset="0"/>
              <a:ea typeface="Montserrat"/>
              <a:cs typeface="Arial" panose="020B0604020202020204" pitchFamily="34" charset="0"/>
              <a:sym typeface="Montserrat"/>
            </a:endParaRPr>
          </a:p>
          <a:p>
            <a:pPr marL="0" marR="0" lvl="0" indent="0" algn="just" defTabSz="914400" rtl="0" eaLnBrk="1" fontAlgn="auto" latinLnBrk="0" hangingPunct="1">
              <a:lnSpc>
                <a:spcPct val="100000"/>
              </a:lnSpc>
              <a:spcBef>
                <a:spcPts val="0"/>
              </a:spcBef>
              <a:spcAft>
                <a:spcPts val="0"/>
              </a:spcAft>
              <a:buClrTx/>
              <a:buSzPts val="900"/>
              <a:buFontTx/>
              <a:buNone/>
              <a:tabLst/>
              <a:defRPr/>
            </a:pPr>
            <a:r>
              <a:rPr kumimoji="0" lang="fr-FR"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Après 2 pilotes (DFCE, SOA) un déploiement généralisé sur une quinzaine d’unité de convoi doit être mené. Le changement d’outil s’accompagne d’une réorganisation métier qui doit être traitée en préparation  du déploiement.</a:t>
            </a:r>
          </a:p>
        </p:txBody>
      </p:sp>
      <p:sp>
        <p:nvSpPr>
          <p:cNvPr id="5" name="Google Shape;645;p64">
            <a:extLst>
              <a:ext uri="{FF2B5EF4-FFF2-40B4-BE49-F238E27FC236}">
                <a16:creationId xmlns:a16="http://schemas.microsoft.com/office/drawing/2014/main" id="{86003A0A-DB97-4C93-A824-76C33B7B9C82}"/>
              </a:ext>
            </a:extLst>
          </p:cNvPr>
          <p:cNvSpPr txBox="1"/>
          <p:nvPr/>
        </p:nvSpPr>
        <p:spPr>
          <a:xfrm>
            <a:off x="521539" y="3679055"/>
            <a:ext cx="4956151" cy="1289018"/>
          </a:xfrm>
          <a:prstGeom prst="rect">
            <a:avLst/>
          </a:prstGeom>
          <a:noFill/>
          <a:ln>
            <a:noFill/>
          </a:ln>
        </p:spPr>
        <p:txBody>
          <a:bodyPr spcFirstLastPara="1" wrap="square" lIns="36000" tIns="36000" rIns="0" bIns="36000" anchor="t" anchorCtr="0">
            <a:noAutofit/>
          </a:bodyPr>
          <a:lstStyle>
            <a:defPPr marR="0" lvl="0" algn="l" rtl="0">
              <a:lnSpc>
                <a:spcPct val="100000"/>
              </a:lnSpc>
              <a:spcBef>
                <a:spcPts val="0"/>
              </a:spcBef>
              <a:spcAft>
                <a:spcPts val="0"/>
              </a:spcAft>
            </a:defPPr>
            <a:lvl1pPr marL="0" indent="0" algn="just" defTabSz="914400" eaLnBrk="1" fontAlgn="auto" latinLnBrk="0" hangingPunct="1">
              <a:buClrTx/>
              <a:buSzPts val="900"/>
              <a:buFontTx/>
              <a:buNone/>
              <a:tabLst/>
              <a:defRPr kumimoji="0" sz="1200" kern="1200" spc="0" normalizeH="0" baseline="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defRPr>
            </a:lvl1pPr>
          </a:lstStyle>
          <a:p>
            <a:pPr>
              <a:buClr>
                <a:schemeClr val="bg2"/>
              </a:buClr>
            </a:pPr>
            <a:r>
              <a:rPr lang="fr-FR">
                <a:sym typeface="Montserrat"/>
              </a:rPr>
              <a:t>Assurer la formation des utilisateurs</a:t>
            </a:r>
          </a:p>
          <a:p>
            <a:pPr>
              <a:buClr>
                <a:schemeClr val="bg2"/>
              </a:buClr>
            </a:pPr>
            <a:endParaRPr lang="fr-FR">
              <a:sym typeface="Montserrat"/>
            </a:endParaRPr>
          </a:p>
          <a:p>
            <a:pPr>
              <a:buClr>
                <a:schemeClr val="bg2"/>
              </a:buClr>
            </a:pPr>
            <a:r>
              <a:rPr lang="fr-FR">
                <a:sym typeface="Montserrat"/>
              </a:rPr>
              <a:t>Structurer / Définir la trame du déploiement afin de pouvoir l’appliquer / l’industrialiser sur l’intégralité du périmètre TFM</a:t>
            </a:r>
          </a:p>
          <a:p>
            <a:pPr marL="171450" indent="-171450">
              <a:buClr>
                <a:schemeClr val="bg2"/>
              </a:buClr>
              <a:buFont typeface="Arial" panose="020B0604020202020204" pitchFamily="34" charset="0"/>
              <a:buChar char="•"/>
            </a:pPr>
            <a:r>
              <a:rPr lang="fr-FR">
                <a:sym typeface="Montserrat"/>
              </a:rPr>
              <a:t>Support documentaire, planning de référence, atelier type</a:t>
            </a:r>
          </a:p>
          <a:p>
            <a:pPr>
              <a:buClr>
                <a:schemeClr val="bg2"/>
              </a:buClr>
            </a:pPr>
            <a:endParaRPr lang="fr-FR">
              <a:sym typeface="Montserrat"/>
            </a:endParaRPr>
          </a:p>
          <a:p>
            <a:pPr>
              <a:buClr>
                <a:schemeClr val="bg2"/>
              </a:buClr>
            </a:pPr>
            <a:r>
              <a:rPr lang="fr-FR">
                <a:sym typeface="Montserrat"/>
              </a:rPr>
              <a:t>Mettre en place d’une équipe de déploiement renforcée composée binômes Talan/Expert métiers</a:t>
            </a:r>
          </a:p>
          <a:p>
            <a:pPr marL="171450" indent="-171450">
              <a:buClr>
                <a:schemeClr val="bg2"/>
              </a:buClr>
              <a:buFont typeface="Arial" panose="020B0604020202020204" pitchFamily="34" charset="0"/>
              <a:buChar char="•"/>
            </a:pPr>
            <a:r>
              <a:rPr lang="fr-FR">
                <a:sym typeface="Montserrat"/>
              </a:rPr>
              <a:t>Montée en compétence du binôme de déploiement</a:t>
            </a:r>
          </a:p>
          <a:p>
            <a:pPr marL="171450" indent="-171450">
              <a:buClr>
                <a:schemeClr val="bg2"/>
              </a:buClr>
              <a:buFont typeface="Arial" panose="020B0604020202020204" pitchFamily="34" charset="0"/>
              <a:buChar char="•"/>
            </a:pPr>
            <a:r>
              <a:rPr lang="fr-FR">
                <a:sym typeface="Montserrat"/>
              </a:rPr>
              <a:t>Familiarisation avec le kit de déploiement</a:t>
            </a:r>
          </a:p>
          <a:p>
            <a:pPr marL="171450" indent="-171450">
              <a:buClr>
                <a:schemeClr val="bg2"/>
              </a:buClr>
              <a:buFont typeface="Arial" panose="020B0604020202020204" pitchFamily="34" charset="0"/>
              <a:buChar char="•"/>
            </a:pPr>
            <a:r>
              <a:rPr lang="fr-FR">
                <a:sym typeface="Montserrat"/>
              </a:rPr>
              <a:t>Mise en œuvre sur site</a:t>
            </a:r>
          </a:p>
          <a:p>
            <a:pPr marL="171450" indent="-171450">
              <a:buClr>
                <a:schemeClr val="bg2"/>
              </a:buClr>
              <a:buFont typeface="Arial" panose="020B0604020202020204" pitchFamily="34" charset="0"/>
              <a:buChar char="•"/>
            </a:pPr>
            <a:r>
              <a:rPr lang="fr-FR">
                <a:sym typeface="Montserrat"/>
              </a:rPr>
              <a:t>Assurer le lien  utilisateur/équipe SI</a:t>
            </a:r>
          </a:p>
          <a:p>
            <a:pPr marL="171450" indent="-171450">
              <a:buClr>
                <a:schemeClr val="bg2"/>
              </a:buClr>
              <a:buFont typeface="Arial" panose="020B0604020202020204" pitchFamily="34" charset="0"/>
              <a:buChar char="•"/>
            </a:pPr>
            <a:r>
              <a:rPr lang="fr-FR">
                <a:sym typeface="Montserrat"/>
              </a:rPr>
              <a:t>Structurer le REX et MAJ de la documentation métier</a:t>
            </a:r>
          </a:p>
        </p:txBody>
      </p:sp>
      <p:sp>
        <p:nvSpPr>
          <p:cNvPr id="8" name="Google Shape;644;p64">
            <a:extLst>
              <a:ext uri="{FF2B5EF4-FFF2-40B4-BE49-F238E27FC236}">
                <a16:creationId xmlns:a16="http://schemas.microsoft.com/office/drawing/2014/main" id="{40FDCFEB-94C1-4364-8A24-8CF1F4E5ACD6}"/>
              </a:ext>
            </a:extLst>
          </p:cNvPr>
          <p:cNvSpPr txBox="1"/>
          <p:nvPr/>
        </p:nvSpPr>
        <p:spPr>
          <a:xfrm>
            <a:off x="6125271" y="1583373"/>
            <a:ext cx="5517967" cy="2200765"/>
          </a:xfrm>
          <a:prstGeom prst="rect">
            <a:avLst/>
          </a:prstGeom>
          <a:noFill/>
          <a:ln>
            <a:noFill/>
          </a:ln>
        </p:spPr>
        <p:txBody>
          <a:bodyPr spcFirstLastPara="1" wrap="square" lIns="36000" tIns="36000" rIns="0" bIns="36000" anchor="t" anchorCtr="0">
            <a:noAutofit/>
          </a:bodyPr>
          <a:lstStyle>
            <a:defPPr marR="0" lvl="0" algn="l" rtl="0">
              <a:lnSpc>
                <a:spcPct val="100000"/>
              </a:lnSpc>
              <a:spcBef>
                <a:spcPts val="0"/>
              </a:spcBef>
              <a:spcAft>
                <a:spcPts val="0"/>
              </a:spcAft>
            </a:defPPr>
            <a:lvl1pPr marL="0" indent="0" algn="just" defTabSz="914400" eaLnBrk="1" fontAlgn="auto" latinLnBrk="0" hangingPunct="1">
              <a:buClrTx/>
              <a:buSzPts val="900"/>
              <a:buFontTx/>
              <a:buNone/>
              <a:tabLst/>
              <a:defRPr kumimoji="0" sz="1200" kern="1200" spc="0" normalizeH="0" baseline="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defRPr>
            </a:lvl1pPr>
          </a:lstStyle>
          <a:p>
            <a:pPr>
              <a:buClr>
                <a:schemeClr val="bg2"/>
              </a:buClr>
            </a:pPr>
            <a:r>
              <a:rPr lang="fr-FR">
                <a:sym typeface="Montserrat"/>
              </a:rPr>
              <a:t>Assurer l’accompagnement métier associé au changement et réussir le déploiement sur un planning réduit</a:t>
            </a:r>
          </a:p>
          <a:p>
            <a:pPr marL="171450" indent="-171450">
              <a:buClr>
                <a:schemeClr val="bg2"/>
              </a:buClr>
              <a:buFont typeface="Arial" panose="020B0604020202020204" pitchFamily="34" charset="0"/>
              <a:buChar char="•"/>
            </a:pPr>
            <a:r>
              <a:rPr lang="fr-FR">
                <a:sym typeface="Montserrat"/>
              </a:rPr>
              <a:t>Faire adhérer les futurs utilisateurs au nouvel outil</a:t>
            </a:r>
          </a:p>
          <a:p>
            <a:pPr marL="171450" indent="-171450">
              <a:buClr>
                <a:schemeClr val="bg2"/>
              </a:buClr>
              <a:buFont typeface="Arial" panose="020B0604020202020204" pitchFamily="34" charset="0"/>
              <a:buChar char="•"/>
            </a:pPr>
            <a:r>
              <a:rPr lang="fr-FR">
                <a:sym typeface="Montserrat"/>
              </a:rPr>
              <a:t>Assurer la réalisation complète du déploiement dans un planning particulièrement serré</a:t>
            </a:r>
          </a:p>
          <a:p>
            <a:pPr marL="171450" indent="-171450">
              <a:buClr>
                <a:schemeClr val="bg2"/>
              </a:buClr>
              <a:buFont typeface="Arial" panose="020B0604020202020204" pitchFamily="34" charset="0"/>
              <a:buChar char="•"/>
            </a:pPr>
            <a:r>
              <a:rPr lang="fr-FR">
                <a:sym typeface="Montserrat"/>
              </a:rPr>
              <a:t>Permettre l’arrêt des applications historiques reprises par RUS Convoi</a:t>
            </a:r>
          </a:p>
        </p:txBody>
      </p:sp>
      <p:sp>
        <p:nvSpPr>
          <p:cNvPr id="13" name="ListLeanHorizontalTextDetail1">
            <a:extLst>
              <a:ext uri="{FF2B5EF4-FFF2-40B4-BE49-F238E27FC236}">
                <a16:creationId xmlns:a16="http://schemas.microsoft.com/office/drawing/2014/main" id="{2D8B0E4F-32EA-4629-9D69-E3E324F9CC73}"/>
              </a:ext>
            </a:extLst>
          </p:cNvPr>
          <p:cNvSpPr txBox="1">
            <a:spLocks/>
          </p:cNvSpPr>
          <p:nvPr/>
        </p:nvSpPr>
        <p:spPr>
          <a:xfrm>
            <a:off x="846763" y="1243525"/>
            <a:ext cx="4354776" cy="226259"/>
          </a:xfrm>
          <a:prstGeom prst="rect">
            <a:avLst/>
          </a:prstGeom>
          <a:noFill/>
          <a:ln w="12700">
            <a:noFill/>
          </a:ln>
        </p:spPr>
        <p:txBody>
          <a:bodyPr wrap="square" lIns="0" tIns="0" rIns="0" bIns="0" anchor="ctr" anchorCtr="0">
            <a:noAutofit/>
          </a:bodyPr>
          <a:lstStyle/>
          <a:p>
            <a:pPr marL="95250" marR="0" lvl="3" indent="0" algn="l" defTabSz="360363" rtl="0" eaLnBrk="1" fontAlgn="auto" latinLnBrk="0" hangingPunct="1">
              <a:lnSpc>
                <a:spcPct val="100000"/>
              </a:lnSpc>
              <a:spcBef>
                <a:spcPts val="600"/>
              </a:spcBef>
              <a:spcAft>
                <a:spcPts val="0"/>
              </a:spcAft>
              <a:buClr>
                <a:srgbClr val="0070C0"/>
              </a:buClr>
              <a:buSzPct val="100000"/>
              <a:buFontTx/>
              <a:buNone/>
              <a:tabLst/>
              <a:defRPr/>
            </a:pPr>
            <a:r>
              <a:rPr kumimoji="0" lang="fr-FR" sz="1400" b="1" i="0" u="none" strike="noStrike" kern="1200" cap="none" spc="0" normalizeH="0" baseline="0" noProof="0">
                <a:ln>
                  <a:noFill/>
                </a:ln>
                <a:solidFill>
                  <a:schemeClr val="accent1"/>
                </a:solidFill>
                <a:effectLst/>
                <a:uLnTx/>
                <a:uFillTx/>
                <a:latin typeface="Arial" panose="020B0604020202020204" pitchFamily="34" charset="0"/>
                <a:ea typeface="Calibri" charset="0"/>
                <a:cs typeface="Arial" panose="020B0604020202020204" pitchFamily="34" charset="0"/>
              </a:rPr>
              <a:t>Contexte</a:t>
            </a:r>
          </a:p>
        </p:txBody>
      </p:sp>
      <p:cxnSp>
        <p:nvCxnSpPr>
          <p:cNvPr id="14" name="Connecteur droit 13">
            <a:extLst>
              <a:ext uri="{FF2B5EF4-FFF2-40B4-BE49-F238E27FC236}">
                <a16:creationId xmlns:a16="http://schemas.microsoft.com/office/drawing/2014/main" id="{094F96C2-6152-4392-81B8-6B832186751A}"/>
              </a:ext>
            </a:extLst>
          </p:cNvPr>
          <p:cNvCxnSpPr>
            <a:cxnSpLocks/>
          </p:cNvCxnSpPr>
          <p:nvPr/>
        </p:nvCxnSpPr>
        <p:spPr>
          <a:xfrm flipH="1">
            <a:off x="521539" y="1562142"/>
            <a:ext cx="4956151"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grpSp>
        <p:nvGrpSpPr>
          <p:cNvPr id="15" name="Shape 426">
            <a:extLst>
              <a:ext uri="{FF2B5EF4-FFF2-40B4-BE49-F238E27FC236}">
                <a16:creationId xmlns:a16="http://schemas.microsoft.com/office/drawing/2014/main" id="{2FA91D2C-216A-4302-91C3-A236EBBBA892}"/>
              </a:ext>
            </a:extLst>
          </p:cNvPr>
          <p:cNvGrpSpPr/>
          <p:nvPr/>
        </p:nvGrpSpPr>
        <p:grpSpPr>
          <a:xfrm>
            <a:off x="521539" y="1194619"/>
            <a:ext cx="325224" cy="285971"/>
            <a:chOff x="1929775" y="320925"/>
            <a:chExt cx="423800" cy="372650"/>
          </a:xfrm>
        </p:grpSpPr>
        <p:sp>
          <p:nvSpPr>
            <p:cNvPr id="16" name="Shape 427">
              <a:extLst>
                <a:ext uri="{FF2B5EF4-FFF2-40B4-BE49-F238E27FC236}">
                  <a16:creationId xmlns:a16="http://schemas.microsoft.com/office/drawing/2014/main" id="{41097AC4-31B4-4C57-8E7C-DDCBE4CF5BEB}"/>
                </a:ext>
              </a:extLst>
            </p:cNvPr>
            <p:cNvSpPr/>
            <p:nvPr/>
          </p:nvSpPr>
          <p:spPr>
            <a:xfrm>
              <a:off x="1929775" y="320925"/>
              <a:ext cx="423800" cy="372650"/>
            </a:xfrm>
            <a:custGeom>
              <a:avLst/>
              <a:gdLst/>
              <a:ahLst/>
              <a:cxnLst/>
              <a:rect l="0" t="0" r="0" b="0"/>
              <a:pathLst>
                <a:path w="16952" h="14906" fill="none" extrusionOk="0">
                  <a:moveTo>
                    <a:pt x="16172" y="0"/>
                  </a:moveTo>
                  <a:lnTo>
                    <a:pt x="780" y="0"/>
                  </a:lnTo>
                  <a:lnTo>
                    <a:pt x="780" y="0"/>
                  </a:lnTo>
                  <a:lnTo>
                    <a:pt x="634" y="25"/>
                  </a:lnTo>
                  <a:lnTo>
                    <a:pt x="488" y="73"/>
                  </a:lnTo>
                  <a:lnTo>
                    <a:pt x="341" y="146"/>
                  </a:lnTo>
                  <a:lnTo>
                    <a:pt x="220" y="244"/>
                  </a:lnTo>
                  <a:lnTo>
                    <a:pt x="122" y="341"/>
                  </a:lnTo>
                  <a:lnTo>
                    <a:pt x="74" y="487"/>
                  </a:lnTo>
                  <a:lnTo>
                    <a:pt x="25" y="634"/>
                  </a:lnTo>
                  <a:lnTo>
                    <a:pt x="0" y="780"/>
                  </a:lnTo>
                  <a:lnTo>
                    <a:pt x="0" y="14126"/>
                  </a:lnTo>
                  <a:lnTo>
                    <a:pt x="0" y="14126"/>
                  </a:lnTo>
                  <a:lnTo>
                    <a:pt x="25" y="14272"/>
                  </a:lnTo>
                  <a:lnTo>
                    <a:pt x="74" y="14418"/>
                  </a:lnTo>
                  <a:lnTo>
                    <a:pt x="122" y="14565"/>
                  </a:lnTo>
                  <a:lnTo>
                    <a:pt x="220" y="14662"/>
                  </a:lnTo>
                  <a:lnTo>
                    <a:pt x="341" y="14759"/>
                  </a:lnTo>
                  <a:lnTo>
                    <a:pt x="488" y="14832"/>
                  </a:lnTo>
                  <a:lnTo>
                    <a:pt x="634" y="14881"/>
                  </a:lnTo>
                  <a:lnTo>
                    <a:pt x="780" y="14906"/>
                  </a:lnTo>
                  <a:lnTo>
                    <a:pt x="16172" y="14906"/>
                  </a:lnTo>
                  <a:lnTo>
                    <a:pt x="16172" y="14906"/>
                  </a:lnTo>
                  <a:lnTo>
                    <a:pt x="16318" y="14881"/>
                  </a:lnTo>
                  <a:lnTo>
                    <a:pt x="16464" y="14832"/>
                  </a:lnTo>
                  <a:lnTo>
                    <a:pt x="16611" y="14759"/>
                  </a:lnTo>
                  <a:lnTo>
                    <a:pt x="16732" y="14662"/>
                  </a:lnTo>
                  <a:lnTo>
                    <a:pt x="16830" y="14565"/>
                  </a:lnTo>
                  <a:lnTo>
                    <a:pt x="16878" y="14418"/>
                  </a:lnTo>
                  <a:lnTo>
                    <a:pt x="16927" y="14272"/>
                  </a:lnTo>
                  <a:lnTo>
                    <a:pt x="16952" y="14126"/>
                  </a:lnTo>
                  <a:lnTo>
                    <a:pt x="16952" y="780"/>
                  </a:lnTo>
                  <a:lnTo>
                    <a:pt x="16952" y="780"/>
                  </a:lnTo>
                  <a:lnTo>
                    <a:pt x="16927" y="634"/>
                  </a:lnTo>
                  <a:lnTo>
                    <a:pt x="16878" y="487"/>
                  </a:lnTo>
                  <a:lnTo>
                    <a:pt x="16830" y="341"/>
                  </a:lnTo>
                  <a:lnTo>
                    <a:pt x="16732" y="244"/>
                  </a:lnTo>
                  <a:lnTo>
                    <a:pt x="16611" y="146"/>
                  </a:lnTo>
                  <a:lnTo>
                    <a:pt x="16464" y="73"/>
                  </a:lnTo>
                  <a:lnTo>
                    <a:pt x="16318" y="25"/>
                  </a:lnTo>
                  <a:lnTo>
                    <a:pt x="16172" y="0"/>
                  </a:lnTo>
                  <a:lnTo>
                    <a:pt x="16172" y="0"/>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17" name="Shape 428">
              <a:extLst>
                <a:ext uri="{FF2B5EF4-FFF2-40B4-BE49-F238E27FC236}">
                  <a16:creationId xmlns:a16="http://schemas.microsoft.com/office/drawing/2014/main" id="{FD436F0F-4D39-4FFA-8948-3AF7E449496F}"/>
                </a:ext>
              </a:extLst>
            </p:cNvPr>
            <p:cNvSpPr/>
            <p:nvPr/>
          </p:nvSpPr>
          <p:spPr>
            <a:xfrm>
              <a:off x="1954125" y="345275"/>
              <a:ext cx="375100" cy="323950"/>
            </a:xfrm>
            <a:custGeom>
              <a:avLst/>
              <a:gdLst/>
              <a:ahLst/>
              <a:cxnLst/>
              <a:rect l="0" t="0" r="0" b="0"/>
              <a:pathLst>
                <a:path w="15004" h="12958" fill="none" extrusionOk="0">
                  <a:moveTo>
                    <a:pt x="15003" y="12957"/>
                  </a:moveTo>
                  <a:lnTo>
                    <a:pt x="1" y="12957"/>
                  </a:lnTo>
                  <a:lnTo>
                    <a:pt x="1" y="0"/>
                  </a:lnTo>
                  <a:lnTo>
                    <a:pt x="15003" y="0"/>
                  </a:lnTo>
                  <a:lnTo>
                    <a:pt x="15003" y="12957"/>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18" name="Shape 429">
              <a:extLst>
                <a:ext uri="{FF2B5EF4-FFF2-40B4-BE49-F238E27FC236}">
                  <a16:creationId xmlns:a16="http://schemas.microsoft.com/office/drawing/2014/main" id="{AAA16E06-E8CA-4AAA-BEE6-779F46F77F52}"/>
                </a:ext>
              </a:extLst>
            </p:cNvPr>
            <p:cNvSpPr/>
            <p:nvPr/>
          </p:nvSpPr>
          <p:spPr>
            <a:xfrm>
              <a:off x="2162375" y="534625"/>
              <a:ext cx="146750" cy="113275"/>
            </a:xfrm>
            <a:custGeom>
              <a:avLst/>
              <a:gdLst/>
              <a:ahLst/>
              <a:cxnLst/>
              <a:rect l="0" t="0" r="0" b="0"/>
              <a:pathLst>
                <a:path w="5870" h="4531" fill="none" extrusionOk="0">
                  <a:moveTo>
                    <a:pt x="0" y="2266"/>
                  </a:moveTo>
                  <a:lnTo>
                    <a:pt x="1534" y="244"/>
                  </a:lnTo>
                  <a:lnTo>
                    <a:pt x="1534" y="244"/>
                  </a:lnTo>
                  <a:lnTo>
                    <a:pt x="1632" y="147"/>
                  </a:lnTo>
                  <a:lnTo>
                    <a:pt x="1754" y="50"/>
                  </a:lnTo>
                  <a:lnTo>
                    <a:pt x="1875" y="1"/>
                  </a:lnTo>
                  <a:lnTo>
                    <a:pt x="2022" y="1"/>
                  </a:lnTo>
                  <a:lnTo>
                    <a:pt x="2143" y="1"/>
                  </a:lnTo>
                  <a:lnTo>
                    <a:pt x="2289" y="50"/>
                  </a:lnTo>
                  <a:lnTo>
                    <a:pt x="2411" y="147"/>
                  </a:lnTo>
                  <a:lnTo>
                    <a:pt x="2509" y="244"/>
                  </a:lnTo>
                  <a:lnTo>
                    <a:pt x="5870" y="4531"/>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19" name="Shape 430">
              <a:extLst>
                <a:ext uri="{FF2B5EF4-FFF2-40B4-BE49-F238E27FC236}">
                  <a16:creationId xmlns:a16="http://schemas.microsoft.com/office/drawing/2014/main" id="{D5731BAA-A2E3-4D74-B9B3-C849DB70F84E}"/>
                </a:ext>
              </a:extLst>
            </p:cNvPr>
            <p:cNvSpPr/>
            <p:nvPr/>
          </p:nvSpPr>
          <p:spPr>
            <a:xfrm>
              <a:off x="1974225" y="468875"/>
              <a:ext cx="232600" cy="179025"/>
            </a:xfrm>
            <a:custGeom>
              <a:avLst/>
              <a:gdLst/>
              <a:ahLst/>
              <a:cxnLst/>
              <a:rect l="0" t="0" r="0" b="0"/>
              <a:pathLst>
                <a:path w="9304" h="7161" fill="none" extrusionOk="0">
                  <a:moveTo>
                    <a:pt x="0" y="3995"/>
                  </a:moveTo>
                  <a:lnTo>
                    <a:pt x="2923" y="244"/>
                  </a:lnTo>
                  <a:lnTo>
                    <a:pt x="2923" y="244"/>
                  </a:lnTo>
                  <a:lnTo>
                    <a:pt x="3020" y="147"/>
                  </a:lnTo>
                  <a:lnTo>
                    <a:pt x="3142" y="49"/>
                  </a:lnTo>
                  <a:lnTo>
                    <a:pt x="3264" y="1"/>
                  </a:lnTo>
                  <a:lnTo>
                    <a:pt x="3410" y="1"/>
                  </a:lnTo>
                  <a:lnTo>
                    <a:pt x="3532" y="1"/>
                  </a:lnTo>
                  <a:lnTo>
                    <a:pt x="3678" y="49"/>
                  </a:lnTo>
                  <a:lnTo>
                    <a:pt x="3800" y="147"/>
                  </a:lnTo>
                  <a:lnTo>
                    <a:pt x="3897" y="244"/>
                  </a:lnTo>
                  <a:lnTo>
                    <a:pt x="9304" y="7161"/>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20" name="Shape 431">
              <a:extLst>
                <a:ext uri="{FF2B5EF4-FFF2-40B4-BE49-F238E27FC236}">
                  <a16:creationId xmlns:a16="http://schemas.microsoft.com/office/drawing/2014/main" id="{E38287D1-E776-4B16-9875-0AF7341FCCF7}"/>
                </a:ext>
              </a:extLst>
            </p:cNvPr>
            <p:cNvSpPr/>
            <p:nvPr/>
          </p:nvSpPr>
          <p:spPr>
            <a:xfrm>
              <a:off x="2169675" y="396425"/>
              <a:ext cx="97450" cy="97450"/>
            </a:xfrm>
            <a:custGeom>
              <a:avLst/>
              <a:gdLst/>
              <a:ahLst/>
              <a:cxnLst/>
              <a:rect l="0" t="0" r="0" b="0"/>
              <a:pathLst>
                <a:path w="3898" h="3898" fill="none" extrusionOk="0">
                  <a:moveTo>
                    <a:pt x="1949" y="3897"/>
                  </a:moveTo>
                  <a:lnTo>
                    <a:pt x="1949" y="3897"/>
                  </a:lnTo>
                  <a:lnTo>
                    <a:pt x="1754" y="3897"/>
                  </a:lnTo>
                  <a:lnTo>
                    <a:pt x="1559" y="3873"/>
                  </a:lnTo>
                  <a:lnTo>
                    <a:pt x="1364" y="3824"/>
                  </a:lnTo>
                  <a:lnTo>
                    <a:pt x="1194" y="3751"/>
                  </a:lnTo>
                  <a:lnTo>
                    <a:pt x="1023" y="3678"/>
                  </a:lnTo>
                  <a:lnTo>
                    <a:pt x="853" y="3580"/>
                  </a:lnTo>
                  <a:lnTo>
                    <a:pt x="707" y="3459"/>
                  </a:lnTo>
                  <a:lnTo>
                    <a:pt x="560" y="3337"/>
                  </a:lnTo>
                  <a:lnTo>
                    <a:pt x="439" y="3191"/>
                  </a:lnTo>
                  <a:lnTo>
                    <a:pt x="317" y="3045"/>
                  </a:lnTo>
                  <a:lnTo>
                    <a:pt x="220" y="2874"/>
                  </a:lnTo>
                  <a:lnTo>
                    <a:pt x="146" y="2704"/>
                  </a:lnTo>
                  <a:lnTo>
                    <a:pt x="73" y="2533"/>
                  </a:lnTo>
                  <a:lnTo>
                    <a:pt x="25" y="2338"/>
                  </a:lnTo>
                  <a:lnTo>
                    <a:pt x="0" y="2168"/>
                  </a:lnTo>
                  <a:lnTo>
                    <a:pt x="0" y="1949"/>
                  </a:lnTo>
                  <a:lnTo>
                    <a:pt x="0" y="1949"/>
                  </a:lnTo>
                  <a:lnTo>
                    <a:pt x="0" y="1754"/>
                  </a:lnTo>
                  <a:lnTo>
                    <a:pt x="25" y="1559"/>
                  </a:lnTo>
                  <a:lnTo>
                    <a:pt x="73" y="1389"/>
                  </a:lnTo>
                  <a:lnTo>
                    <a:pt x="146" y="1194"/>
                  </a:lnTo>
                  <a:lnTo>
                    <a:pt x="220" y="1023"/>
                  </a:lnTo>
                  <a:lnTo>
                    <a:pt x="317" y="877"/>
                  </a:lnTo>
                  <a:lnTo>
                    <a:pt x="439" y="707"/>
                  </a:lnTo>
                  <a:lnTo>
                    <a:pt x="560" y="585"/>
                  </a:lnTo>
                  <a:lnTo>
                    <a:pt x="707" y="463"/>
                  </a:lnTo>
                  <a:lnTo>
                    <a:pt x="853" y="341"/>
                  </a:lnTo>
                  <a:lnTo>
                    <a:pt x="1023" y="244"/>
                  </a:lnTo>
                  <a:lnTo>
                    <a:pt x="1194" y="171"/>
                  </a:lnTo>
                  <a:lnTo>
                    <a:pt x="1364" y="98"/>
                  </a:lnTo>
                  <a:lnTo>
                    <a:pt x="1559" y="49"/>
                  </a:lnTo>
                  <a:lnTo>
                    <a:pt x="1754" y="25"/>
                  </a:lnTo>
                  <a:lnTo>
                    <a:pt x="1949" y="0"/>
                  </a:lnTo>
                  <a:lnTo>
                    <a:pt x="1949" y="0"/>
                  </a:lnTo>
                  <a:lnTo>
                    <a:pt x="2144" y="25"/>
                  </a:lnTo>
                  <a:lnTo>
                    <a:pt x="2338" y="49"/>
                  </a:lnTo>
                  <a:lnTo>
                    <a:pt x="2533" y="98"/>
                  </a:lnTo>
                  <a:lnTo>
                    <a:pt x="2704" y="171"/>
                  </a:lnTo>
                  <a:lnTo>
                    <a:pt x="2874" y="244"/>
                  </a:lnTo>
                  <a:lnTo>
                    <a:pt x="3020" y="341"/>
                  </a:lnTo>
                  <a:lnTo>
                    <a:pt x="3191" y="463"/>
                  </a:lnTo>
                  <a:lnTo>
                    <a:pt x="3313" y="585"/>
                  </a:lnTo>
                  <a:lnTo>
                    <a:pt x="3459" y="707"/>
                  </a:lnTo>
                  <a:lnTo>
                    <a:pt x="3556" y="877"/>
                  </a:lnTo>
                  <a:lnTo>
                    <a:pt x="3654" y="1023"/>
                  </a:lnTo>
                  <a:lnTo>
                    <a:pt x="3727" y="1194"/>
                  </a:lnTo>
                  <a:lnTo>
                    <a:pt x="3800" y="1389"/>
                  </a:lnTo>
                  <a:lnTo>
                    <a:pt x="3848" y="1559"/>
                  </a:lnTo>
                  <a:lnTo>
                    <a:pt x="3873" y="1754"/>
                  </a:lnTo>
                  <a:lnTo>
                    <a:pt x="3897" y="1949"/>
                  </a:lnTo>
                  <a:lnTo>
                    <a:pt x="3897" y="1949"/>
                  </a:lnTo>
                  <a:lnTo>
                    <a:pt x="3873" y="2168"/>
                  </a:lnTo>
                  <a:lnTo>
                    <a:pt x="3848" y="2338"/>
                  </a:lnTo>
                  <a:lnTo>
                    <a:pt x="3800" y="2533"/>
                  </a:lnTo>
                  <a:lnTo>
                    <a:pt x="3727" y="2704"/>
                  </a:lnTo>
                  <a:lnTo>
                    <a:pt x="3654" y="2874"/>
                  </a:lnTo>
                  <a:lnTo>
                    <a:pt x="3556" y="3045"/>
                  </a:lnTo>
                  <a:lnTo>
                    <a:pt x="3459" y="3191"/>
                  </a:lnTo>
                  <a:lnTo>
                    <a:pt x="3313" y="3337"/>
                  </a:lnTo>
                  <a:lnTo>
                    <a:pt x="3191" y="3459"/>
                  </a:lnTo>
                  <a:lnTo>
                    <a:pt x="3020" y="3580"/>
                  </a:lnTo>
                  <a:lnTo>
                    <a:pt x="2874" y="3678"/>
                  </a:lnTo>
                  <a:lnTo>
                    <a:pt x="2704" y="3751"/>
                  </a:lnTo>
                  <a:lnTo>
                    <a:pt x="2533" y="3824"/>
                  </a:lnTo>
                  <a:lnTo>
                    <a:pt x="2338" y="3873"/>
                  </a:lnTo>
                  <a:lnTo>
                    <a:pt x="2144" y="3897"/>
                  </a:lnTo>
                  <a:lnTo>
                    <a:pt x="1949" y="3897"/>
                  </a:lnTo>
                  <a:lnTo>
                    <a:pt x="1949" y="3897"/>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grpSp>
      <p:sp>
        <p:nvSpPr>
          <p:cNvPr id="21" name="ListLeanHorizontalTextDetail1">
            <a:extLst>
              <a:ext uri="{FF2B5EF4-FFF2-40B4-BE49-F238E27FC236}">
                <a16:creationId xmlns:a16="http://schemas.microsoft.com/office/drawing/2014/main" id="{1D3EA3B3-0152-49A7-B342-314106F9328B}"/>
              </a:ext>
            </a:extLst>
          </p:cNvPr>
          <p:cNvSpPr txBox="1">
            <a:spLocks/>
          </p:cNvSpPr>
          <p:nvPr/>
        </p:nvSpPr>
        <p:spPr>
          <a:xfrm>
            <a:off x="846763" y="3336318"/>
            <a:ext cx="4354776" cy="223918"/>
          </a:xfrm>
          <a:prstGeom prst="rect">
            <a:avLst/>
          </a:prstGeom>
          <a:noFill/>
          <a:ln w="12700">
            <a:noFill/>
          </a:ln>
        </p:spPr>
        <p:txBody>
          <a:bodyPr wrap="square" lIns="0" tIns="0" rIns="0" bIns="0" anchor="ctr" anchorCtr="0">
            <a:noAutofit/>
          </a:bodyPr>
          <a:lstStyle>
            <a:defPPr marR="0" lvl="0" algn="l" rtl="0">
              <a:lnSpc>
                <a:spcPct val="100000"/>
              </a:lnSpc>
              <a:spcBef>
                <a:spcPts val="0"/>
              </a:spcBef>
              <a:spcAft>
                <a:spcPts val="0"/>
              </a:spcAft>
            </a:defPPr>
            <a:lvl4pPr marL="95250" indent="0" defTabSz="360363" eaLnBrk="1" fontAlgn="auto" latinLnBrk="0" hangingPunct="1">
              <a:spcBef>
                <a:spcPts val="600"/>
              </a:spcBef>
              <a:buClr>
                <a:srgbClr val="0070C0"/>
              </a:buClr>
              <a:buSzPct val="100000"/>
              <a:buFontTx/>
              <a:buNone/>
              <a:tabLst/>
              <a:defRPr kumimoji="0" b="1" kern="1200" spc="0" normalizeH="0" baseline="0">
                <a:ln>
                  <a:noFill/>
                </a:ln>
                <a:solidFill>
                  <a:schemeClr val="bg2">
                    <a:lumMod val="60000"/>
                    <a:lumOff val="40000"/>
                  </a:schemeClr>
                </a:solidFill>
                <a:effectLst/>
                <a:uLnTx/>
                <a:uFillTx/>
                <a:latin typeface="Arial" panose="020B0604020202020204" pitchFamily="34" charset="0"/>
                <a:ea typeface="Calibri" charset="0"/>
                <a:cs typeface="Arial" panose="020B0604020202020204" pitchFamily="34" charset="0"/>
              </a:defRPr>
            </a:lvl4pPr>
          </a:lstStyle>
          <a:p>
            <a:pPr lvl="3"/>
            <a:r>
              <a:rPr lang="fr-FR">
                <a:solidFill>
                  <a:schemeClr val="accent1"/>
                </a:solidFill>
              </a:rPr>
              <a:t>Méthodologie et apports Talan Consulting</a:t>
            </a:r>
          </a:p>
        </p:txBody>
      </p:sp>
      <p:grpSp>
        <p:nvGrpSpPr>
          <p:cNvPr id="22" name="Shape 434">
            <a:extLst>
              <a:ext uri="{FF2B5EF4-FFF2-40B4-BE49-F238E27FC236}">
                <a16:creationId xmlns:a16="http://schemas.microsoft.com/office/drawing/2014/main" id="{C8D42E14-7E5F-488E-B43D-EED9604FB1F6}"/>
              </a:ext>
            </a:extLst>
          </p:cNvPr>
          <p:cNvGrpSpPr/>
          <p:nvPr/>
        </p:nvGrpSpPr>
        <p:grpSpPr>
          <a:xfrm>
            <a:off x="521539" y="3252327"/>
            <a:ext cx="270150" cy="307907"/>
            <a:chOff x="4630125" y="278900"/>
            <a:chExt cx="400675" cy="456675"/>
          </a:xfrm>
        </p:grpSpPr>
        <p:sp>
          <p:nvSpPr>
            <p:cNvPr id="23" name="Shape 435">
              <a:extLst>
                <a:ext uri="{FF2B5EF4-FFF2-40B4-BE49-F238E27FC236}">
                  <a16:creationId xmlns:a16="http://schemas.microsoft.com/office/drawing/2014/main" id="{80BFFFE1-C803-454B-B492-533EEF7D3047}"/>
                </a:ext>
              </a:extLst>
            </p:cNvPr>
            <p:cNvSpPr/>
            <p:nvPr/>
          </p:nvSpPr>
          <p:spPr>
            <a:xfrm>
              <a:off x="4659350" y="328825"/>
              <a:ext cx="371450" cy="96850"/>
            </a:xfrm>
            <a:custGeom>
              <a:avLst/>
              <a:gdLst/>
              <a:ahLst/>
              <a:cxnLst/>
              <a:rect l="0" t="0" r="0" b="0"/>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24" name="Shape 436">
              <a:extLst>
                <a:ext uri="{FF2B5EF4-FFF2-40B4-BE49-F238E27FC236}">
                  <a16:creationId xmlns:a16="http://schemas.microsoft.com/office/drawing/2014/main" id="{022C39A9-CBC2-4650-9FCA-0AE2EEE046F4}"/>
                </a:ext>
              </a:extLst>
            </p:cNvPr>
            <p:cNvSpPr/>
            <p:nvPr/>
          </p:nvSpPr>
          <p:spPr>
            <a:xfrm>
              <a:off x="4630125" y="452425"/>
              <a:ext cx="371450" cy="96850"/>
            </a:xfrm>
            <a:custGeom>
              <a:avLst/>
              <a:gdLst/>
              <a:ahLst/>
              <a:cxnLst/>
              <a:rect l="0" t="0" r="0" b="0"/>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25" name="Shape 437">
              <a:extLst>
                <a:ext uri="{FF2B5EF4-FFF2-40B4-BE49-F238E27FC236}">
                  <a16:creationId xmlns:a16="http://schemas.microsoft.com/office/drawing/2014/main" id="{FF3B7324-B629-4F5C-824E-9AF4CEA30DAA}"/>
                </a:ext>
              </a:extLst>
            </p:cNvPr>
            <p:cNvSpPr/>
            <p:nvPr/>
          </p:nvSpPr>
          <p:spPr>
            <a:xfrm>
              <a:off x="4808525" y="278900"/>
              <a:ext cx="43875" cy="49950"/>
            </a:xfrm>
            <a:custGeom>
              <a:avLst/>
              <a:gdLst/>
              <a:ahLst/>
              <a:cxnLst/>
              <a:rect l="0" t="0" r="0" b="0"/>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26" name="Shape 438">
              <a:extLst>
                <a:ext uri="{FF2B5EF4-FFF2-40B4-BE49-F238E27FC236}">
                  <a16:creationId xmlns:a16="http://schemas.microsoft.com/office/drawing/2014/main" id="{0B0DD715-E7D4-4BEB-9E43-B02C307AF6EB}"/>
                </a:ext>
              </a:extLst>
            </p:cNvPr>
            <p:cNvSpPr/>
            <p:nvPr/>
          </p:nvSpPr>
          <p:spPr>
            <a:xfrm>
              <a:off x="4808525" y="549250"/>
              <a:ext cx="43875" cy="186325"/>
            </a:xfrm>
            <a:custGeom>
              <a:avLst/>
              <a:gdLst/>
              <a:ahLst/>
              <a:cxnLst/>
              <a:rect l="0" t="0" r="0" b="0"/>
              <a:pathLst>
                <a:path w="1755" h="7453" fill="none" extrusionOk="0">
                  <a:moveTo>
                    <a:pt x="1" y="0"/>
                  </a:moveTo>
                  <a:lnTo>
                    <a:pt x="1" y="7453"/>
                  </a:lnTo>
                  <a:lnTo>
                    <a:pt x="1754" y="7453"/>
                  </a:lnTo>
                  <a:lnTo>
                    <a:pt x="1754" y="0"/>
                  </a:lnTo>
                  <a:lnTo>
                    <a:pt x="1" y="0"/>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grpSp>
      <p:sp>
        <p:nvSpPr>
          <p:cNvPr id="27" name="ListLeanHorizontalTextDetail1">
            <a:extLst>
              <a:ext uri="{FF2B5EF4-FFF2-40B4-BE49-F238E27FC236}">
                <a16:creationId xmlns:a16="http://schemas.microsoft.com/office/drawing/2014/main" id="{AB1C50DF-B242-4637-85B8-AFF33AF6FCDA}"/>
              </a:ext>
            </a:extLst>
          </p:cNvPr>
          <p:cNvSpPr txBox="1">
            <a:spLocks/>
          </p:cNvSpPr>
          <p:nvPr/>
        </p:nvSpPr>
        <p:spPr>
          <a:xfrm>
            <a:off x="6567419" y="1241187"/>
            <a:ext cx="4072207" cy="226259"/>
          </a:xfrm>
          <a:prstGeom prst="rect">
            <a:avLst/>
          </a:prstGeom>
          <a:noFill/>
          <a:ln w="12700">
            <a:noFill/>
          </a:ln>
        </p:spPr>
        <p:txBody>
          <a:bodyPr wrap="square" lIns="0" tIns="0" rIns="0" bIns="0" anchor="ctr" anchorCtr="0">
            <a:noAutofit/>
          </a:bodyPr>
          <a:lstStyle>
            <a:defPPr marR="0" lvl="0" algn="l" rtl="0">
              <a:lnSpc>
                <a:spcPct val="100000"/>
              </a:lnSpc>
              <a:spcBef>
                <a:spcPts val="0"/>
              </a:spcBef>
              <a:spcAft>
                <a:spcPts val="0"/>
              </a:spcAft>
            </a:defPPr>
            <a:lvl4pPr marL="95250" indent="0" defTabSz="360363" eaLnBrk="1" fontAlgn="auto" latinLnBrk="0" hangingPunct="1">
              <a:spcBef>
                <a:spcPts val="600"/>
              </a:spcBef>
              <a:buClr>
                <a:srgbClr val="0070C0"/>
              </a:buClr>
              <a:buSzPct val="100000"/>
              <a:buFontTx/>
              <a:buNone/>
              <a:tabLst/>
              <a:defRPr kumimoji="0" b="1" kern="1200" spc="0" normalizeH="0" baseline="0">
                <a:ln>
                  <a:noFill/>
                </a:ln>
                <a:solidFill>
                  <a:schemeClr val="tx2"/>
                </a:solidFill>
                <a:effectLst/>
                <a:uLnTx/>
                <a:uFillTx/>
                <a:latin typeface="Arial" panose="020B0604020202020204" pitchFamily="34" charset="0"/>
                <a:ea typeface="Calibri" charset="0"/>
                <a:cs typeface="Arial" panose="020B0604020202020204" pitchFamily="34" charset="0"/>
              </a:defRPr>
            </a:lvl4pPr>
          </a:lstStyle>
          <a:p>
            <a:pPr lvl="3"/>
            <a:r>
              <a:rPr lang="fr-FR">
                <a:solidFill>
                  <a:schemeClr val="accent1"/>
                </a:solidFill>
              </a:rPr>
              <a:t>Objectifs</a:t>
            </a:r>
          </a:p>
        </p:txBody>
      </p:sp>
      <p:cxnSp>
        <p:nvCxnSpPr>
          <p:cNvPr id="28" name="Connecteur droit 27">
            <a:extLst>
              <a:ext uri="{FF2B5EF4-FFF2-40B4-BE49-F238E27FC236}">
                <a16:creationId xmlns:a16="http://schemas.microsoft.com/office/drawing/2014/main" id="{076E9DA1-04E0-40D7-9E9E-34760800A390}"/>
              </a:ext>
            </a:extLst>
          </p:cNvPr>
          <p:cNvCxnSpPr>
            <a:cxnSpLocks/>
          </p:cNvCxnSpPr>
          <p:nvPr/>
        </p:nvCxnSpPr>
        <p:spPr>
          <a:xfrm flipH="1">
            <a:off x="6125274" y="1562142"/>
            <a:ext cx="5517964"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grpSp>
        <p:nvGrpSpPr>
          <p:cNvPr id="29" name="Shape 500">
            <a:extLst>
              <a:ext uri="{FF2B5EF4-FFF2-40B4-BE49-F238E27FC236}">
                <a16:creationId xmlns:a16="http://schemas.microsoft.com/office/drawing/2014/main" id="{A39F0604-8228-46C3-810C-CB30D772CE77}"/>
              </a:ext>
            </a:extLst>
          </p:cNvPr>
          <p:cNvGrpSpPr/>
          <p:nvPr/>
        </p:nvGrpSpPr>
        <p:grpSpPr>
          <a:xfrm>
            <a:off x="6184809" y="1163302"/>
            <a:ext cx="324000" cy="343929"/>
            <a:chOff x="5961125" y="1623900"/>
            <a:chExt cx="427450" cy="448175"/>
          </a:xfrm>
        </p:grpSpPr>
        <p:sp>
          <p:nvSpPr>
            <p:cNvPr id="30" name="Shape 501">
              <a:extLst>
                <a:ext uri="{FF2B5EF4-FFF2-40B4-BE49-F238E27FC236}">
                  <a16:creationId xmlns:a16="http://schemas.microsoft.com/office/drawing/2014/main" id="{F596662B-A42F-46EA-BF3C-8D49D5187D26}"/>
                </a:ext>
              </a:extLst>
            </p:cNvPr>
            <p:cNvSpPr/>
            <p:nvPr/>
          </p:nvSpPr>
          <p:spPr>
            <a:xfrm>
              <a:off x="5961125" y="1678700"/>
              <a:ext cx="376925" cy="376925"/>
            </a:xfrm>
            <a:custGeom>
              <a:avLst/>
              <a:gdLst/>
              <a:ahLst/>
              <a:cxnLst/>
              <a:rect l="0" t="0" r="0" b="0"/>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1" name="Shape 502">
              <a:extLst>
                <a:ext uri="{FF2B5EF4-FFF2-40B4-BE49-F238E27FC236}">
                  <a16:creationId xmlns:a16="http://schemas.microsoft.com/office/drawing/2014/main" id="{FBB086B4-C22E-4B89-BBA2-47CD31211B12}"/>
                </a:ext>
              </a:extLst>
            </p:cNvPr>
            <p:cNvSpPr/>
            <p:nvPr/>
          </p:nvSpPr>
          <p:spPr>
            <a:xfrm>
              <a:off x="6009825" y="1727425"/>
              <a:ext cx="279500" cy="279500"/>
            </a:xfrm>
            <a:custGeom>
              <a:avLst/>
              <a:gdLst/>
              <a:ahLst/>
              <a:cxnLst/>
              <a:rect l="0" t="0" r="0" b="0"/>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2" name="Shape 503">
              <a:extLst>
                <a:ext uri="{FF2B5EF4-FFF2-40B4-BE49-F238E27FC236}">
                  <a16:creationId xmlns:a16="http://schemas.microsoft.com/office/drawing/2014/main" id="{4CBCD712-CC28-446E-AE08-3CEF1B039126}"/>
                </a:ext>
              </a:extLst>
            </p:cNvPr>
            <p:cNvSpPr/>
            <p:nvPr/>
          </p:nvSpPr>
          <p:spPr>
            <a:xfrm>
              <a:off x="6107250" y="1824850"/>
              <a:ext cx="84650" cy="84650"/>
            </a:xfrm>
            <a:custGeom>
              <a:avLst/>
              <a:gdLst/>
              <a:ahLst/>
              <a:cxnLst/>
              <a:rect l="0" t="0" r="0" b="0"/>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3" name="Shape 504">
              <a:extLst>
                <a:ext uri="{FF2B5EF4-FFF2-40B4-BE49-F238E27FC236}">
                  <a16:creationId xmlns:a16="http://schemas.microsoft.com/office/drawing/2014/main" id="{B884389D-5B13-4AFE-AA9B-8E19D62B8B96}"/>
                </a:ext>
              </a:extLst>
            </p:cNvPr>
            <p:cNvSpPr/>
            <p:nvPr/>
          </p:nvSpPr>
          <p:spPr>
            <a:xfrm>
              <a:off x="6058550" y="1776125"/>
              <a:ext cx="182075" cy="182075"/>
            </a:xfrm>
            <a:custGeom>
              <a:avLst/>
              <a:gdLst/>
              <a:ahLst/>
              <a:cxnLst/>
              <a:rect l="0" t="0" r="0" b="0"/>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4" name="Shape 505">
              <a:extLst>
                <a:ext uri="{FF2B5EF4-FFF2-40B4-BE49-F238E27FC236}">
                  <a16:creationId xmlns:a16="http://schemas.microsoft.com/office/drawing/2014/main" id="{4DD7AC92-9592-4A59-BF16-CDCABCEE06F7}"/>
                </a:ext>
              </a:extLst>
            </p:cNvPr>
            <p:cNvSpPr/>
            <p:nvPr/>
          </p:nvSpPr>
          <p:spPr>
            <a:xfrm>
              <a:off x="5971475" y="2001400"/>
              <a:ext cx="74925" cy="70675"/>
            </a:xfrm>
            <a:custGeom>
              <a:avLst/>
              <a:gdLst/>
              <a:ahLst/>
              <a:cxnLst/>
              <a:rect l="0" t="0" r="0" b="0"/>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5" name="Shape 506">
              <a:extLst>
                <a:ext uri="{FF2B5EF4-FFF2-40B4-BE49-F238E27FC236}">
                  <a16:creationId xmlns:a16="http://schemas.microsoft.com/office/drawing/2014/main" id="{50838620-D323-42A1-9262-59336B3D9D2D}"/>
                </a:ext>
              </a:extLst>
            </p:cNvPr>
            <p:cNvSpPr/>
            <p:nvPr/>
          </p:nvSpPr>
          <p:spPr>
            <a:xfrm>
              <a:off x="6253375" y="2001400"/>
              <a:ext cx="74325" cy="70675"/>
            </a:xfrm>
            <a:custGeom>
              <a:avLst/>
              <a:gdLst/>
              <a:ahLst/>
              <a:cxnLst/>
              <a:rect l="0" t="0" r="0" b="0"/>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6" name="Shape 507">
              <a:extLst>
                <a:ext uri="{FF2B5EF4-FFF2-40B4-BE49-F238E27FC236}">
                  <a16:creationId xmlns:a16="http://schemas.microsoft.com/office/drawing/2014/main" id="{26036A4D-89E2-433B-B446-432CA6613440}"/>
                </a:ext>
              </a:extLst>
            </p:cNvPr>
            <p:cNvSpPr/>
            <p:nvPr/>
          </p:nvSpPr>
          <p:spPr>
            <a:xfrm>
              <a:off x="6137700" y="1623900"/>
              <a:ext cx="250875" cy="255150"/>
            </a:xfrm>
            <a:custGeom>
              <a:avLst/>
              <a:gdLst/>
              <a:ahLst/>
              <a:cxnLst/>
              <a:rect l="0" t="0" r="0" b="0"/>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grpSp>
      <p:sp>
        <p:nvSpPr>
          <p:cNvPr id="37" name="Titre 3">
            <a:extLst>
              <a:ext uri="{FF2B5EF4-FFF2-40B4-BE49-F238E27FC236}">
                <a16:creationId xmlns:a16="http://schemas.microsoft.com/office/drawing/2014/main" id="{7AF0E430-CDB8-4B45-8379-46CBA595C178}"/>
              </a:ext>
            </a:extLst>
          </p:cNvPr>
          <p:cNvSpPr>
            <a:spLocks noGrp="1"/>
          </p:cNvSpPr>
          <p:nvPr>
            <p:ph type="title"/>
          </p:nvPr>
        </p:nvSpPr>
        <p:spPr>
          <a:xfrm>
            <a:off x="396655" y="292153"/>
            <a:ext cx="10175072" cy="407795"/>
          </a:xfrm>
        </p:spPr>
        <p:txBody>
          <a:bodyPr/>
          <a:lstStyle/>
          <a:p>
            <a:r>
              <a:rPr lang="fr-FR"/>
              <a:t>RÉFÉRENCE PERTINENTE : Fret SNCF</a:t>
            </a:r>
            <a:br>
              <a:rPr lang="fr-FR"/>
            </a:br>
            <a:r>
              <a:rPr lang="fr-FR" sz="1600" b="0">
                <a:solidFill>
                  <a:schemeClr val="bg2">
                    <a:lumMod val="60000"/>
                    <a:lumOff val="40000"/>
                  </a:schemeClr>
                </a:solidFill>
                <a:latin typeface="+mn-lt"/>
                <a:cs typeface="Arial" panose="020B0604020202020204" pitchFamily="34" charset="0"/>
              </a:rPr>
              <a:t>Pour 800 utilisateurs, formation et déploiement RUS Convoi : outil de planification des ressources ferroviaires</a:t>
            </a:r>
          </a:p>
        </p:txBody>
      </p:sp>
      <p:cxnSp>
        <p:nvCxnSpPr>
          <p:cNvPr id="38" name="Connecteur droit 37">
            <a:extLst>
              <a:ext uri="{FF2B5EF4-FFF2-40B4-BE49-F238E27FC236}">
                <a16:creationId xmlns:a16="http://schemas.microsoft.com/office/drawing/2014/main" id="{91025DE0-102C-4CF5-AB7C-EB7281E6D5CE}"/>
              </a:ext>
            </a:extLst>
          </p:cNvPr>
          <p:cNvCxnSpPr>
            <a:cxnSpLocks/>
          </p:cNvCxnSpPr>
          <p:nvPr/>
        </p:nvCxnSpPr>
        <p:spPr>
          <a:xfrm flipH="1">
            <a:off x="521539" y="3656575"/>
            <a:ext cx="4956151"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9" name="Google Shape;641;p64">
            <a:extLst>
              <a:ext uri="{FF2B5EF4-FFF2-40B4-BE49-F238E27FC236}">
                <a16:creationId xmlns:a16="http://schemas.microsoft.com/office/drawing/2014/main" id="{79339183-0722-4C64-A1CF-A021ABD95820}"/>
              </a:ext>
            </a:extLst>
          </p:cNvPr>
          <p:cNvSpPr/>
          <p:nvPr/>
        </p:nvSpPr>
        <p:spPr>
          <a:xfrm>
            <a:off x="6125271" y="3486691"/>
            <a:ext cx="5517968" cy="1326105"/>
          </a:xfrm>
          <a:prstGeom prst="rect">
            <a:avLst/>
          </a:prstGeom>
          <a:solidFill>
            <a:schemeClr val="tx2"/>
          </a:solidFill>
          <a:ln>
            <a:noFill/>
          </a:ln>
        </p:spPr>
        <p:txBody>
          <a:bodyPr spcFirstLastPara="1" wrap="square" lIns="99044" tIns="108000" rIns="99044" bIns="108000" anchor="t" anchorCtr="0">
            <a:spAutoFit/>
          </a:bodyPr>
          <a:lstStyle/>
          <a:p>
            <a:pPr marL="171446" indent="-171446" algn="just">
              <a:buClr>
                <a:prstClr val="white"/>
              </a:buClr>
              <a:buSzPts val="900"/>
              <a:buFont typeface="Arial" panose="020B0604020202020204" pitchFamily="34" charset="0"/>
              <a:buChar char="•"/>
            </a:pPr>
            <a:r>
              <a:rPr lang="fr-FR" sz="1200" kern="1200">
                <a:solidFill>
                  <a:srgbClr val="FFFFFF"/>
                </a:solidFill>
                <a:latin typeface="Arial" panose="020B0604020202020204" pitchFamily="34" charset="0"/>
                <a:cs typeface="Arial" panose="020B0604020202020204" pitchFamily="34" charset="0"/>
                <a:sym typeface="Montserrat"/>
              </a:rPr>
              <a:t>Solutions  déployées sur les 15 unités et 22 sites et assurant le plan de transport et la gestion des ressources</a:t>
            </a:r>
          </a:p>
          <a:p>
            <a:pPr marL="171446" indent="-171446" algn="just">
              <a:buClr>
                <a:prstClr val="white"/>
              </a:buClr>
              <a:buSzPts val="900"/>
              <a:buFont typeface="Arial" panose="020B0604020202020204" pitchFamily="34" charset="0"/>
              <a:buChar char="•"/>
            </a:pPr>
            <a:r>
              <a:rPr lang="fr-FR" sz="1200" kern="1200">
                <a:solidFill>
                  <a:srgbClr val="FFFFFF"/>
                </a:solidFill>
                <a:latin typeface="Arial" panose="020B0604020202020204" pitchFamily="34" charset="0"/>
                <a:cs typeface="Arial" panose="020B0604020202020204" pitchFamily="34" charset="0"/>
                <a:sym typeface="Montserrat"/>
              </a:rPr>
              <a:t>Les 800 utilisateurs, répartis sur 4 métiers différents, travaillent pour la première fois dans un même outil</a:t>
            </a:r>
          </a:p>
          <a:p>
            <a:pPr marL="171446" indent="-171446" algn="just">
              <a:buClr>
                <a:prstClr val="white"/>
              </a:buClr>
              <a:buSzPts val="900"/>
              <a:buFont typeface="Arial" panose="020B0604020202020204" pitchFamily="34" charset="0"/>
              <a:buChar char="•"/>
            </a:pPr>
            <a:r>
              <a:rPr lang="fr-FR" sz="1200" kern="1200">
                <a:solidFill>
                  <a:srgbClr val="FFFFFF"/>
                </a:solidFill>
                <a:latin typeface="Arial" panose="020B0604020202020204" pitchFamily="34" charset="0"/>
                <a:cs typeface="Arial" panose="020B0604020202020204" pitchFamily="34" charset="0"/>
                <a:sym typeface="Montserrat"/>
              </a:rPr>
              <a:t>Forte réactivité vis-à-vis des utilisateurs, grâce à la proximité avec les équipes internes de déploiement</a:t>
            </a:r>
          </a:p>
        </p:txBody>
      </p:sp>
      <p:sp>
        <p:nvSpPr>
          <p:cNvPr id="40" name="ListLeanHorizontalTextDetail1">
            <a:extLst>
              <a:ext uri="{FF2B5EF4-FFF2-40B4-BE49-F238E27FC236}">
                <a16:creationId xmlns:a16="http://schemas.microsoft.com/office/drawing/2014/main" id="{61434720-D051-4849-ACA0-52B93A6BFAFA}"/>
              </a:ext>
            </a:extLst>
          </p:cNvPr>
          <p:cNvSpPr txBox="1">
            <a:spLocks/>
          </p:cNvSpPr>
          <p:nvPr/>
        </p:nvSpPr>
        <p:spPr>
          <a:xfrm>
            <a:off x="6567419" y="3114653"/>
            <a:ext cx="4072207" cy="226259"/>
          </a:xfrm>
          <a:prstGeom prst="rect">
            <a:avLst/>
          </a:prstGeom>
          <a:noFill/>
          <a:ln w="12700">
            <a:noFill/>
          </a:ln>
        </p:spPr>
        <p:txBody>
          <a:bodyPr wrap="square" lIns="0" tIns="0" rIns="0" bIns="0" anchor="ctr" anchorCtr="0">
            <a:noAutofit/>
          </a:bodyPr>
          <a:lstStyle/>
          <a:p>
            <a:pPr marL="95250" marR="0" lvl="3" indent="0" algn="l" defTabSz="360363" rtl="0" eaLnBrk="1" fontAlgn="auto" latinLnBrk="0" hangingPunct="1">
              <a:lnSpc>
                <a:spcPct val="100000"/>
              </a:lnSpc>
              <a:spcBef>
                <a:spcPts val="600"/>
              </a:spcBef>
              <a:spcAft>
                <a:spcPts val="0"/>
              </a:spcAft>
              <a:buClr>
                <a:srgbClr val="0070C0"/>
              </a:buClr>
              <a:buSzPct val="100000"/>
              <a:buFontTx/>
              <a:buNone/>
              <a:tabLst/>
              <a:defRPr/>
            </a:pPr>
            <a:r>
              <a:rPr kumimoji="0" lang="fr-FR" sz="1400" b="1" i="0" u="none" strike="noStrike" kern="1200" cap="none" spc="0" normalizeH="0" baseline="0" noProof="0">
                <a:ln>
                  <a:noFill/>
                </a:ln>
                <a:solidFill>
                  <a:schemeClr val="accent1"/>
                </a:solidFill>
                <a:effectLst/>
                <a:uLnTx/>
                <a:uFillTx/>
                <a:latin typeface="Arial" panose="020B0604020202020204" pitchFamily="34" charset="0"/>
                <a:ea typeface="Calibri" charset="0"/>
                <a:cs typeface="Arial" panose="020B0604020202020204" pitchFamily="34" charset="0"/>
              </a:rPr>
              <a:t>Gains </a:t>
            </a:r>
            <a:r>
              <a:rPr lang="fr-FR" b="1" kern="1200">
                <a:solidFill>
                  <a:schemeClr val="accent1"/>
                </a:solidFill>
                <a:latin typeface="Arial" panose="020B0604020202020204" pitchFamily="34" charset="0"/>
                <a:cs typeface="Arial" panose="020B0604020202020204" pitchFamily="34" charset="0"/>
              </a:rPr>
              <a:t>clients</a:t>
            </a:r>
            <a:r>
              <a:rPr kumimoji="0" lang="fr-FR" sz="1400" b="1" i="0" u="none" strike="noStrike" kern="1200" cap="none" spc="0" normalizeH="0" baseline="0" noProof="0">
                <a:ln>
                  <a:noFill/>
                </a:ln>
                <a:solidFill>
                  <a:schemeClr val="accent1"/>
                </a:solidFill>
                <a:effectLst/>
                <a:uLnTx/>
                <a:uFillTx/>
                <a:latin typeface="Arial" panose="020B0604020202020204" pitchFamily="34" charset="0"/>
                <a:ea typeface="Calibri" charset="0"/>
                <a:cs typeface="Arial" panose="020B0604020202020204" pitchFamily="34" charset="0"/>
              </a:rPr>
              <a:t> et résultats</a:t>
            </a:r>
          </a:p>
        </p:txBody>
      </p:sp>
      <p:grpSp>
        <p:nvGrpSpPr>
          <p:cNvPr id="41" name="Shape 613">
            <a:extLst>
              <a:ext uri="{FF2B5EF4-FFF2-40B4-BE49-F238E27FC236}">
                <a16:creationId xmlns:a16="http://schemas.microsoft.com/office/drawing/2014/main" id="{83A23B5F-9C90-4837-B479-1EBE4631E50D}"/>
              </a:ext>
            </a:extLst>
          </p:cNvPr>
          <p:cNvGrpSpPr/>
          <p:nvPr/>
        </p:nvGrpSpPr>
        <p:grpSpPr>
          <a:xfrm>
            <a:off x="6184809" y="3084555"/>
            <a:ext cx="322423" cy="286451"/>
            <a:chOff x="5292575" y="3681900"/>
            <a:chExt cx="420150" cy="373275"/>
          </a:xfrm>
        </p:grpSpPr>
        <p:sp>
          <p:nvSpPr>
            <p:cNvPr id="42" name="Shape 614">
              <a:extLst>
                <a:ext uri="{FF2B5EF4-FFF2-40B4-BE49-F238E27FC236}">
                  <a16:creationId xmlns:a16="http://schemas.microsoft.com/office/drawing/2014/main" id="{DEE69272-69A1-4813-8F81-6A1E8F8F65BA}"/>
                </a:ext>
              </a:extLst>
            </p:cNvPr>
            <p:cNvSpPr/>
            <p:nvPr/>
          </p:nvSpPr>
          <p:spPr>
            <a:xfrm>
              <a:off x="5292575" y="3706875"/>
              <a:ext cx="420150" cy="266700"/>
            </a:xfrm>
            <a:custGeom>
              <a:avLst/>
              <a:gdLst/>
              <a:ahLst/>
              <a:cxnLst/>
              <a:rect l="0" t="0" r="0" b="0"/>
              <a:pathLst>
                <a:path w="16806" h="10668" fill="none" extrusionOk="0">
                  <a:moveTo>
                    <a:pt x="16319" y="0"/>
                  </a:moveTo>
                  <a:lnTo>
                    <a:pt x="488" y="0"/>
                  </a:lnTo>
                  <a:lnTo>
                    <a:pt x="488" y="0"/>
                  </a:lnTo>
                  <a:lnTo>
                    <a:pt x="390" y="0"/>
                  </a:lnTo>
                  <a:lnTo>
                    <a:pt x="293" y="25"/>
                  </a:lnTo>
                  <a:lnTo>
                    <a:pt x="196" y="73"/>
                  </a:lnTo>
                  <a:lnTo>
                    <a:pt x="123" y="146"/>
                  </a:lnTo>
                  <a:lnTo>
                    <a:pt x="74" y="219"/>
                  </a:lnTo>
                  <a:lnTo>
                    <a:pt x="25" y="292"/>
                  </a:lnTo>
                  <a:lnTo>
                    <a:pt x="1" y="390"/>
                  </a:lnTo>
                  <a:lnTo>
                    <a:pt x="1" y="487"/>
                  </a:lnTo>
                  <a:lnTo>
                    <a:pt x="1" y="10181"/>
                  </a:lnTo>
                  <a:lnTo>
                    <a:pt x="1" y="10181"/>
                  </a:lnTo>
                  <a:lnTo>
                    <a:pt x="1" y="10278"/>
                  </a:lnTo>
                  <a:lnTo>
                    <a:pt x="25" y="10375"/>
                  </a:lnTo>
                  <a:lnTo>
                    <a:pt x="74" y="10448"/>
                  </a:lnTo>
                  <a:lnTo>
                    <a:pt x="123" y="10522"/>
                  </a:lnTo>
                  <a:lnTo>
                    <a:pt x="196" y="10570"/>
                  </a:lnTo>
                  <a:lnTo>
                    <a:pt x="293" y="10619"/>
                  </a:lnTo>
                  <a:lnTo>
                    <a:pt x="390" y="10643"/>
                  </a:lnTo>
                  <a:lnTo>
                    <a:pt x="488" y="10668"/>
                  </a:lnTo>
                  <a:lnTo>
                    <a:pt x="16319" y="10668"/>
                  </a:lnTo>
                  <a:lnTo>
                    <a:pt x="16319" y="10668"/>
                  </a:lnTo>
                  <a:lnTo>
                    <a:pt x="16416" y="10643"/>
                  </a:lnTo>
                  <a:lnTo>
                    <a:pt x="16513" y="10619"/>
                  </a:lnTo>
                  <a:lnTo>
                    <a:pt x="16611" y="10570"/>
                  </a:lnTo>
                  <a:lnTo>
                    <a:pt x="16684" y="10522"/>
                  </a:lnTo>
                  <a:lnTo>
                    <a:pt x="16733" y="10448"/>
                  </a:lnTo>
                  <a:lnTo>
                    <a:pt x="16781" y="10375"/>
                  </a:lnTo>
                  <a:lnTo>
                    <a:pt x="16806" y="10278"/>
                  </a:lnTo>
                  <a:lnTo>
                    <a:pt x="16806" y="10181"/>
                  </a:lnTo>
                  <a:lnTo>
                    <a:pt x="16806" y="487"/>
                  </a:lnTo>
                  <a:lnTo>
                    <a:pt x="16806" y="487"/>
                  </a:lnTo>
                  <a:lnTo>
                    <a:pt x="16806" y="390"/>
                  </a:lnTo>
                  <a:lnTo>
                    <a:pt x="16781" y="292"/>
                  </a:lnTo>
                  <a:lnTo>
                    <a:pt x="16733" y="219"/>
                  </a:lnTo>
                  <a:lnTo>
                    <a:pt x="16684" y="146"/>
                  </a:lnTo>
                  <a:lnTo>
                    <a:pt x="16611" y="73"/>
                  </a:lnTo>
                  <a:lnTo>
                    <a:pt x="16513" y="25"/>
                  </a:lnTo>
                  <a:lnTo>
                    <a:pt x="16416" y="0"/>
                  </a:lnTo>
                  <a:lnTo>
                    <a:pt x="16319" y="0"/>
                  </a:lnTo>
                  <a:lnTo>
                    <a:pt x="16319" y="0"/>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3" name="Shape 615">
              <a:extLst>
                <a:ext uri="{FF2B5EF4-FFF2-40B4-BE49-F238E27FC236}">
                  <a16:creationId xmlns:a16="http://schemas.microsoft.com/office/drawing/2014/main" id="{76A0ED75-FDD7-4F8E-8BF8-55FE7F28AE6C}"/>
                </a:ext>
              </a:extLst>
            </p:cNvPr>
            <p:cNvSpPr/>
            <p:nvPr/>
          </p:nvSpPr>
          <p:spPr>
            <a:xfrm>
              <a:off x="5490475" y="3681900"/>
              <a:ext cx="24375" cy="25000"/>
            </a:xfrm>
            <a:custGeom>
              <a:avLst/>
              <a:gdLst/>
              <a:ahLst/>
              <a:cxnLst/>
              <a:rect l="0" t="0" r="0" b="0"/>
              <a:pathLst>
                <a:path w="975" h="1000" fill="none" extrusionOk="0">
                  <a:moveTo>
                    <a:pt x="974" y="999"/>
                  </a:moveTo>
                  <a:lnTo>
                    <a:pt x="974" y="488"/>
                  </a:lnTo>
                  <a:lnTo>
                    <a:pt x="974" y="488"/>
                  </a:lnTo>
                  <a:lnTo>
                    <a:pt x="974" y="390"/>
                  </a:lnTo>
                  <a:lnTo>
                    <a:pt x="926" y="293"/>
                  </a:lnTo>
                  <a:lnTo>
                    <a:pt x="901" y="220"/>
                  </a:lnTo>
                  <a:lnTo>
                    <a:pt x="828" y="147"/>
                  </a:lnTo>
                  <a:lnTo>
                    <a:pt x="755" y="74"/>
                  </a:lnTo>
                  <a:lnTo>
                    <a:pt x="682" y="49"/>
                  </a:lnTo>
                  <a:lnTo>
                    <a:pt x="585" y="1"/>
                  </a:lnTo>
                  <a:lnTo>
                    <a:pt x="487" y="1"/>
                  </a:lnTo>
                  <a:lnTo>
                    <a:pt x="487" y="1"/>
                  </a:lnTo>
                  <a:lnTo>
                    <a:pt x="390" y="1"/>
                  </a:lnTo>
                  <a:lnTo>
                    <a:pt x="292" y="49"/>
                  </a:lnTo>
                  <a:lnTo>
                    <a:pt x="219" y="74"/>
                  </a:lnTo>
                  <a:lnTo>
                    <a:pt x="146" y="147"/>
                  </a:lnTo>
                  <a:lnTo>
                    <a:pt x="73" y="220"/>
                  </a:lnTo>
                  <a:lnTo>
                    <a:pt x="49" y="293"/>
                  </a:lnTo>
                  <a:lnTo>
                    <a:pt x="0" y="390"/>
                  </a:lnTo>
                  <a:lnTo>
                    <a:pt x="0" y="488"/>
                  </a:lnTo>
                  <a:lnTo>
                    <a:pt x="0" y="999"/>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4" name="Shape 616">
              <a:extLst>
                <a:ext uri="{FF2B5EF4-FFF2-40B4-BE49-F238E27FC236}">
                  <a16:creationId xmlns:a16="http://schemas.microsoft.com/office/drawing/2014/main" id="{7E2D6654-63C3-4662-868A-8F0E7BF20BEF}"/>
                </a:ext>
              </a:extLst>
            </p:cNvPr>
            <p:cNvSpPr/>
            <p:nvPr/>
          </p:nvSpPr>
          <p:spPr>
            <a:xfrm>
              <a:off x="5358350" y="3973550"/>
              <a:ext cx="60900" cy="81625"/>
            </a:xfrm>
            <a:custGeom>
              <a:avLst/>
              <a:gdLst/>
              <a:ahLst/>
              <a:cxnLst/>
              <a:rect l="0" t="0" r="0" b="0"/>
              <a:pathLst>
                <a:path w="2436" h="3265" fill="none" extrusionOk="0">
                  <a:moveTo>
                    <a:pt x="1340" y="1"/>
                  </a:moveTo>
                  <a:lnTo>
                    <a:pt x="49" y="2558"/>
                  </a:lnTo>
                  <a:lnTo>
                    <a:pt x="49" y="2558"/>
                  </a:lnTo>
                  <a:lnTo>
                    <a:pt x="24" y="2631"/>
                  </a:lnTo>
                  <a:lnTo>
                    <a:pt x="0" y="2728"/>
                  </a:lnTo>
                  <a:lnTo>
                    <a:pt x="0" y="2826"/>
                  </a:lnTo>
                  <a:lnTo>
                    <a:pt x="24" y="2923"/>
                  </a:lnTo>
                  <a:lnTo>
                    <a:pt x="73" y="2996"/>
                  </a:lnTo>
                  <a:lnTo>
                    <a:pt x="122" y="3094"/>
                  </a:lnTo>
                  <a:lnTo>
                    <a:pt x="195" y="3142"/>
                  </a:lnTo>
                  <a:lnTo>
                    <a:pt x="268" y="3215"/>
                  </a:lnTo>
                  <a:lnTo>
                    <a:pt x="268" y="3215"/>
                  </a:lnTo>
                  <a:lnTo>
                    <a:pt x="390" y="3240"/>
                  </a:lnTo>
                  <a:lnTo>
                    <a:pt x="487" y="3264"/>
                  </a:lnTo>
                  <a:lnTo>
                    <a:pt x="487" y="3264"/>
                  </a:lnTo>
                  <a:lnTo>
                    <a:pt x="633" y="3240"/>
                  </a:lnTo>
                  <a:lnTo>
                    <a:pt x="755" y="3191"/>
                  </a:lnTo>
                  <a:lnTo>
                    <a:pt x="853" y="3094"/>
                  </a:lnTo>
                  <a:lnTo>
                    <a:pt x="926" y="2996"/>
                  </a:lnTo>
                  <a:lnTo>
                    <a:pt x="2436" y="1"/>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5" name="Shape 617">
              <a:extLst>
                <a:ext uri="{FF2B5EF4-FFF2-40B4-BE49-F238E27FC236}">
                  <a16:creationId xmlns:a16="http://schemas.microsoft.com/office/drawing/2014/main" id="{69083BDB-8474-4B7D-8F14-5D2960D24ADD}"/>
                </a:ext>
              </a:extLst>
            </p:cNvPr>
            <p:cNvSpPr/>
            <p:nvPr/>
          </p:nvSpPr>
          <p:spPr>
            <a:xfrm>
              <a:off x="5586050" y="3973550"/>
              <a:ext cx="60925" cy="81625"/>
            </a:xfrm>
            <a:custGeom>
              <a:avLst/>
              <a:gdLst/>
              <a:ahLst/>
              <a:cxnLst/>
              <a:rect l="0" t="0" r="0" b="0"/>
              <a:pathLst>
                <a:path w="2437" h="3265" fill="none" extrusionOk="0">
                  <a:moveTo>
                    <a:pt x="1" y="1"/>
                  </a:moveTo>
                  <a:lnTo>
                    <a:pt x="1511" y="2996"/>
                  </a:lnTo>
                  <a:lnTo>
                    <a:pt x="1511" y="2996"/>
                  </a:lnTo>
                  <a:lnTo>
                    <a:pt x="1584" y="3094"/>
                  </a:lnTo>
                  <a:lnTo>
                    <a:pt x="1681" y="3191"/>
                  </a:lnTo>
                  <a:lnTo>
                    <a:pt x="1803" y="3240"/>
                  </a:lnTo>
                  <a:lnTo>
                    <a:pt x="1949" y="3264"/>
                  </a:lnTo>
                  <a:lnTo>
                    <a:pt x="1949" y="3264"/>
                  </a:lnTo>
                  <a:lnTo>
                    <a:pt x="2047" y="3240"/>
                  </a:lnTo>
                  <a:lnTo>
                    <a:pt x="2168" y="3215"/>
                  </a:lnTo>
                  <a:lnTo>
                    <a:pt x="2168" y="3215"/>
                  </a:lnTo>
                  <a:lnTo>
                    <a:pt x="2241" y="3142"/>
                  </a:lnTo>
                  <a:lnTo>
                    <a:pt x="2315" y="3094"/>
                  </a:lnTo>
                  <a:lnTo>
                    <a:pt x="2363" y="2996"/>
                  </a:lnTo>
                  <a:lnTo>
                    <a:pt x="2412" y="2923"/>
                  </a:lnTo>
                  <a:lnTo>
                    <a:pt x="2436" y="2826"/>
                  </a:lnTo>
                  <a:lnTo>
                    <a:pt x="2436" y="2728"/>
                  </a:lnTo>
                  <a:lnTo>
                    <a:pt x="2412" y="2631"/>
                  </a:lnTo>
                  <a:lnTo>
                    <a:pt x="2388" y="2558"/>
                  </a:lnTo>
                  <a:lnTo>
                    <a:pt x="1097" y="1"/>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6" name="Shape 618">
              <a:extLst>
                <a:ext uri="{FF2B5EF4-FFF2-40B4-BE49-F238E27FC236}">
                  <a16:creationId xmlns:a16="http://schemas.microsoft.com/office/drawing/2014/main" id="{7F7C37AE-8B58-4D07-8C82-257E5E234C7A}"/>
                </a:ext>
              </a:extLst>
            </p:cNvPr>
            <p:cNvSpPr/>
            <p:nvPr/>
          </p:nvSpPr>
          <p:spPr>
            <a:xfrm>
              <a:off x="5316925" y="3731225"/>
              <a:ext cx="371450" cy="218000"/>
            </a:xfrm>
            <a:custGeom>
              <a:avLst/>
              <a:gdLst/>
              <a:ahLst/>
              <a:cxnLst/>
              <a:rect l="0" t="0" r="0" b="0"/>
              <a:pathLst>
                <a:path w="14858" h="8720" fill="none" extrusionOk="0">
                  <a:moveTo>
                    <a:pt x="1" y="0"/>
                  </a:moveTo>
                  <a:lnTo>
                    <a:pt x="1" y="8719"/>
                  </a:lnTo>
                  <a:lnTo>
                    <a:pt x="14857" y="8719"/>
                  </a:lnTo>
                  <a:lnTo>
                    <a:pt x="14857" y="0"/>
                  </a:lnTo>
                  <a:lnTo>
                    <a:pt x="1" y="0"/>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7" name="Shape 619">
              <a:extLst>
                <a:ext uri="{FF2B5EF4-FFF2-40B4-BE49-F238E27FC236}">
                  <a16:creationId xmlns:a16="http://schemas.microsoft.com/office/drawing/2014/main" id="{D3176927-7AEC-4473-A554-CAF153B86A03}"/>
                </a:ext>
              </a:extLst>
            </p:cNvPr>
            <p:cNvSpPr/>
            <p:nvPr/>
          </p:nvSpPr>
          <p:spPr>
            <a:xfrm>
              <a:off x="5380250" y="3784800"/>
              <a:ext cx="230200" cy="115725"/>
            </a:xfrm>
            <a:custGeom>
              <a:avLst/>
              <a:gdLst/>
              <a:ahLst/>
              <a:cxnLst/>
              <a:rect l="0" t="0" r="0" b="0"/>
              <a:pathLst>
                <a:path w="9208" h="4629" fill="none" extrusionOk="0">
                  <a:moveTo>
                    <a:pt x="9207" y="1"/>
                  </a:moveTo>
                  <a:lnTo>
                    <a:pt x="5213" y="3995"/>
                  </a:lnTo>
                  <a:lnTo>
                    <a:pt x="5213" y="3995"/>
                  </a:lnTo>
                  <a:lnTo>
                    <a:pt x="5140" y="4044"/>
                  </a:lnTo>
                  <a:lnTo>
                    <a:pt x="5067" y="4092"/>
                  </a:lnTo>
                  <a:lnTo>
                    <a:pt x="4969" y="4117"/>
                  </a:lnTo>
                  <a:lnTo>
                    <a:pt x="4872" y="4141"/>
                  </a:lnTo>
                  <a:lnTo>
                    <a:pt x="4774" y="4117"/>
                  </a:lnTo>
                  <a:lnTo>
                    <a:pt x="4677" y="4092"/>
                  </a:lnTo>
                  <a:lnTo>
                    <a:pt x="4604" y="4044"/>
                  </a:lnTo>
                  <a:lnTo>
                    <a:pt x="4531" y="3995"/>
                  </a:lnTo>
                  <a:lnTo>
                    <a:pt x="2582" y="2046"/>
                  </a:lnTo>
                  <a:lnTo>
                    <a:pt x="1" y="4628"/>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8" name="Shape 620">
              <a:extLst>
                <a:ext uri="{FF2B5EF4-FFF2-40B4-BE49-F238E27FC236}">
                  <a16:creationId xmlns:a16="http://schemas.microsoft.com/office/drawing/2014/main" id="{E778690E-B137-49DF-BA19-9955D16319D7}"/>
                </a:ext>
              </a:extLst>
            </p:cNvPr>
            <p:cNvSpPr/>
            <p:nvPr/>
          </p:nvSpPr>
          <p:spPr>
            <a:xfrm>
              <a:off x="5547700" y="3779925"/>
              <a:ext cx="68825" cy="68825"/>
            </a:xfrm>
            <a:custGeom>
              <a:avLst/>
              <a:gdLst/>
              <a:ahLst/>
              <a:cxnLst/>
              <a:rect l="0" t="0" r="0" b="0"/>
              <a:pathLst>
                <a:path w="2753" h="2753" fill="none" extrusionOk="0">
                  <a:moveTo>
                    <a:pt x="0" y="1"/>
                  </a:moveTo>
                  <a:lnTo>
                    <a:pt x="2265" y="1"/>
                  </a:lnTo>
                  <a:lnTo>
                    <a:pt x="2265" y="1"/>
                  </a:lnTo>
                  <a:lnTo>
                    <a:pt x="2363" y="1"/>
                  </a:lnTo>
                  <a:lnTo>
                    <a:pt x="2460" y="25"/>
                  </a:lnTo>
                  <a:lnTo>
                    <a:pt x="2533" y="74"/>
                  </a:lnTo>
                  <a:lnTo>
                    <a:pt x="2606" y="147"/>
                  </a:lnTo>
                  <a:lnTo>
                    <a:pt x="2680" y="220"/>
                  </a:lnTo>
                  <a:lnTo>
                    <a:pt x="2728" y="293"/>
                  </a:lnTo>
                  <a:lnTo>
                    <a:pt x="2753" y="390"/>
                  </a:lnTo>
                  <a:lnTo>
                    <a:pt x="2753" y="488"/>
                  </a:lnTo>
                  <a:lnTo>
                    <a:pt x="2753" y="2753"/>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grpSp>
      <p:pic>
        <p:nvPicPr>
          <p:cNvPr id="1028" name="Picture 4">
            <a:extLst>
              <a:ext uri="{FF2B5EF4-FFF2-40B4-BE49-F238E27FC236}">
                <a16:creationId xmlns:a16="http://schemas.microsoft.com/office/drawing/2014/main" id="{25093F2A-D273-84EC-83C4-5CE606DDE1E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88224" y="270029"/>
            <a:ext cx="1883503" cy="45204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3E133D4A-0ADE-AE1D-F37E-93B019F045DC}"/>
              </a:ext>
            </a:extLst>
          </p:cNvPr>
          <p:cNvSpPr/>
          <p:nvPr/>
        </p:nvSpPr>
        <p:spPr>
          <a:xfrm>
            <a:off x="6125271" y="4915564"/>
            <a:ext cx="5517968" cy="699791"/>
          </a:xfrm>
          <a:prstGeom prst="rect">
            <a:avLst/>
          </a:prstGeom>
          <a:ln w="9525">
            <a:solidFill>
              <a:schemeClr val="bg2"/>
            </a:solidFill>
          </a:ln>
        </p:spPr>
        <p:style>
          <a:lnRef idx="2">
            <a:schemeClr val="accent5"/>
          </a:lnRef>
          <a:fillRef idx="1">
            <a:schemeClr val="lt1"/>
          </a:fillRef>
          <a:effectRef idx="0">
            <a:schemeClr val="accent5"/>
          </a:effectRef>
          <a:fontRef idx="minor">
            <a:schemeClr val="dk1"/>
          </a:fontRef>
        </p:style>
        <p:txBody>
          <a:bodyPr lIns="72001" tIns="72001" rIns="72001" bIns="72001" anchor="ctr"/>
          <a:lstStyle/>
          <a:p>
            <a:pPr marL="914400" marR="0" lvl="2" indent="0" algn="l" defTabSz="304799" rtl="0" eaLnBrk="1" fontAlgn="auto" latinLnBrk="0" hangingPunct="1">
              <a:lnSpc>
                <a:spcPct val="100000"/>
              </a:lnSpc>
              <a:spcBef>
                <a:spcPts val="0"/>
              </a:spcBef>
              <a:spcAft>
                <a:spcPts val="0"/>
              </a:spcAft>
              <a:buClrTx/>
              <a:buSzPct val="100000"/>
              <a:buFontTx/>
              <a:buNone/>
              <a:tabLst/>
              <a:defRPr/>
            </a:pPr>
            <a:endParaRPr kumimoji="0" lang="fr-FR" sz="1051" b="0" i="0" u="none" strike="noStrike" kern="1200" cap="none" spc="0" normalizeH="0" baseline="0" noProof="0">
              <a:ln>
                <a:noFill/>
              </a:ln>
              <a:solidFill>
                <a:srgbClr val="404040"/>
              </a:solidFill>
              <a:effectLst/>
              <a:uLnTx/>
              <a:uFillTx/>
              <a:latin typeface="Arial Black" panose="020B0A04020102020204" pitchFamily="34" charset="0"/>
              <a:ea typeface="+mn-ea"/>
              <a:cs typeface="+mn-cs"/>
            </a:endParaRPr>
          </a:p>
        </p:txBody>
      </p:sp>
      <p:cxnSp>
        <p:nvCxnSpPr>
          <p:cNvPr id="3" name="Connecteur droit 2">
            <a:extLst>
              <a:ext uri="{FF2B5EF4-FFF2-40B4-BE49-F238E27FC236}">
                <a16:creationId xmlns:a16="http://schemas.microsoft.com/office/drawing/2014/main" id="{6EA4C6E3-BF80-EF6F-80D5-44BB95831FC3}"/>
              </a:ext>
            </a:extLst>
          </p:cNvPr>
          <p:cNvCxnSpPr>
            <a:cxnSpLocks/>
          </p:cNvCxnSpPr>
          <p:nvPr/>
        </p:nvCxnSpPr>
        <p:spPr>
          <a:xfrm flipH="1">
            <a:off x="8884255" y="5031249"/>
            <a:ext cx="0" cy="46842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547AAC6B-797A-EAE4-17ED-B2D26AD4ED7E}"/>
              </a:ext>
            </a:extLst>
          </p:cNvPr>
          <p:cNvSpPr/>
          <p:nvPr/>
        </p:nvSpPr>
        <p:spPr>
          <a:xfrm>
            <a:off x="6125271" y="4915564"/>
            <a:ext cx="2758971" cy="699791"/>
          </a:xfrm>
          <a:prstGeom prst="rect">
            <a:avLst/>
          </a:prstGeom>
          <a:noFill/>
          <a:ln>
            <a:solidFill>
              <a:schemeClr val="tx2"/>
            </a:solidFill>
          </a:ln>
        </p:spPr>
        <p:txBody>
          <a:bodyPr wrap="square" anchor="ctr">
            <a:noAutofit/>
          </a:bodyPr>
          <a:lstStyle/>
          <a:p>
            <a:pPr lvl="3" algn="just">
              <a:buClrTx/>
              <a:defRPr/>
            </a:pPr>
            <a:r>
              <a:rPr kumimoji="0" lang="fr-FR" sz="1200" b="0" i="0" u="none" strike="noStrike" kern="1200" cap="none" spc="0" normalizeH="0" baseline="0" noProof="0">
                <a:ln>
                  <a:noFill/>
                </a:ln>
                <a:solidFill>
                  <a:schemeClr val="tx1">
                    <a:lumMod val="75000"/>
                    <a:lumOff val="25000"/>
                  </a:schemeClr>
                </a:solidFill>
                <a:effectLst/>
                <a:highlight>
                  <a:srgbClr val="FFFFFF"/>
                </a:highlight>
                <a:uLnTx/>
                <a:uFillTx/>
                <a:latin typeface="Arial" panose="020B0604020202020204" pitchFamily="34" charset="0"/>
                <a:ea typeface="Montserrat"/>
                <a:cs typeface="Arial" panose="020B0604020202020204" pitchFamily="34" charset="0"/>
                <a:sym typeface="Montserrat"/>
              </a:rPr>
              <a:t>1 Manager</a:t>
            </a:r>
          </a:p>
          <a:p>
            <a:pPr lvl="3" algn="just">
              <a:buClrTx/>
              <a:defRPr/>
            </a:pPr>
            <a:r>
              <a:rPr kumimoji="0" lang="fr-FR" sz="1200" b="0" i="0" u="none" strike="noStrike" kern="1200" cap="none" spc="0" normalizeH="0" baseline="0" noProof="0">
                <a:ln>
                  <a:noFill/>
                </a:ln>
                <a:solidFill>
                  <a:schemeClr val="tx1">
                    <a:lumMod val="75000"/>
                    <a:lumOff val="25000"/>
                  </a:schemeClr>
                </a:solidFill>
                <a:effectLst/>
                <a:highlight>
                  <a:srgbClr val="FFFFFF"/>
                </a:highlight>
                <a:uLnTx/>
                <a:uFillTx/>
                <a:latin typeface="Arial" panose="020B0604020202020204" pitchFamily="34" charset="0"/>
                <a:ea typeface="Montserrat"/>
                <a:cs typeface="Arial" panose="020B0604020202020204" pitchFamily="34" charset="0"/>
                <a:sym typeface="Montserrat"/>
              </a:rPr>
              <a:t>4 consultants</a:t>
            </a:r>
          </a:p>
        </p:txBody>
      </p:sp>
      <p:sp>
        <p:nvSpPr>
          <p:cNvPr id="50" name="Rectangle 49">
            <a:extLst>
              <a:ext uri="{FF2B5EF4-FFF2-40B4-BE49-F238E27FC236}">
                <a16:creationId xmlns:a16="http://schemas.microsoft.com/office/drawing/2014/main" id="{6AB56375-56DD-150A-525D-7F015DA7A767}"/>
              </a:ext>
            </a:extLst>
          </p:cNvPr>
          <p:cNvSpPr/>
          <p:nvPr/>
        </p:nvSpPr>
        <p:spPr>
          <a:xfrm>
            <a:off x="8884242" y="4915564"/>
            <a:ext cx="2758985" cy="699792"/>
          </a:xfrm>
          <a:prstGeom prst="rect">
            <a:avLst/>
          </a:prstGeom>
          <a:noFill/>
          <a:ln>
            <a:solidFill>
              <a:schemeClr val="tx2"/>
            </a:solidFill>
          </a:ln>
        </p:spPr>
        <p:txBody>
          <a:bodyPr wrap="square" anchor="ctr">
            <a:noAutofit/>
          </a:bodyPr>
          <a:lstStyle/>
          <a:p>
            <a:pPr lvl="3" algn="just">
              <a:buClrTx/>
              <a:defRPr/>
            </a:pPr>
            <a:r>
              <a:rPr lang="fr-FR" sz="1200" kern="1200">
                <a:solidFill>
                  <a:schemeClr val="tx1">
                    <a:lumMod val="75000"/>
                    <a:lumOff val="25000"/>
                  </a:schemeClr>
                </a:solidFill>
                <a:highlight>
                  <a:srgbClr val="FFFFFF"/>
                </a:highlight>
                <a:latin typeface="Arial" panose="020B0604020202020204" pitchFamily="34" charset="0"/>
                <a:ea typeface="Montserrat"/>
                <a:cs typeface="Arial" panose="020B0604020202020204" pitchFamily="34" charset="0"/>
                <a:sym typeface="Montserrat"/>
              </a:rPr>
              <a:t>1 an (2012)</a:t>
            </a:r>
            <a:endParaRPr kumimoji="0" lang="fr-FR" sz="1200" b="0" i="0" u="none" strike="noStrike" kern="1200" cap="none" spc="0" normalizeH="0" baseline="0" noProof="0">
              <a:ln>
                <a:noFill/>
              </a:ln>
              <a:solidFill>
                <a:schemeClr val="tx1">
                  <a:lumMod val="75000"/>
                  <a:lumOff val="25000"/>
                </a:schemeClr>
              </a:solidFill>
              <a:effectLst/>
              <a:highlight>
                <a:srgbClr val="FFFFFF"/>
              </a:highlight>
              <a:uLnTx/>
              <a:uFillTx/>
              <a:latin typeface="Arial" panose="020B0604020202020204" pitchFamily="34" charset="0"/>
              <a:ea typeface="Montserrat"/>
              <a:cs typeface="Arial" panose="020B0604020202020204" pitchFamily="34" charset="0"/>
              <a:sym typeface="Montserrat"/>
            </a:endParaRPr>
          </a:p>
        </p:txBody>
      </p:sp>
      <p:sp>
        <p:nvSpPr>
          <p:cNvPr id="51" name="ZoneTexte 50">
            <a:extLst>
              <a:ext uri="{FF2B5EF4-FFF2-40B4-BE49-F238E27FC236}">
                <a16:creationId xmlns:a16="http://schemas.microsoft.com/office/drawing/2014/main" id="{4F416E8E-F2EF-63E8-0073-9D8623651818}"/>
              </a:ext>
            </a:extLst>
          </p:cNvPr>
          <p:cNvSpPr txBox="1"/>
          <p:nvPr/>
        </p:nvSpPr>
        <p:spPr>
          <a:xfrm>
            <a:off x="7824846" y="5752459"/>
            <a:ext cx="3986154" cy="600164"/>
          </a:xfrm>
          <a:prstGeom prst="rect">
            <a:avLst/>
          </a:prstGeom>
          <a:noFill/>
        </p:spPr>
        <p:txBody>
          <a:bodyPr wrap="square">
            <a:spAutoFit/>
          </a:bodyPr>
          <a:lstStyle/>
          <a:p>
            <a:r>
              <a:rPr lang="fr-FR" sz="1100"/>
              <a:t>Contact : Stéphanie HASSOUN</a:t>
            </a:r>
          </a:p>
          <a:p>
            <a:r>
              <a:rPr lang="fr-FR" sz="1100"/>
              <a:t>E-mail : </a:t>
            </a:r>
            <a:r>
              <a:rPr lang="fr-FR" sz="1100">
                <a:hlinkClick r:id="rId3"/>
              </a:rPr>
              <a:t>stephanie.hassoun@sncf.fr</a:t>
            </a:r>
            <a:endParaRPr lang="fr-FR" sz="1100"/>
          </a:p>
          <a:p>
            <a:r>
              <a:rPr lang="fr-FR" sz="1100"/>
              <a:t>Téléphone : 06 19 56 90 93</a:t>
            </a:r>
          </a:p>
        </p:txBody>
      </p:sp>
    </p:spTree>
    <p:extLst>
      <p:ext uri="{BB962C8B-B14F-4D97-AF65-F5344CB8AC3E}">
        <p14:creationId xmlns:p14="http://schemas.microsoft.com/office/powerpoint/2010/main" val="17417609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644;p64">
            <a:extLst>
              <a:ext uri="{FF2B5EF4-FFF2-40B4-BE49-F238E27FC236}">
                <a16:creationId xmlns:a16="http://schemas.microsoft.com/office/drawing/2014/main" id="{51A5D56B-DC75-4304-91E8-1A160DBEEB3E}"/>
              </a:ext>
            </a:extLst>
          </p:cNvPr>
          <p:cNvSpPr txBox="1"/>
          <p:nvPr/>
        </p:nvSpPr>
        <p:spPr>
          <a:xfrm>
            <a:off x="521539" y="1602118"/>
            <a:ext cx="4956151" cy="2483682"/>
          </a:xfrm>
          <a:prstGeom prst="rect">
            <a:avLst/>
          </a:prstGeom>
          <a:noFill/>
          <a:ln>
            <a:noFill/>
          </a:ln>
        </p:spPr>
        <p:txBody>
          <a:bodyPr spcFirstLastPara="1" wrap="square" lIns="36000" tIns="36000" rIns="0" bIns="36000" anchor="t" anchorCtr="0">
            <a:noAutofit/>
          </a:bodyPr>
          <a:lstStyle/>
          <a:p>
            <a:pPr marL="0" marR="0" lvl="0" indent="0" algn="just" defTabSz="914400" rtl="0" eaLnBrk="1" fontAlgn="auto" latinLnBrk="0" hangingPunct="1">
              <a:lnSpc>
                <a:spcPct val="100000"/>
              </a:lnSpc>
              <a:spcBef>
                <a:spcPts val="0"/>
              </a:spcBef>
              <a:spcAft>
                <a:spcPts val="0"/>
              </a:spcAft>
              <a:buClrTx/>
              <a:buSzPts val="900"/>
              <a:buFontTx/>
              <a:buNone/>
              <a:tabLst/>
              <a:defRPr/>
            </a:pPr>
            <a:r>
              <a:rPr kumimoji="0" lang="fr-FR"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KEOLIS Rennes utilise depuis plusieurs années des modules d’HASTUS afin de gérer son plan de transport. </a:t>
            </a:r>
          </a:p>
          <a:p>
            <a:pPr marL="0" marR="0" lvl="0" indent="0" algn="just" defTabSz="914400" rtl="0" eaLnBrk="1" fontAlgn="auto" latinLnBrk="0" hangingPunct="1">
              <a:lnSpc>
                <a:spcPct val="100000"/>
              </a:lnSpc>
              <a:spcBef>
                <a:spcPts val="0"/>
              </a:spcBef>
              <a:spcAft>
                <a:spcPts val="0"/>
              </a:spcAft>
              <a:buClrTx/>
              <a:buSzPts val="900"/>
              <a:buFontTx/>
              <a:buNone/>
              <a:tabLst/>
              <a:defRPr/>
            </a:pPr>
            <a:r>
              <a:rPr kumimoji="0" lang="fr-FR"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En 2020, KEOLIS a acquis 2 nouveaux modules afin de compléter sa suite HASTUS.</a:t>
            </a:r>
          </a:p>
          <a:p>
            <a:pPr marL="0" marR="0" lvl="0" indent="0" algn="just" defTabSz="914400" rtl="0" eaLnBrk="1" fontAlgn="auto" latinLnBrk="0" hangingPunct="1">
              <a:lnSpc>
                <a:spcPct val="100000"/>
              </a:lnSpc>
              <a:spcBef>
                <a:spcPts val="0"/>
              </a:spcBef>
              <a:spcAft>
                <a:spcPts val="0"/>
              </a:spcAft>
              <a:buClrTx/>
              <a:buSzPts val="900"/>
              <a:buFontTx/>
              <a:buNone/>
              <a:tabLst/>
              <a:defRPr/>
            </a:pPr>
            <a:r>
              <a:rPr kumimoji="0" lang="fr-FR"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Le 1er objectif de l’extension d’HASTUS était une mise en Production du module </a:t>
            </a:r>
            <a:r>
              <a:rPr kumimoji="0" lang="fr-FR" sz="1200" b="0" i="0" u="none" strike="noStrike" kern="1200" cap="none" spc="0" normalizeH="0" baseline="0" noProof="0" err="1">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DailyCrew</a:t>
            </a:r>
            <a:r>
              <a:rPr kumimoji="0" lang="fr-FR"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 à la fin de l’année 2020</a:t>
            </a:r>
          </a:p>
          <a:p>
            <a:pPr marL="0" marR="0" lvl="0" indent="0" algn="just" defTabSz="914400" rtl="0" eaLnBrk="1" fontAlgn="auto" latinLnBrk="0" hangingPunct="1">
              <a:lnSpc>
                <a:spcPct val="100000"/>
              </a:lnSpc>
              <a:spcBef>
                <a:spcPts val="0"/>
              </a:spcBef>
              <a:spcAft>
                <a:spcPts val="0"/>
              </a:spcAft>
              <a:buClrTx/>
              <a:buSzPts val="900"/>
              <a:buFontTx/>
              <a:buNone/>
              <a:tabLst/>
              <a:defRPr/>
            </a:pPr>
            <a:r>
              <a:rPr kumimoji="0" lang="fr-FR"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Le 2nd objectif est le paramétrage de </a:t>
            </a:r>
            <a:r>
              <a:rPr kumimoji="0" lang="fr-FR" sz="1200" b="0" i="0" u="none" strike="noStrike" kern="1200" cap="none" spc="0" normalizeH="0" baseline="0" noProof="0" err="1">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DailyVehicule</a:t>
            </a:r>
            <a:r>
              <a:rPr kumimoji="0" lang="fr-FR"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 durant l’année 2021</a:t>
            </a:r>
          </a:p>
          <a:p>
            <a:pPr marL="0" marR="0" lvl="0" indent="0" algn="just" defTabSz="914400" rtl="0" eaLnBrk="1" fontAlgn="auto" latinLnBrk="0" hangingPunct="1">
              <a:lnSpc>
                <a:spcPct val="100000"/>
              </a:lnSpc>
              <a:spcBef>
                <a:spcPts val="0"/>
              </a:spcBef>
              <a:spcAft>
                <a:spcPts val="0"/>
              </a:spcAft>
              <a:buClrTx/>
              <a:buSzPts val="900"/>
              <a:buFontTx/>
              <a:buNone/>
              <a:tabLst/>
              <a:defRPr/>
            </a:pPr>
            <a:endParaRPr kumimoji="0" lang="fr-FR"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endParaRPr>
          </a:p>
          <a:p>
            <a:pPr marL="0" marR="0" lvl="0" indent="0" algn="just" defTabSz="914400" rtl="0" eaLnBrk="1" fontAlgn="auto" latinLnBrk="0" hangingPunct="1">
              <a:lnSpc>
                <a:spcPct val="100000"/>
              </a:lnSpc>
              <a:spcBef>
                <a:spcPts val="0"/>
              </a:spcBef>
              <a:spcAft>
                <a:spcPts val="0"/>
              </a:spcAft>
              <a:buClrTx/>
              <a:buSzPts val="900"/>
              <a:buFontTx/>
              <a:buNone/>
              <a:tabLst/>
              <a:defRPr/>
            </a:pPr>
            <a:r>
              <a:rPr kumimoji="0" lang="fr-FR"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Fin 2020, un Product </a:t>
            </a:r>
            <a:r>
              <a:rPr kumimoji="0" lang="fr-FR" sz="1200" b="0" i="0" u="none" strike="noStrike" kern="1200" cap="none" spc="0" normalizeH="0" baseline="0" noProof="0" err="1">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Owner</a:t>
            </a:r>
            <a:r>
              <a:rPr kumimoji="0" lang="fr-FR"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 a rejoint l’équipe projet HASTUS.</a:t>
            </a:r>
          </a:p>
          <a:p>
            <a:pPr marL="0" marR="0" lvl="0" indent="0" algn="just" defTabSz="914400" rtl="0" eaLnBrk="1" fontAlgn="auto" latinLnBrk="0" hangingPunct="1">
              <a:lnSpc>
                <a:spcPct val="100000"/>
              </a:lnSpc>
              <a:spcBef>
                <a:spcPts val="0"/>
              </a:spcBef>
              <a:spcAft>
                <a:spcPts val="0"/>
              </a:spcAft>
              <a:buClrTx/>
              <a:buSzPts val="900"/>
              <a:buFontTx/>
              <a:buNone/>
              <a:tabLst/>
              <a:defRPr/>
            </a:pPr>
            <a:r>
              <a:rPr kumimoji="0" lang="fr-FR"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KEOLIS Rennes a sollicité Talan afin de l’accompagner dans sa montée en compétences dans la suite HASTUS.</a:t>
            </a:r>
          </a:p>
        </p:txBody>
      </p:sp>
      <p:sp>
        <p:nvSpPr>
          <p:cNvPr id="5" name="Google Shape;645;p64">
            <a:extLst>
              <a:ext uri="{FF2B5EF4-FFF2-40B4-BE49-F238E27FC236}">
                <a16:creationId xmlns:a16="http://schemas.microsoft.com/office/drawing/2014/main" id="{86003A0A-DB97-4C93-A824-76C33B7B9C82}"/>
              </a:ext>
            </a:extLst>
          </p:cNvPr>
          <p:cNvSpPr txBox="1"/>
          <p:nvPr/>
        </p:nvSpPr>
        <p:spPr>
          <a:xfrm>
            <a:off x="521539" y="4272003"/>
            <a:ext cx="4956151" cy="1289018"/>
          </a:xfrm>
          <a:prstGeom prst="rect">
            <a:avLst/>
          </a:prstGeom>
          <a:noFill/>
          <a:ln>
            <a:noFill/>
          </a:ln>
        </p:spPr>
        <p:txBody>
          <a:bodyPr spcFirstLastPara="1" wrap="square" lIns="36000" tIns="36000" rIns="0" bIns="36000" anchor="t" anchorCtr="0">
            <a:noAutofit/>
          </a:bodyPr>
          <a:lstStyle>
            <a:defPPr marR="0" lvl="0" algn="l" rtl="0">
              <a:lnSpc>
                <a:spcPct val="100000"/>
              </a:lnSpc>
              <a:spcBef>
                <a:spcPts val="0"/>
              </a:spcBef>
              <a:spcAft>
                <a:spcPts val="0"/>
              </a:spcAft>
            </a:defPPr>
            <a:lvl1pPr marL="0" indent="0" algn="just" defTabSz="914400" eaLnBrk="1" fontAlgn="auto" latinLnBrk="0" hangingPunct="1">
              <a:buClrTx/>
              <a:buSzPts val="900"/>
              <a:buFontTx/>
              <a:buNone/>
              <a:tabLst/>
              <a:defRPr kumimoji="0" sz="1200" kern="1200" spc="0" normalizeH="0" baseline="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defRPr>
            </a:lvl1pPr>
          </a:lstStyle>
          <a:p>
            <a:pPr>
              <a:buClr>
                <a:schemeClr val="bg2"/>
              </a:buClr>
            </a:pPr>
            <a:r>
              <a:rPr lang="fr-FR">
                <a:sym typeface="Montserrat"/>
              </a:rPr>
              <a:t>Après un atelier de préparation afin de comprendre les processus de gestion du plan de transport, réalisation des ateliers de présentation des concepts HASTUS : </a:t>
            </a:r>
          </a:p>
          <a:p>
            <a:pPr marL="228600" indent="-228600">
              <a:buClr>
                <a:schemeClr val="bg2"/>
              </a:buClr>
              <a:buFont typeface="Arial" panose="020B0604020202020204" pitchFamily="34" charset="0"/>
              <a:buChar char="•"/>
            </a:pPr>
            <a:r>
              <a:rPr lang="fr-FR" b="1">
                <a:sym typeface="Montserrat"/>
              </a:rPr>
              <a:t>1ère semaine </a:t>
            </a:r>
            <a:r>
              <a:rPr lang="fr-FR">
                <a:sym typeface="Montserrat"/>
              </a:rPr>
              <a:t>: présentation des notions générales (matériel d’une part, agent d’autre part)</a:t>
            </a:r>
          </a:p>
          <a:p>
            <a:pPr marL="228600" indent="-228600">
              <a:buClr>
                <a:schemeClr val="bg2"/>
              </a:buClr>
              <a:buFont typeface="Arial" panose="020B0604020202020204" pitchFamily="34" charset="0"/>
              <a:buChar char="•"/>
            </a:pPr>
            <a:r>
              <a:rPr lang="fr-FR" b="1">
                <a:sym typeface="Montserrat"/>
              </a:rPr>
              <a:t>2ème semaine </a:t>
            </a:r>
            <a:r>
              <a:rPr lang="fr-FR">
                <a:sym typeface="Montserrat"/>
              </a:rPr>
              <a:t>: découvertes détaillées des modules Véhicule, </a:t>
            </a:r>
            <a:r>
              <a:rPr lang="fr-FR" err="1">
                <a:sym typeface="Montserrat"/>
              </a:rPr>
              <a:t>MinBus</a:t>
            </a:r>
            <a:r>
              <a:rPr lang="fr-FR">
                <a:sym typeface="Montserrat"/>
              </a:rPr>
              <a:t>, </a:t>
            </a:r>
            <a:r>
              <a:rPr lang="fr-FR" err="1">
                <a:sym typeface="Montserrat"/>
              </a:rPr>
              <a:t>DailyVehicule</a:t>
            </a:r>
            <a:r>
              <a:rPr lang="fr-FR">
                <a:sym typeface="Montserrat"/>
              </a:rPr>
              <a:t>, Crew, </a:t>
            </a:r>
            <a:r>
              <a:rPr lang="fr-FR" err="1">
                <a:sym typeface="Montserrat"/>
              </a:rPr>
              <a:t>Crewopt</a:t>
            </a:r>
            <a:r>
              <a:rPr lang="fr-FR">
                <a:sym typeface="Montserrat"/>
              </a:rPr>
              <a:t>, </a:t>
            </a:r>
            <a:r>
              <a:rPr lang="fr-FR" err="1">
                <a:sym typeface="Montserrat"/>
              </a:rPr>
              <a:t>Roster</a:t>
            </a:r>
            <a:r>
              <a:rPr lang="fr-FR">
                <a:sym typeface="Montserrat"/>
              </a:rPr>
              <a:t>, Daily Crew, Self Service.</a:t>
            </a:r>
          </a:p>
          <a:p>
            <a:pPr marL="228600" indent="-228600">
              <a:buClr>
                <a:schemeClr val="bg2"/>
              </a:buClr>
              <a:buFont typeface="Arial" panose="020B0604020202020204" pitchFamily="34" charset="0"/>
              <a:buChar char="•"/>
            </a:pPr>
            <a:r>
              <a:rPr lang="fr-FR" b="1">
                <a:sym typeface="Montserrat"/>
              </a:rPr>
              <a:t>3ème semaine </a:t>
            </a:r>
            <a:r>
              <a:rPr lang="fr-FR">
                <a:sym typeface="Montserrat"/>
              </a:rPr>
              <a:t>: retour sur des concepts identifiés par KEOLIS Rennes</a:t>
            </a:r>
          </a:p>
        </p:txBody>
      </p:sp>
      <p:sp>
        <p:nvSpPr>
          <p:cNvPr id="6" name="Rectangle 5">
            <a:extLst>
              <a:ext uri="{FF2B5EF4-FFF2-40B4-BE49-F238E27FC236}">
                <a16:creationId xmlns:a16="http://schemas.microsoft.com/office/drawing/2014/main" id="{D21872A7-FA51-4AE1-9BE0-641C7428361A}"/>
              </a:ext>
            </a:extLst>
          </p:cNvPr>
          <p:cNvSpPr/>
          <p:nvPr/>
        </p:nvSpPr>
        <p:spPr>
          <a:xfrm>
            <a:off x="6125271" y="4477083"/>
            <a:ext cx="5517968" cy="699791"/>
          </a:xfrm>
          <a:prstGeom prst="rect">
            <a:avLst/>
          </a:prstGeom>
          <a:ln w="9525">
            <a:solidFill>
              <a:schemeClr val="bg2"/>
            </a:solidFill>
          </a:ln>
        </p:spPr>
        <p:style>
          <a:lnRef idx="2">
            <a:schemeClr val="accent5"/>
          </a:lnRef>
          <a:fillRef idx="1">
            <a:schemeClr val="lt1"/>
          </a:fillRef>
          <a:effectRef idx="0">
            <a:schemeClr val="accent5"/>
          </a:effectRef>
          <a:fontRef idx="minor">
            <a:schemeClr val="dk1"/>
          </a:fontRef>
        </p:style>
        <p:txBody>
          <a:bodyPr lIns="72001" tIns="72001" rIns="72001" bIns="72001" anchor="ctr"/>
          <a:lstStyle/>
          <a:p>
            <a:pPr marL="914400" marR="0" lvl="2" indent="0" algn="l" defTabSz="304799" rtl="0" eaLnBrk="1" fontAlgn="auto" latinLnBrk="0" hangingPunct="1">
              <a:lnSpc>
                <a:spcPct val="100000"/>
              </a:lnSpc>
              <a:spcBef>
                <a:spcPts val="0"/>
              </a:spcBef>
              <a:spcAft>
                <a:spcPts val="0"/>
              </a:spcAft>
              <a:buClrTx/>
              <a:buSzPct val="100000"/>
              <a:buFontTx/>
              <a:buNone/>
              <a:tabLst/>
              <a:defRPr/>
            </a:pPr>
            <a:endParaRPr kumimoji="0" lang="fr-FR" sz="1051" b="0" i="0" u="none" strike="noStrike" kern="1200" cap="none" spc="0" normalizeH="0" baseline="0" noProof="0">
              <a:ln>
                <a:noFill/>
              </a:ln>
              <a:solidFill>
                <a:srgbClr val="404040"/>
              </a:solidFill>
              <a:effectLst/>
              <a:uLnTx/>
              <a:uFillTx/>
              <a:latin typeface="Arial Black" panose="020B0A04020102020204" pitchFamily="34" charset="0"/>
              <a:ea typeface="+mn-ea"/>
              <a:cs typeface="+mn-cs"/>
            </a:endParaRPr>
          </a:p>
        </p:txBody>
      </p:sp>
      <p:cxnSp>
        <p:nvCxnSpPr>
          <p:cNvPr id="7" name="Connecteur droit 6">
            <a:extLst>
              <a:ext uri="{FF2B5EF4-FFF2-40B4-BE49-F238E27FC236}">
                <a16:creationId xmlns:a16="http://schemas.microsoft.com/office/drawing/2014/main" id="{D3449B44-710C-43BE-ADD9-DD9BFB56579E}"/>
              </a:ext>
            </a:extLst>
          </p:cNvPr>
          <p:cNvCxnSpPr>
            <a:cxnSpLocks/>
          </p:cNvCxnSpPr>
          <p:nvPr/>
        </p:nvCxnSpPr>
        <p:spPr>
          <a:xfrm flipH="1">
            <a:off x="8884255" y="4592768"/>
            <a:ext cx="0" cy="46842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8" name="Google Shape;644;p64">
            <a:extLst>
              <a:ext uri="{FF2B5EF4-FFF2-40B4-BE49-F238E27FC236}">
                <a16:creationId xmlns:a16="http://schemas.microsoft.com/office/drawing/2014/main" id="{40FDCFEB-94C1-4364-8A24-8CF1F4E5ACD6}"/>
              </a:ext>
            </a:extLst>
          </p:cNvPr>
          <p:cNvSpPr txBox="1"/>
          <p:nvPr/>
        </p:nvSpPr>
        <p:spPr>
          <a:xfrm>
            <a:off x="6125271" y="1583373"/>
            <a:ext cx="5517967" cy="2200765"/>
          </a:xfrm>
          <a:prstGeom prst="rect">
            <a:avLst/>
          </a:prstGeom>
          <a:noFill/>
          <a:ln>
            <a:noFill/>
          </a:ln>
        </p:spPr>
        <p:txBody>
          <a:bodyPr spcFirstLastPara="1" wrap="square" lIns="36000" tIns="36000" rIns="0" bIns="36000" anchor="t" anchorCtr="0">
            <a:noAutofit/>
          </a:bodyPr>
          <a:lstStyle>
            <a:defPPr marR="0" lvl="0" algn="l" rtl="0">
              <a:lnSpc>
                <a:spcPct val="100000"/>
              </a:lnSpc>
              <a:spcBef>
                <a:spcPts val="0"/>
              </a:spcBef>
              <a:spcAft>
                <a:spcPts val="0"/>
              </a:spcAft>
            </a:defPPr>
            <a:lvl1pPr marL="0" indent="0" algn="just" defTabSz="914400" eaLnBrk="1" fontAlgn="auto" latinLnBrk="0" hangingPunct="1">
              <a:buClrTx/>
              <a:buSzPts val="900"/>
              <a:buFontTx/>
              <a:buNone/>
              <a:tabLst/>
              <a:defRPr kumimoji="0" sz="1200" kern="1200" spc="0" normalizeH="0" baseline="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defRPr>
            </a:lvl1pPr>
          </a:lstStyle>
          <a:p>
            <a:pPr marL="171450" indent="-171450">
              <a:buClr>
                <a:schemeClr val="bg2"/>
              </a:buClr>
              <a:buFont typeface="Arial" panose="020B0604020202020204" pitchFamily="34" charset="0"/>
              <a:buChar char="•"/>
            </a:pPr>
            <a:r>
              <a:rPr lang="fr-FR">
                <a:sym typeface="Montserrat"/>
              </a:rPr>
              <a:t>Permettre au Product </a:t>
            </a:r>
            <a:r>
              <a:rPr lang="fr-FR" err="1">
                <a:sym typeface="Montserrat"/>
              </a:rPr>
              <a:t>Owner</a:t>
            </a:r>
            <a:r>
              <a:rPr lang="fr-FR">
                <a:sym typeface="Montserrat"/>
              </a:rPr>
              <a:t> de comprendre globalement HASTUS : les concepts de l’outil et les principaux parcours utilisateurs (= pas à pas dans l’outil)</a:t>
            </a:r>
          </a:p>
        </p:txBody>
      </p:sp>
      <p:sp>
        <p:nvSpPr>
          <p:cNvPr id="9" name="Rectangle 8">
            <a:extLst>
              <a:ext uri="{FF2B5EF4-FFF2-40B4-BE49-F238E27FC236}">
                <a16:creationId xmlns:a16="http://schemas.microsoft.com/office/drawing/2014/main" id="{0520A868-5049-425D-B679-4BA221E97D54}"/>
              </a:ext>
            </a:extLst>
          </p:cNvPr>
          <p:cNvSpPr/>
          <p:nvPr/>
        </p:nvSpPr>
        <p:spPr>
          <a:xfrm>
            <a:off x="6125271" y="4477083"/>
            <a:ext cx="2758971" cy="699791"/>
          </a:xfrm>
          <a:prstGeom prst="rect">
            <a:avLst/>
          </a:prstGeom>
          <a:noFill/>
          <a:ln>
            <a:solidFill>
              <a:schemeClr val="tx2"/>
            </a:solidFill>
          </a:ln>
        </p:spPr>
        <p:txBody>
          <a:bodyPr wrap="square" anchor="ctr">
            <a:noAutofit/>
          </a:bodyPr>
          <a:lstStyle/>
          <a:p>
            <a:pPr lvl="3" algn="just">
              <a:buClrTx/>
              <a:defRPr/>
            </a:pPr>
            <a:r>
              <a:rPr kumimoji="0" lang="fr-FR" sz="1200" b="0" i="0" u="none" strike="noStrike" kern="1200" cap="none" spc="0" normalizeH="0" baseline="0" noProof="0">
                <a:ln>
                  <a:noFill/>
                </a:ln>
                <a:solidFill>
                  <a:schemeClr val="tx1">
                    <a:lumMod val="75000"/>
                    <a:lumOff val="25000"/>
                  </a:schemeClr>
                </a:solidFill>
                <a:effectLst/>
                <a:highlight>
                  <a:srgbClr val="FFFFFF"/>
                </a:highlight>
                <a:uLnTx/>
                <a:uFillTx/>
                <a:latin typeface="Arial" panose="020B0604020202020204" pitchFamily="34" charset="0"/>
                <a:ea typeface="Montserrat"/>
                <a:cs typeface="Arial" panose="020B0604020202020204" pitchFamily="34" charset="0"/>
                <a:sym typeface="Montserrat"/>
              </a:rPr>
              <a:t>2 intervenants principaux et 2 intervenants ponctuels (en fonction des compétences requises)</a:t>
            </a:r>
          </a:p>
        </p:txBody>
      </p:sp>
      <p:sp>
        <p:nvSpPr>
          <p:cNvPr id="10" name="Rectangle 9">
            <a:extLst>
              <a:ext uri="{FF2B5EF4-FFF2-40B4-BE49-F238E27FC236}">
                <a16:creationId xmlns:a16="http://schemas.microsoft.com/office/drawing/2014/main" id="{266D93E3-C205-4C7E-B123-F4184ABE181A}"/>
              </a:ext>
            </a:extLst>
          </p:cNvPr>
          <p:cNvSpPr/>
          <p:nvPr/>
        </p:nvSpPr>
        <p:spPr>
          <a:xfrm>
            <a:off x="8884242" y="4477083"/>
            <a:ext cx="2758985" cy="699792"/>
          </a:xfrm>
          <a:prstGeom prst="rect">
            <a:avLst/>
          </a:prstGeom>
          <a:noFill/>
          <a:ln>
            <a:solidFill>
              <a:schemeClr val="tx2"/>
            </a:solidFill>
          </a:ln>
        </p:spPr>
        <p:txBody>
          <a:bodyPr wrap="square" anchor="ctr">
            <a:noAutofit/>
          </a:bodyPr>
          <a:lstStyle/>
          <a:p>
            <a:pPr algn="just">
              <a:buClrTx/>
            </a:pPr>
            <a:r>
              <a:rPr lang="fr-FR" sz="1200" kern="1200">
                <a:solidFill>
                  <a:schemeClr val="tx1">
                    <a:lumMod val="75000"/>
                    <a:lumOff val="25000"/>
                  </a:schemeClr>
                </a:solidFill>
                <a:highlight>
                  <a:srgbClr val="FFFFFF"/>
                </a:highlight>
                <a:latin typeface="Arial" panose="020B0604020202020204" pitchFamily="34" charset="0"/>
                <a:cs typeface="Arial" panose="020B0604020202020204" pitchFamily="34" charset="0"/>
                <a:sym typeface="Montserrat"/>
              </a:rPr>
              <a:t>1 mois (2021) : 1 semaine de préparation et 3 semaines d’atelier (3 ateliers par semaine) </a:t>
            </a:r>
          </a:p>
        </p:txBody>
      </p:sp>
      <p:sp>
        <p:nvSpPr>
          <p:cNvPr id="13" name="ListLeanHorizontalTextDetail1">
            <a:extLst>
              <a:ext uri="{FF2B5EF4-FFF2-40B4-BE49-F238E27FC236}">
                <a16:creationId xmlns:a16="http://schemas.microsoft.com/office/drawing/2014/main" id="{2D8B0E4F-32EA-4629-9D69-E3E324F9CC73}"/>
              </a:ext>
            </a:extLst>
          </p:cNvPr>
          <p:cNvSpPr txBox="1">
            <a:spLocks/>
          </p:cNvSpPr>
          <p:nvPr/>
        </p:nvSpPr>
        <p:spPr>
          <a:xfrm>
            <a:off x="846763" y="1243525"/>
            <a:ext cx="4354776" cy="226259"/>
          </a:xfrm>
          <a:prstGeom prst="rect">
            <a:avLst/>
          </a:prstGeom>
          <a:noFill/>
          <a:ln w="12700">
            <a:noFill/>
          </a:ln>
        </p:spPr>
        <p:txBody>
          <a:bodyPr wrap="square" lIns="0" tIns="0" rIns="0" bIns="0" anchor="ctr" anchorCtr="0">
            <a:noAutofit/>
          </a:bodyPr>
          <a:lstStyle/>
          <a:p>
            <a:pPr marL="95250" marR="0" lvl="3" indent="0" algn="l" defTabSz="360363" rtl="0" eaLnBrk="1" fontAlgn="auto" latinLnBrk="0" hangingPunct="1">
              <a:lnSpc>
                <a:spcPct val="100000"/>
              </a:lnSpc>
              <a:spcBef>
                <a:spcPts val="600"/>
              </a:spcBef>
              <a:spcAft>
                <a:spcPts val="0"/>
              </a:spcAft>
              <a:buClr>
                <a:srgbClr val="0070C0"/>
              </a:buClr>
              <a:buSzPct val="100000"/>
              <a:buFontTx/>
              <a:buNone/>
              <a:tabLst/>
              <a:defRPr/>
            </a:pPr>
            <a:r>
              <a:rPr kumimoji="0" lang="fr-FR" sz="1400" b="1" i="0" u="none" strike="noStrike" kern="1200" cap="none" spc="0" normalizeH="0" baseline="0" noProof="0">
                <a:ln>
                  <a:noFill/>
                </a:ln>
                <a:solidFill>
                  <a:schemeClr val="accent1"/>
                </a:solidFill>
                <a:effectLst/>
                <a:uLnTx/>
                <a:uFillTx/>
                <a:latin typeface="Arial" panose="020B0604020202020204" pitchFamily="34" charset="0"/>
                <a:ea typeface="Calibri" charset="0"/>
                <a:cs typeface="Arial" panose="020B0604020202020204" pitchFamily="34" charset="0"/>
              </a:rPr>
              <a:t>Contexte</a:t>
            </a:r>
          </a:p>
        </p:txBody>
      </p:sp>
      <p:cxnSp>
        <p:nvCxnSpPr>
          <p:cNvPr id="14" name="Connecteur droit 13">
            <a:extLst>
              <a:ext uri="{FF2B5EF4-FFF2-40B4-BE49-F238E27FC236}">
                <a16:creationId xmlns:a16="http://schemas.microsoft.com/office/drawing/2014/main" id="{094F96C2-6152-4392-81B8-6B832186751A}"/>
              </a:ext>
            </a:extLst>
          </p:cNvPr>
          <p:cNvCxnSpPr>
            <a:cxnSpLocks/>
          </p:cNvCxnSpPr>
          <p:nvPr/>
        </p:nvCxnSpPr>
        <p:spPr>
          <a:xfrm flipH="1">
            <a:off x="521539" y="1562142"/>
            <a:ext cx="4956151"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grpSp>
        <p:nvGrpSpPr>
          <p:cNvPr id="15" name="Shape 426">
            <a:extLst>
              <a:ext uri="{FF2B5EF4-FFF2-40B4-BE49-F238E27FC236}">
                <a16:creationId xmlns:a16="http://schemas.microsoft.com/office/drawing/2014/main" id="{2FA91D2C-216A-4302-91C3-A236EBBBA892}"/>
              </a:ext>
            </a:extLst>
          </p:cNvPr>
          <p:cNvGrpSpPr/>
          <p:nvPr/>
        </p:nvGrpSpPr>
        <p:grpSpPr>
          <a:xfrm>
            <a:off x="521539" y="1194619"/>
            <a:ext cx="325224" cy="285971"/>
            <a:chOff x="1929775" y="320925"/>
            <a:chExt cx="423800" cy="372650"/>
          </a:xfrm>
        </p:grpSpPr>
        <p:sp>
          <p:nvSpPr>
            <p:cNvPr id="16" name="Shape 427">
              <a:extLst>
                <a:ext uri="{FF2B5EF4-FFF2-40B4-BE49-F238E27FC236}">
                  <a16:creationId xmlns:a16="http://schemas.microsoft.com/office/drawing/2014/main" id="{41097AC4-31B4-4C57-8E7C-DDCBE4CF5BEB}"/>
                </a:ext>
              </a:extLst>
            </p:cNvPr>
            <p:cNvSpPr/>
            <p:nvPr/>
          </p:nvSpPr>
          <p:spPr>
            <a:xfrm>
              <a:off x="1929775" y="320925"/>
              <a:ext cx="423800" cy="372650"/>
            </a:xfrm>
            <a:custGeom>
              <a:avLst/>
              <a:gdLst/>
              <a:ahLst/>
              <a:cxnLst/>
              <a:rect l="0" t="0" r="0" b="0"/>
              <a:pathLst>
                <a:path w="16952" h="14906" fill="none" extrusionOk="0">
                  <a:moveTo>
                    <a:pt x="16172" y="0"/>
                  </a:moveTo>
                  <a:lnTo>
                    <a:pt x="780" y="0"/>
                  </a:lnTo>
                  <a:lnTo>
                    <a:pt x="780" y="0"/>
                  </a:lnTo>
                  <a:lnTo>
                    <a:pt x="634" y="25"/>
                  </a:lnTo>
                  <a:lnTo>
                    <a:pt x="488" y="73"/>
                  </a:lnTo>
                  <a:lnTo>
                    <a:pt x="341" y="146"/>
                  </a:lnTo>
                  <a:lnTo>
                    <a:pt x="220" y="244"/>
                  </a:lnTo>
                  <a:lnTo>
                    <a:pt x="122" y="341"/>
                  </a:lnTo>
                  <a:lnTo>
                    <a:pt x="74" y="487"/>
                  </a:lnTo>
                  <a:lnTo>
                    <a:pt x="25" y="634"/>
                  </a:lnTo>
                  <a:lnTo>
                    <a:pt x="0" y="780"/>
                  </a:lnTo>
                  <a:lnTo>
                    <a:pt x="0" y="14126"/>
                  </a:lnTo>
                  <a:lnTo>
                    <a:pt x="0" y="14126"/>
                  </a:lnTo>
                  <a:lnTo>
                    <a:pt x="25" y="14272"/>
                  </a:lnTo>
                  <a:lnTo>
                    <a:pt x="74" y="14418"/>
                  </a:lnTo>
                  <a:lnTo>
                    <a:pt x="122" y="14565"/>
                  </a:lnTo>
                  <a:lnTo>
                    <a:pt x="220" y="14662"/>
                  </a:lnTo>
                  <a:lnTo>
                    <a:pt x="341" y="14759"/>
                  </a:lnTo>
                  <a:lnTo>
                    <a:pt x="488" y="14832"/>
                  </a:lnTo>
                  <a:lnTo>
                    <a:pt x="634" y="14881"/>
                  </a:lnTo>
                  <a:lnTo>
                    <a:pt x="780" y="14906"/>
                  </a:lnTo>
                  <a:lnTo>
                    <a:pt x="16172" y="14906"/>
                  </a:lnTo>
                  <a:lnTo>
                    <a:pt x="16172" y="14906"/>
                  </a:lnTo>
                  <a:lnTo>
                    <a:pt x="16318" y="14881"/>
                  </a:lnTo>
                  <a:lnTo>
                    <a:pt x="16464" y="14832"/>
                  </a:lnTo>
                  <a:lnTo>
                    <a:pt x="16611" y="14759"/>
                  </a:lnTo>
                  <a:lnTo>
                    <a:pt x="16732" y="14662"/>
                  </a:lnTo>
                  <a:lnTo>
                    <a:pt x="16830" y="14565"/>
                  </a:lnTo>
                  <a:lnTo>
                    <a:pt x="16878" y="14418"/>
                  </a:lnTo>
                  <a:lnTo>
                    <a:pt x="16927" y="14272"/>
                  </a:lnTo>
                  <a:lnTo>
                    <a:pt x="16952" y="14126"/>
                  </a:lnTo>
                  <a:lnTo>
                    <a:pt x="16952" y="780"/>
                  </a:lnTo>
                  <a:lnTo>
                    <a:pt x="16952" y="780"/>
                  </a:lnTo>
                  <a:lnTo>
                    <a:pt x="16927" y="634"/>
                  </a:lnTo>
                  <a:lnTo>
                    <a:pt x="16878" y="487"/>
                  </a:lnTo>
                  <a:lnTo>
                    <a:pt x="16830" y="341"/>
                  </a:lnTo>
                  <a:lnTo>
                    <a:pt x="16732" y="244"/>
                  </a:lnTo>
                  <a:lnTo>
                    <a:pt x="16611" y="146"/>
                  </a:lnTo>
                  <a:lnTo>
                    <a:pt x="16464" y="73"/>
                  </a:lnTo>
                  <a:lnTo>
                    <a:pt x="16318" y="25"/>
                  </a:lnTo>
                  <a:lnTo>
                    <a:pt x="16172" y="0"/>
                  </a:lnTo>
                  <a:lnTo>
                    <a:pt x="16172" y="0"/>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17" name="Shape 428">
              <a:extLst>
                <a:ext uri="{FF2B5EF4-FFF2-40B4-BE49-F238E27FC236}">
                  <a16:creationId xmlns:a16="http://schemas.microsoft.com/office/drawing/2014/main" id="{FD436F0F-4D39-4FFA-8948-3AF7E449496F}"/>
                </a:ext>
              </a:extLst>
            </p:cNvPr>
            <p:cNvSpPr/>
            <p:nvPr/>
          </p:nvSpPr>
          <p:spPr>
            <a:xfrm>
              <a:off x="1954125" y="345275"/>
              <a:ext cx="375100" cy="323950"/>
            </a:xfrm>
            <a:custGeom>
              <a:avLst/>
              <a:gdLst/>
              <a:ahLst/>
              <a:cxnLst/>
              <a:rect l="0" t="0" r="0" b="0"/>
              <a:pathLst>
                <a:path w="15004" h="12958" fill="none" extrusionOk="0">
                  <a:moveTo>
                    <a:pt x="15003" y="12957"/>
                  </a:moveTo>
                  <a:lnTo>
                    <a:pt x="1" y="12957"/>
                  </a:lnTo>
                  <a:lnTo>
                    <a:pt x="1" y="0"/>
                  </a:lnTo>
                  <a:lnTo>
                    <a:pt x="15003" y="0"/>
                  </a:lnTo>
                  <a:lnTo>
                    <a:pt x="15003" y="12957"/>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18" name="Shape 429">
              <a:extLst>
                <a:ext uri="{FF2B5EF4-FFF2-40B4-BE49-F238E27FC236}">
                  <a16:creationId xmlns:a16="http://schemas.microsoft.com/office/drawing/2014/main" id="{AAA16E06-E8CA-4AAA-BEE6-779F46F77F52}"/>
                </a:ext>
              </a:extLst>
            </p:cNvPr>
            <p:cNvSpPr/>
            <p:nvPr/>
          </p:nvSpPr>
          <p:spPr>
            <a:xfrm>
              <a:off x="2162375" y="534625"/>
              <a:ext cx="146750" cy="113275"/>
            </a:xfrm>
            <a:custGeom>
              <a:avLst/>
              <a:gdLst/>
              <a:ahLst/>
              <a:cxnLst/>
              <a:rect l="0" t="0" r="0" b="0"/>
              <a:pathLst>
                <a:path w="5870" h="4531" fill="none" extrusionOk="0">
                  <a:moveTo>
                    <a:pt x="0" y="2266"/>
                  </a:moveTo>
                  <a:lnTo>
                    <a:pt x="1534" y="244"/>
                  </a:lnTo>
                  <a:lnTo>
                    <a:pt x="1534" y="244"/>
                  </a:lnTo>
                  <a:lnTo>
                    <a:pt x="1632" y="147"/>
                  </a:lnTo>
                  <a:lnTo>
                    <a:pt x="1754" y="50"/>
                  </a:lnTo>
                  <a:lnTo>
                    <a:pt x="1875" y="1"/>
                  </a:lnTo>
                  <a:lnTo>
                    <a:pt x="2022" y="1"/>
                  </a:lnTo>
                  <a:lnTo>
                    <a:pt x="2143" y="1"/>
                  </a:lnTo>
                  <a:lnTo>
                    <a:pt x="2289" y="50"/>
                  </a:lnTo>
                  <a:lnTo>
                    <a:pt x="2411" y="147"/>
                  </a:lnTo>
                  <a:lnTo>
                    <a:pt x="2509" y="244"/>
                  </a:lnTo>
                  <a:lnTo>
                    <a:pt x="5870" y="4531"/>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19" name="Shape 430">
              <a:extLst>
                <a:ext uri="{FF2B5EF4-FFF2-40B4-BE49-F238E27FC236}">
                  <a16:creationId xmlns:a16="http://schemas.microsoft.com/office/drawing/2014/main" id="{D5731BAA-A2E3-4D74-B9B3-C849DB70F84E}"/>
                </a:ext>
              </a:extLst>
            </p:cNvPr>
            <p:cNvSpPr/>
            <p:nvPr/>
          </p:nvSpPr>
          <p:spPr>
            <a:xfrm>
              <a:off x="1974225" y="468875"/>
              <a:ext cx="232600" cy="179025"/>
            </a:xfrm>
            <a:custGeom>
              <a:avLst/>
              <a:gdLst/>
              <a:ahLst/>
              <a:cxnLst/>
              <a:rect l="0" t="0" r="0" b="0"/>
              <a:pathLst>
                <a:path w="9304" h="7161" fill="none" extrusionOk="0">
                  <a:moveTo>
                    <a:pt x="0" y="3995"/>
                  </a:moveTo>
                  <a:lnTo>
                    <a:pt x="2923" y="244"/>
                  </a:lnTo>
                  <a:lnTo>
                    <a:pt x="2923" y="244"/>
                  </a:lnTo>
                  <a:lnTo>
                    <a:pt x="3020" y="147"/>
                  </a:lnTo>
                  <a:lnTo>
                    <a:pt x="3142" y="49"/>
                  </a:lnTo>
                  <a:lnTo>
                    <a:pt x="3264" y="1"/>
                  </a:lnTo>
                  <a:lnTo>
                    <a:pt x="3410" y="1"/>
                  </a:lnTo>
                  <a:lnTo>
                    <a:pt x="3532" y="1"/>
                  </a:lnTo>
                  <a:lnTo>
                    <a:pt x="3678" y="49"/>
                  </a:lnTo>
                  <a:lnTo>
                    <a:pt x="3800" y="147"/>
                  </a:lnTo>
                  <a:lnTo>
                    <a:pt x="3897" y="244"/>
                  </a:lnTo>
                  <a:lnTo>
                    <a:pt x="9304" y="7161"/>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20" name="Shape 431">
              <a:extLst>
                <a:ext uri="{FF2B5EF4-FFF2-40B4-BE49-F238E27FC236}">
                  <a16:creationId xmlns:a16="http://schemas.microsoft.com/office/drawing/2014/main" id="{E38287D1-E776-4B16-9875-0AF7341FCCF7}"/>
                </a:ext>
              </a:extLst>
            </p:cNvPr>
            <p:cNvSpPr/>
            <p:nvPr/>
          </p:nvSpPr>
          <p:spPr>
            <a:xfrm>
              <a:off x="2169675" y="396425"/>
              <a:ext cx="97450" cy="97450"/>
            </a:xfrm>
            <a:custGeom>
              <a:avLst/>
              <a:gdLst/>
              <a:ahLst/>
              <a:cxnLst/>
              <a:rect l="0" t="0" r="0" b="0"/>
              <a:pathLst>
                <a:path w="3898" h="3898" fill="none" extrusionOk="0">
                  <a:moveTo>
                    <a:pt x="1949" y="3897"/>
                  </a:moveTo>
                  <a:lnTo>
                    <a:pt x="1949" y="3897"/>
                  </a:lnTo>
                  <a:lnTo>
                    <a:pt x="1754" y="3897"/>
                  </a:lnTo>
                  <a:lnTo>
                    <a:pt x="1559" y="3873"/>
                  </a:lnTo>
                  <a:lnTo>
                    <a:pt x="1364" y="3824"/>
                  </a:lnTo>
                  <a:lnTo>
                    <a:pt x="1194" y="3751"/>
                  </a:lnTo>
                  <a:lnTo>
                    <a:pt x="1023" y="3678"/>
                  </a:lnTo>
                  <a:lnTo>
                    <a:pt x="853" y="3580"/>
                  </a:lnTo>
                  <a:lnTo>
                    <a:pt x="707" y="3459"/>
                  </a:lnTo>
                  <a:lnTo>
                    <a:pt x="560" y="3337"/>
                  </a:lnTo>
                  <a:lnTo>
                    <a:pt x="439" y="3191"/>
                  </a:lnTo>
                  <a:lnTo>
                    <a:pt x="317" y="3045"/>
                  </a:lnTo>
                  <a:lnTo>
                    <a:pt x="220" y="2874"/>
                  </a:lnTo>
                  <a:lnTo>
                    <a:pt x="146" y="2704"/>
                  </a:lnTo>
                  <a:lnTo>
                    <a:pt x="73" y="2533"/>
                  </a:lnTo>
                  <a:lnTo>
                    <a:pt x="25" y="2338"/>
                  </a:lnTo>
                  <a:lnTo>
                    <a:pt x="0" y="2168"/>
                  </a:lnTo>
                  <a:lnTo>
                    <a:pt x="0" y="1949"/>
                  </a:lnTo>
                  <a:lnTo>
                    <a:pt x="0" y="1949"/>
                  </a:lnTo>
                  <a:lnTo>
                    <a:pt x="0" y="1754"/>
                  </a:lnTo>
                  <a:lnTo>
                    <a:pt x="25" y="1559"/>
                  </a:lnTo>
                  <a:lnTo>
                    <a:pt x="73" y="1389"/>
                  </a:lnTo>
                  <a:lnTo>
                    <a:pt x="146" y="1194"/>
                  </a:lnTo>
                  <a:lnTo>
                    <a:pt x="220" y="1023"/>
                  </a:lnTo>
                  <a:lnTo>
                    <a:pt x="317" y="877"/>
                  </a:lnTo>
                  <a:lnTo>
                    <a:pt x="439" y="707"/>
                  </a:lnTo>
                  <a:lnTo>
                    <a:pt x="560" y="585"/>
                  </a:lnTo>
                  <a:lnTo>
                    <a:pt x="707" y="463"/>
                  </a:lnTo>
                  <a:lnTo>
                    <a:pt x="853" y="341"/>
                  </a:lnTo>
                  <a:lnTo>
                    <a:pt x="1023" y="244"/>
                  </a:lnTo>
                  <a:lnTo>
                    <a:pt x="1194" y="171"/>
                  </a:lnTo>
                  <a:lnTo>
                    <a:pt x="1364" y="98"/>
                  </a:lnTo>
                  <a:lnTo>
                    <a:pt x="1559" y="49"/>
                  </a:lnTo>
                  <a:lnTo>
                    <a:pt x="1754" y="25"/>
                  </a:lnTo>
                  <a:lnTo>
                    <a:pt x="1949" y="0"/>
                  </a:lnTo>
                  <a:lnTo>
                    <a:pt x="1949" y="0"/>
                  </a:lnTo>
                  <a:lnTo>
                    <a:pt x="2144" y="25"/>
                  </a:lnTo>
                  <a:lnTo>
                    <a:pt x="2338" y="49"/>
                  </a:lnTo>
                  <a:lnTo>
                    <a:pt x="2533" y="98"/>
                  </a:lnTo>
                  <a:lnTo>
                    <a:pt x="2704" y="171"/>
                  </a:lnTo>
                  <a:lnTo>
                    <a:pt x="2874" y="244"/>
                  </a:lnTo>
                  <a:lnTo>
                    <a:pt x="3020" y="341"/>
                  </a:lnTo>
                  <a:lnTo>
                    <a:pt x="3191" y="463"/>
                  </a:lnTo>
                  <a:lnTo>
                    <a:pt x="3313" y="585"/>
                  </a:lnTo>
                  <a:lnTo>
                    <a:pt x="3459" y="707"/>
                  </a:lnTo>
                  <a:lnTo>
                    <a:pt x="3556" y="877"/>
                  </a:lnTo>
                  <a:lnTo>
                    <a:pt x="3654" y="1023"/>
                  </a:lnTo>
                  <a:lnTo>
                    <a:pt x="3727" y="1194"/>
                  </a:lnTo>
                  <a:lnTo>
                    <a:pt x="3800" y="1389"/>
                  </a:lnTo>
                  <a:lnTo>
                    <a:pt x="3848" y="1559"/>
                  </a:lnTo>
                  <a:lnTo>
                    <a:pt x="3873" y="1754"/>
                  </a:lnTo>
                  <a:lnTo>
                    <a:pt x="3897" y="1949"/>
                  </a:lnTo>
                  <a:lnTo>
                    <a:pt x="3897" y="1949"/>
                  </a:lnTo>
                  <a:lnTo>
                    <a:pt x="3873" y="2168"/>
                  </a:lnTo>
                  <a:lnTo>
                    <a:pt x="3848" y="2338"/>
                  </a:lnTo>
                  <a:lnTo>
                    <a:pt x="3800" y="2533"/>
                  </a:lnTo>
                  <a:lnTo>
                    <a:pt x="3727" y="2704"/>
                  </a:lnTo>
                  <a:lnTo>
                    <a:pt x="3654" y="2874"/>
                  </a:lnTo>
                  <a:lnTo>
                    <a:pt x="3556" y="3045"/>
                  </a:lnTo>
                  <a:lnTo>
                    <a:pt x="3459" y="3191"/>
                  </a:lnTo>
                  <a:lnTo>
                    <a:pt x="3313" y="3337"/>
                  </a:lnTo>
                  <a:lnTo>
                    <a:pt x="3191" y="3459"/>
                  </a:lnTo>
                  <a:lnTo>
                    <a:pt x="3020" y="3580"/>
                  </a:lnTo>
                  <a:lnTo>
                    <a:pt x="2874" y="3678"/>
                  </a:lnTo>
                  <a:lnTo>
                    <a:pt x="2704" y="3751"/>
                  </a:lnTo>
                  <a:lnTo>
                    <a:pt x="2533" y="3824"/>
                  </a:lnTo>
                  <a:lnTo>
                    <a:pt x="2338" y="3873"/>
                  </a:lnTo>
                  <a:lnTo>
                    <a:pt x="2144" y="3897"/>
                  </a:lnTo>
                  <a:lnTo>
                    <a:pt x="1949" y="3897"/>
                  </a:lnTo>
                  <a:lnTo>
                    <a:pt x="1949" y="3897"/>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grpSp>
      <p:sp>
        <p:nvSpPr>
          <p:cNvPr id="21" name="ListLeanHorizontalTextDetail1">
            <a:extLst>
              <a:ext uri="{FF2B5EF4-FFF2-40B4-BE49-F238E27FC236}">
                <a16:creationId xmlns:a16="http://schemas.microsoft.com/office/drawing/2014/main" id="{1D3EA3B3-0152-49A7-B342-314106F9328B}"/>
              </a:ext>
            </a:extLst>
          </p:cNvPr>
          <p:cNvSpPr txBox="1">
            <a:spLocks/>
          </p:cNvSpPr>
          <p:nvPr/>
        </p:nvSpPr>
        <p:spPr>
          <a:xfrm>
            <a:off x="846763" y="3929266"/>
            <a:ext cx="4354776" cy="223918"/>
          </a:xfrm>
          <a:prstGeom prst="rect">
            <a:avLst/>
          </a:prstGeom>
          <a:noFill/>
          <a:ln w="12700">
            <a:noFill/>
          </a:ln>
        </p:spPr>
        <p:txBody>
          <a:bodyPr wrap="square" lIns="0" tIns="0" rIns="0" bIns="0" anchor="ctr" anchorCtr="0">
            <a:noAutofit/>
          </a:bodyPr>
          <a:lstStyle>
            <a:defPPr marR="0" lvl="0" algn="l" rtl="0">
              <a:lnSpc>
                <a:spcPct val="100000"/>
              </a:lnSpc>
              <a:spcBef>
                <a:spcPts val="0"/>
              </a:spcBef>
              <a:spcAft>
                <a:spcPts val="0"/>
              </a:spcAft>
            </a:defPPr>
            <a:lvl4pPr marL="95250" indent="0" defTabSz="360363" eaLnBrk="1" fontAlgn="auto" latinLnBrk="0" hangingPunct="1">
              <a:spcBef>
                <a:spcPts val="600"/>
              </a:spcBef>
              <a:buClr>
                <a:srgbClr val="0070C0"/>
              </a:buClr>
              <a:buSzPct val="100000"/>
              <a:buFontTx/>
              <a:buNone/>
              <a:tabLst/>
              <a:defRPr kumimoji="0" b="1" kern="1200" spc="0" normalizeH="0" baseline="0">
                <a:ln>
                  <a:noFill/>
                </a:ln>
                <a:solidFill>
                  <a:schemeClr val="bg2">
                    <a:lumMod val="60000"/>
                    <a:lumOff val="40000"/>
                  </a:schemeClr>
                </a:solidFill>
                <a:effectLst/>
                <a:uLnTx/>
                <a:uFillTx/>
                <a:latin typeface="Arial" panose="020B0604020202020204" pitchFamily="34" charset="0"/>
                <a:ea typeface="Calibri" charset="0"/>
                <a:cs typeface="Arial" panose="020B0604020202020204" pitchFamily="34" charset="0"/>
              </a:defRPr>
            </a:lvl4pPr>
          </a:lstStyle>
          <a:p>
            <a:pPr lvl="3"/>
            <a:r>
              <a:rPr lang="fr-FR">
                <a:solidFill>
                  <a:schemeClr val="accent1"/>
                </a:solidFill>
              </a:rPr>
              <a:t>Méthodologie et apports Talan Consulting</a:t>
            </a:r>
          </a:p>
        </p:txBody>
      </p:sp>
      <p:grpSp>
        <p:nvGrpSpPr>
          <p:cNvPr id="22" name="Shape 434">
            <a:extLst>
              <a:ext uri="{FF2B5EF4-FFF2-40B4-BE49-F238E27FC236}">
                <a16:creationId xmlns:a16="http://schemas.microsoft.com/office/drawing/2014/main" id="{C8D42E14-7E5F-488E-B43D-EED9604FB1F6}"/>
              </a:ext>
            </a:extLst>
          </p:cNvPr>
          <p:cNvGrpSpPr/>
          <p:nvPr/>
        </p:nvGrpSpPr>
        <p:grpSpPr>
          <a:xfrm>
            <a:off x="521539" y="3845275"/>
            <a:ext cx="270150" cy="307907"/>
            <a:chOff x="4630125" y="278900"/>
            <a:chExt cx="400675" cy="456675"/>
          </a:xfrm>
        </p:grpSpPr>
        <p:sp>
          <p:nvSpPr>
            <p:cNvPr id="23" name="Shape 435">
              <a:extLst>
                <a:ext uri="{FF2B5EF4-FFF2-40B4-BE49-F238E27FC236}">
                  <a16:creationId xmlns:a16="http://schemas.microsoft.com/office/drawing/2014/main" id="{80BFFFE1-C803-454B-B492-533EEF7D3047}"/>
                </a:ext>
              </a:extLst>
            </p:cNvPr>
            <p:cNvSpPr/>
            <p:nvPr/>
          </p:nvSpPr>
          <p:spPr>
            <a:xfrm>
              <a:off x="4659350" y="328825"/>
              <a:ext cx="371450" cy="96850"/>
            </a:xfrm>
            <a:custGeom>
              <a:avLst/>
              <a:gdLst/>
              <a:ahLst/>
              <a:cxnLst/>
              <a:rect l="0" t="0" r="0" b="0"/>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24" name="Shape 436">
              <a:extLst>
                <a:ext uri="{FF2B5EF4-FFF2-40B4-BE49-F238E27FC236}">
                  <a16:creationId xmlns:a16="http://schemas.microsoft.com/office/drawing/2014/main" id="{022C39A9-CBC2-4650-9FCA-0AE2EEE046F4}"/>
                </a:ext>
              </a:extLst>
            </p:cNvPr>
            <p:cNvSpPr/>
            <p:nvPr/>
          </p:nvSpPr>
          <p:spPr>
            <a:xfrm>
              <a:off x="4630125" y="452425"/>
              <a:ext cx="371450" cy="96850"/>
            </a:xfrm>
            <a:custGeom>
              <a:avLst/>
              <a:gdLst/>
              <a:ahLst/>
              <a:cxnLst/>
              <a:rect l="0" t="0" r="0" b="0"/>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25" name="Shape 437">
              <a:extLst>
                <a:ext uri="{FF2B5EF4-FFF2-40B4-BE49-F238E27FC236}">
                  <a16:creationId xmlns:a16="http://schemas.microsoft.com/office/drawing/2014/main" id="{FF3B7324-B629-4F5C-824E-9AF4CEA30DAA}"/>
                </a:ext>
              </a:extLst>
            </p:cNvPr>
            <p:cNvSpPr/>
            <p:nvPr/>
          </p:nvSpPr>
          <p:spPr>
            <a:xfrm>
              <a:off x="4808525" y="278900"/>
              <a:ext cx="43875" cy="49950"/>
            </a:xfrm>
            <a:custGeom>
              <a:avLst/>
              <a:gdLst/>
              <a:ahLst/>
              <a:cxnLst/>
              <a:rect l="0" t="0" r="0" b="0"/>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26" name="Shape 438">
              <a:extLst>
                <a:ext uri="{FF2B5EF4-FFF2-40B4-BE49-F238E27FC236}">
                  <a16:creationId xmlns:a16="http://schemas.microsoft.com/office/drawing/2014/main" id="{0B0DD715-E7D4-4BEB-9E43-B02C307AF6EB}"/>
                </a:ext>
              </a:extLst>
            </p:cNvPr>
            <p:cNvSpPr/>
            <p:nvPr/>
          </p:nvSpPr>
          <p:spPr>
            <a:xfrm>
              <a:off x="4808525" y="549250"/>
              <a:ext cx="43875" cy="186325"/>
            </a:xfrm>
            <a:custGeom>
              <a:avLst/>
              <a:gdLst/>
              <a:ahLst/>
              <a:cxnLst/>
              <a:rect l="0" t="0" r="0" b="0"/>
              <a:pathLst>
                <a:path w="1755" h="7453" fill="none" extrusionOk="0">
                  <a:moveTo>
                    <a:pt x="1" y="0"/>
                  </a:moveTo>
                  <a:lnTo>
                    <a:pt x="1" y="7453"/>
                  </a:lnTo>
                  <a:lnTo>
                    <a:pt x="1754" y="7453"/>
                  </a:lnTo>
                  <a:lnTo>
                    <a:pt x="1754" y="0"/>
                  </a:lnTo>
                  <a:lnTo>
                    <a:pt x="1" y="0"/>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grpSp>
      <p:sp>
        <p:nvSpPr>
          <p:cNvPr id="27" name="ListLeanHorizontalTextDetail1">
            <a:extLst>
              <a:ext uri="{FF2B5EF4-FFF2-40B4-BE49-F238E27FC236}">
                <a16:creationId xmlns:a16="http://schemas.microsoft.com/office/drawing/2014/main" id="{AB1C50DF-B242-4637-85B8-AFF33AF6FCDA}"/>
              </a:ext>
            </a:extLst>
          </p:cNvPr>
          <p:cNvSpPr txBox="1">
            <a:spLocks/>
          </p:cNvSpPr>
          <p:nvPr/>
        </p:nvSpPr>
        <p:spPr>
          <a:xfrm>
            <a:off x="6567419" y="1241187"/>
            <a:ext cx="4072207" cy="226259"/>
          </a:xfrm>
          <a:prstGeom prst="rect">
            <a:avLst/>
          </a:prstGeom>
          <a:noFill/>
          <a:ln w="12700">
            <a:noFill/>
          </a:ln>
        </p:spPr>
        <p:txBody>
          <a:bodyPr wrap="square" lIns="0" tIns="0" rIns="0" bIns="0" anchor="ctr" anchorCtr="0">
            <a:noAutofit/>
          </a:bodyPr>
          <a:lstStyle>
            <a:defPPr marR="0" lvl="0" algn="l" rtl="0">
              <a:lnSpc>
                <a:spcPct val="100000"/>
              </a:lnSpc>
              <a:spcBef>
                <a:spcPts val="0"/>
              </a:spcBef>
              <a:spcAft>
                <a:spcPts val="0"/>
              </a:spcAft>
            </a:defPPr>
            <a:lvl4pPr marL="95250" indent="0" defTabSz="360363" eaLnBrk="1" fontAlgn="auto" latinLnBrk="0" hangingPunct="1">
              <a:spcBef>
                <a:spcPts val="600"/>
              </a:spcBef>
              <a:buClr>
                <a:srgbClr val="0070C0"/>
              </a:buClr>
              <a:buSzPct val="100000"/>
              <a:buFontTx/>
              <a:buNone/>
              <a:tabLst/>
              <a:defRPr kumimoji="0" b="1" kern="1200" spc="0" normalizeH="0" baseline="0">
                <a:ln>
                  <a:noFill/>
                </a:ln>
                <a:solidFill>
                  <a:schemeClr val="tx2"/>
                </a:solidFill>
                <a:effectLst/>
                <a:uLnTx/>
                <a:uFillTx/>
                <a:latin typeface="Arial" panose="020B0604020202020204" pitchFamily="34" charset="0"/>
                <a:ea typeface="Calibri" charset="0"/>
                <a:cs typeface="Arial" panose="020B0604020202020204" pitchFamily="34" charset="0"/>
              </a:defRPr>
            </a:lvl4pPr>
          </a:lstStyle>
          <a:p>
            <a:pPr lvl="3"/>
            <a:r>
              <a:rPr lang="fr-FR">
                <a:solidFill>
                  <a:schemeClr val="accent1"/>
                </a:solidFill>
              </a:rPr>
              <a:t>Objectifs</a:t>
            </a:r>
          </a:p>
        </p:txBody>
      </p:sp>
      <p:cxnSp>
        <p:nvCxnSpPr>
          <p:cNvPr id="28" name="Connecteur droit 27">
            <a:extLst>
              <a:ext uri="{FF2B5EF4-FFF2-40B4-BE49-F238E27FC236}">
                <a16:creationId xmlns:a16="http://schemas.microsoft.com/office/drawing/2014/main" id="{076E9DA1-04E0-40D7-9E9E-34760800A390}"/>
              </a:ext>
            </a:extLst>
          </p:cNvPr>
          <p:cNvCxnSpPr>
            <a:cxnSpLocks/>
          </p:cNvCxnSpPr>
          <p:nvPr/>
        </p:nvCxnSpPr>
        <p:spPr>
          <a:xfrm flipH="1">
            <a:off x="6125274" y="1562142"/>
            <a:ext cx="5517964"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grpSp>
        <p:nvGrpSpPr>
          <p:cNvPr id="29" name="Shape 500">
            <a:extLst>
              <a:ext uri="{FF2B5EF4-FFF2-40B4-BE49-F238E27FC236}">
                <a16:creationId xmlns:a16="http://schemas.microsoft.com/office/drawing/2014/main" id="{A39F0604-8228-46C3-810C-CB30D772CE77}"/>
              </a:ext>
            </a:extLst>
          </p:cNvPr>
          <p:cNvGrpSpPr/>
          <p:nvPr/>
        </p:nvGrpSpPr>
        <p:grpSpPr>
          <a:xfrm>
            <a:off x="6184809" y="1163302"/>
            <a:ext cx="324000" cy="343929"/>
            <a:chOff x="5961125" y="1623900"/>
            <a:chExt cx="427450" cy="448175"/>
          </a:xfrm>
        </p:grpSpPr>
        <p:sp>
          <p:nvSpPr>
            <p:cNvPr id="30" name="Shape 501">
              <a:extLst>
                <a:ext uri="{FF2B5EF4-FFF2-40B4-BE49-F238E27FC236}">
                  <a16:creationId xmlns:a16="http://schemas.microsoft.com/office/drawing/2014/main" id="{F596662B-A42F-46EA-BF3C-8D49D5187D26}"/>
                </a:ext>
              </a:extLst>
            </p:cNvPr>
            <p:cNvSpPr/>
            <p:nvPr/>
          </p:nvSpPr>
          <p:spPr>
            <a:xfrm>
              <a:off x="5961125" y="1678700"/>
              <a:ext cx="376925" cy="376925"/>
            </a:xfrm>
            <a:custGeom>
              <a:avLst/>
              <a:gdLst/>
              <a:ahLst/>
              <a:cxnLst/>
              <a:rect l="0" t="0" r="0" b="0"/>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1" name="Shape 502">
              <a:extLst>
                <a:ext uri="{FF2B5EF4-FFF2-40B4-BE49-F238E27FC236}">
                  <a16:creationId xmlns:a16="http://schemas.microsoft.com/office/drawing/2014/main" id="{FBB086B4-C22E-4B89-BBA2-47CD31211B12}"/>
                </a:ext>
              </a:extLst>
            </p:cNvPr>
            <p:cNvSpPr/>
            <p:nvPr/>
          </p:nvSpPr>
          <p:spPr>
            <a:xfrm>
              <a:off x="6009825" y="1727425"/>
              <a:ext cx="279500" cy="279500"/>
            </a:xfrm>
            <a:custGeom>
              <a:avLst/>
              <a:gdLst/>
              <a:ahLst/>
              <a:cxnLst/>
              <a:rect l="0" t="0" r="0" b="0"/>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2" name="Shape 503">
              <a:extLst>
                <a:ext uri="{FF2B5EF4-FFF2-40B4-BE49-F238E27FC236}">
                  <a16:creationId xmlns:a16="http://schemas.microsoft.com/office/drawing/2014/main" id="{4CBCD712-CC28-446E-AE08-3CEF1B039126}"/>
                </a:ext>
              </a:extLst>
            </p:cNvPr>
            <p:cNvSpPr/>
            <p:nvPr/>
          </p:nvSpPr>
          <p:spPr>
            <a:xfrm>
              <a:off x="6107250" y="1824850"/>
              <a:ext cx="84650" cy="84650"/>
            </a:xfrm>
            <a:custGeom>
              <a:avLst/>
              <a:gdLst/>
              <a:ahLst/>
              <a:cxnLst/>
              <a:rect l="0" t="0" r="0" b="0"/>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3" name="Shape 504">
              <a:extLst>
                <a:ext uri="{FF2B5EF4-FFF2-40B4-BE49-F238E27FC236}">
                  <a16:creationId xmlns:a16="http://schemas.microsoft.com/office/drawing/2014/main" id="{B884389D-5B13-4AFE-AA9B-8E19D62B8B96}"/>
                </a:ext>
              </a:extLst>
            </p:cNvPr>
            <p:cNvSpPr/>
            <p:nvPr/>
          </p:nvSpPr>
          <p:spPr>
            <a:xfrm>
              <a:off x="6058550" y="1776125"/>
              <a:ext cx="182075" cy="182075"/>
            </a:xfrm>
            <a:custGeom>
              <a:avLst/>
              <a:gdLst/>
              <a:ahLst/>
              <a:cxnLst/>
              <a:rect l="0" t="0" r="0" b="0"/>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4" name="Shape 505">
              <a:extLst>
                <a:ext uri="{FF2B5EF4-FFF2-40B4-BE49-F238E27FC236}">
                  <a16:creationId xmlns:a16="http://schemas.microsoft.com/office/drawing/2014/main" id="{4DD7AC92-9592-4A59-BF16-CDCABCEE06F7}"/>
                </a:ext>
              </a:extLst>
            </p:cNvPr>
            <p:cNvSpPr/>
            <p:nvPr/>
          </p:nvSpPr>
          <p:spPr>
            <a:xfrm>
              <a:off x="5971475" y="2001400"/>
              <a:ext cx="74925" cy="70675"/>
            </a:xfrm>
            <a:custGeom>
              <a:avLst/>
              <a:gdLst/>
              <a:ahLst/>
              <a:cxnLst/>
              <a:rect l="0" t="0" r="0" b="0"/>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5" name="Shape 506">
              <a:extLst>
                <a:ext uri="{FF2B5EF4-FFF2-40B4-BE49-F238E27FC236}">
                  <a16:creationId xmlns:a16="http://schemas.microsoft.com/office/drawing/2014/main" id="{50838620-D323-42A1-9262-59336B3D9D2D}"/>
                </a:ext>
              </a:extLst>
            </p:cNvPr>
            <p:cNvSpPr/>
            <p:nvPr/>
          </p:nvSpPr>
          <p:spPr>
            <a:xfrm>
              <a:off x="6253375" y="2001400"/>
              <a:ext cx="74325" cy="70675"/>
            </a:xfrm>
            <a:custGeom>
              <a:avLst/>
              <a:gdLst/>
              <a:ahLst/>
              <a:cxnLst/>
              <a:rect l="0" t="0" r="0" b="0"/>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6" name="Shape 507">
              <a:extLst>
                <a:ext uri="{FF2B5EF4-FFF2-40B4-BE49-F238E27FC236}">
                  <a16:creationId xmlns:a16="http://schemas.microsoft.com/office/drawing/2014/main" id="{26036A4D-89E2-433B-B446-432CA6613440}"/>
                </a:ext>
              </a:extLst>
            </p:cNvPr>
            <p:cNvSpPr/>
            <p:nvPr/>
          </p:nvSpPr>
          <p:spPr>
            <a:xfrm>
              <a:off x="6137700" y="1623900"/>
              <a:ext cx="250875" cy="255150"/>
            </a:xfrm>
            <a:custGeom>
              <a:avLst/>
              <a:gdLst/>
              <a:ahLst/>
              <a:cxnLst/>
              <a:rect l="0" t="0" r="0" b="0"/>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grpSp>
      <p:sp>
        <p:nvSpPr>
          <p:cNvPr id="37" name="Titre 3">
            <a:extLst>
              <a:ext uri="{FF2B5EF4-FFF2-40B4-BE49-F238E27FC236}">
                <a16:creationId xmlns:a16="http://schemas.microsoft.com/office/drawing/2014/main" id="{7AF0E430-CDB8-4B45-8379-46CBA595C178}"/>
              </a:ext>
            </a:extLst>
          </p:cNvPr>
          <p:cNvSpPr>
            <a:spLocks noGrp="1"/>
          </p:cNvSpPr>
          <p:nvPr>
            <p:ph type="title"/>
          </p:nvPr>
        </p:nvSpPr>
        <p:spPr/>
        <p:txBody>
          <a:bodyPr/>
          <a:lstStyle/>
          <a:p>
            <a:r>
              <a:rPr lang="fr-FR"/>
              <a:t>RÉFÉRENCE PERTINENTE : KEOLIS RENNES</a:t>
            </a:r>
            <a:br>
              <a:rPr lang="fr-FR"/>
            </a:br>
            <a:r>
              <a:rPr lang="fr-FR" sz="1600" b="0">
                <a:solidFill>
                  <a:schemeClr val="bg2">
                    <a:lumMod val="60000"/>
                    <a:lumOff val="40000"/>
                  </a:schemeClr>
                </a:solidFill>
                <a:latin typeface="+mn-lt"/>
                <a:cs typeface="Arial" panose="020B0604020202020204" pitchFamily="34" charset="0"/>
              </a:rPr>
              <a:t>Accompagnement à la montée en compétences HASTUS</a:t>
            </a:r>
          </a:p>
        </p:txBody>
      </p:sp>
      <p:cxnSp>
        <p:nvCxnSpPr>
          <p:cNvPr id="38" name="Connecteur droit 37">
            <a:extLst>
              <a:ext uri="{FF2B5EF4-FFF2-40B4-BE49-F238E27FC236}">
                <a16:creationId xmlns:a16="http://schemas.microsoft.com/office/drawing/2014/main" id="{91025DE0-102C-4CF5-AB7C-EB7281E6D5CE}"/>
              </a:ext>
            </a:extLst>
          </p:cNvPr>
          <p:cNvCxnSpPr>
            <a:cxnSpLocks/>
          </p:cNvCxnSpPr>
          <p:nvPr/>
        </p:nvCxnSpPr>
        <p:spPr>
          <a:xfrm flipH="1">
            <a:off x="521539" y="4249523"/>
            <a:ext cx="4956151"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9" name="Google Shape;641;p64">
            <a:extLst>
              <a:ext uri="{FF2B5EF4-FFF2-40B4-BE49-F238E27FC236}">
                <a16:creationId xmlns:a16="http://schemas.microsoft.com/office/drawing/2014/main" id="{79339183-0722-4C64-A1CF-A021ABD95820}"/>
              </a:ext>
            </a:extLst>
          </p:cNvPr>
          <p:cNvSpPr/>
          <p:nvPr/>
        </p:nvSpPr>
        <p:spPr>
          <a:xfrm>
            <a:off x="6125271" y="3486691"/>
            <a:ext cx="5517968" cy="772107"/>
          </a:xfrm>
          <a:prstGeom prst="rect">
            <a:avLst/>
          </a:prstGeom>
          <a:solidFill>
            <a:schemeClr val="tx2"/>
          </a:solidFill>
          <a:ln>
            <a:noFill/>
          </a:ln>
        </p:spPr>
        <p:txBody>
          <a:bodyPr spcFirstLastPara="1" wrap="square" lIns="99044" tIns="108000" rIns="99044" bIns="108000" anchor="t" anchorCtr="0">
            <a:spAutoFit/>
          </a:bodyPr>
          <a:lstStyle/>
          <a:p>
            <a:pPr marL="171446" indent="-171446" algn="just">
              <a:buClr>
                <a:prstClr val="white"/>
              </a:buClr>
              <a:buSzPts val="900"/>
              <a:buFont typeface="Arial" panose="020B0604020202020204" pitchFamily="34" charset="0"/>
              <a:buChar char="•"/>
            </a:pPr>
            <a:r>
              <a:rPr lang="fr-FR" sz="1200" kern="1200">
                <a:solidFill>
                  <a:srgbClr val="FFFFFF"/>
                </a:solidFill>
                <a:latin typeface="Arial" panose="020B0604020202020204" pitchFamily="34" charset="0"/>
                <a:cs typeface="Arial" panose="020B0604020202020204" pitchFamily="34" charset="0"/>
                <a:sym typeface="Montserrat"/>
              </a:rPr>
              <a:t>Accélération de l’acculturation à la suite HASTUS </a:t>
            </a:r>
          </a:p>
          <a:p>
            <a:pPr marL="171446" indent="-171446" algn="just">
              <a:buClr>
                <a:prstClr val="white"/>
              </a:buClr>
              <a:buSzPts val="900"/>
              <a:buFont typeface="Arial" panose="020B0604020202020204" pitchFamily="34" charset="0"/>
              <a:buChar char="•"/>
            </a:pPr>
            <a:r>
              <a:rPr lang="fr-FR" sz="1200" kern="1200">
                <a:solidFill>
                  <a:srgbClr val="FFFFFF"/>
                </a:solidFill>
                <a:latin typeface="Arial" panose="020B0604020202020204" pitchFamily="34" charset="0"/>
                <a:cs typeface="Arial" panose="020B0604020202020204" pitchFamily="34" charset="0"/>
                <a:sym typeface="Montserrat"/>
              </a:rPr>
              <a:t>Compréhension des concepts d’HASTUS sur laquelle s’appuyer pour la suite de la mission du PO</a:t>
            </a:r>
          </a:p>
        </p:txBody>
      </p:sp>
      <p:sp>
        <p:nvSpPr>
          <p:cNvPr id="40" name="ListLeanHorizontalTextDetail1">
            <a:extLst>
              <a:ext uri="{FF2B5EF4-FFF2-40B4-BE49-F238E27FC236}">
                <a16:creationId xmlns:a16="http://schemas.microsoft.com/office/drawing/2014/main" id="{61434720-D051-4849-ACA0-52B93A6BFAFA}"/>
              </a:ext>
            </a:extLst>
          </p:cNvPr>
          <p:cNvSpPr txBox="1">
            <a:spLocks/>
          </p:cNvSpPr>
          <p:nvPr/>
        </p:nvSpPr>
        <p:spPr>
          <a:xfrm>
            <a:off x="6567419" y="3114653"/>
            <a:ext cx="4072207" cy="226259"/>
          </a:xfrm>
          <a:prstGeom prst="rect">
            <a:avLst/>
          </a:prstGeom>
          <a:noFill/>
          <a:ln w="12700">
            <a:noFill/>
          </a:ln>
        </p:spPr>
        <p:txBody>
          <a:bodyPr wrap="square" lIns="0" tIns="0" rIns="0" bIns="0" anchor="ctr" anchorCtr="0">
            <a:noAutofit/>
          </a:bodyPr>
          <a:lstStyle/>
          <a:p>
            <a:pPr marL="95250" marR="0" lvl="3" indent="0" algn="l" defTabSz="360363" rtl="0" eaLnBrk="1" fontAlgn="auto" latinLnBrk="0" hangingPunct="1">
              <a:lnSpc>
                <a:spcPct val="100000"/>
              </a:lnSpc>
              <a:spcBef>
                <a:spcPts val="600"/>
              </a:spcBef>
              <a:spcAft>
                <a:spcPts val="0"/>
              </a:spcAft>
              <a:buClr>
                <a:srgbClr val="0070C0"/>
              </a:buClr>
              <a:buSzPct val="100000"/>
              <a:buFontTx/>
              <a:buNone/>
              <a:tabLst/>
              <a:defRPr/>
            </a:pPr>
            <a:r>
              <a:rPr kumimoji="0" lang="fr-FR" sz="1400" b="1" i="0" u="none" strike="noStrike" kern="1200" cap="none" spc="0" normalizeH="0" baseline="0" noProof="0">
                <a:ln>
                  <a:noFill/>
                </a:ln>
                <a:solidFill>
                  <a:schemeClr val="accent1"/>
                </a:solidFill>
                <a:effectLst/>
                <a:uLnTx/>
                <a:uFillTx/>
                <a:latin typeface="Arial" panose="020B0604020202020204" pitchFamily="34" charset="0"/>
                <a:ea typeface="Calibri" charset="0"/>
                <a:cs typeface="Arial" panose="020B0604020202020204" pitchFamily="34" charset="0"/>
              </a:rPr>
              <a:t>Gains </a:t>
            </a:r>
            <a:r>
              <a:rPr lang="fr-FR" b="1" kern="1200">
                <a:solidFill>
                  <a:schemeClr val="accent1"/>
                </a:solidFill>
                <a:latin typeface="Arial" panose="020B0604020202020204" pitchFamily="34" charset="0"/>
                <a:cs typeface="Arial" panose="020B0604020202020204" pitchFamily="34" charset="0"/>
              </a:rPr>
              <a:t>clients</a:t>
            </a:r>
            <a:r>
              <a:rPr kumimoji="0" lang="fr-FR" sz="1400" b="1" i="0" u="none" strike="noStrike" kern="1200" cap="none" spc="0" normalizeH="0" baseline="0" noProof="0">
                <a:ln>
                  <a:noFill/>
                </a:ln>
                <a:solidFill>
                  <a:schemeClr val="accent1"/>
                </a:solidFill>
                <a:effectLst/>
                <a:uLnTx/>
                <a:uFillTx/>
                <a:latin typeface="Arial" panose="020B0604020202020204" pitchFamily="34" charset="0"/>
                <a:ea typeface="Calibri" charset="0"/>
                <a:cs typeface="Arial" panose="020B0604020202020204" pitchFamily="34" charset="0"/>
              </a:rPr>
              <a:t> et résultats</a:t>
            </a:r>
          </a:p>
        </p:txBody>
      </p:sp>
      <p:grpSp>
        <p:nvGrpSpPr>
          <p:cNvPr id="41" name="Shape 613">
            <a:extLst>
              <a:ext uri="{FF2B5EF4-FFF2-40B4-BE49-F238E27FC236}">
                <a16:creationId xmlns:a16="http://schemas.microsoft.com/office/drawing/2014/main" id="{83A23B5F-9C90-4837-B479-1EBE4631E50D}"/>
              </a:ext>
            </a:extLst>
          </p:cNvPr>
          <p:cNvGrpSpPr/>
          <p:nvPr/>
        </p:nvGrpSpPr>
        <p:grpSpPr>
          <a:xfrm>
            <a:off x="6184809" y="3084555"/>
            <a:ext cx="322423" cy="286451"/>
            <a:chOff x="5292575" y="3681900"/>
            <a:chExt cx="420150" cy="373275"/>
          </a:xfrm>
        </p:grpSpPr>
        <p:sp>
          <p:nvSpPr>
            <p:cNvPr id="42" name="Shape 614">
              <a:extLst>
                <a:ext uri="{FF2B5EF4-FFF2-40B4-BE49-F238E27FC236}">
                  <a16:creationId xmlns:a16="http://schemas.microsoft.com/office/drawing/2014/main" id="{DEE69272-69A1-4813-8F81-6A1E8F8F65BA}"/>
                </a:ext>
              </a:extLst>
            </p:cNvPr>
            <p:cNvSpPr/>
            <p:nvPr/>
          </p:nvSpPr>
          <p:spPr>
            <a:xfrm>
              <a:off x="5292575" y="3706875"/>
              <a:ext cx="420150" cy="266700"/>
            </a:xfrm>
            <a:custGeom>
              <a:avLst/>
              <a:gdLst/>
              <a:ahLst/>
              <a:cxnLst/>
              <a:rect l="0" t="0" r="0" b="0"/>
              <a:pathLst>
                <a:path w="16806" h="10668" fill="none" extrusionOk="0">
                  <a:moveTo>
                    <a:pt x="16319" y="0"/>
                  </a:moveTo>
                  <a:lnTo>
                    <a:pt x="488" y="0"/>
                  </a:lnTo>
                  <a:lnTo>
                    <a:pt x="488" y="0"/>
                  </a:lnTo>
                  <a:lnTo>
                    <a:pt x="390" y="0"/>
                  </a:lnTo>
                  <a:lnTo>
                    <a:pt x="293" y="25"/>
                  </a:lnTo>
                  <a:lnTo>
                    <a:pt x="196" y="73"/>
                  </a:lnTo>
                  <a:lnTo>
                    <a:pt x="123" y="146"/>
                  </a:lnTo>
                  <a:lnTo>
                    <a:pt x="74" y="219"/>
                  </a:lnTo>
                  <a:lnTo>
                    <a:pt x="25" y="292"/>
                  </a:lnTo>
                  <a:lnTo>
                    <a:pt x="1" y="390"/>
                  </a:lnTo>
                  <a:lnTo>
                    <a:pt x="1" y="487"/>
                  </a:lnTo>
                  <a:lnTo>
                    <a:pt x="1" y="10181"/>
                  </a:lnTo>
                  <a:lnTo>
                    <a:pt x="1" y="10181"/>
                  </a:lnTo>
                  <a:lnTo>
                    <a:pt x="1" y="10278"/>
                  </a:lnTo>
                  <a:lnTo>
                    <a:pt x="25" y="10375"/>
                  </a:lnTo>
                  <a:lnTo>
                    <a:pt x="74" y="10448"/>
                  </a:lnTo>
                  <a:lnTo>
                    <a:pt x="123" y="10522"/>
                  </a:lnTo>
                  <a:lnTo>
                    <a:pt x="196" y="10570"/>
                  </a:lnTo>
                  <a:lnTo>
                    <a:pt x="293" y="10619"/>
                  </a:lnTo>
                  <a:lnTo>
                    <a:pt x="390" y="10643"/>
                  </a:lnTo>
                  <a:lnTo>
                    <a:pt x="488" y="10668"/>
                  </a:lnTo>
                  <a:lnTo>
                    <a:pt x="16319" y="10668"/>
                  </a:lnTo>
                  <a:lnTo>
                    <a:pt x="16319" y="10668"/>
                  </a:lnTo>
                  <a:lnTo>
                    <a:pt x="16416" y="10643"/>
                  </a:lnTo>
                  <a:lnTo>
                    <a:pt x="16513" y="10619"/>
                  </a:lnTo>
                  <a:lnTo>
                    <a:pt x="16611" y="10570"/>
                  </a:lnTo>
                  <a:lnTo>
                    <a:pt x="16684" y="10522"/>
                  </a:lnTo>
                  <a:lnTo>
                    <a:pt x="16733" y="10448"/>
                  </a:lnTo>
                  <a:lnTo>
                    <a:pt x="16781" y="10375"/>
                  </a:lnTo>
                  <a:lnTo>
                    <a:pt x="16806" y="10278"/>
                  </a:lnTo>
                  <a:lnTo>
                    <a:pt x="16806" y="10181"/>
                  </a:lnTo>
                  <a:lnTo>
                    <a:pt x="16806" y="487"/>
                  </a:lnTo>
                  <a:lnTo>
                    <a:pt x="16806" y="487"/>
                  </a:lnTo>
                  <a:lnTo>
                    <a:pt x="16806" y="390"/>
                  </a:lnTo>
                  <a:lnTo>
                    <a:pt x="16781" y="292"/>
                  </a:lnTo>
                  <a:lnTo>
                    <a:pt x="16733" y="219"/>
                  </a:lnTo>
                  <a:lnTo>
                    <a:pt x="16684" y="146"/>
                  </a:lnTo>
                  <a:lnTo>
                    <a:pt x="16611" y="73"/>
                  </a:lnTo>
                  <a:lnTo>
                    <a:pt x="16513" y="25"/>
                  </a:lnTo>
                  <a:lnTo>
                    <a:pt x="16416" y="0"/>
                  </a:lnTo>
                  <a:lnTo>
                    <a:pt x="16319" y="0"/>
                  </a:lnTo>
                  <a:lnTo>
                    <a:pt x="16319" y="0"/>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3" name="Shape 615">
              <a:extLst>
                <a:ext uri="{FF2B5EF4-FFF2-40B4-BE49-F238E27FC236}">
                  <a16:creationId xmlns:a16="http://schemas.microsoft.com/office/drawing/2014/main" id="{76A0ED75-FDD7-4F8E-8BF8-55FE7F28AE6C}"/>
                </a:ext>
              </a:extLst>
            </p:cNvPr>
            <p:cNvSpPr/>
            <p:nvPr/>
          </p:nvSpPr>
          <p:spPr>
            <a:xfrm>
              <a:off x="5490475" y="3681900"/>
              <a:ext cx="24375" cy="25000"/>
            </a:xfrm>
            <a:custGeom>
              <a:avLst/>
              <a:gdLst/>
              <a:ahLst/>
              <a:cxnLst/>
              <a:rect l="0" t="0" r="0" b="0"/>
              <a:pathLst>
                <a:path w="975" h="1000" fill="none" extrusionOk="0">
                  <a:moveTo>
                    <a:pt x="974" y="999"/>
                  </a:moveTo>
                  <a:lnTo>
                    <a:pt x="974" y="488"/>
                  </a:lnTo>
                  <a:lnTo>
                    <a:pt x="974" y="488"/>
                  </a:lnTo>
                  <a:lnTo>
                    <a:pt x="974" y="390"/>
                  </a:lnTo>
                  <a:lnTo>
                    <a:pt x="926" y="293"/>
                  </a:lnTo>
                  <a:lnTo>
                    <a:pt x="901" y="220"/>
                  </a:lnTo>
                  <a:lnTo>
                    <a:pt x="828" y="147"/>
                  </a:lnTo>
                  <a:lnTo>
                    <a:pt x="755" y="74"/>
                  </a:lnTo>
                  <a:lnTo>
                    <a:pt x="682" y="49"/>
                  </a:lnTo>
                  <a:lnTo>
                    <a:pt x="585" y="1"/>
                  </a:lnTo>
                  <a:lnTo>
                    <a:pt x="487" y="1"/>
                  </a:lnTo>
                  <a:lnTo>
                    <a:pt x="487" y="1"/>
                  </a:lnTo>
                  <a:lnTo>
                    <a:pt x="390" y="1"/>
                  </a:lnTo>
                  <a:lnTo>
                    <a:pt x="292" y="49"/>
                  </a:lnTo>
                  <a:lnTo>
                    <a:pt x="219" y="74"/>
                  </a:lnTo>
                  <a:lnTo>
                    <a:pt x="146" y="147"/>
                  </a:lnTo>
                  <a:lnTo>
                    <a:pt x="73" y="220"/>
                  </a:lnTo>
                  <a:lnTo>
                    <a:pt x="49" y="293"/>
                  </a:lnTo>
                  <a:lnTo>
                    <a:pt x="0" y="390"/>
                  </a:lnTo>
                  <a:lnTo>
                    <a:pt x="0" y="488"/>
                  </a:lnTo>
                  <a:lnTo>
                    <a:pt x="0" y="999"/>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4" name="Shape 616">
              <a:extLst>
                <a:ext uri="{FF2B5EF4-FFF2-40B4-BE49-F238E27FC236}">
                  <a16:creationId xmlns:a16="http://schemas.microsoft.com/office/drawing/2014/main" id="{7E2D6654-63C3-4662-868A-8F0E7BF20BEF}"/>
                </a:ext>
              </a:extLst>
            </p:cNvPr>
            <p:cNvSpPr/>
            <p:nvPr/>
          </p:nvSpPr>
          <p:spPr>
            <a:xfrm>
              <a:off x="5358350" y="3973550"/>
              <a:ext cx="60900" cy="81625"/>
            </a:xfrm>
            <a:custGeom>
              <a:avLst/>
              <a:gdLst/>
              <a:ahLst/>
              <a:cxnLst/>
              <a:rect l="0" t="0" r="0" b="0"/>
              <a:pathLst>
                <a:path w="2436" h="3265" fill="none" extrusionOk="0">
                  <a:moveTo>
                    <a:pt x="1340" y="1"/>
                  </a:moveTo>
                  <a:lnTo>
                    <a:pt x="49" y="2558"/>
                  </a:lnTo>
                  <a:lnTo>
                    <a:pt x="49" y="2558"/>
                  </a:lnTo>
                  <a:lnTo>
                    <a:pt x="24" y="2631"/>
                  </a:lnTo>
                  <a:lnTo>
                    <a:pt x="0" y="2728"/>
                  </a:lnTo>
                  <a:lnTo>
                    <a:pt x="0" y="2826"/>
                  </a:lnTo>
                  <a:lnTo>
                    <a:pt x="24" y="2923"/>
                  </a:lnTo>
                  <a:lnTo>
                    <a:pt x="73" y="2996"/>
                  </a:lnTo>
                  <a:lnTo>
                    <a:pt x="122" y="3094"/>
                  </a:lnTo>
                  <a:lnTo>
                    <a:pt x="195" y="3142"/>
                  </a:lnTo>
                  <a:lnTo>
                    <a:pt x="268" y="3215"/>
                  </a:lnTo>
                  <a:lnTo>
                    <a:pt x="268" y="3215"/>
                  </a:lnTo>
                  <a:lnTo>
                    <a:pt x="390" y="3240"/>
                  </a:lnTo>
                  <a:lnTo>
                    <a:pt x="487" y="3264"/>
                  </a:lnTo>
                  <a:lnTo>
                    <a:pt x="487" y="3264"/>
                  </a:lnTo>
                  <a:lnTo>
                    <a:pt x="633" y="3240"/>
                  </a:lnTo>
                  <a:lnTo>
                    <a:pt x="755" y="3191"/>
                  </a:lnTo>
                  <a:lnTo>
                    <a:pt x="853" y="3094"/>
                  </a:lnTo>
                  <a:lnTo>
                    <a:pt x="926" y="2996"/>
                  </a:lnTo>
                  <a:lnTo>
                    <a:pt x="2436" y="1"/>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5" name="Shape 617">
              <a:extLst>
                <a:ext uri="{FF2B5EF4-FFF2-40B4-BE49-F238E27FC236}">
                  <a16:creationId xmlns:a16="http://schemas.microsoft.com/office/drawing/2014/main" id="{69083BDB-8474-4B7D-8F14-5D2960D24ADD}"/>
                </a:ext>
              </a:extLst>
            </p:cNvPr>
            <p:cNvSpPr/>
            <p:nvPr/>
          </p:nvSpPr>
          <p:spPr>
            <a:xfrm>
              <a:off x="5586050" y="3973550"/>
              <a:ext cx="60925" cy="81625"/>
            </a:xfrm>
            <a:custGeom>
              <a:avLst/>
              <a:gdLst/>
              <a:ahLst/>
              <a:cxnLst/>
              <a:rect l="0" t="0" r="0" b="0"/>
              <a:pathLst>
                <a:path w="2437" h="3265" fill="none" extrusionOk="0">
                  <a:moveTo>
                    <a:pt x="1" y="1"/>
                  </a:moveTo>
                  <a:lnTo>
                    <a:pt x="1511" y="2996"/>
                  </a:lnTo>
                  <a:lnTo>
                    <a:pt x="1511" y="2996"/>
                  </a:lnTo>
                  <a:lnTo>
                    <a:pt x="1584" y="3094"/>
                  </a:lnTo>
                  <a:lnTo>
                    <a:pt x="1681" y="3191"/>
                  </a:lnTo>
                  <a:lnTo>
                    <a:pt x="1803" y="3240"/>
                  </a:lnTo>
                  <a:lnTo>
                    <a:pt x="1949" y="3264"/>
                  </a:lnTo>
                  <a:lnTo>
                    <a:pt x="1949" y="3264"/>
                  </a:lnTo>
                  <a:lnTo>
                    <a:pt x="2047" y="3240"/>
                  </a:lnTo>
                  <a:lnTo>
                    <a:pt x="2168" y="3215"/>
                  </a:lnTo>
                  <a:lnTo>
                    <a:pt x="2168" y="3215"/>
                  </a:lnTo>
                  <a:lnTo>
                    <a:pt x="2241" y="3142"/>
                  </a:lnTo>
                  <a:lnTo>
                    <a:pt x="2315" y="3094"/>
                  </a:lnTo>
                  <a:lnTo>
                    <a:pt x="2363" y="2996"/>
                  </a:lnTo>
                  <a:lnTo>
                    <a:pt x="2412" y="2923"/>
                  </a:lnTo>
                  <a:lnTo>
                    <a:pt x="2436" y="2826"/>
                  </a:lnTo>
                  <a:lnTo>
                    <a:pt x="2436" y="2728"/>
                  </a:lnTo>
                  <a:lnTo>
                    <a:pt x="2412" y="2631"/>
                  </a:lnTo>
                  <a:lnTo>
                    <a:pt x="2388" y="2558"/>
                  </a:lnTo>
                  <a:lnTo>
                    <a:pt x="1097" y="1"/>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6" name="Shape 618">
              <a:extLst>
                <a:ext uri="{FF2B5EF4-FFF2-40B4-BE49-F238E27FC236}">
                  <a16:creationId xmlns:a16="http://schemas.microsoft.com/office/drawing/2014/main" id="{7F7C37AE-8B58-4D07-8C82-257E5E234C7A}"/>
                </a:ext>
              </a:extLst>
            </p:cNvPr>
            <p:cNvSpPr/>
            <p:nvPr/>
          </p:nvSpPr>
          <p:spPr>
            <a:xfrm>
              <a:off x="5316925" y="3731225"/>
              <a:ext cx="371450" cy="218000"/>
            </a:xfrm>
            <a:custGeom>
              <a:avLst/>
              <a:gdLst/>
              <a:ahLst/>
              <a:cxnLst/>
              <a:rect l="0" t="0" r="0" b="0"/>
              <a:pathLst>
                <a:path w="14858" h="8720" fill="none" extrusionOk="0">
                  <a:moveTo>
                    <a:pt x="1" y="0"/>
                  </a:moveTo>
                  <a:lnTo>
                    <a:pt x="1" y="8719"/>
                  </a:lnTo>
                  <a:lnTo>
                    <a:pt x="14857" y="8719"/>
                  </a:lnTo>
                  <a:lnTo>
                    <a:pt x="14857" y="0"/>
                  </a:lnTo>
                  <a:lnTo>
                    <a:pt x="1" y="0"/>
                  </a:lnTo>
                  <a:close/>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7" name="Shape 619">
              <a:extLst>
                <a:ext uri="{FF2B5EF4-FFF2-40B4-BE49-F238E27FC236}">
                  <a16:creationId xmlns:a16="http://schemas.microsoft.com/office/drawing/2014/main" id="{D3176927-7AEC-4473-A554-CAF153B86A03}"/>
                </a:ext>
              </a:extLst>
            </p:cNvPr>
            <p:cNvSpPr/>
            <p:nvPr/>
          </p:nvSpPr>
          <p:spPr>
            <a:xfrm>
              <a:off x="5380250" y="3784800"/>
              <a:ext cx="230200" cy="115725"/>
            </a:xfrm>
            <a:custGeom>
              <a:avLst/>
              <a:gdLst/>
              <a:ahLst/>
              <a:cxnLst/>
              <a:rect l="0" t="0" r="0" b="0"/>
              <a:pathLst>
                <a:path w="9208" h="4629" fill="none" extrusionOk="0">
                  <a:moveTo>
                    <a:pt x="9207" y="1"/>
                  </a:moveTo>
                  <a:lnTo>
                    <a:pt x="5213" y="3995"/>
                  </a:lnTo>
                  <a:lnTo>
                    <a:pt x="5213" y="3995"/>
                  </a:lnTo>
                  <a:lnTo>
                    <a:pt x="5140" y="4044"/>
                  </a:lnTo>
                  <a:lnTo>
                    <a:pt x="5067" y="4092"/>
                  </a:lnTo>
                  <a:lnTo>
                    <a:pt x="4969" y="4117"/>
                  </a:lnTo>
                  <a:lnTo>
                    <a:pt x="4872" y="4141"/>
                  </a:lnTo>
                  <a:lnTo>
                    <a:pt x="4774" y="4117"/>
                  </a:lnTo>
                  <a:lnTo>
                    <a:pt x="4677" y="4092"/>
                  </a:lnTo>
                  <a:lnTo>
                    <a:pt x="4604" y="4044"/>
                  </a:lnTo>
                  <a:lnTo>
                    <a:pt x="4531" y="3995"/>
                  </a:lnTo>
                  <a:lnTo>
                    <a:pt x="2582" y="2046"/>
                  </a:lnTo>
                  <a:lnTo>
                    <a:pt x="1" y="4628"/>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8" name="Shape 620">
              <a:extLst>
                <a:ext uri="{FF2B5EF4-FFF2-40B4-BE49-F238E27FC236}">
                  <a16:creationId xmlns:a16="http://schemas.microsoft.com/office/drawing/2014/main" id="{E778690E-B137-49DF-BA19-9955D16319D7}"/>
                </a:ext>
              </a:extLst>
            </p:cNvPr>
            <p:cNvSpPr/>
            <p:nvPr/>
          </p:nvSpPr>
          <p:spPr>
            <a:xfrm>
              <a:off x="5547700" y="3779925"/>
              <a:ext cx="68825" cy="68825"/>
            </a:xfrm>
            <a:custGeom>
              <a:avLst/>
              <a:gdLst/>
              <a:ahLst/>
              <a:cxnLst/>
              <a:rect l="0" t="0" r="0" b="0"/>
              <a:pathLst>
                <a:path w="2753" h="2753" fill="none" extrusionOk="0">
                  <a:moveTo>
                    <a:pt x="0" y="1"/>
                  </a:moveTo>
                  <a:lnTo>
                    <a:pt x="2265" y="1"/>
                  </a:lnTo>
                  <a:lnTo>
                    <a:pt x="2265" y="1"/>
                  </a:lnTo>
                  <a:lnTo>
                    <a:pt x="2363" y="1"/>
                  </a:lnTo>
                  <a:lnTo>
                    <a:pt x="2460" y="25"/>
                  </a:lnTo>
                  <a:lnTo>
                    <a:pt x="2533" y="74"/>
                  </a:lnTo>
                  <a:lnTo>
                    <a:pt x="2606" y="147"/>
                  </a:lnTo>
                  <a:lnTo>
                    <a:pt x="2680" y="220"/>
                  </a:lnTo>
                  <a:lnTo>
                    <a:pt x="2728" y="293"/>
                  </a:lnTo>
                  <a:lnTo>
                    <a:pt x="2753" y="390"/>
                  </a:lnTo>
                  <a:lnTo>
                    <a:pt x="2753" y="488"/>
                  </a:lnTo>
                  <a:lnTo>
                    <a:pt x="2753" y="2753"/>
                  </a:lnTo>
                </a:path>
              </a:pathLst>
            </a:custGeom>
            <a:noFill/>
            <a:ln w="12175" cap="rnd" cmpd="sng">
              <a:solidFill>
                <a:schemeClr val="accent3"/>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grpSp>
      <p:pic>
        <p:nvPicPr>
          <p:cNvPr id="1026" name="Picture 2">
            <a:extLst>
              <a:ext uri="{FF2B5EF4-FFF2-40B4-BE49-F238E27FC236}">
                <a16:creationId xmlns:a16="http://schemas.microsoft.com/office/drawing/2014/main" id="{20DC7DF8-C157-F458-E828-8C938C8D816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84242" y="354631"/>
            <a:ext cx="1553519" cy="358240"/>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a:extLst>
              <a:ext uri="{FF2B5EF4-FFF2-40B4-BE49-F238E27FC236}">
                <a16:creationId xmlns:a16="http://schemas.microsoft.com/office/drawing/2014/main" id="{EC48ED7E-9F58-9F45-3CB6-A3C02E719B86}"/>
              </a:ext>
            </a:extLst>
          </p:cNvPr>
          <p:cNvSpPr txBox="1"/>
          <p:nvPr/>
        </p:nvSpPr>
        <p:spPr>
          <a:xfrm>
            <a:off x="7824846" y="5752459"/>
            <a:ext cx="3986154" cy="430887"/>
          </a:xfrm>
          <a:prstGeom prst="rect">
            <a:avLst/>
          </a:prstGeom>
          <a:noFill/>
        </p:spPr>
        <p:txBody>
          <a:bodyPr wrap="square">
            <a:spAutoFit/>
          </a:bodyPr>
          <a:lstStyle/>
          <a:p>
            <a:r>
              <a:rPr lang="fr-FR" sz="1100"/>
              <a:t>Contact : Jérôme CHAMPENOIS</a:t>
            </a:r>
          </a:p>
          <a:p>
            <a:r>
              <a:rPr lang="fr-FR" sz="1100"/>
              <a:t>E-mail : </a:t>
            </a:r>
            <a:r>
              <a:rPr lang="fr-FR" sz="1100">
                <a:hlinkClick r:id="rId3"/>
              </a:rPr>
              <a:t>jerome.champenois@keolis.com</a:t>
            </a:r>
            <a:endParaRPr lang="fr-FR" sz="1100"/>
          </a:p>
        </p:txBody>
      </p:sp>
    </p:spTree>
    <p:extLst>
      <p:ext uri="{BB962C8B-B14F-4D97-AF65-F5344CB8AC3E}">
        <p14:creationId xmlns:p14="http://schemas.microsoft.com/office/powerpoint/2010/main" val="19619019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re 3">
            <a:extLst>
              <a:ext uri="{FF2B5EF4-FFF2-40B4-BE49-F238E27FC236}">
                <a16:creationId xmlns:a16="http://schemas.microsoft.com/office/drawing/2014/main" id="{7AF0E430-CDB8-4B45-8379-46CBA595C178}"/>
              </a:ext>
            </a:extLst>
          </p:cNvPr>
          <p:cNvSpPr>
            <a:spLocks noGrp="1"/>
          </p:cNvSpPr>
          <p:nvPr>
            <p:ph type="title"/>
          </p:nvPr>
        </p:nvSpPr>
        <p:spPr/>
        <p:txBody>
          <a:bodyPr/>
          <a:lstStyle/>
          <a:p>
            <a:r>
              <a:rPr lang="fr-FR">
                <a:highlight>
                  <a:srgbClr val="FFFF00"/>
                </a:highlight>
              </a:rPr>
              <a:t>KEOLIS RENNES - Illustration</a:t>
            </a:r>
            <a:br>
              <a:rPr lang="fr-FR"/>
            </a:br>
            <a:r>
              <a:rPr lang="fr-FR" sz="1600" b="0">
                <a:solidFill>
                  <a:schemeClr val="bg2">
                    <a:lumMod val="60000"/>
                    <a:lumOff val="40000"/>
                  </a:schemeClr>
                </a:solidFill>
                <a:latin typeface="+mn-lt"/>
                <a:cs typeface="Arial" panose="020B0604020202020204" pitchFamily="34" charset="0"/>
              </a:rPr>
              <a:t>Accompagnement à la montée en compétences HASTUS</a:t>
            </a:r>
          </a:p>
        </p:txBody>
      </p:sp>
      <p:pic>
        <p:nvPicPr>
          <p:cNvPr id="1026" name="Picture 2">
            <a:extLst>
              <a:ext uri="{FF2B5EF4-FFF2-40B4-BE49-F238E27FC236}">
                <a16:creationId xmlns:a16="http://schemas.microsoft.com/office/drawing/2014/main" id="{20DC7DF8-C157-F458-E828-8C938C8D816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84242" y="354631"/>
            <a:ext cx="1553519" cy="35824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 1">
            <a:extLst>
              <a:ext uri="{FF2B5EF4-FFF2-40B4-BE49-F238E27FC236}">
                <a16:creationId xmlns:a16="http://schemas.microsoft.com/office/drawing/2014/main" id="{5BFDA17D-2D45-70B3-1C08-71DEF9C5A900}"/>
              </a:ext>
            </a:extLst>
          </p:cNvPr>
          <p:cNvPicPr>
            <a:picLocks noChangeAspect="1"/>
          </p:cNvPicPr>
          <p:nvPr/>
        </p:nvPicPr>
        <p:blipFill>
          <a:blip r:embed="rId3"/>
          <a:stretch>
            <a:fillRect/>
          </a:stretch>
        </p:blipFill>
        <p:spPr>
          <a:xfrm>
            <a:off x="504302" y="2108200"/>
            <a:ext cx="5509148" cy="3311369"/>
          </a:xfrm>
          <a:prstGeom prst="rect">
            <a:avLst/>
          </a:prstGeom>
        </p:spPr>
      </p:pic>
      <p:sp>
        <p:nvSpPr>
          <p:cNvPr id="11" name="Rectangle 10">
            <a:extLst>
              <a:ext uri="{FF2B5EF4-FFF2-40B4-BE49-F238E27FC236}">
                <a16:creationId xmlns:a16="http://schemas.microsoft.com/office/drawing/2014/main" id="{705CF308-90E4-5389-F04C-8C091EC37AC8}"/>
              </a:ext>
            </a:extLst>
          </p:cNvPr>
          <p:cNvSpPr/>
          <p:nvPr/>
        </p:nvSpPr>
        <p:spPr>
          <a:xfrm>
            <a:off x="504302" y="1384300"/>
            <a:ext cx="5509148" cy="552085"/>
          </a:xfrm>
          <a:prstGeom prst="rect">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Phase de la formation et agenda</a:t>
            </a:r>
          </a:p>
        </p:txBody>
      </p:sp>
      <p:sp>
        <p:nvSpPr>
          <p:cNvPr id="12" name="Rectangle 11">
            <a:extLst>
              <a:ext uri="{FF2B5EF4-FFF2-40B4-BE49-F238E27FC236}">
                <a16:creationId xmlns:a16="http://schemas.microsoft.com/office/drawing/2014/main" id="{B87CB29D-7093-D592-826F-4F6F6D9EBB21}"/>
              </a:ext>
            </a:extLst>
          </p:cNvPr>
          <p:cNvSpPr/>
          <p:nvPr/>
        </p:nvSpPr>
        <p:spPr>
          <a:xfrm>
            <a:off x="6447902" y="1384300"/>
            <a:ext cx="5509148" cy="552085"/>
          </a:xfrm>
          <a:prstGeom prst="rect">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Schéma global des modules agent utilisé comme parcours de formation (ici à l’étape « Crew »)</a:t>
            </a:r>
          </a:p>
        </p:txBody>
      </p:sp>
      <p:pic>
        <p:nvPicPr>
          <p:cNvPr id="49" name="Image 48">
            <a:extLst>
              <a:ext uri="{FF2B5EF4-FFF2-40B4-BE49-F238E27FC236}">
                <a16:creationId xmlns:a16="http://schemas.microsoft.com/office/drawing/2014/main" id="{CBD090C6-A525-446D-274A-CDA0E4C08F87}"/>
              </a:ext>
            </a:extLst>
          </p:cNvPr>
          <p:cNvPicPr>
            <a:picLocks noChangeAspect="1"/>
          </p:cNvPicPr>
          <p:nvPr/>
        </p:nvPicPr>
        <p:blipFill>
          <a:blip r:embed="rId4"/>
          <a:stretch>
            <a:fillRect/>
          </a:stretch>
        </p:blipFill>
        <p:spPr>
          <a:xfrm>
            <a:off x="7044802" y="2161237"/>
            <a:ext cx="4270898" cy="3123673"/>
          </a:xfrm>
          <a:prstGeom prst="rect">
            <a:avLst/>
          </a:prstGeom>
        </p:spPr>
      </p:pic>
    </p:spTree>
    <p:extLst>
      <p:ext uri="{BB962C8B-B14F-4D97-AF65-F5344CB8AC3E}">
        <p14:creationId xmlns:p14="http://schemas.microsoft.com/office/powerpoint/2010/main" val="12908583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2">
            <a:extLst>
              <a:ext uri="{FF2B5EF4-FFF2-40B4-BE49-F238E27FC236}">
                <a16:creationId xmlns:a16="http://schemas.microsoft.com/office/drawing/2014/main" id="{C21CD22A-FC5F-4D67-8AB2-923DB2AD5B9A}"/>
              </a:ext>
            </a:extLst>
          </p:cNvPr>
          <p:cNvSpPr>
            <a:spLocks noGrp="1"/>
          </p:cNvSpPr>
          <p:nvPr>
            <p:ph type="title"/>
          </p:nvPr>
        </p:nvSpPr>
        <p:spPr>
          <a:xfrm>
            <a:off x="396655" y="292153"/>
            <a:ext cx="9907072" cy="407795"/>
          </a:xfrm>
        </p:spPr>
        <p:txBody>
          <a:bodyPr/>
          <a:lstStyle/>
          <a:p>
            <a:r>
              <a:rPr lang="fr-FR"/>
              <a:t>AUTRES RÉFÉRENCES PERTINENTES</a:t>
            </a:r>
          </a:p>
        </p:txBody>
      </p:sp>
      <p:graphicFrame>
        <p:nvGraphicFramePr>
          <p:cNvPr id="5" name="Tableau 6">
            <a:extLst>
              <a:ext uri="{FF2B5EF4-FFF2-40B4-BE49-F238E27FC236}">
                <a16:creationId xmlns:a16="http://schemas.microsoft.com/office/drawing/2014/main" id="{E247BD5F-6119-4BE9-9391-766AF3CC0E43}"/>
              </a:ext>
            </a:extLst>
          </p:cNvPr>
          <p:cNvGraphicFramePr>
            <a:graphicFrameLocks noGrp="1"/>
          </p:cNvGraphicFramePr>
          <p:nvPr>
            <p:extLst>
              <p:ext uri="{D42A27DB-BD31-4B8C-83A1-F6EECF244321}">
                <p14:modId xmlns:p14="http://schemas.microsoft.com/office/powerpoint/2010/main" val="2834122719"/>
              </p:ext>
            </p:extLst>
          </p:nvPr>
        </p:nvGraphicFramePr>
        <p:xfrm>
          <a:off x="517473" y="1148389"/>
          <a:ext cx="11122077" cy="5081847"/>
        </p:xfrm>
        <a:graphic>
          <a:graphicData uri="http://schemas.openxmlformats.org/drawingml/2006/table">
            <a:tbl>
              <a:tblPr firstRow="1" bandRow="1">
                <a:tableStyleId>{B301B821-A1FF-4177-AEE7-76D212191A09}</a:tableStyleId>
              </a:tblPr>
              <a:tblGrid>
                <a:gridCol w="1797103">
                  <a:extLst>
                    <a:ext uri="{9D8B030D-6E8A-4147-A177-3AD203B41FA5}">
                      <a16:colId xmlns:a16="http://schemas.microsoft.com/office/drawing/2014/main" val="2128136399"/>
                    </a:ext>
                  </a:extLst>
                </a:gridCol>
                <a:gridCol w="7600504">
                  <a:extLst>
                    <a:ext uri="{9D8B030D-6E8A-4147-A177-3AD203B41FA5}">
                      <a16:colId xmlns:a16="http://schemas.microsoft.com/office/drawing/2014/main" val="2904682792"/>
                    </a:ext>
                  </a:extLst>
                </a:gridCol>
                <a:gridCol w="1724470">
                  <a:extLst>
                    <a:ext uri="{9D8B030D-6E8A-4147-A177-3AD203B41FA5}">
                      <a16:colId xmlns:a16="http://schemas.microsoft.com/office/drawing/2014/main" val="3230794955"/>
                    </a:ext>
                  </a:extLst>
                </a:gridCol>
              </a:tblGrid>
              <a:tr h="387927">
                <a:tc>
                  <a:txBody>
                    <a:bodyPr/>
                    <a:lstStyle/>
                    <a:p>
                      <a:pPr algn="ctr"/>
                      <a:r>
                        <a:rPr lang="fr-FR" sz="1100"/>
                        <a:t>CLIENTS</a:t>
                      </a:r>
                      <a:endParaRPr lang="fr-FR" sz="1100">
                        <a:latin typeface="+mj-lt"/>
                      </a:endParaRPr>
                    </a:p>
                  </a:txBody>
                  <a:tcPr marL="61936" marR="61936" marT="30968" marB="30968" anchor="ctr">
                    <a:solidFill>
                      <a:srgbClr val="20408E"/>
                    </a:solidFill>
                  </a:tcPr>
                </a:tc>
                <a:tc>
                  <a:txBody>
                    <a:bodyPr/>
                    <a:lstStyle/>
                    <a:p>
                      <a:pPr algn="ctr"/>
                      <a:r>
                        <a:rPr lang="fr-FR" sz="1100"/>
                        <a:t>DESCRIPTION</a:t>
                      </a:r>
                      <a:endParaRPr lang="fr-FR" sz="1100">
                        <a:latin typeface="+mj-lt"/>
                      </a:endParaRPr>
                    </a:p>
                  </a:txBody>
                  <a:tcPr marL="61936" marR="61936" marT="30968" marB="30968" anchor="ctr">
                    <a:solidFill>
                      <a:srgbClr val="20408E"/>
                    </a:solidFill>
                  </a:tcPr>
                </a:tc>
                <a:tc>
                  <a:txBody>
                    <a:bodyPr/>
                    <a:lstStyle/>
                    <a:p>
                      <a:pPr algn="ctr"/>
                      <a:r>
                        <a:rPr lang="fr-FR" sz="1100">
                          <a:latin typeface="+mj-lt"/>
                        </a:rPr>
                        <a:t>Détails</a:t>
                      </a:r>
                    </a:p>
                  </a:txBody>
                  <a:tcPr marL="61936" marR="61936" marT="30968" marB="30968" anchor="ctr">
                    <a:solidFill>
                      <a:srgbClr val="20408E"/>
                    </a:solidFill>
                  </a:tcPr>
                </a:tc>
                <a:extLst>
                  <a:ext uri="{0D108BD9-81ED-4DB2-BD59-A6C34878D82A}">
                    <a16:rowId xmlns:a16="http://schemas.microsoft.com/office/drawing/2014/main" val="3999692771"/>
                  </a:ext>
                </a:extLst>
              </a:tr>
              <a:tr h="0">
                <a:tc>
                  <a:txBody>
                    <a:bodyPr/>
                    <a:lstStyle/>
                    <a:p>
                      <a:r>
                        <a:rPr lang="fr-FR" sz="1100" b="0" i="0" u="none" strike="noStrike" cap="none">
                          <a:solidFill>
                            <a:schemeClr val="dk1"/>
                          </a:solidFill>
                          <a:latin typeface="+mj-lt"/>
                          <a:ea typeface="+mn-ea"/>
                          <a:cs typeface="+mn-cs"/>
                          <a:sym typeface="Arial"/>
                        </a:rPr>
                        <a:t>SNCF Transilien</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b="0" u="none" strike="noStrike" cap="none">
                          <a:solidFill>
                            <a:schemeClr val="accent1"/>
                          </a:solidFill>
                          <a:sym typeface="Arial"/>
                        </a:rPr>
                        <a:t>Création et déploiement d’un parcours de E-learning portant sur un progiciel de planification ORION</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rgbClr val="2C64A4"/>
                          </a:solidFill>
                          <a:effectLst/>
                          <a:uLnTx/>
                          <a:uFillTx/>
                          <a:latin typeface="Arial"/>
                          <a:ea typeface="+mn-ea"/>
                          <a:cs typeface="+mn-cs"/>
                          <a:sym typeface="Arial"/>
                        </a:rPr>
                        <a:t>Dans ce document</a:t>
                      </a:r>
                    </a:p>
                  </a:txBody>
                  <a:tcPr anchor="ctr"/>
                </a:tc>
                <a:extLst>
                  <a:ext uri="{0D108BD9-81ED-4DB2-BD59-A6C34878D82A}">
                    <a16:rowId xmlns:a16="http://schemas.microsoft.com/office/drawing/2014/main" val="2656116844"/>
                  </a:ext>
                </a:extLst>
              </a:tr>
              <a:tr h="0">
                <a:tc>
                  <a:txBody>
                    <a:bodyPr/>
                    <a:lstStyle/>
                    <a:p>
                      <a:r>
                        <a:rPr lang="fr-FR" sz="1100" b="0" i="0" u="none" strike="noStrike" cap="none">
                          <a:solidFill>
                            <a:schemeClr val="dk1"/>
                          </a:solidFill>
                          <a:latin typeface="+mj-lt"/>
                          <a:ea typeface="+mn-ea"/>
                          <a:cs typeface="+mn-cs"/>
                          <a:sym typeface="Arial"/>
                        </a:rPr>
                        <a:t>Fret SNCF</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b="0" u="none" strike="noStrike" cap="none">
                          <a:solidFill>
                            <a:schemeClr val="accent1"/>
                          </a:solidFill>
                          <a:sym typeface="Arial"/>
                        </a:rPr>
                        <a:t>Pour 800 utilisateurs, formation et déploiement RUS Convoi : outil de planification des ressources ferroviaires</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rgbClr val="2C64A4"/>
                          </a:solidFill>
                          <a:effectLst/>
                          <a:uLnTx/>
                          <a:uFillTx/>
                          <a:latin typeface="Arial"/>
                          <a:ea typeface="+mn-ea"/>
                          <a:cs typeface="+mn-cs"/>
                          <a:sym typeface="Arial"/>
                        </a:rPr>
                        <a:t>Dans ce document</a:t>
                      </a:r>
                    </a:p>
                  </a:txBody>
                  <a:tcPr anchor="ctr"/>
                </a:tc>
                <a:extLst>
                  <a:ext uri="{0D108BD9-81ED-4DB2-BD59-A6C34878D82A}">
                    <a16:rowId xmlns:a16="http://schemas.microsoft.com/office/drawing/2014/main" val="3323768267"/>
                  </a:ext>
                </a:extLst>
              </a:tr>
              <a:tr h="0">
                <a:tc>
                  <a:txBody>
                    <a:bodyPr/>
                    <a:lstStyle/>
                    <a:p>
                      <a:r>
                        <a:rPr lang="fr-FR" sz="1100" b="0" i="0" u="none" strike="noStrike" cap="none">
                          <a:solidFill>
                            <a:schemeClr val="dk1"/>
                          </a:solidFill>
                          <a:latin typeface="+mj-lt"/>
                          <a:ea typeface="+mn-ea"/>
                          <a:cs typeface="+mn-cs"/>
                          <a:sym typeface="Arial"/>
                        </a:rPr>
                        <a:t>KEOLIS Rennes</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b="0" u="none" strike="noStrike" cap="none">
                          <a:solidFill>
                            <a:schemeClr val="accent1"/>
                          </a:solidFill>
                          <a:sym typeface="Arial"/>
                        </a:rPr>
                        <a:t>Accompagnement à la montée en compétences HASTUS</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rgbClr val="2C64A4"/>
                          </a:solidFill>
                          <a:effectLst/>
                          <a:uLnTx/>
                          <a:uFillTx/>
                          <a:latin typeface="Arial"/>
                          <a:ea typeface="+mn-ea"/>
                          <a:cs typeface="+mn-cs"/>
                          <a:sym typeface="Arial"/>
                        </a:rPr>
                        <a:t>Dans ce document</a:t>
                      </a:r>
                    </a:p>
                  </a:txBody>
                  <a:tcPr anchor="ctr"/>
                </a:tc>
                <a:extLst>
                  <a:ext uri="{0D108BD9-81ED-4DB2-BD59-A6C34878D82A}">
                    <a16:rowId xmlns:a16="http://schemas.microsoft.com/office/drawing/2014/main" val="1955314448"/>
                  </a:ext>
                </a:extLst>
              </a:tr>
              <a:tr h="0">
                <a:tc>
                  <a:txBody>
                    <a:bodyPr/>
                    <a:lstStyle/>
                    <a:p>
                      <a:r>
                        <a:rPr lang="fr-FR" sz="1100"/>
                        <a:t>TGV - Intercités, TER ET TRANSILIEN</a:t>
                      </a:r>
                      <a:endParaRPr lang="fr-FR" sz="1100" b="0" i="0" u="none" strike="noStrike" cap="none">
                        <a:solidFill>
                          <a:schemeClr val="dk1"/>
                        </a:solidFill>
                        <a:latin typeface="+mj-lt"/>
                        <a:ea typeface="+mn-ea"/>
                        <a:cs typeface="+mn-cs"/>
                        <a:sym typeface="Arial"/>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b="0" u="none" strike="noStrike" cap="none">
                          <a:solidFill>
                            <a:schemeClr val="accent1"/>
                          </a:solidFill>
                          <a:sym typeface="Arial"/>
                        </a:rPr>
                        <a:t>Pour NET/POGS-TN, PROGRES et OSCAR : Pilotage, AMOA et Conduite du Changement des 3 projets APS pour SNCF (Agents Roulants &amp; Sédentaires)</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1050" b="0" u="none" strike="noStrike" cap="none">
                          <a:solidFill>
                            <a:schemeClr val="accent1"/>
                          </a:solidFill>
                          <a:sym typeface="Arial"/>
                        </a:rPr>
                        <a:t>En annexe</a:t>
                      </a:r>
                    </a:p>
                  </a:txBody>
                  <a:tcPr anchor="ctr"/>
                </a:tc>
                <a:extLst>
                  <a:ext uri="{0D108BD9-81ED-4DB2-BD59-A6C34878D82A}">
                    <a16:rowId xmlns:a16="http://schemas.microsoft.com/office/drawing/2014/main" val="2968665764"/>
                  </a:ext>
                </a:extLst>
              </a:tr>
              <a:tr h="0">
                <a:tc>
                  <a:txBody>
                    <a:bodyPr/>
                    <a:lstStyle/>
                    <a:p>
                      <a:r>
                        <a:rPr lang="fr-FR" sz="1100" b="0" i="0" u="none" strike="noStrike" cap="none">
                          <a:solidFill>
                            <a:schemeClr val="dk1"/>
                          </a:solidFill>
                          <a:latin typeface="+mj-lt"/>
                          <a:ea typeface="+mn-ea"/>
                          <a:cs typeface="+mn-cs"/>
                          <a:sym typeface="Arial"/>
                        </a:rPr>
                        <a:t>TGV - Intercités</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b="0" u="none" strike="noStrike" cap="none">
                          <a:solidFill>
                            <a:schemeClr val="accent1"/>
                          </a:solidFill>
                          <a:sym typeface="Arial"/>
                        </a:rPr>
                        <a:t>Pour PROGRES, préparation et animation du séminaire CODIR de septembre 2022</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rgbClr val="2C64A4"/>
                          </a:solidFill>
                          <a:effectLst/>
                          <a:uLnTx/>
                          <a:uFillTx/>
                          <a:latin typeface="Arial"/>
                          <a:ea typeface="+mn-ea"/>
                          <a:cs typeface="+mn-cs"/>
                          <a:sym typeface="Arial"/>
                        </a:rPr>
                        <a:t>En annexe</a:t>
                      </a:r>
                    </a:p>
                  </a:txBody>
                  <a:tcPr anchor="ctr"/>
                </a:tc>
                <a:extLst>
                  <a:ext uri="{0D108BD9-81ED-4DB2-BD59-A6C34878D82A}">
                    <a16:rowId xmlns:a16="http://schemas.microsoft.com/office/drawing/2014/main" val="2411549554"/>
                  </a:ext>
                </a:extLst>
              </a:tr>
              <a:tr h="0">
                <a:tc>
                  <a:txBody>
                    <a:bodyPr/>
                    <a:lstStyle/>
                    <a:p>
                      <a:r>
                        <a:rPr lang="fr-FR" sz="1100"/>
                        <a:t>TGV - Intercités, TER ET TRANSILIEN</a:t>
                      </a:r>
                      <a:endParaRPr lang="fr-FR" sz="1100" b="0" i="0" u="none" strike="noStrike" cap="none">
                        <a:solidFill>
                          <a:schemeClr val="dk1"/>
                        </a:solidFill>
                        <a:latin typeface="+mj-lt"/>
                        <a:ea typeface="+mn-ea"/>
                        <a:cs typeface="+mn-cs"/>
                        <a:sym typeface="Arial"/>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b="0" u="none" strike="noStrike" cap="none">
                          <a:solidFill>
                            <a:schemeClr val="accent1"/>
                          </a:solidFill>
                          <a:sym typeface="Arial"/>
                        </a:rPr>
                        <a:t>Coordination des 3 projets APS sur le périmètre Ordonnancement Agents</a:t>
                      </a:r>
                      <a:endParaRPr lang="fr-FR" sz="1050" b="0" i="0" u="none" strike="noStrike" cap="none">
                        <a:solidFill>
                          <a:schemeClr val="dk1"/>
                        </a:solidFill>
                        <a:latin typeface="+mj-lt"/>
                        <a:ea typeface="+mn-ea"/>
                        <a:cs typeface="+mn-cs"/>
                        <a:sym typeface="Aria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rgbClr val="2C64A4"/>
                          </a:solidFill>
                          <a:effectLst/>
                          <a:uLnTx/>
                          <a:uFillTx/>
                          <a:latin typeface="Arial"/>
                          <a:ea typeface="+mn-ea"/>
                          <a:cs typeface="+mn-cs"/>
                          <a:sym typeface="Arial"/>
                        </a:rPr>
                        <a:t>En annexe</a:t>
                      </a:r>
                    </a:p>
                  </a:txBody>
                  <a:tcPr anchor="ctr"/>
                </a:tc>
                <a:extLst>
                  <a:ext uri="{0D108BD9-81ED-4DB2-BD59-A6C34878D82A}">
                    <a16:rowId xmlns:a16="http://schemas.microsoft.com/office/drawing/2014/main" val="541995647"/>
                  </a:ext>
                </a:extLst>
              </a:tr>
              <a:tr h="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100"/>
                        <a:t>TGV - Intercités, TER ET TRANSILIEN</a:t>
                      </a:r>
                      <a:endParaRPr lang="fr-FR" sz="1100" b="0" i="0" u="none" strike="noStrike" cap="none">
                        <a:solidFill>
                          <a:schemeClr val="dk1"/>
                        </a:solidFill>
                        <a:latin typeface="+mn-lt"/>
                        <a:ea typeface="+mn-ea"/>
                        <a:cs typeface="+mn-cs"/>
                        <a:sym typeface="Arial"/>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b="0" i="0" u="none" strike="noStrike" cap="none">
                          <a:solidFill>
                            <a:schemeClr val="accent1"/>
                          </a:solidFill>
                          <a:latin typeface="+mn-lt"/>
                          <a:ea typeface="+mn-ea"/>
                          <a:cs typeface="+mn-cs"/>
                          <a:sym typeface="Arial"/>
                        </a:rPr>
                        <a:t>Coordination des 3 projets APS sur le lien avec le SI RH</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rgbClr val="2C64A4"/>
                          </a:solidFill>
                          <a:effectLst/>
                          <a:uLnTx/>
                          <a:uFillTx/>
                          <a:latin typeface="Arial"/>
                          <a:ea typeface="+mn-ea"/>
                          <a:cs typeface="+mn-cs"/>
                          <a:sym typeface="Arial"/>
                        </a:rPr>
                        <a:t>En annexe</a:t>
                      </a:r>
                    </a:p>
                  </a:txBody>
                  <a:tcPr anchor="ctr"/>
                </a:tc>
                <a:extLst>
                  <a:ext uri="{0D108BD9-81ED-4DB2-BD59-A6C34878D82A}">
                    <a16:rowId xmlns:a16="http://schemas.microsoft.com/office/drawing/2014/main" val="2895573107"/>
                  </a:ext>
                </a:extLst>
              </a:tr>
              <a:tr h="0">
                <a:tc>
                  <a:txBody>
                    <a:bodyPr/>
                    <a:lstStyle/>
                    <a:p>
                      <a:r>
                        <a:rPr lang="fr-FR" sz="1100" b="0" i="0" u="none" strike="noStrike" cap="none">
                          <a:solidFill>
                            <a:schemeClr val="dk1"/>
                          </a:solidFill>
                          <a:latin typeface="+mj-lt"/>
                          <a:ea typeface="+mn-ea"/>
                          <a:cs typeface="+mn-cs"/>
                          <a:sym typeface="Arial"/>
                        </a:rPr>
                        <a:t>SNCF RESEAU</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b="0" i="0" u="none" strike="noStrike" cap="none">
                          <a:solidFill>
                            <a:schemeClr val="accent1"/>
                          </a:solidFill>
                          <a:latin typeface="+mn-lt"/>
                          <a:ea typeface="+mn-ea"/>
                          <a:cs typeface="+mn-cs"/>
                          <a:sym typeface="Arial"/>
                        </a:rPr>
                        <a:t>Accompagnement au déploiement de la fonction de </a:t>
                      </a:r>
                      <a:r>
                        <a:rPr lang="fr-FR" sz="1050" b="0" i="0" u="none" strike="noStrike" cap="none" err="1">
                          <a:solidFill>
                            <a:schemeClr val="accent1"/>
                          </a:solidFill>
                          <a:latin typeface="+mn-lt"/>
                          <a:ea typeface="+mn-ea"/>
                          <a:cs typeface="+mn-cs"/>
                          <a:sym typeface="Arial"/>
                        </a:rPr>
                        <a:t>Contract</a:t>
                      </a:r>
                      <a:r>
                        <a:rPr lang="fr-FR" sz="1050" b="0" i="0" u="none" strike="noStrike" cap="none">
                          <a:solidFill>
                            <a:schemeClr val="accent1"/>
                          </a:solidFill>
                          <a:latin typeface="+mn-lt"/>
                          <a:ea typeface="+mn-ea"/>
                          <a:cs typeface="+mn-cs"/>
                          <a:sym typeface="Arial"/>
                        </a:rPr>
                        <a:t> Management</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rgbClr val="2C64A4"/>
                          </a:solidFill>
                          <a:effectLst/>
                          <a:uLnTx/>
                          <a:uFillTx/>
                          <a:latin typeface="Arial"/>
                          <a:ea typeface="+mn-ea"/>
                          <a:cs typeface="+mn-cs"/>
                          <a:sym typeface="Arial"/>
                        </a:rPr>
                        <a:t>En annexe</a:t>
                      </a:r>
                    </a:p>
                  </a:txBody>
                  <a:tcPr anchor="ctr"/>
                </a:tc>
                <a:extLst>
                  <a:ext uri="{0D108BD9-81ED-4DB2-BD59-A6C34878D82A}">
                    <a16:rowId xmlns:a16="http://schemas.microsoft.com/office/drawing/2014/main" val="986491646"/>
                  </a:ext>
                </a:extLst>
              </a:tr>
              <a:tr h="0">
                <a:tc>
                  <a:txBody>
                    <a:bodyPr/>
                    <a:lstStyle/>
                    <a:p>
                      <a:r>
                        <a:rPr lang="fr-FR" sz="1100"/>
                        <a:t>SNCF TRANSILIEN</a:t>
                      </a:r>
                      <a:endParaRPr lang="fr-FR" sz="1100" b="0" i="0" u="none" strike="noStrike" cap="none">
                        <a:solidFill>
                          <a:schemeClr val="dk1"/>
                        </a:solidFill>
                        <a:latin typeface="+mj-lt"/>
                        <a:ea typeface="+mn-ea"/>
                        <a:cs typeface="+mn-cs"/>
                        <a:sym typeface="Arial"/>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b="0" u="none" strike="noStrike" cap="none">
                          <a:solidFill>
                            <a:schemeClr val="accent1"/>
                          </a:solidFill>
                          <a:sym typeface="Arial"/>
                        </a:rPr>
                        <a:t>Mise en œuvre en opérationnel d’un progiciel type APS (HASTUS) pour le tram-train T4 </a:t>
                      </a:r>
                      <a:endParaRPr lang="fr-FR" sz="1050" b="0" i="0" u="none" strike="noStrike" cap="none">
                        <a:solidFill>
                          <a:schemeClr val="accent1"/>
                        </a:solidFill>
                        <a:latin typeface="+mj-lt"/>
                        <a:ea typeface="+mn-ea"/>
                        <a:cs typeface="+mn-cs"/>
                        <a:sym typeface="Aria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rgbClr val="2C64A4"/>
                          </a:solidFill>
                          <a:effectLst/>
                          <a:uLnTx/>
                          <a:uFillTx/>
                          <a:latin typeface="Arial"/>
                          <a:ea typeface="+mn-ea"/>
                          <a:cs typeface="+mn-cs"/>
                          <a:sym typeface="Arial"/>
                        </a:rPr>
                        <a:t>En annexe</a:t>
                      </a:r>
                    </a:p>
                  </a:txBody>
                  <a:tcPr anchor="ctr"/>
                </a:tc>
                <a:extLst>
                  <a:ext uri="{0D108BD9-81ED-4DB2-BD59-A6C34878D82A}">
                    <a16:rowId xmlns:a16="http://schemas.microsoft.com/office/drawing/2014/main" val="2338378588"/>
                  </a:ext>
                </a:extLst>
              </a:tr>
              <a:tr h="0">
                <a:tc>
                  <a:txBody>
                    <a:bodyPr/>
                    <a:lstStyle/>
                    <a:p>
                      <a:pPr marR="0" algn="l" rtl="0" eaLnBrk="1" hangingPunct="1">
                        <a:lnSpc>
                          <a:spcPct val="100000"/>
                        </a:lnSpc>
                        <a:spcBef>
                          <a:spcPts val="0"/>
                        </a:spcBef>
                        <a:spcAft>
                          <a:spcPts val="0"/>
                        </a:spcAft>
                        <a:buClr>
                          <a:srgbClr val="000000"/>
                        </a:buClr>
                        <a:buFont typeface="Arial"/>
                      </a:pPr>
                      <a:r>
                        <a:rPr lang="fr-FR" sz="1100" b="0" u="none" strike="noStrike" cap="none">
                          <a:solidFill>
                            <a:schemeClr val="dk1"/>
                          </a:solidFill>
                          <a:sym typeface="Arial"/>
                        </a:rPr>
                        <a:t>SNCF TRANSILIEN</a:t>
                      </a:r>
                      <a:endParaRPr lang="fr-FR" sz="1100" b="0" i="0" u="none" strike="noStrike" cap="none">
                        <a:solidFill>
                          <a:schemeClr val="dk1"/>
                        </a:solidFill>
                        <a:latin typeface="+mj-lt"/>
                        <a:ea typeface="+mn-ea"/>
                        <a:cs typeface="+mn-cs"/>
                        <a:sym typeface="Arial"/>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b="0" u="none" strike="noStrike" cap="none">
                          <a:solidFill>
                            <a:schemeClr val="accent1"/>
                          </a:solidFill>
                          <a:sym typeface="Arial"/>
                        </a:rPr>
                        <a:t>Accompagnement à la construction de l’offre de référence avec un APS</a:t>
                      </a:r>
                      <a:endParaRPr lang="fr-FR" sz="1050" b="0" i="0" u="none" strike="noStrike" cap="none">
                        <a:solidFill>
                          <a:schemeClr val="dk1"/>
                        </a:solidFill>
                        <a:latin typeface="+mj-lt"/>
                        <a:ea typeface="+mn-ea"/>
                        <a:cs typeface="+mn-cs"/>
                        <a:sym typeface="Aria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rgbClr val="2C64A4"/>
                          </a:solidFill>
                          <a:effectLst/>
                          <a:uLnTx/>
                          <a:uFillTx/>
                          <a:latin typeface="Arial"/>
                          <a:ea typeface="+mn-ea"/>
                          <a:cs typeface="+mn-cs"/>
                          <a:sym typeface="Arial"/>
                        </a:rPr>
                        <a:t>En annexe</a:t>
                      </a:r>
                    </a:p>
                  </a:txBody>
                  <a:tcPr anchor="ctr"/>
                </a:tc>
                <a:extLst>
                  <a:ext uri="{0D108BD9-81ED-4DB2-BD59-A6C34878D82A}">
                    <a16:rowId xmlns:a16="http://schemas.microsoft.com/office/drawing/2014/main" val="1446899647"/>
                  </a:ext>
                </a:extLst>
              </a:tr>
              <a:tr h="0">
                <a:tc>
                  <a:txBody>
                    <a:bodyPr/>
                    <a:lstStyle/>
                    <a:p>
                      <a:pPr marL="92075" indent="0" algn="l" fontAlgn="ctr"/>
                      <a:r>
                        <a:rPr lang="fr-FR" sz="1100" b="0" u="none" strike="noStrike">
                          <a:solidFill>
                            <a:srgbClr val="000000"/>
                          </a:solidFill>
                          <a:effectLst/>
                        </a:rPr>
                        <a:t>TGV - Intercités</a:t>
                      </a:r>
                      <a:endParaRPr lang="fr-FR" sz="1100" b="0" i="0" u="none" strike="noStrike">
                        <a:solidFill>
                          <a:srgbClr val="000000"/>
                        </a:solidFill>
                        <a:effectLst/>
                        <a:latin typeface="+mj-lt"/>
                      </a:endParaRPr>
                    </a:p>
                  </a:txBody>
                  <a:tcPr marL="6350" marR="6350" marT="6350"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b="0" u="none" strike="noStrike" cap="none">
                          <a:solidFill>
                            <a:schemeClr val="accent1"/>
                          </a:solidFill>
                          <a:sym typeface="Arial"/>
                        </a:rPr>
                        <a:t>Organisation et adéquation charges/ressources des sédentaires de la gare Montparnasse</a:t>
                      </a:r>
                      <a:endParaRPr lang="fr-FR" sz="1050" b="0" i="0" u="none" strike="noStrike" cap="none">
                        <a:solidFill>
                          <a:schemeClr val="accent1"/>
                        </a:solidFill>
                        <a:latin typeface="+mj-lt"/>
                        <a:ea typeface="+mn-ea"/>
                        <a:cs typeface="+mn-cs"/>
                        <a:sym typeface="Aria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rgbClr val="2C64A4"/>
                          </a:solidFill>
                          <a:effectLst/>
                          <a:uLnTx/>
                          <a:uFillTx/>
                          <a:latin typeface="Arial"/>
                          <a:ea typeface="+mn-ea"/>
                          <a:cs typeface="+mn-cs"/>
                          <a:sym typeface="Arial"/>
                        </a:rPr>
                        <a:t>En annexe</a:t>
                      </a:r>
                    </a:p>
                  </a:txBody>
                  <a:tcPr anchor="ctr"/>
                </a:tc>
                <a:extLst>
                  <a:ext uri="{0D108BD9-81ED-4DB2-BD59-A6C34878D82A}">
                    <a16:rowId xmlns:a16="http://schemas.microsoft.com/office/drawing/2014/main" val="3683297460"/>
                  </a:ext>
                </a:extLst>
              </a:tr>
              <a:tr h="0">
                <a:tc>
                  <a:txBody>
                    <a:bodyPr/>
                    <a:lstStyle/>
                    <a:p>
                      <a:pPr marL="92075" indent="0" algn="l" fontAlgn="ctr"/>
                      <a:r>
                        <a:rPr lang="fr-FR" sz="1100" b="0" u="none" strike="noStrike">
                          <a:solidFill>
                            <a:srgbClr val="000000"/>
                          </a:solidFill>
                          <a:effectLst/>
                        </a:rPr>
                        <a:t>WELDOM</a:t>
                      </a:r>
                      <a:endParaRPr lang="fr-FR" sz="1100" b="0" i="0" u="none" strike="noStrike">
                        <a:solidFill>
                          <a:srgbClr val="000000"/>
                        </a:solidFill>
                        <a:effectLst/>
                        <a:latin typeface="+mj-lt"/>
                      </a:endParaRPr>
                    </a:p>
                  </a:txBody>
                  <a:tcPr marL="6350" marR="6350" marT="6350"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b="0" u="none" strike="noStrike" cap="none">
                          <a:solidFill>
                            <a:schemeClr val="accent1"/>
                          </a:solidFill>
                          <a:sym typeface="Arial"/>
                        </a:rPr>
                        <a:t>Conduite du changement dans le cadre du déploiement d’un nouveau SI magasi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b="0" u="none" strike="noStrike" cap="none">
                          <a:solidFill>
                            <a:schemeClr val="accent1"/>
                          </a:solidFill>
                          <a:sym typeface="Arial"/>
                        </a:rPr>
                        <a:t>Accompagnement au changement dans le cadre du déploiement d'un nouvel outil de gestion des commandes et de caisses dans l'ensemble du réseau franchisés et salariés de Weldom</a:t>
                      </a:r>
                      <a:endParaRPr lang="fr-FR" sz="1050" b="0" i="0" u="none" strike="noStrike" cap="none">
                        <a:solidFill>
                          <a:schemeClr val="accent1"/>
                        </a:solidFill>
                        <a:latin typeface="+mj-lt"/>
                        <a:ea typeface="+mn-ea"/>
                        <a:cs typeface="+mn-cs"/>
                        <a:sym typeface="Aria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rgbClr val="2C64A4"/>
                          </a:solidFill>
                          <a:effectLst/>
                          <a:uLnTx/>
                          <a:uFillTx/>
                          <a:latin typeface="Arial"/>
                          <a:ea typeface="+mn-ea"/>
                          <a:cs typeface="+mn-cs"/>
                          <a:sym typeface="Arial"/>
                        </a:rPr>
                        <a:t>En annexe</a:t>
                      </a:r>
                    </a:p>
                  </a:txBody>
                  <a:tcPr anchor="ctr"/>
                </a:tc>
                <a:extLst>
                  <a:ext uri="{0D108BD9-81ED-4DB2-BD59-A6C34878D82A}">
                    <a16:rowId xmlns:a16="http://schemas.microsoft.com/office/drawing/2014/main" val="3763269555"/>
                  </a:ext>
                </a:extLst>
              </a:tr>
              <a:tr h="0">
                <a:tc>
                  <a:txBody>
                    <a:bodyPr/>
                    <a:lstStyle/>
                    <a:p>
                      <a:pPr marL="0" marR="0" lvl="0" indent="0" algn="l" defTabSz="1219080" rtl="0" eaLnBrk="1" fontAlgn="auto" latinLnBrk="0" hangingPunct="1">
                        <a:lnSpc>
                          <a:spcPct val="100000"/>
                        </a:lnSpc>
                        <a:spcBef>
                          <a:spcPts val="0"/>
                        </a:spcBef>
                        <a:spcAft>
                          <a:spcPts val="0"/>
                        </a:spcAft>
                        <a:buClrTx/>
                        <a:buSzTx/>
                        <a:buFontTx/>
                        <a:buNone/>
                        <a:tabLst/>
                        <a:defRPr/>
                      </a:pPr>
                      <a:r>
                        <a:rPr lang="fr-FR" sz="1100" b="0" u="none" strike="noStrike" cap="none" noProof="0">
                          <a:solidFill>
                            <a:schemeClr val="dk1"/>
                          </a:solidFill>
                          <a:sym typeface="Arial"/>
                        </a:rPr>
                        <a:t>KEOLIS</a:t>
                      </a:r>
                      <a:endParaRPr lang="fr-FR" sz="1100" b="0" i="0" u="none" strike="noStrike" cap="none" noProof="0">
                        <a:solidFill>
                          <a:schemeClr val="dk1"/>
                        </a:solidFill>
                        <a:latin typeface="+mj-lt"/>
                        <a:ea typeface="+mn-ea"/>
                        <a:cs typeface="+mn-cs"/>
                        <a:sym typeface="Arial"/>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b="0" u="none" strike="noStrike" cap="none">
                          <a:solidFill>
                            <a:schemeClr val="accent1"/>
                          </a:solidFill>
                          <a:sym typeface="Arial"/>
                        </a:rPr>
                        <a:t>Accompagnement à la refonte de leur outil d'exploitation</a:t>
                      </a:r>
                      <a:endParaRPr lang="fr-FR" sz="1050" b="0" i="0" u="none" strike="noStrike" cap="none">
                        <a:solidFill>
                          <a:schemeClr val="accent1"/>
                        </a:solidFill>
                        <a:latin typeface="+mj-lt"/>
                        <a:ea typeface="+mn-ea"/>
                        <a:cs typeface="+mn-cs"/>
                        <a:sym typeface="Aria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rgbClr val="2C64A4"/>
                          </a:solidFill>
                          <a:effectLst/>
                          <a:uLnTx/>
                          <a:uFillTx/>
                          <a:latin typeface="Arial"/>
                          <a:ea typeface="+mn-ea"/>
                          <a:cs typeface="+mn-cs"/>
                          <a:sym typeface="Arial"/>
                        </a:rPr>
                        <a:t>En annexe</a:t>
                      </a:r>
                    </a:p>
                  </a:txBody>
                  <a:tcPr anchor="ctr"/>
                </a:tc>
                <a:extLst>
                  <a:ext uri="{0D108BD9-81ED-4DB2-BD59-A6C34878D82A}">
                    <a16:rowId xmlns:a16="http://schemas.microsoft.com/office/drawing/2014/main" val="1388222846"/>
                  </a:ext>
                </a:extLst>
              </a:tr>
              <a:tr h="0">
                <a:tc>
                  <a:txBody>
                    <a:bodyPr/>
                    <a:lstStyle/>
                    <a:p>
                      <a:pPr marL="0" marR="0" lvl="0" indent="0" algn="l" defTabSz="1219080" rtl="0" eaLnBrk="1" fontAlgn="auto" latinLnBrk="0" hangingPunct="1">
                        <a:lnSpc>
                          <a:spcPct val="100000"/>
                        </a:lnSpc>
                        <a:spcBef>
                          <a:spcPts val="0"/>
                        </a:spcBef>
                        <a:spcAft>
                          <a:spcPts val="0"/>
                        </a:spcAft>
                        <a:buClrTx/>
                        <a:buSzTx/>
                        <a:buFontTx/>
                        <a:buNone/>
                        <a:tabLst/>
                        <a:defRPr/>
                      </a:pPr>
                      <a:r>
                        <a:rPr lang="fr-FR" sz="1100" b="0" i="0" u="none" strike="noStrike" cap="none" noProof="0">
                          <a:solidFill>
                            <a:schemeClr val="dk1"/>
                          </a:solidFill>
                          <a:latin typeface="+mj-lt"/>
                          <a:ea typeface="+mn-ea"/>
                          <a:cs typeface="+mn-cs"/>
                          <a:sym typeface="Arial"/>
                        </a:rPr>
                        <a:t>SNCF TER BreizhGo </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b="0" i="0" u="none" strike="noStrike" cap="none">
                          <a:solidFill>
                            <a:schemeClr val="accent1"/>
                          </a:solidFill>
                          <a:latin typeface="+mj-lt"/>
                          <a:ea typeface="+mn-ea"/>
                          <a:cs typeface="+mn-cs"/>
                          <a:sym typeface="Arial"/>
                        </a:rPr>
                        <a:t>Formation Savoir Être des équipes mobiles </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rgbClr val="2C64A4"/>
                          </a:solidFill>
                          <a:effectLst/>
                          <a:uLnTx/>
                          <a:uFillTx/>
                          <a:latin typeface="+mn-lt"/>
                          <a:ea typeface="+mn-ea"/>
                          <a:cs typeface="+mn-cs"/>
                          <a:sym typeface="Arial"/>
                        </a:rPr>
                        <a:t>En annexe</a:t>
                      </a:r>
                    </a:p>
                  </a:txBody>
                  <a:tcPr anchor="ctr"/>
                </a:tc>
                <a:extLst>
                  <a:ext uri="{0D108BD9-81ED-4DB2-BD59-A6C34878D82A}">
                    <a16:rowId xmlns:a16="http://schemas.microsoft.com/office/drawing/2014/main" val="1291180048"/>
                  </a:ext>
                </a:extLst>
              </a:tr>
              <a:tr h="0">
                <a:tc>
                  <a:txBody>
                    <a:bodyPr/>
                    <a:lstStyle/>
                    <a:p>
                      <a:pPr marL="0" marR="0" lvl="0" indent="0" algn="l" defTabSz="1219080" rtl="0" eaLnBrk="1" fontAlgn="auto" latinLnBrk="0" hangingPunct="1">
                        <a:lnSpc>
                          <a:spcPct val="100000"/>
                        </a:lnSpc>
                        <a:spcBef>
                          <a:spcPts val="0"/>
                        </a:spcBef>
                        <a:spcAft>
                          <a:spcPts val="0"/>
                        </a:spcAft>
                        <a:buClrTx/>
                        <a:buSzTx/>
                        <a:buFontTx/>
                        <a:buNone/>
                        <a:tabLst/>
                        <a:defRPr/>
                      </a:pPr>
                      <a:r>
                        <a:rPr lang="fr-FR" sz="1100" b="0" i="0" u="none" strike="noStrike" cap="none" noProof="0">
                          <a:solidFill>
                            <a:schemeClr val="dk1"/>
                          </a:solidFill>
                          <a:latin typeface="+mj-lt"/>
                          <a:ea typeface="+mn-ea"/>
                          <a:cs typeface="+mn-cs"/>
                          <a:sym typeface="Arial"/>
                        </a:rPr>
                        <a:t>La Poste </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b="0" i="0" u="none" strike="noStrike" cap="none">
                          <a:solidFill>
                            <a:schemeClr val="accent1"/>
                          </a:solidFill>
                          <a:latin typeface="+mj-lt"/>
                          <a:ea typeface="+mn-ea"/>
                          <a:cs typeface="+mn-cs"/>
                          <a:sym typeface="Arial"/>
                        </a:rPr>
                        <a:t>Projet .Com1 - Montée en compétences et animation des communautés ambassadeurs &amp; transformers .com1 </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rgbClr val="2C64A4"/>
                          </a:solidFill>
                          <a:effectLst/>
                          <a:uLnTx/>
                          <a:uFillTx/>
                          <a:latin typeface="+mn-lt"/>
                          <a:ea typeface="+mn-ea"/>
                          <a:cs typeface="+mn-cs"/>
                          <a:sym typeface="Arial"/>
                        </a:rPr>
                        <a:t>En annexe</a:t>
                      </a:r>
                    </a:p>
                  </a:txBody>
                  <a:tcPr anchor="ctr"/>
                </a:tc>
                <a:extLst>
                  <a:ext uri="{0D108BD9-81ED-4DB2-BD59-A6C34878D82A}">
                    <a16:rowId xmlns:a16="http://schemas.microsoft.com/office/drawing/2014/main" val="800201272"/>
                  </a:ext>
                </a:extLst>
              </a:tr>
            </a:tbl>
          </a:graphicData>
        </a:graphic>
      </p:graphicFrame>
      <p:sp>
        <p:nvSpPr>
          <p:cNvPr id="6" name="Espace réservé du texte 3">
            <a:extLst>
              <a:ext uri="{FF2B5EF4-FFF2-40B4-BE49-F238E27FC236}">
                <a16:creationId xmlns:a16="http://schemas.microsoft.com/office/drawing/2014/main" id="{8A88337F-C6B5-43D7-BAFD-2A01BE57E6CF}"/>
              </a:ext>
            </a:extLst>
          </p:cNvPr>
          <p:cNvSpPr>
            <a:spLocks noGrp="1"/>
          </p:cNvSpPr>
          <p:nvPr>
            <p:ph type="body" idx="1"/>
          </p:nvPr>
        </p:nvSpPr>
        <p:spPr>
          <a:xfrm>
            <a:off x="396656" y="627764"/>
            <a:ext cx="11795344" cy="360731"/>
          </a:xfrm>
        </p:spPr>
        <p:txBody>
          <a:bodyPr/>
          <a:lstStyle/>
          <a:p>
            <a:r>
              <a:rPr lang="fr-FR">
                <a:solidFill>
                  <a:schemeClr val="bg2">
                    <a:lumMod val="60000"/>
                    <a:lumOff val="40000"/>
                  </a:schemeClr>
                </a:solidFill>
                <a:latin typeface="+mn-lt"/>
              </a:rPr>
              <a:t>Voici les références pertinentes Talan Consulting pour les formations ORION dans le cadre du programme POGS Transilien :</a:t>
            </a:r>
          </a:p>
        </p:txBody>
      </p:sp>
    </p:spTree>
    <p:extLst>
      <p:ext uri="{BB962C8B-B14F-4D97-AF65-F5344CB8AC3E}">
        <p14:creationId xmlns:p14="http://schemas.microsoft.com/office/powerpoint/2010/main" val="3260617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11578C-937E-4A6D-A238-B6343824B177}"/>
              </a:ext>
            </a:extLst>
          </p:cNvPr>
          <p:cNvSpPr>
            <a:spLocks noGrp="1"/>
          </p:cNvSpPr>
          <p:nvPr>
            <p:ph type="title"/>
          </p:nvPr>
        </p:nvSpPr>
        <p:spPr/>
        <p:txBody>
          <a:bodyPr/>
          <a:lstStyle/>
          <a:p>
            <a:r>
              <a:rPr lang="fr-FR"/>
              <a:t>PLANNING D’INTERVENTION</a:t>
            </a:r>
          </a:p>
        </p:txBody>
      </p:sp>
    </p:spTree>
    <p:extLst>
      <p:ext uri="{BB962C8B-B14F-4D97-AF65-F5344CB8AC3E}">
        <p14:creationId xmlns:p14="http://schemas.microsoft.com/office/powerpoint/2010/main" val="15304901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E167DAC-04EF-8A8C-46E2-8DD01CAFA71F}"/>
              </a:ext>
            </a:extLst>
          </p:cNvPr>
          <p:cNvSpPr>
            <a:spLocks noGrp="1"/>
          </p:cNvSpPr>
          <p:nvPr>
            <p:ph type="title"/>
          </p:nvPr>
        </p:nvSpPr>
        <p:spPr/>
        <p:txBody>
          <a:bodyPr/>
          <a:lstStyle/>
          <a:p>
            <a:r>
              <a:rPr lang="fr-FR"/>
              <a:t>Planning d’intervention</a:t>
            </a:r>
          </a:p>
        </p:txBody>
      </p:sp>
      <p:sp>
        <p:nvSpPr>
          <p:cNvPr id="3" name="Espace réservé du texte 2">
            <a:extLst>
              <a:ext uri="{FF2B5EF4-FFF2-40B4-BE49-F238E27FC236}">
                <a16:creationId xmlns:a16="http://schemas.microsoft.com/office/drawing/2014/main" id="{9A5F46FE-E970-7C59-B32C-9892E8B7EB95}"/>
              </a:ext>
            </a:extLst>
          </p:cNvPr>
          <p:cNvSpPr>
            <a:spLocks noGrp="1"/>
          </p:cNvSpPr>
          <p:nvPr>
            <p:ph type="body" idx="1"/>
          </p:nvPr>
        </p:nvSpPr>
        <p:spPr>
          <a:xfrm>
            <a:off x="435727" y="772412"/>
            <a:ext cx="11535873" cy="350449"/>
          </a:xfrm>
        </p:spPr>
        <p:txBody>
          <a:bodyPr/>
          <a:lstStyle/>
          <a:p>
            <a:r>
              <a:rPr lang="fr-FR">
                <a:solidFill>
                  <a:schemeClr val="bg2">
                    <a:lumMod val="60000"/>
                    <a:lumOff val="40000"/>
                  </a:schemeClr>
                </a:solidFill>
                <a:latin typeface="+mn-lt"/>
              </a:rPr>
              <a:t>Hypothèses de planification</a:t>
            </a:r>
          </a:p>
        </p:txBody>
      </p:sp>
      <p:pic>
        <p:nvPicPr>
          <p:cNvPr id="6" name="Image 5">
            <a:extLst>
              <a:ext uri="{FF2B5EF4-FFF2-40B4-BE49-F238E27FC236}">
                <a16:creationId xmlns:a16="http://schemas.microsoft.com/office/drawing/2014/main" id="{FF5A7C39-45FE-97BC-2E52-A5C73D224472}"/>
              </a:ext>
            </a:extLst>
          </p:cNvPr>
          <p:cNvPicPr>
            <a:picLocks noChangeAspect="1"/>
          </p:cNvPicPr>
          <p:nvPr/>
        </p:nvPicPr>
        <p:blipFill rotWithShape="1">
          <a:blip r:embed="rId2"/>
          <a:srcRect r="19337"/>
          <a:stretch/>
        </p:blipFill>
        <p:spPr>
          <a:xfrm>
            <a:off x="522514" y="2860896"/>
            <a:ext cx="11449086" cy="3251851"/>
          </a:xfrm>
          <a:prstGeom prst="rect">
            <a:avLst/>
          </a:prstGeom>
        </p:spPr>
      </p:pic>
      <p:sp>
        <p:nvSpPr>
          <p:cNvPr id="7" name="Espace réservé du texte 2">
            <a:extLst>
              <a:ext uri="{FF2B5EF4-FFF2-40B4-BE49-F238E27FC236}">
                <a16:creationId xmlns:a16="http://schemas.microsoft.com/office/drawing/2014/main" id="{C9150FA0-04B2-36A8-1D22-3EE100BE60DF}"/>
              </a:ext>
            </a:extLst>
          </p:cNvPr>
          <p:cNvSpPr txBox="1">
            <a:spLocks/>
          </p:cNvSpPr>
          <p:nvPr/>
        </p:nvSpPr>
        <p:spPr>
          <a:xfrm>
            <a:off x="435727" y="1056429"/>
            <a:ext cx="6279398" cy="169042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9525" marR="0" lvl="0" indent="0" algn="l" rtl="0" eaLnBrk="1" hangingPunct="1">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eaLnBrk="1" hangingPunct="1">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sz="1100" b="1" kern="0">
                <a:solidFill>
                  <a:schemeClr val="bg2"/>
                </a:solidFill>
              </a:rPr>
              <a:t>Les principes retenus de planification :</a:t>
            </a:r>
          </a:p>
          <a:p>
            <a:pPr marL="295275" indent="-285750">
              <a:buFont typeface="Wingdings" panose="05000000000000000000" pitchFamily="2" charset="2"/>
              <a:buChar char="§"/>
            </a:pPr>
            <a:r>
              <a:rPr lang="fr-FR" sz="1100" kern="0"/>
              <a:t>Le point d’entrée est la ligne : les populations ne sont pas mélangées (inter –lignes)</a:t>
            </a:r>
          </a:p>
          <a:p>
            <a:pPr marL="295275" indent="-285750">
              <a:buFont typeface="Wingdings" panose="05000000000000000000" pitchFamily="2" charset="2"/>
              <a:buChar char="§"/>
            </a:pPr>
            <a:r>
              <a:rPr lang="fr-FR" sz="1100" kern="0"/>
              <a:t>Puis viennent les lots, modules, populations, groupes (&lt; 8 personnes)</a:t>
            </a:r>
          </a:p>
          <a:p>
            <a:pPr marL="295275" indent="-285750">
              <a:buFont typeface="Wingdings" panose="05000000000000000000" pitchFamily="2" charset="2"/>
              <a:buChar char="§"/>
            </a:pPr>
            <a:r>
              <a:rPr lang="fr-FR" sz="1100" kern="0"/>
              <a:t>Les périodes de congés ont été gelées</a:t>
            </a:r>
          </a:p>
          <a:p>
            <a:pPr marL="295275" indent="-285750">
              <a:buFont typeface="Wingdings" panose="05000000000000000000" pitchFamily="2" charset="2"/>
              <a:buChar char="§"/>
            </a:pPr>
            <a:r>
              <a:rPr lang="fr-FR" sz="1100" kern="0"/>
              <a:t>Les 20% ont été intégrés dans l’évaluation de la charge</a:t>
            </a:r>
          </a:p>
          <a:p>
            <a:pPr marL="295275" indent="-285750">
              <a:buFont typeface="Wingdings" panose="05000000000000000000" pitchFamily="2" charset="2"/>
              <a:buChar char="§"/>
            </a:pPr>
            <a:r>
              <a:rPr lang="fr-FR" sz="1100" kern="0"/>
              <a:t>Les lots 3.1 et 3.2 ont été fusionnés</a:t>
            </a:r>
          </a:p>
          <a:p>
            <a:pPr marL="295275" indent="-285750">
              <a:buFont typeface="Wingdings" panose="05000000000000000000" pitchFamily="2" charset="2"/>
              <a:buChar char="§"/>
            </a:pPr>
            <a:r>
              <a:rPr lang="fr-FR" sz="1100" kern="0"/>
              <a:t>En raison de la construction des modules par ligne, il existe des marges pour intégrer de nouvelles personnes à former </a:t>
            </a:r>
          </a:p>
        </p:txBody>
      </p:sp>
      <p:sp>
        <p:nvSpPr>
          <p:cNvPr id="8" name="Espace réservé du texte 2">
            <a:extLst>
              <a:ext uri="{FF2B5EF4-FFF2-40B4-BE49-F238E27FC236}">
                <a16:creationId xmlns:a16="http://schemas.microsoft.com/office/drawing/2014/main" id="{BBF4D369-5365-D88E-5FDF-0DECCBE4CC3E}"/>
              </a:ext>
            </a:extLst>
          </p:cNvPr>
          <p:cNvSpPr txBox="1">
            <a:spLocks/>
          </p:cNvSpPr>
          <p:nvPr/>
        </p:nvSpPr>
        <p:spPr>
          <a:xfrm>
            <a:off x="6867525" y="1056429"/>
            <a:ext cx="5219701" cy="145482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9525" marR="0" lvl="0" indent="0" algn="l" rtl="0" eaLnBrk="1" hangingPunct="1">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eaLnBrk="1" hangingPunct="1">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sz="1100" b="1" kern="0">
                <a:solidFill>
                  <a:schemeClr val="bg2"/>
                </a:solidFill>
              </a:rPr>
              <a:t>Précisions : </a:t>
            </a:r>
          </a:p>
          <a:p>
            <a:pPr marL="180975" indent="-171450">
              <a:buFont typeface="Wingdings" panose="05000000000000000000" pitchFamily="2" charset="2"/>
              <a:buChar char="§"/>
            </a:pPr>
            <a:r>
              <a:rPr lang="fr-FR" sz="1100" kern="0"/>
              <a:t>Hors contrainte particulière sur la séparation des populations par ligne :</a:t>
            </a:r>
          </a:p>
          <a:p>
            <a:pPr marL="542925" lvl="1" indent="-285750">
              <a:buFont typeface="Arial" panose="020B0604020202020204" pitchFamily="34" charset="0"/>
              <a:buChar char="•"/>
            </a:pPr>
            <a:r>
              <a:rPr lang="fr-FR" sz="1050" b="0" kern="0">
                <a:solidFill>
                  <a:schemeClr val="tx1"/>
                </a:solidFill>
                <a:latin typeface="+mj-lt"/>
              </a:rPr>
              <a:t>Formation complète en 1 mois</a:t>
            </a:r>
          </a:p>
          <a:p>
            <a:pPr marL="542925" lvl="1" indent="-285750">
              <a:buFont typeface="Arial" panose="020B0604020202020204" pitchFamily="34" charset="0"/>
              <a:buChar char="•"/>
            </a:pPr>
            <a:r>
              <a:rPr lang="fr-FR" sz="1050" b="0" kern="0">
                <a:solidFill>
                  <a:schemeClr val="tx1"/>
                </a:solidFill>
                <a:latin typeface="+mj-lt"/>
              </a:rPr>
              <a:t>Organisation d’abord des modules PLA, puis ORDO</a:t>
            </a:r>
          </a:p>
          <a:p>
            <a:endParaRPr lang="fr-FR" sz="1100" kern="0"/>
          </a:p>
          <a:p>
            <a:pPr marL="180975" indent="-171450">
              <a:buFont typeface="Wingdings" panose="05000000000000000000" pitchFamily="2" charset="2"/>
              <a:buChar char="§"/>
            </a:pPr>
            <a:r>
              <a:rPr lang="fr-FR" sz="1100" kern="0"/>
              <a:t>La planification du module PLA 5 regroupe toutes les lignes et toutes populations concernées</a:t>
            </a:r>
          </a:p>
          <a:p>
            <a:pPr marL="180975" indent="-171450">
              <a:buFont typeface="Wingdings" panose="05000000000000000000" pitchFamily="2" charset="2"/>
              <a:buChar char="§"/>
            </a:pPr>
            <a:r>
              <a:rPr lang="fr-FR" sz="1100"/>
              <a:t>Le planning de déploiement source pour décliner ces activités est « PROJET DE PLANNING – Scénario 1 « avant l’été 2024 » »</a:t>
            </a:r>
            <a:endParaRPr lang="fr-FR" sz="1100" kern="0"/>
          </a:p>
        </p:txBody>
      </p:sp>
      <p:cxnSp>
        <p:nvCxnSpPr>
          <p:cNvPr id="5" name="Connecteur droit 4">
            <a:extLst>
              <a:ext uri="{FF2B5EF4-FFF2-40B4-BE49-F238E27FC236}">
                <a16:creationId xmlns:a16="http://schemas.microsoft.com/office/drawing/2014/main" id="{C174F8D8-9C12-C05A-DA6A-A3570C11F2D1}"/>
              </a:ext>
            </a:extLst>
          </p:cNvPr>
          <p:cNvCxnSpPr/>
          <p:nvPr/>
        </p:nvCxnSpPr>
        <p:spPr>
          <a:xfrm>
            <a:off x="522514" y="1118857"/>
            <a:ext cx="11449086"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Espace réservé du texte 2">
            <a:extLst>
              <a:ext uri="{FF2B5EF4-FFF2-40B4-BE49-F238E27FC236}">
                <a16:creationId xmlns:a16="http://schemas.microsoft.com/office/drawing/2014/main" id="{E91348FE-6487-E625-958A-AADD584445ED}"/>
              </a:ext>
            </a:extLst>
          </p:cNvPr>
          <p:cNvSpPr txBox="1">
            <a:spLocks/>
          </p:cNvSpPr>
          <p:nvPr/>
        </p:nvSpPr>
        <p:spPr>
          <a:xfrm>
            <a:off x="435727" y="2443661"/>
            <a:ext cx="11535873" cy="35044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9525" marR="0" lvl="0" indent="0" algn="l" rtl="0" eaLnBrk="1" hangingPunct="1">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eaLnBrk="1" hangingPunct="1">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solidFill>
                  <a:schemeClr val="bg2">
                    <a:lumMod val="60000"/>
                    <a:lumOff val="40000"/>
                  </a:schemeClr>
                </a:solidFill>
                <a:latin typeface="+mn-lt"/>
              </a:rPr>
              <a:t>Macro planning</a:t>
            </a:r>
          </a:p>
        </p:txBody>
      </p:sp>
      <p:cxnSp>
        <p:nvCxnSpPr>
          <p:cNvPr id="12" name="Connecteur droit 11">
            <a:extLst>
              <a:ext uri="{FF2B5EF4-FFF2-40B4-BE49-F238E27FC236}">
                <a16:creationId xmlns:a16="http://schemas.microsoft.com/office/drawing/2014/main" id="{8AADDA62-8E9B-88A0-3C64-F2A6A8C33C46}"/>
              </a:ext>
            </a:extLst>
          </p:cNvPr>
          <p:cNvCxnSpPr/>
          <p:nvPr/>
        </p:nvCxnSpPr>
        <p:spPr>
          <a:xfrm>
            <a:off x="522514" y="2790106"/>
            <a:ext cx="11449086"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Espace réservé du contenu 7">
            <a:extLst>
              <a:ext uri="{FF2B5EF4-FFF2-40B4-BE49-F238E27FC236}">
                <a16:creationId xmlns:a16="http://schemas.microsoft.com/office/drawing/2014/main" id="{3897D5CC-92F1-B331-7B4C-E01530575557}"/>
              </a:ext>
            </a:extLst>
          </p:cNvPr>
          <p:cNvSpPr txBox="1">
            <a:spLocks/>
          </p:cNvSpPr>
          <p:nvPr/>
        </p:nvSpPr>
        <p:spPr bwMode="gray">
          <a:xfrm>
            <a:off x="522514" y="6192261"/>
            <a:ext cx="11449085" cy="319141"/>
          </a:xfrm>
          <a:prstGeom prst="rect">
            <a:avLst/>
          </a:prstGeom>
          <a:solidFill>
            <a:schemeClr val="bg2"/>
          </a:solidFill>
          <a:ln w="12700">
            <a:solidFill>
              <a:schemeClr val="bg2"/>
            </a:solidFill>
          </a:ln>
        </p:spPr>
        <p:txBody>
          <a:bodyPr vert="horz" wrap="square" lIns="0" tIns="3810" rIns="0" bIns="0" rtlCol="0" anchor="ctr">
            <a:noAutofit/>
          </a:bodyPr>
          <a:lstStyle>
            <a:defPPr marR="0" lvl="0" algn="l" rtl="0">
              <a:lnSpc>
                <a:spcPct val="100000"/>
              </a:lnSpc>
              <a:spcBef>
                <a:spcPts val="0"/>
              </a:spcBef>
              <a:spcAft>
                <a:spcPts val="0"/>
              </a:spcAft>
            </a:defPPr>
            <a:lvl1pPr algn="ctr">
              <a:defRPr sz="1200" spc="-5">
                <a:solidFill>
                  <a:srgbClr val="FFFFFF"/>
                </a:solidFill>
                <a:latin typeface="+mj-lt"/>
                <a:cs typeface="Verdana"/>
              </a:defRPr>
            </a:lvl1pPr>
            <a:lvl2pPr marL="0" indent="0" algn="l" defTabSz="1072866" rtl="0" eaLnBrk="1" fontAlgn="base" latinLnBrk="0" hangingPunct="1">
              <a:lnSpc>
                <a:spcPct val="100000"/>
              </a:lnSpc>
              <a:spcBef>
                <a:spcPts val="0"/>
              </a:spcBef>
              <a:spcAft>
                <a:spcPct val="0"/>
              </a:spcAft>
              <a:buFont typeface="Arial" pitchFamily="34" charset="0"/>
              <a:buNone/>
              <a:defRPr lang="fr-FR" sz="1400" kern="1200" dirty="0" smtClean="0">
                <a:solidFill>
                  <a:schemeClr val="tx1"/>
                </a:solidFill>
                <a:latin typeface="Avenir LT Std 55 Roman" pitchFamily="34" charset="0"/>
                <a:ea typeface="+mn-ea"/>
                <a:cs typeface="+mn-cs"/>
              </a:defRPr>
            </a:lvl2pPr>
            <a:lvl3pPr marL="168955" indent="-168955" algn="l" defTabSz="1072866" rtl="0" eaLnBrk="1" fontAlgn="base" latinLnBrk="0" hangingPunct="1">
              <a:lnSpc>
                <a:spcPct val="100000"/>
              </a:lnSpc>
              <a:spcBef>
                <a:spcPts val="0"/>
              </a:spcBef>
              <a:spcAft>
                <a:spcPct val="0"/>
              </a:spcAft>
              <a:buClr>
                <a:schemeClr val="accent1"/>
              </a:buClr>
              <a:buSzPct val="100000"/>
              <a:buFont typeface="Avenir LT Std 65 Medium" pitchFamily="34" charset="0"/>
              <a:buChar char="+"/>
              <a:defRPr lang="fr-FR" sz="1400" kern="1200" dirty="0" smtClean="0">
                <a:solidFill>
                  <a:schemeClr val="tx1"/>
                </a:solidFill>
                <a:latin typeface="Avenir LT Std 55 Roman" pitchFamily="34" charset="0"/>
                <a:ea typeface="+mn-ea"/>
                <a:cs typeface="+mn-cs"/>
              </a:defRPr>
            </a:lvl3pPr>
            <a:lvl4pPr marL="253433" indent="-84478" algn="l" defTabSz="1072866" rtl="0" eaLnBrk="1" fontAlgn="base" latinLnBrk="0" hangingPunct="1">
              <a:lnSpc>
                <a:spcPct val="100000"/>
              </a:lnSpc>
              <a:spcBef>
                <a:spcPts val="0"/>
              </a:spcBef>
              <a:spcAft>
                <a:spcPct val="0"/>
              </a:spcAft>
              <a:buClr>
                <a:schemeClr val="tx1"/>
              </a:buClr>
              <a:buSzPct val="75000"/>
              <a:buFont typeface="Arial" pitchFamily="34" charset="0"/>
              <a:buChar char="•"/>
              <a:defRPr lang="fr-FR" sz="1400" kern="1200" dirty="0" smtClean="0">
                <a:solidFill>
                  <a:schemeClr val="tx1"/>
                </a:solidFill>
                <a:latin typeface="Avenir LT Std 55 Roman" pitchFamily="34" charset="0"/>
                <a:ea typeface="+mn-ea"/>
                <a:cs typeface="+mn-cs"/>
              </a:defRPr>
            </a:lvl4pPr>
            <a:lvl5pPr marL="253433" indent="0" algn="l" defTabSz="1072866" rtl="0" eaLnBrk="1" fontAlgn="base" latinLnBrk="0" hangingPunct="1">
              <a:lnSpc>
                <a:spcPct val="100000"/>
              </a:lnSpc>
              <a:spcBef>
                <a:spcPts val="0"/>
              </a:spcBef>
              <a:spcAft>
                <a:spcPct val="0"/>
              </a:spcAft>
              <a:buSzPct val="100000"/>
              <a:buFont typeface="Arial" pitchFamily="34" charset="0"/>
              <a:buNone/>
              <a:defRPr lang="fr-FR" sz="1400" kern="1200" dirty="0">
                <a:solidFill>
                  <a:schemeClr val="tx1"/>
                </a:solidFill>
                <a:latin typeface="Avenir LT Std 55 Roman" pitchFamily="34" charset="0"/>
                <a:ea typeface="+mn-ea"/>
                <a:cs typeface="+mn-cs"/>
              </a:defRPr>
            </a:lvl5pPr>
            <a:lvl6pPr marL="2950380"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6813"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3246"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59678"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fr-FR" sz="1100"/>
              <a:t>Le détail par ligne de ce planning est fourni dans le document des annexes.</a:t>
            </a:r>
          </a:p>
        </p:txBody>
      </p:sp>
    </p:spTree>
    <p:extLst>
      <p:ext uri="{BB962C8B-B14F-4D97-AF65-F5344CB8AC3E}">
        <p14:creationId xmlns:p14="http://schemas.microsoft.com/office/powerpoint/2010/main" val="17713923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0056A8C-CCF4-4D35-9A21-FB77BD6A6015}"/>
              </a:ext>
            </a:extLst>
          </p:cNvPr>
          <p:cNvSpPr>
            <a:spLocks noGrp="1"/>
          </p:cNvSpPr>
          <p:nvPr>
            <p:ph type="title"/>
          </p:nvPr>
        </p:nvSpPr>
        <p:spPr/>
        <p:txBody>
          <a:bodyPr/>
          <a:lstStyle/>
          <a:p>
            <a:r>
              <a:rPr lang="fr-FR" sz="2400"/>
              <a:t>NOTRE PROPOSITION DE DÉMARCHE ET LIVRABLES ASSOCIÉS</a:t>
            </a:r>
            <a:endParaRPr lang="fr-FR"/>
          </a:p>
        </p:txBody>
      </p:sp>
    </p:spTree>
    <p:extLst>
      <p:ext uri="{BB962C8B-B14F-4D97-AF65-F5344CB8AC3E}">
        <p14:creationId xmlns:p14="http://schemas.microsoft.com/office/powerpoint/2010/main" val="1493195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8265107A-3EE1-4565-907E-262A70BA3F46}"/>
              </a:ext>
            </a:extLst>
          </p:cNvPr>
          <p:cNvSpPr>
            <a:spLocks noGrp="1"/>
          </p:cNvSpPr>
          <p:nvPr>
            <p:ph type="title"/>
          </p:nvPr>
        </p:nvSpPr>
        <p:spPr/>
        <p:txBody>
          <a:bodyPr/>
          <a:lstStyle/>
          <a:p>
            <a:r>
              <a:rPr lang="fr-FR"/>
              <a:t>SUIVI DES VERSIONS</a:t>
            </a:r>
          </a:p>
        </p:txBody>
      </p:sp>
      <p:graphicFrame>
        <p:nvGraphicFramePr>
          <p:cNvPr id="36" name="Tableau 6">
            <a:extLst>
              <a:ext uri="{FF2B5EF4-FFF2-40B4-BE49-F238E27FC236}">
                <a16:creationId xmlns:a16="http://schemas.microsoft.com/office/drawing/2014/main" id="{F1C1D90F-95B6-57C8-FFF7-3B8F309684FC}"/>
              </a:ext>
            </a:extLst>
          </p:cNvPr>
          <p:cNvGraphicFramePr>
            <a:graphicFrameLocks noGrp="1"/>
          </p:cNvGraphicFramePr>
          <p:nvPr>
            <p:extLst>
              <p:ext uri="{D42A27DB-BD31-4B8C-83A1-F6EECF244321}">
                <p14:modId xmlns:p14="http://schemas.microsoft.com/office/powerpoint/2010/main" val="4262808246"/>
              </p:ext>
            </p:extLst>
          </p:nvPr>
        </p:nvGraphicFramePr>
        <p:xfrm>
          <a:off x="764651" y="1276350"/>
          <a:ext cx="10662699" cy="3643444"/>
        </p:xfrm>
        <a:graphic>
          <a:graphicData uri="http://schemas.openxmlformats.org/drawingml/2006/table">
            <a:tbl>
              <a:tblPr firstRow="1" bandRow="1">
                <a:tableStyleId>{793D81CF-94F2-401A-BA57-92F5A7B2D0C5}</a:tableStyleId>
              </a:tblPr>
              <a:tblGrid>
                <a:gridCol w="1245124">
                  <a:extLst>
                    <a:ext uri="{9D8B030D-6E8A-4147-A177-3AD203B41FA5}">
                      <a16:colId xmlns:a16="http://schemas.microsoft.com/office/drawing/2014/main" val="1683721696"/>
                    </a:ext>
                  </a:extLst>
                </a:gridCol>
                <a:gridCol w="1493916">
                  <a:extLst>
                    <a:ext uri="{9D8B030D-6E8A-4147-A177-3AD203B41FA5}">
                      <a16:colId xmlns:a16="http://schemas.microsoft.com/office/drawing/2014/main" val="2128136399"/>
                    </a:ext>
                  </a:extLst>
                </a:gridCol>
                <a:gridCol w="7923659">
                  <a:extLst>
                    <a:ext uri="{9D8B030D-6E8A-4147-A177-3AD203B41FA5}">
                      <a16:colId xmlns:a16="http://schemas.microsoft.com/office/drawing/2014/main" val="3908160798"/>
                    </a:ext>
                  </a:extLst>
                </a:gridCol>
              </a:tblGrid>
              <a:tr h="509764">
                <a:tc>
                  <a:txBody>
                    <a:bodyPr/>
                    <a:lstStyle/>
                    <a:p>
                      <a:pPr algn="ctr"/>
                      <a:r>
                        <a:rPr lang="fr-FR" sz="1100" dirty="0"/>
                        <a:t>Version</a:t>
                      </a:r>
                    </a:p>
                  </a:txBody>
                  <a:tcPr marL="36000" marR="36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rgbClr val="44388A"/>
                    </a:solidFill>
                  </a:tcPr>
                </a:tc>
                <a:tc>
                  <a:txBody>
                    <a:bodyPr/>
                    <a:lstStyle/>
                    <a:p>
                      <a:pPr algn="ctr"/>
                      <a:r>
                        <a:rPr lang="fr-FR" sz="1100" dirty="0"/>
                        <a:t>Date de publication</a:t>
                      </a:r>
                    </a:p>
                  </a:txBody>
                  <a:tcPr marL="36000" marR="36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rgbClr val="44388A"/>
                    </a:solidFill>
                  </a:tcPr>
                </a:tc>
                <a:tc>
                  <a:txBody>
                    <a:bodyPr/>
                    <a:lstStyle/>
                    <a:p>
                      <a:pPr algn="ctr"/>
                      <a:r>
                        <a:rPr lang="fr-FR" sz="1100" dirty="0"/>
                        <a:t>Description du contenu</a:t>
                      </a:r>
                    </a:p>
                  </a:txBody>
                  <a:tcPr marL="36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44388A"/>
                    </a:solidFill>
                  </a:tcPr>
                </a:tc>
                <a:extLst>
                  <a:ext uri="{0D108BD9-81ED-4DB2-BD59-A6C34878D82A}">
                    <a16:rowId xmlns:a16="http://schemas.microsoft.com/office/drawing/2014/main" val="3999692771"/>
                  </a:ext>
                </a:extLst>
              </a:tr>
              <a:tr h="360000">
                <a:tc>
                  <a:txBody>
                    <a:bodyPr/>
                    <a:lstStyle/>
                    <a:p>
                      <a:pPr marL="0" indent="0" algn="ctr"/>
                      <a:r>
                        <a:rPr lang="fr-FR" sz="1100" b="1"/>
                        <a:t>1.0</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accent1">
                        <a:alpha val="10000"/>
                      </a:schemeClr>
                    </a:solidFill>
                  </a:tcPr>
                </a:tc>
                <a:tc>
                  <a:txBody>
                    <a:bodyPr/>
                    <a:lstStyle/>
                    <a:p>
                      <a:pPr marL="0" indent="0" algn="ctr"/>
                      <a:r>
                        <a:rPr lang="fr-FR" sz="1100"/>
                        <a:t>08 Mars 2023</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accent1">
                        <a:alpha val="10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100"/>
                        <a:t>Publication de l’offre technique</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accent1">
                        <a:alpha val="10000"/>
                      </a:schemeClr>
                    </a:solidFill>
                  </a:tcPr>
                </a:tc>
                <a:extLst>
                  <a:ext uri="{0D108BD9-81ED-4DB2-BD59-A6C34878D82A}">
                    <a16:rowId xmlns:a16="http://schemas.microsoft.com/office/drawing/2014/main" val="2968665764"/>
                  </a:ext>
                </a:extLst>
              </a:tr>
              <a:tr h="792000">
                <a:tc>
                  <a:txBody>
                    <a:bodyPr/>
                    <a:lstStyle/>
                    <a:p>
                      <a:pPr marL="0" indent="0" algn="ctr"/>
                      <a:r>
                        <a:rPr lang="fr-FR" sz="1100" b="1"/>
                        <a:t>1.1</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DEE3EE">
                        <a:alpha val="10000"/>
                      </a:srgbClr>
                    </a:solidFill>
                  </a:tcPr>
                </a:tc>
                <a:tc>
                  <a:txBody>
                    <a:bodyPr/>
                    <a:lstStyle/>
                    <a:p>
                      <a:pPr marL="0" indent="0" algn="ctr"/>
                      <a:r>
                        <a:rPr lang="fr-FR" sz="1100"/>
                        <a:t>21 Mars 2023</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DEE3EE">
                        <a:alpha val="10000"/>
                      </a:srgbClr>
                    </a:solidFill>
                  </a:tcPr>
                </a:tc>
                <a:tc>
                  <a:txBody>
                    <a:bodyPr/>
                    <a:lstStyle/>
                    <a:p>
                      <a:pPr marL="0" marR="0" lvl="0" indent="0" algn="l" rtl="0" eaLnBrk="1" fontAlgn="auto" latinLnBrk="0" hangingPunct="1">
                        <a:lnSpc>
                          <a:spcPct val="100000"/>
                        </a:lnSpc>
                        <a:spcBef>
                          <a:spcPts val="0"/>
                        </a:spcBef>
                        <a:spcAft>
                          <a:spcPts val="0"/>
                        </a:spcAft>
                        <a:buClr>
                          <a:srgbClr val="000000"/>
                        </a:buClr>
                        <a:buSzTx/>
                        <a:buFont typeface="Arial"/>
                        <a:buNone/>
                      </a:pPr>
                      <a:r>
                        <a:rPr lang="fr-FR" sz="1100" dirty="0"/>
                        <a:t>Modifications de l’offre technique suite à la soutenance du 14/03/23 :</a:t>
                      </a:r>
                    </a:p>
                    <a:p>
                      <a:pPr marL="171450" marR="0" lvl="0" indent="-17145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r>
                        <a:rPr lang="fr-FR" sz="1100" dirty="0"/>
                        <a:t>P5 : mise à jour des pages du sommaire</a:t>
                      </a:r>
                      <a:endParaRPr lang="fr-FR" sz="1100" noProof="0" dirty="0"/>
                    </a:p>
                    <a:p>
                      <a:pPr marL="171450" marR="0" lvl="0" indent="-17145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r>
                        <a:rPr lang="fr-FR" sz="1100" noProof="0" dirty="0"/>
                        <a:t>P15 : ajout d’illustrations de la formation pour KEOLIS Rennes afin de démontrer notre capacité à proposer une ingénierie pédagogique</a:t>
                      </a:r>
                    </a:p>
                    <a:p>
                      <a:pPr marL="171450" marR="0" lvl="0" indent="-17145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r>
                        <a:rPr lang="fr-FR" sz="1100" noProof="0" dirty="0"/>
                        <a:t>P26 : ajout de la page </a:t>
                      </a:r>
                      <a:r>
                        <a:rPr lang="fr-FR" sz="1100" u="sng" noProof="0" dirty="0"/>
                        <a:t>« Focus » Montée en compétence</a:t>
                      </a:r>
                      <a:r>
                        <a:rPr lang="fr-FR" sz="1100" noProof="0" dirty="0"/>
                        <a:t> afin de répondre à la question sur le l’optimisation de la montée en compétences du pool de formateur et de l’impact sur la charge de travail de SNCF</a:t>
                      </a:r>
                    </a:p>
                    <a:p>
                      <a:pPr marL="171450" marR="0" lvl="0" indent="-17145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r>
                        <a:rPr lang="fr-FR" sz="1100" noProof="0" dirty="0"/>
                        <a:t>P27 : ajout de la page </a:t>
                      </a:r>
                      <a:r>
                        <a:rPr lang="fr-FR" sz="1100" u="sng" noProof="0" dirty="0"/>
                        <a:t>« Focus » Déroulé cyclique des formations</a:t>
                      </a:r>
                      <a:r>
                        <a:rPr lang="fr-FR" sz="1100" noProof="0" dirty="0"/>
                        <a:t> afin d’approfondir l’ingénierie de </a:t>
                      </a:r>
                      <a:r>
                        <a:rPr lang="fr-FR" sz="1100" dirty="0"/>
                        <a:t>formation</a:t>
                      </a:r>
                      <a:endParaRPr lang="fr-FR" sz="1100" dirty="0">
                        <a:solidFill>
                          <a:srgbClr val="C00000"/>
                        </a:solidFill>
                      </a:endParaRPr>
                    </a:p>
                    <a:p>
                      <a:pPr marL="171450" marR="0" lvl="0" indent="-17145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r>
                        <a:rPr lang="fr-FR" sz="1100" dirty="0">
                          <a:solidFill>
                            <a:schemeClr val="tx1"/>
                          </a:solidFill>
                        </a:rPr>
                        <a:t>P30 à 32 : ajout des précisions sur </a:t>
                      </a:r>
                      <a:r>
                        <a:rPr lang="fr-FR" sz="1100" u="sng" dirty="0">
                          <a:solidFill>
                            <a:schemeClr val="tx1"/>
                          </a:solidFill>
                        </a:rPr>
                        <a:t>DIGIFORMA</a:t>
                      </a:r>
                      <a:r>
                        <a:rPr lang="fr-FR" sz="1100" u="none" dirty="0">
                          <a:solidFill>
                            <a:schemeClr val="tx1"/>
                          </a:solidFill>
                        </a:rPr>
                        <a:t>. Entre autres : </a:t>
                      </a:r>
                    </a:p>
                    <a:p>
                      <a:pPr marL="628650" marR="0" lvl="5" indent="-177800" algn="l" rtl="0" eaLnBrk="1" fontAlgn="auto" latinLnBrk="0" hangingPunct="1">
                        <a:lnSpc>
                          <a:spcPct val="100000"/>
                        </a:lnSpc>
                        <a:spcBef>
                          <a:spcPts val="0"/>
                        </a:spcBef>
                        <a:spcAft>
                          <a:spcPts val="0"/>
                        </a:spcAft>
                        <a:buClr>
                          <a:srgbClr val="000000"/>
                        </a:buClr>
                        <a:buSzTx/>
                        <a:buFont typeface="Wingdings" panose="05000000000000000000" pitchFamily="2" charset="2"/>
                        <a:buChar char="ü"/>
                      </a:pPr>
                      <a:r>
                        <a:rPr lang="fr-FR" sz="1100" u="none" dirty="0">
                          <a:solidFill>
                            <a:schemeClr val="tx1"/>
                          </a:solidFill>
                        </a:rPr>
                        <a:t>Capacité à supporter la totalité du processus de Formation dont l’évaluation</a:t>
                      </a:r>
                    </a:p>
                    <a:p>
                      <a:pPr marL="628650" marR="0" lvl="5" indent="-177800" algn="l" rtl="0" eaLnBrk="1" fontAlgn="auto" latinLnBrk="0" hangingPunct="1">
                        <a:lnSpc>
                          <a:spcPct val="100000"/>
                        </a:lnSpc>
                        <a:spcBef>
                          <a:spcPts val="0"/>
                        </a:spcBef>
                        <a:spcAft>
                          <a:spcPts val="0"/>
                        </a:spcAft>
                        <a:buClr>
                          <a:srgbClr val="000000"/>
                        </a:buClr>
                        <a:buSzTx/>
                        <a:buFont typeface="Wingdings" panose="05000000000000000000" pitchFamily="2" charset="2"/>
                        <a:buChar char="ü"/>
                      </a:pPr>
                      <a:r>
                        <a:rPr lang="fr-FR" sz="1100" u="none" dirty="0">
                          <a:solidFill>
                            <a:schemeClr val="tx1"/>
                          </a:solidFill>
                        </a:rPr>
                        <a:t>Capacité à transférer le matériel pédagogique à SNCF</a:t>
                      </a:r>
                    </a:p>
                    <a:p>
                      <a:pPr marL="628650" marR="0" lvl="5" indent="-177800" algn="l" rtl="0" eaLnBrk="1" fontAlgn="auto" latinLnBrk="0" hangingPunct="1">
                        <a:lnSpc>
                          <a:spcPct val="100000"/>
                        </a:lnSpc>
                        <a:spcBef>
                          <a:spcPts val="0"/>
                        </a:spcBef>
                        <a:spcAft>
                          <a:spcPts val="0"/>
                        </a:spcAft>
                        <a:buClr>
                          <a:srgbClr val="000000"/>
                        </a:buClr>
                        <a:buSzTx/>
                        <a:buFont typeface="Wingdings" panose="05000000000000000000" pitchFamily="2" charset="2"/>
                        <a:buChar char="ü"/>
                      </a:pPr>
                      <a:r>
                        <a:rPr lang="fr-FR" sz="1100" u="none" dirty="0">
                          <a:solidFill>
                            <a:schemeClr val="tx1"/>
                          </a:solidFill>
                        </a:rPr>
                        <a:t>Accessible sur ordinateur, tablette et mobile</a:t>
                      </a:r>
                    </a:p>
                    <a:p>
                      <a:pPr marL="171450" marR="0" lvl="0" indent="-17145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r>
                        <a:rPr lang="fr-FR" sz="1100" dirty="0"/>
                        <a:t>P40 : ajout de la page </a:t>
                      </a:r>
                      <a:r>
                        <a:rPr lang="fr-FR" sz="1100" u="sng" dirty="0"/>
                        <a:t>Continuité de service</a:t>
                      </a:r>
                      <a:endParaRPr lang="fr-FR" sz="1100" dirty="0"/>
                    </a:p>
                    <a:p>
                      <a:pPr marL="171450" marR="0" lvl="0" indent="-17145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r>
                        <a:rPr lang="fr-FR" sz="1100" dirty="0"/>
                        <a:t>P41 : ajout de la page </a:t>
                      </a:r>
                      <a:r>
                        <a:rPr lang="fr-FR" sz="1100" u="sng" dirty="0"/>
                        <a:t>Disponibilité des profils et comitologie</a:t>
                      </a:r>
                      <a:r>
                        <a:rPr lang="fr-FR" sz="1100" dirty="0"/>
                        <a:t> afin de </a:t>
                      </a:r>
                      <a:r>
                        <a:rPr lang="fr-FR" sz="1100" u="none" dirty="0"/>
                        <a:t>formaliser les rôles, la charge de travail par profil ainsi que la comitologie envisagée pour suivre la formation avec l’équipe Change et l’équipe Pilotage</a:t>
                      </a:r>
                    </a:p>
                    <a:p>
                      <a:pPr marL="171450" marR="0" lvl="0" indent="-171450" algn="l" rtl="0" eaLnBrk="1" fontAlgn="auto" latinLnBrk="0" hangingPunct="1">
                        <a:lnSpc>
                          <a:spcPct val="100000"/>
                        </a:lnSpc>
                        <a:spcBef>
                          <a:spcPts val="0"/>
                        </a:spcBef>
                        <a:spcAft>
                          <a:spcPts val="0"/>
                        </a:spcAft>
                        <a:buClr>
                          <a:srgbClr val="000000"/>
                        </a:buClr>
                        <a:buSzTx/>
                        <a:buFont typeface="Arial" panose="020B0604020202020204" pitchFamily="34" charset="0"/>
                        <a:buChar char="•"/>
                      </a:pPr>
                      <a:endParaRPr lang="fr-FR" sz="1100" dirty="0"/>
                    </a:p>
                    <a:p>
                      <a:pPr marL="0" marR="0" lvl="0" indent="0" algn="l" rtl="0" eaLnBrk="1" fontAlgn="auto" latinLnBrk="0" hangingPunct="1">
                        <a:lnSpc>
                          <a:spcPct val="100000"/>
                        </a:lnSpc>
                        <a:spcBef>
                          <a:spcPts val="0"/>
                        </a:spcBef>
                        <a:spcAft>
                          <a:spcPts val="0"/>
                        </a:spcAft>
                        <a:buClr>
                          <a:srgbClr val="000000"/>
                        </a:buClr>
                        <a:buSzTx/>
                        <a:buFont typeface="Arial" panose="020B0604020202020204" pitchFamily="34" charset="0"/>
                        <a:buNone/>
                      </a:pPr>
                      <a:r>
                        <a:rPr lang="fr-FR" sz="1100" dirty="0"/>
                        <a:t>Note : par rapport à la version 1.0, les ajouts de pages et les modifications sur les pages existantes sont identifiés </a:t>
                      </a:r>
                      <a:r>
                        <a:rPr lang="fr-FR" sz="1100" dirty="0">
                          <a:highlight>
                            <a:srgbClr val="FFFF00"/>
                          </a:highlight>
                        </a:rPr>
                        <a:t>en jaune</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DEE3EE">
                        <a:alpha val="10000"/>
                      </a:srgbClr>
                    </a:solidFill>
                  </a:tcPr>
                </a:tc>
                <a:extLst>
                  <a:ext uri="{0D108BD9-81ED-4DB2-BD59-A6C34878D82A}">
                    <a16:rowId xmlns:a16="http://schemas.microsoft.com/office/drawing/2014/main" val="3746901044"/>
                  </a:ext>
                </a:extLst>
              </a:tr>
            </a:tbl>
          </a:graphicData>
        </a:graphic>
      </p:graphicFrame>
    </p:spTree>
    <p:extLst>
      <p:ext uri="{BB962C8B-B14F-4D97-AF65-F5344CB8AC3E}">
        <p14:creationId xmlns:p14="http://schemas.microsoft.com/office/powerpoint/2010/main" val="41070276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Connecteur droit avec flèche 47">
            <a:extLst>
              <a:ext uri="{FF2B5EF4-FFF2-40B4-BE49-F238E27FC236}">
                <a16:creationId xmlns:a16="http://schemas.microsoft.com/office/drawing/2014/main" id="{46904D7D-159D-996F-7E37-A0C4C7F1A37F}"/>
              </a:ext>
            </a:extLst>
          </p:cNvPr>
          <p:cNvCxnSpPr>
            <a:cxnSpLocks/>
          </p:cNvCxnSpPr>
          <p:nvPr/>
        </p:nvCxnSpPr>
        <p:spPr>
          <a:xfrm>
            <a:off x="2061258" y="5410746"/>
            <a:ext cx="9469951" cy="0"/>
          </a:xfrm>
          <a:prstGeom prst="straightConnector1">
            <a:avLst/>
          </a:prstGeom>
          <a:ln>
            <a:solidFill>
              <a:srgbClr val="44388A"/>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itre 1">
            <a:extLst>
              <a:ext uri="{FF2B5EF4-FFF2-40B4-BE49-F238E27FC236}">
                <a16:creationId xmlns:a16="http://schemas.microsoft.com/office/drawing/2014/main" id="{48DB4B56-0894-4E5B-B098-1F354300E21B}"/>
              </a:ext>
            </a:extLst>
          </p:cNvPr>
          <p:cNvSpPr>
            <a:spLocks noGrp="1"/>
          </p:cNvSpPr>
          <p:nvPr>
            <p:ph type="title"/>
          </p:nvPr>
        </p:nvSpPr>
        <p:spPr/>
        <p:txBody>
          <a:bodyPr/>
          <a:lstStyle/>
          <a:p>
            <a:r>
              <a:rPr lang="fr-FR"/>
              <a:t>SYNTHÈSE DE LA DÉMARCHE PROPOSÉE </a:t>
            </a:r>
          </a:p>
        </p:txBody>
      </p:sp>
      <p:sp>
        <p:nvSpPr>
          <p:cNvPr id="4" name="object 46">
            <a:extLst>
              <a:ext uri="{FF2B5EF4-FFF2-40B4-BE49-F238E27FC236}">
                <a16:creationId xmlns:a16="http://schemas.microsoft.com/office/drawing/2014/main" id="{C3360914-888F-4B4E-8289-037CF9A468AE}"/>
              </a:ext>
            </a:extLst>
          </p:cNvPr>
          <p:cNvSpPr txBox="1"/>
          <p:nvPr/>
        </p:nvSpPr>
        <p:spPr>
          <a:xfrm>
            <a:off x="1946373" y="5729768"/>
            <a:ext cx="9712598" cy="359360"/>
          </a:xfrm>
          <a:prstGeom prst="rect">
            <a:avLst/>
          </a:prstGeom>
          <a:solidFill>
            <a:schemeClr val="bg2"/>
          </a:solidFill>
          <a:ln w="12700">
            <a:solidFill>
              <a:schemeClr val="bg2"/>
            </a:solidFill>
          </a:ln>
        </p:spPr>
        <p:txBody>
          <a:bodyPr vert="horz" wrap="square" lIns="0" tIns="3810" rIns="0" bIns="0" rtlCol="0" anchor="ctr">
            <a:noAutofit/>
          </a:bodyPr>
          <a:lstStyle/>
          <a:p>
            <a:pPr algn="ctr">
              <a:lnSpc>
                <a:spcPct val="100000"/>
              </a:lnSpc>
            </a:pPr>
            <a:r>
              <a:rPr lang="fr-FR" sz="1200" spc="-5">
                <a:solidFill>
                  <a:srgbClr val="FFFFFF"/>
                </a:solidFill>
                <a:latin typeface="+mj-lt"/>
                <a:cs typeface="Verdana"/>
              </a:rPr>
              <a:t>La démarche est détaillée dans la suite de la section.</a:t>
            </a:r>
            <a:endParaRPr lang="fr-FR" sz="1200">
              <a:latin typeface="+mj-lt"/>
              <a:cs typeface="Verdana"/>
            </a:endParaRPr>
          </a:p>
        </p:txBody>
      </p:sp>
      <p:sp>
        <p:nvSpPr>
          <p:cNvPr id="9" name="Rectangle 8">
            <a:extLst>
              <a:ext uri="{FF2B5EF4-FFF2-40B4-BE49-F238E27FC236}">
                <a16:creationId xmlns:a16="http://schemas.microsoft.com/office/drawing/2014/main" id="{4CFEFC9D-7FD9-4632-998D-19528D9740AA}"/>
              </a:ext>
            </a:extLst>
          </p:cNvPr>
          <p:cNvSpPr/>
          <p:nvPr/>
        </p:nvSpPr>
        <p:spPr>
          <a:xfrm>
            <a:off x="1949168" y="985310"/>
            <a:ext cx="9712598" cy="4576669"/>
          </a:xfrm>
          <a:prstGeom prst="rect">
            <a:avLst/>
          </a:prstGeom>
          <a:noFill/>
          <a:ln w="3175" cap="flat" cmpd="sng" algn="ctr">
            <a:solidFill>
              <a:srgbClr val="FFFFFF">
                <a:lumMod val="75000"/>
                <a:alpha val="84000"/>
              </a:srgbClr>
            </a:solidFill>
            <a:prstDash val="solid"/>
            <a:miter lim="800000"/>
          </a:ln>
          <a:effectLst/>
        </p:spPr>
        <p:txBody>
          <a:bodyPr rtlCol="0" anchor="t"/>
          <a:lstStyle/>
          <a:p>
            <a:pPr marL="0" marR="0" lvl="0" indent="0" algn="ctr" defTabSz="422041" eaLnBrk="0" fontAlgn="base" latinLnBrk="0" hangingPunct="0">
              <a:lnSpc>
                <a:spcPct val="100000"/>
              </a:lnSpc>
              <a:spcBef>
                <a:spcPct val="0"/>
              </a:spcBef>
              <a:spcAft>
                <a:spcPct val="0"/>
              </a:spcAft>
              <a:buClrTx/>
              <a:buSzTx/>
              <a:buFontTx/>
              <a:buNone/>
              <a:tabLst/>
              <a:defRPr/>
            </a:pPr>
            <a:r>
              <a:rPr kumimoji="0" lang="fr-FR" b="1" i="0" u="none" strike="noStrike" kern="0" cap="none" spc="0" normalizeH="0" baseline="0" noProof="0">
                <a:ln>
                  <a:noFill/>
                </a:ln>
                <a:solidFill>
                  <a:srgbClr val="000000">
                    <a:lumMod val="65000"/>
                    <a:lumOff val="35000"/>
                  </a:srgbClr>
                </a:solidFill>
                <a:effectLst/>
                <a:uLnTx/>
                <a:uFillTx/>
                <a:latin typeface="Montserrat"/>
                <a:ea typeface="+mn-ea"/>
                <a:cs typeface="+mn-cs"/>
              </a:rPr>
              <a:t>FORMATIONS A L’OUTIL ORION DANS LE</a:t>
            </a:r>
          </a:p>
          <a:p>
            <a:pPr marL="0" marR="0" lvl="0" indent="0" algn="ctr" defTabSz="422041" eaLnBrk="0" fontAlgn="base" latinLnBrk="0" hangingPunct="0">
              <a:lnSpc>
                <a:spcPct val="100000"/>
              </a:lnSpc>
              <a:spcBef>
                <a:spcPct val="0"/>
              </a:spcBef>
              <a:spcAft>
                <a:spcPct val="0"/>
              </a:spcAft>
              <a:buClrTx/>
              <a:buSzTx/>
              <a:buFontTx/>
              <a:buNone/>
              <a:tabLst/>
              <a:defRPr/>
            </a:pPr>
            <a:r>
              <a:rPr kumimoji="0" lang="fr-FR" b="1" i="0" u="none" strike="noStrike" kern="0" cap="none" spc="0" normalizeH="0" baseline="0" noProof="0">
                <a:ln>
                  <a:noFill/>
                </a:ln>
                <a:solidFill>
                  <a:srgbClr val="000000">
                    <a:lumMod val="65000"/>
                    <a:lumOff val="35000"/>
                  </a:srgbClr>
                </a:solidFill>
                <a:effectLst/>
                <a:uLnTx/>
                <a:uFillTx/>
                <a:latin typeface="Montserrat"/>
                <a:ea typeface="+mn-ea"/>
                <a:cs typeface="+mn-cs"/>
              </a:rPr>
              <a:t>CADRE DU PROGRAMME POGS TRANSILIEN</a:t>
            </a:r>
          </a:p>
        </p:txBody>
      </p:sp>
      <p:sp>
        <p:nvSpPr>
          <p:cNvPr id="5" name="Textframe 2096406,5332">
            <a:extLst>
              <a:ext uri="{FF2B5EF4-FFF2-40B4-BE49-F238E27FC236}">
                <a16:creationId xmlns:a16="http://schemas.microsoft.com/office/drawing/2014/main" id="{F2D2DC74-BB2C-4450-9D59-E2FE06BDAA3A}"/>
              </a:ext>
            </a:extLst>
          </p:cNvPr>
          <p:cNvSpPr txBox="1"/>
          <p:nvPr/>
        </p:nvSpPr>
        <p:spPr>
          <a:xfrm flipH="1">
            <a:off x="530234" y="1500134"/>
            <a:ext cx="1265734" cy="1225167"/>
          </a:xfrm>
          <a:prstGeom prst="rect">
            <a:avLst/>
          </a:prstGeom>
          <a:solidFill>
            <a:schemeClr val="bg2"/>
          </a:solidFill>
          <a:ln w="9525">
            <a:noFill/>
          </a:ln>
          <a:effectLst/>
        </p:spPr>
        <p:txBody>
          <a:bodyPr vert="horz" wrap="square" lIns="33231" tIns="33231" rIns="33231" bIns="33231" rtlCol="0" anchor="ctr" anchorCtr="0">
            <a:noAutofit/>
          </a:bodyPr>
          <a:lstStyle/>
          <a:p>
            <a:pPr marL="0" marR="0" lvl="0" indent="0" algn="ctr" defTabSz="844083" eaLnBrk="0" fontAlgn="base" latinLnBrk="0" hangingPunct="0">
              <a:lnSpc>
                <a:spcPct val="90000"/>
              </a:lnSpc>
              <a:spcBef>
                <a:spcPts val="369"/>
              </a:spcBef>
              <a:spcAft>
                <a:spcPct val="0"/>
              </a:spcAft>
              <a:buClrTx/>
              <a:buSzPct val="100000"/>
              <a:buFontTx/>
              <a:buNone/>
              <a:tabLst/>
              <a:defRPr/>
            </a:pPr>
            <a:r>
              <a:rPr kumimoji="0" lang="fr-FR" sz="1000" b="1" i="0" u="none" strike="noStrike" kern="0" cap="none" spc="0" normalizeH="0" baseline="0" noProof="0">
                <a:ln>
                  <a:noFill/>
                </a:ln>
                <a:solidFill>
                  <a:prstClr val="white"/>
                </a:solidFill>
                <a:effectLst/>
                <a:uLnTx/>
                <a:uFillTx/>
                <a:latin typeface="+mj-lt"/>
                <a:cs typeface="Arial Narrow" pitchFamily="34" charset="0"/>
              </a:rPr>
              <a:t>MISSIONS</a:t>
            </a:r>
          </a:p>
        </p:txBody>
      </p:sp>
      <p:sp>
        <p:nvSpPr>
          <p:cNvPr id="6" name="Textframe 2096406,5332 - 1">
            <a:extLst>
              <a:ext uri="{FF2B5EF4-FFF2-40B4-BE49-F238E27FC236}">
                <a16:creationId xmlns:a16="http://schemas.microsoft.com/office/drawing/2014/main" id="{6D146384-3147-4EAC-BBA3-7E9397C2F3AF}"/>
              </a:ext>
            </a:extLst>
          </p:cNvPr>
          <p:cNvSpPr txBox="1"/>
          <p:nvPr/>
        </p:nvSpPr>
        <p:spPr>
          <a:xfrm flipH="1">
            <a:off x="530234" y="4028897"/>
            <a:ext cx="1265734" cy="947637"/>
          </a:xfrm>
          <a:prstGeom prst="rect">
            <a:avLst/>
          </a:prstGeom>
          <a:solidFill>
            <a:schemeClr val="bg2"/>
          </a:solidFill>
          <a:ln w="9525">
            <a:noFill/>
          </a:ln>
          <a:effectLst/>
        </p:spPr>
        <p:txBody>
          <a:bodyPr vert="horz" wrap="square" lIns="33231" tIns="33231" rIns="33231" bIns="33231" rtlCol="0" anchor="ctr" anchorCtr="0">
            <a:noAutofit/>
          </a:bodyPr>
          <a:lstStyle/>
          <a:p>
            <a:pPr marL="0" marR="0" lvl="0" indent="0" algn="ctr" defTabSz="844083" eaLnBrk="0" fontAlgn="base" latinLnBrk="0" hangingPunct="0">
              <a:lnSpc>
                <a:spcPct val="90000"/>
              </a:lnSpc>
              <a:spcBef>
                <a:spcPts val="369"/>
              </a:spcBef>
              <a:spcAft>
                <a:spcPct val="0"/>
              </a:spcAft>
              <a:buClrTx/>
              <a:buSzPct val="100000"/>
              <a:buFontTx/>
              <a:buNone/>
              <a:tabLst/>
              <a:defRPr/>
            </a:pPr>
            <a:r>
              <a:rPr kumimoji="0" lang="fr-FR" sz="1000" b="1" i="0" u="none" strike="noStrike" kern="0" cap="none" spc="0" normalizeH="0" baseline="0" noProof="0">
                <a:ln>
                  <a:noFill/>
                </a:ln>
                <a:solidFill>
                  <a:prstClr val="white"/>
                </a:solidFill>
                <a:effectLst/>
                <a:uLnTx/>
                <a:uFillTx/>
                <a:latin typeface="+mj-lt"/>
                <a:cs typeface="Arial Narrow" pitchFamily="34" charset="0"/>
              </a:rPr>
              <a:t>LIVRABLES PRINCIPAUX</a:t>
            </a:r>
          </a:p>
        </p:txBody>
      </p:sp>
      <p:sp>
        <p:nvSpPr>
          <p:cNvPr id="8" name="Textframe 2096406,5332 - 4">
            <a:extLst>
              <a:ext uri="{FF2B5EF4-FFF2-40B4-BE49-F238E27FC236}">
                <a16:creationId xmlns:a16="http://schemas.microsoft.com/office/drawing/2014/main" id="{9CF189FE-387F-42CC-8892-5A0C55C3DD94}"/>
              </a:ext>
            </a:extLst>
          </p:cNvPr>
          <p:cNvSpPr txBox="1"/>
          <p:nvPr/>
        </p:nvSpPr>
        <p:spPr>
          <a:xfrm flipH="1">
            <a:off x="530234" y="2808343"/>
            <a:ext cx="1265734" cy="1137512"/>
          </a:xfrm>
          <a:prstGeom prst="rect">
            <a:avLst/>
          </a:prstGeom>
          <a:solidFill>
            <a:schemeClr val="bg2"/>
          </a:solidFill>
          <a:ln w="9525">
            <a:noFill/>
          </a:ln>
          <a:effectLst/>
        </p:spPr>
        <p:txBody>
          <a:bodyPr vert="horz" wrap="square" lIns="33231" tIns="33231" rIns="33231" bIns="33231" rtlCol="0" anchor="ctr" anchorCtr="0">
            <a:noAutofit/>
          </a:bodyPr>
          <a:lstStyle/>
          <a:p>
            <a:pPr marL="0" marR="0" lvl="0" indent="0" algn="ctr" defTabSz="844083" eaLnBrk="0" fontAlgn="base" latinLnBrk="0" hangingPunct="0">
              <a:lnSpc>
                <a:spcPct val="90000"/>
              </a:lnSpc>
              <a:spcBef>
                <a:spcPts val="369"/>
              </a:spcBef>
              <a:spcAft>
                <a:spcPct val="0"/>
              </a:spcAft>
              <a:buClrTx/>
              <a:buSzPct val="100000"/>
              <a:buFontTx/>
              <a:buNone/>
              <a:tabLst/>
              <a:defRPr/>
            </a:pPr>
            <a:r>
              <a:rPr kumimoji="0" lang="fr-FR" sz="1000" b="1" i="0" u="none" strike="noStrike" kern="0" cap="none" spc="0" normalizeH="0" baseline="0" noProof="0">
                <a:ln>
                  <a:noFill/>
                </a:ln>
                <a:solidFill>
                  <a:prstClr val="white"/>
                </a:solidFill>
                <a:effectLst/>
                <a:uLnTx/>
                <a:uFillTx/>
                <a:latin typeface="+mj-lt"/>
                <a:cs typeface="Arial Narrow" pitchFamily="34" charset="0"/>
              </a:rPr>
              <a:t>DÉMARCHES</a:t>
            </a:r>
          </a:p>
        </p:txBody>
      </p:sp>
      <p:sp>
        <p:nvSpPr>
          <p:cNvPr id="10" name="Espace réservé du contenu 3">
            <a:extLst>
              <a:ext uri="{FF2B5EF4-FFF2-40B4-BE49-F238E27FC236}">
                <a16:creationId xmlns:a16="http://schemas.microsoft.com/office/drawing/2014/main" id="{88414BFC-8B9E-438A-BF5D-28B608CA5129}"/>
              </a:ext>
            </a:extLst>
          </p:cNvPr>
          <p:cNvSpPr txBox="1">
            <a:spLocks/>
          </p:cNvSpPr>
          <p:nvPr/>
        </p:nvSpPr>
        <p:spPr>
          <a:xfrm>
            <a:off x="4447787" y="2917077"/>
            <a:ext cx="2310369" cy="864770"/>
          </a:xfrm>
          <a:prstGeom prst="rect">
            <a:avLst/>
          </a:prstGeom>
        </p:spPr>
        <p:txBody>
          <a:bodyPr vert="horz" lIns="0" tIns="36000" rIns="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88900" lvl="1" indent="-88900">
              <a:spcBef>
                <a:spcPts val="0"/>
              </a:spcBef>
              <a:buClrTx/>
            </a:pPr>
            <a:r>
              <a:rPr lang="fr-FR" sz="1000" spc="-10">
                <a:solidFill>
                  <a:schemeClr val="tx1"/>
                </a:solidFill>
                <a:latin typeface="+mj-lt"/>
              </a:rPr>
              <a:t>Cadrer : préparer et organiser</a:t>
            </a:r>
          </a:p>
          <a:p>
            <a:pPr marL="88900" lvl="1" indent="-88900">
              <a:spcBef>
                <a:spcPts val="0"/>
              </a:spcBef>
              <a:buClrTx/>
            </a:pPr>
            <a:r>
              <a:rPr lang="fr-FR" sz="1000" spc="-10">
                <a:solidFill>
                  <a:schemeClr val="tx1"/>
                </a:solidFill>
                <a:latin typeface="+mj-lt"/>
              </a:rPr>
              <a:t>Anticiper : prévoir les étapes suivantes</a:t>
            </a:r>
          </a:p>
          <a:p>
            <a:pPr marL="88900" lvl="1" indent="-88900">
              <a:spcBef>
                <a:spcPts val="0"/>
              </a:spcBef>
              <a:buClrTx/>
            </a:pPr>
            <a:r>
              <a:rPr lang="fr-FR" sz="1000" spc="-10">
                <a:solidFill>
                  <a:schemeClr val="tx1"/>
                </a:solidFill>
                <a:latin typeface="+mj-lt"/>
              </a:rPr>
              <a:t>Informer : partager les avancées et les problématiques</a:t>
            </a:r>
          </a:p>
          <a:p>
            <a:pPr marL="88900" lvl="1" indent="-88900">
              <a:spcBef>
                <a:spcPts val="0"/>
              </a:spcBef>
              <a:buClrTx/>
            </a:pPr>
            <a:r>
              <a:rPr lang="fr-FR" sz="1000" spc="-10">
                <a:solidFill>
                  <a:schemeClr val="tx1"/>
                </a:solidFill>
                <a:latin typeface="+mj-lt"/>
              </a:rPr>
              <a:t>Sécuriser : s’investir sur la résolution des problématiques</a:t>
            </a:r>
          </a:p>
          <a:p>
            <a:pPr marL="171450" lvl="1" indent="-171450">
              <a:spcBef>
                <a:spcPts val="0"/>
              </a:spcBef>
              <a:buClrTx/>
            </a:pPr>
            <a:endParaRPr lang="fr-FR" sz="1000" spc="-10">
              <a:solidFill>
                <a:schemeClr val="tx1"/>
              </a:solidFill>
              <a:latin typeface="+mj-lt"/>
            </a:endParaRPr>
          </a:p>
        </p:txBody>
      </p:sp>
      <p:cxnSp>
        <p:nvCxnSpPr>
          <p:cNvPr id="30" name="Connecteur droit 29">
            <a:extLst>
              <a:ext uri="{FF2B5EF4-FFF2-40B4-BE49-F238E27FC236}">
                <a16:creationId xmlns:a16="http://schemas.microsoft.com/office/drawing/2014/main" id="{386579D3-8901-40BF-9E07-E7E66A56C7E3}"/>
              </a:ext>
            </a:extLst>
          </p:cNvPr>
          <p:cNvCxnSpPr>
            <a:cxnSpLocks/>
          </p:cNvCxnSpPr>
          <p:nvPr/>
        </p:nvCxnSpPr>
        <p:spPr>
          <a:xfrm>
            <a:off x="6796236" y="2944061"/>
            <a:ext cx="0" cy="8640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Flèche : pentagone 14">
            <a:extLst>
              <a:ext uri="{FF2B5EF4-FFF2-40B4-BE49-F238E27FC236}">
                <a16:creationId xmlns:a16="http://schemas.microsoft.com/office/drawing/2014/main" id="{FC9B7A82-4824-6A00-CE61-78FB9D481CD1}"/>
              </a:ext>
            </a:extLst>
          </p:cNvPr>
          <p:cNvSpPr/>
          <p:nvPr/>
        </p:nvSpPr>
        <p:spPr>
          <a:xfrm>
            <a:off x="4276051" y="1647307"/>
            <a:ext cx="7255164" cy="283892"/>
          </a:xfrm>
          <a:prstGeom prst="homePlate">
            <a:avLst/>
          </a:prstGeom>
          <a:solidFill>
            <a:schemeClr val="bg1"/>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tx1"/>
                </a:solidFill>
              </a:rPr>
              <a:t>Organiser et piloter les formations et l’appropriation</a:t>
            </a:r>
          </a:p>
        </p:txBody>
      </p:sp>
      <p:sp>
        <p:nvSpPr>
          <p:cNvPr id="14" name="Textframe 2096406,5332">
            <a:extLst>
              <a:ext uri="{FF2B5EF4-FFF2-40B4-BE49-F238E27FC236}">
                <a16:creationId xmlns:a16="http://schemas.microsoft.com/office/drawing/2014/main" id="{2E4083A8-A0CB-6716-9E2D-27143D4AD462}"/>
              </a:ext>
            </a:extLst>
          </p:cNvPr>
          <p:cNvSpPr txBox="1"/>
          <p:nvPr/>
        </p:nvSpPr>
        <p:spPr>
          <a:xfrm flipH="1">
            <a:off x="530234" y="5059577"/>
            <a:ext cx="1265734" cy="502402"/>
          </a:xfrm>
          <a:prstGeom prst="rect">
            <a:avLst/>
          </a:prstGeom>
          <a:solidFill>
            <a:schemeClr val="bg2"/>
          </a:solidFill>
          <a:ln w="9525">
            <a:noFill/>
          </a:ln>
          <a:effectLst/>
        </p:spPr>
        <p:txBody>
          <a:bodyPr vert="horz" wrap="square" lIns="33231" tIns="33231" rIns="33231" bIns="33231" rtlCol="0" anchor="ctr" anchorCtr="0">
            <a:noAutofit/>
          </a:bodyPr>
          <a:lstStyle/>
          <a:p>
            <a:pPr marL="0" marR="0" lvl="0" indent="0" algn="ctr" defTabSz="844083" eaLnBrk="0" fontAlgn="base" latinLnBrk="0" hangingPunct="0">
              <a:lnSpc>
                <a:spcPct val="90000"/>
              </a:lnSpc>
              <a:spcBef>
                <a:spcPts val="369"/>
              </a:spcBef>
              <a:spcAft>
                <a:spcPct val="0"/>
              </a:spcAft>
              <a:buClrTx/>
              <a:buSzPct val="100000"/>
              <a:buFontTx/>
              <a:buNone/>
              <a:tabLst/>
              <a:defRPr/>
            </a:pPr>
            <a:r>
              <a:rPr kumimoji="0" lang="fr-FR" sz="1000" b="1" i="0" u="none" strike="noStrike" kern="0" cap="none" spc="0" normalizeH="0" baseline="0" noProof="0">
                <a:ln>
                  <a:noFill/>
                </a:ln>
                <a:solidFill>
                  <a:prstClr val="white"/>
                </a:solidFill>
                <a:effectLst/>
                <a:uLnTx/>
                <a:uFillTx/>
                <a:latin typeface="+mj-lt"/>
                <a:cs typeface="Arial Narrow" pitchFamily="34" charset="0"/>
              </a:rPr>
              <a:t>DUREE</a:t>
            </a:r>
          </a:p>
        </p:txBody>
      </p:sp>
      <p:sp>
        <p:nvSpPr>
          <p:cNvPr id="17" name="Flèche : pentagone 16">
            <a:extLst>
              <a:ext uri="{FF2B5EF4-FFF2-40B4-BE49-F238E27FC236}">
                <a16:creationId xmlns:a16="http://schemas.microsoft.com/office/drawing/2014/main" id="{A5ED3561-CBB2-0CD2-9B98-CB691EB759BA}"/>
              </a:ext>
            </a:extLst>
          </p:cNvPr>
          <p:cNvSpPr/>
          <p:nvPr/>
        </p:nvSpPr>
        <p:spPr>
          <a:xfrm>
            <a:off x="5037103" y="2021828"/>
            <a:ext cx="6494112" cy="283892"/>
          </a:xfrm>
          <a:prstGeom prst="homePlate">
            <a:avLst/>
          </a:prstGeom>
          <a:solidFill>
            <a:schemeClr val="bg1"/>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tx1"/>
                </a:solidFill>
              </a:rPr>
              <a:t>Préparer et animer les formations</a:t>
            </a:r>
          </a:p>
        </p:txBody>
      </p:sp>
      <p:sp>
        <p:nvSpPr>
          <p:cNvPr id="12" name="Ellipse 11">
            <a:extLst>
              <a:ext uri="{FF2B5EF4-FFF2-40B4-BE49-F238E27FC236}">
                <a16:creationId xmlns:a16="http://schemas.microsoft.com/office/drawing/2014/main" id="{BE686EBE-AAD3-4FB8-1568-EA2ACB0ACE00}"/>
              </a:ext>
            </a:extLst>
          </p:cNvPr>
          <p:cNvSpPr/>
          <p:nvPr/>
        </p:nvSpPr>
        <p:spPr>
          <a:xfrm>
            <a:off x="4122851" y="1442204"/>
            <a:ext cx="323801" cy="323801"/>
          </a:xfrm>
          <a:prstGeom prst="ellips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a:solidFill>
                  <a:schemeClr val="bg1"/>
                </a:solidFill>
              </a:rPr>
              <a:t>1</a:t>
            </a:r>
          </a:p>
        </p:txBody>
      </p:sp>
      <p:sp>
        <p:nvSpPr>
          <p:cNvPr id="13" name="Ellipse 12">
            <a:extLst>
              <a:ext uri="{FF2B5EF4-FFF2-40B4-BE49-F238E27FC236}">
                <a16:creationId xmlns:a16="http://schemas.microsoft.com/office/drawing/2014/main" id="{B186FEDB-F987-8C3F-9FF4-4CD95065EE48}"/>
              </a:ext>
            </a:extLst>
          </p:cNvPr>
          <p:cNvSpPr/>
          <p:nvPr/>
        </p:nvSpPr>
        <p:spPr>
          <a:xfrm>
            <a:off x="4895146" y="1853875"/>
            <a:ext cx="323801" cy="323801"/>
          </a:xfrm>
          <a:prstGeom prst="ellips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a:solidFill>
                  <a:schemeClr val="bg1"/>
                </a:solidFill>
              </a:rPr>
              <a:t>2</a:t>
            </a:r>
          </a:p>
        </p:txBody>
      </p:sp>
      <p:sp>
        <p:nvSpPr>
          <p:cNvPr id="16" name="Rectangle 15">
            <a:extLst>
              <a:ext uri="{FF2B5EF4-FFF2-40B4-BE49-F238E27FC236}">
                <a16:creationId xmlns:a16="http://schemas.microsoft.com/office/drawing/2014/main" id="{B36437D6-51E8-4436-A440-732FDD660C60}"/>
              </a:ext>
            </a:extLst>
          </p:cNvPr>
          <p:cNvSpPr/>
          <p:nvPr/>
        </p:nvSpPr>
        <p:spPr>
          <a:xfrm>
            <a:off x="6004233" y="5316869"/>
            <a:ext cx="1584000" cy="201907"/>
          </a:xfrm>
          <a:prstGeom prst="rect">
            <a:avLst/>
          </a:prstGeom>
          <a:solidFill>
            <a:schemeClr val="bg1"/>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a:solidFill>
                  <a:schemeClr val="tx1"/>
                </a:solidFill>
              </a:rPr>
              <a:t>1 an + 6 mois + 6 mois</a:t>
            </a:r>
          </a:p>
        </p:txBody>
      </p:sp>
      <p:sp>
        <p:nvSpPr>
          <p:cNvPr id="3" name="Flèche : pentagone 2">
            <a:extLst>
              <a:ext uri="{FF2B5EF4-FFF2-40B4-BE49-F238E27FC236}">
                <a16:creationId xmlns:a16="http://schemas.microsoft.com/office/drawing/2014/main" id="{F689934E-F255-B83D-E481-A43132A1137F}"/>
              </a:ext>
            </a:extLst>
          </p:cNvPr>
          <p:cNvSpPr/>
          <p:nvPr/>
        </p:nvSpPr>
        <p:spPr>
          <a:xfrm>
            <a:off x="5964754" y="2396350"/>
            <a:ext cx="5566455" cy="283892"/>
          </a:xfrm>
          <a:prstGeom prst="homePlate">
            <a:avLst/>
          </a:prstGeom>
          <a:solidFill>
            <a:schemeClr val="bg1"/>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tx1"/>
                </a:solidFill>
              </a:rPr>
              <a:t>Évaluer et améliorer le dispositif</a:t>
            </a:r>
          </a:p>
        </p:txBody>
      </p:sp>
      <p:sp>
        <p:nvSpPr>
          <p:cNvPr id="11" name="Ellipse 10">
            <a:extLst>
              <a:ext uri="{FF2B5EF4-FFF2-40B4-BE49-F238E27FC236}">
                <a16:creationId xmlns:a16="http://schemas.microsoft.com/office/drawing/2014/main" id="{AAFFFC7C-F8DA-0E78-1033-9D71895BC501}"/>
              </a:ext>
            </a:extLst>
          </p:cNvPr>
          <p:cNvSpPr/>
          <p:nvPr/>
        </p:nvSpPr>
        <p:spPr>
          <a:xfrm>
            <a:off x="5802854" y="2265546"/>
            <a:ext cx="323801" cy="323801"/>
          </a:xfrm>
          <a:prstGeom prst="ellips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a:solidFill>
                  <a:schemeClr val="bg1"/>
                </a:solidFill>
              </a:rPr>
              <a:t>3</a:t>
            </a:r>
          </a:p>
        </p:txBody>
      </p:sp>
      <p:cxnSp>
        <p:nvCxnSpPr>
          <p:cNvPr id="25" name="Connecteur droit 24">
            <a:extLst>
              <a:ext uri="{FF2B5EF4-FFF2-40B4-BE49-F238E27FC236}">
                <a16:creationId xmlns:a16="http://schemas.microsoft.com/office/drawing/2014/main" id="{3BCEDFCD-6D73-EB79-41A2-B606EFB41D64}"/>
              </a:ext>
            </a:extLst>
          </p:cNvPr>
          <p:cNvCxnSpPr>
            <a:cxnSpLocks/>
          </p:cNvCxnSpPr>
          <p:nvPr/>
        </p:nvCxnSpPr>
        <p:spPr>
          <a:xfrm>
            <a:off x="9182765" y="2944061"/>
            <a:ext cx="0" cy="8640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 name="Flèche : pentagone 35">
            <a:extLst>
              <a:ext uri="{FF2B5EF4-FFF2-40B4-BE49-F238E27FC236}">
                <a16:creationId xmlns:a16="http://schemas.microsoft.com/office/drawing/2014/main" id="{7E126A51-A572-AA79-BA06-8F23BC0FE883}"/>
              </a:ext>
            </a:extLst>
          </p:cNvPr>
          <p:cNvSpPr/>
          <p:nvPr/>
        </p:nvSpPr>
        <p:spPr>
          <a:xfrm>
            <a:off x="2074544" y="1647306"/>
            <a:ext cx="2112246" cy="1032936"/>
          </a:xfrm>
          <a:prstGeom prst="homePlate">
            <a:avLst>
              <a:gd name="adj" fmla="val 25700"/>
            </a:avLst>
          </a:prstGeom>
          <a:solidFill>
            <a:schemeClr val="bg1"/>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chemeClr val="tx1"/>
                </a:solidFill>
              </a:rPr>
              <a:t>Prérequis</a:t>
            </a:r>
          </a:p>
        </p:txBody>
      </p:sp>
      <p:sp>
        <p:nvSpPr>
          <p:cNvPr id="37" name="Ellipse 36">
            <a:extLst>
              <a:ext uri="{FF2B5EF4-FFF2-40B4-BE49-F238E27FC236}">
                <a16:creationId xmlns:a16="http://schemas.microsoft.com/office/drawing/2014/main" id="{3432EC1B-8755-323B-7E63-F6870B01F2C7}"/>
              </a:ext>
            </a:extLst>
          </p:cNvPr>
          <p:cNvSpPr/>
          <p:nvPr/>
        </p:nvSpPr>
        <p:spPr>
          <a:xfrm>
            <a:off x="1918666" y="1442204"/>
            <a:ext cx="323801" cy="323801"/>
          </a:xfrm>
          <a:prstGeom prst="ellipse">
            <a:avLst/>
          </a:prstGeom>
          <a:solidFill>
            <a:srgbClr val="44388A"/>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a:solidFill>
                  <a:schemeClr val="bg1"/>
                </a:solidFill>
              </a:rPr>
              <a:t>0</a:t>
            </a:r>
          </a:p>
        </p:txBody>
      </p:sp>
      <p:cxnSp>
        <p:nvCxnSpPr>
          <p:cNvPr id="39" name="Connecteur droit 38">
            <a:extLst>
              <a:ext uri="{FF2B5EF4-FFF2-40B4-BE49-F238E27FC236}">
                <a16:creationId xmlns:a16="http://schemas.microsoft.com/office/drawing/2014/main" id="{F8CE4B1A-E374-F8F7-29CB-BE3A1167A4F0}"/>
              </a:ext>
            </a:extLst>
          </p:cNvPr>
          <p:cNvCxnSpPr>
            <a:cxnSpLocks/>
          </p:cNvCxnSpPr>
          <p:nvPr/>
        </p:nvCxnSpPr>
        <p:spPr>
          <a:xfrm>
            <a:off x="4409707" y="2944061"/>
            <a:ext cx="0" cy="8640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0" name="Espace réservé du contenu 3">
            <a:extLst>
              <a:ext uri="{FF2B5EF4-FFF2-40B4-BE49-F238E27FC236}">
                <a16:creationId xmlns:a16="http://schemas.microsoft.com/office/drawing/2014/main" id="{DA223C4C-76D2-4200-AB66-0940EB2F3765}"/>
              </a:ext>
            </a:extLst>
          </p:cNvPr>
          <p:cNvSpPr txBox="1">
            <a:spLocks/>
          </p:cNvSpPr>
          <p:nvPr/>
        </p:nvSpPr>
        <p:spPr>
          <a:xfrm>
            <a:off x="6834316" y="2917077"/>
            <a:ext cx="2310369" cy="864770"/>
          </a:xfrm>
          <a:prstGeom prst="rect">
            <a:avLst/>
          </a:prstGeom>
        </p:spPr>
        <p:txBody>
          <a:bodyPr vert="horz" lIns="0" tIns="36000" rIns="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88900" lvl="1" indent="-88900">
              <a:spcBef>
                <a:spcPts val="0"/>
              </a:spcBef>
              <a:buClrTx/>
            </a:pPr>
            <a:r>
              <a:rPr lang="fr-FR" sz="1000" spc="-10">
                <a:solidFill>
                  <a:schemeClr val="tx1"/>
                </a:solidFill>
                <a:latin typeface="+mj-lt"/>
              </a:rPr>
              <a:t>Montée en compétences sur le métier et sur l’outil</a:t>
            </a:r>
          </a:p>
          <a:p>
            <a:pPr marL="88900" lvl="1" indent="-88900">
              <a:spcBef>
                <a:spcPts val="0"/>
              </a:spcBef>
              <a:buClrTx/>
            </a:pPr>
            <a:r>
              <a:rPr lang="fr-FR" sz="1000" spc="-10">
                <a:solidFill>
                  <a:schemeClr val="tx1"/>
                </a:solidFill>
                <a:latin typeface="+mj-lt"/>
              </a:rPr>
              <a:t>Animation des formations avec l’appui d’experts métier SNCF</a:t>
            </a:r>
          </a:p>
          <a:p>
            <a:pPr marL="88900" lvl="1" indent="-88900">
              <a:spcBef>
                <a:spcPts val="0"/>
              </a:spcBef>
              <a:buClrTx/>
            </a:pPr>
            <a:r>
              <a:rPr lang="fr-FR" sz="1000" spc="-10">
                <a:solidFill>
                  <a:schemeClr val="tx1"/>
                </a:solidFill>
                <a:latin typeface="+mj-lt"/>
              </a:rPr>
              <a:t>Amélioration continue du dispositif</a:t>
            </a:r>
          </a:p>
          <a:p>
            <a:pPr marL="171450" lvl="1" indent="-171450">
              <a:spcBef>
                <a:spcPts val="0"/>
              </a:spcBef>
              <a:buClrTx/>
            </a:pPr>
            <a:endParaRPr lang="fr-FR" sz="1000" spc="-10">
              <a:solidFill>
                <a:schemeClr val="tx1"/>
              </a:solidFill>
              <a:latin typeface="+mj-lt"/>
            </a:endParaRPr>
          </a:p>
        </p:txBody>
      </p:sp>
      <p:sp>
        <p:nvSpPr>
          <p:cNvPr id="51" name="Espace réservé du contenu 3">
            <a:extLst>
              <a:ext uri="{FF2B5EF4-FFF2-40B4-BE49-F238E27FC236}">
                <a16:creationId xmlns:a16="http://schemas.microsoft.com/office/drawing/2014/main" id="{AB1C3439-9156-1248-22EE-F16F6F6BFAFD}"/>
              </a:ext>
            </a:extLst>
          </p:cNvPr>
          <p:cNvSpPr txBox="1">
            <a:spLocks/>
          </p:cNvSpPr>
          <p:nvPr/>
        </p:nvSpPr>
        <p:spPr>
          <a:xfrm>
            <a:off x="9220846" y="2917077"/>
            <a:ext cx="2310369" cy="864770"/>
          </a:xfrm>
          <a:prstGeom prst="rect">
            <a:avLst/>
          </a:prstGeom>
        </p:spPr>
        <p:txBody>
          <a:bodyPr vert="horz" lIns="0" tIns="36000" rIns="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88900" lvl="1" indent="-88900">
              <a:spcBef>
                <a:spcPts val="0"/>
              </a:spcBef>
              <a:buClrTx/>
            </a:pPr>
            <a:r>
              <a:rPr lang="fr-FR" sz="1000" spc="-10">
                <a:solidFill>
                  <a:schemeClr val="tx1"/>
                </a:solidFill>
                <a:latin typeface="+mj-lt"/>
              </a:rPr>
              <a:t>Codev pour les formateurs </a:t>
            </a:r>
          </a:p>
          <a:p>
            <a:pPr marL="88900" lvl="1" indent="-88900">
              <a:spcBef>
                <a:spcPts val="0"/>
              </a:spcBef>
              <a:buClrTx/>
            </a:pPr>
            <a:r>
              <a:rPr lang="fr-FR" sz="1000" spc="-10">
                <a:solidFill>
                  <a:schemeClr val="tx1"/>
                </a:solidFill>
                <a:latin typeface="+mj-lt"/>
              </a:rPr>
              <a:t>REX</a:t>
            </a:r>
          </a:p>
          <a:p>
            <a:pPr marL="88900" lvl="1" indent="-88900">
              <a:spcBef>
                <a:spcPts val="0"/>
              </a:spcBef>
              <a:buClrTx/>
            </a:pPr>
            <a:r>
              <a:rPr lang="fr-FR" sz="1000" spc="-10">
                <a:solidFill>
                  <a:schemeClr val="tx1"/>
                </a:solidFill>
                <a:latin typeface="+mj-lt"/>
              </a:rPr>
              <a:t>Evaluations à chaud et à froid et suivi des évolutions</a:t>
            </a:r>
          </a:p>
          <a:p>
            <a:pPr marL="171450" lvl="1" indent="-171450">
              <a:spcBef>
                <a:spcPts val="0"/>
              </a:spcBef>
              <a:buClrTx/>
            </a:pPr>
            <a:endParaRPr lang="fr-FR" sz="1000" spc="-10">
              <a:solidFill>
                <a:schemeClr val="tx1"/>
              </a:solidFill>
              <a:latin typeface="+mj-lt"/>
            </a:endParaRPr>
          </a:p>
        </p:txBody>
      </p:sp>
      <p:sp>
        <p:nvSpPr>
          <p:cNvPr id="52" name="Espace réservé du contenu 3">
            <a:extLst>
              <a:ext uri="{FF2B5EF4-FFF2-40B4-BE49-F238E27FC236}">
                <a16:creationId xmlns:a16="http://schemas.microsoft.com/office/drawing/2014/main" id="{15CFE7AE-447D-647B-8C8B-D90C5159B1BC}"/>
              </a:ext>
            </a:extLst>
          </p:cNvPr>
          <p:cNvSpPr txBox="1">
            <a:spLocks/>
          </p:cNvSpPr>
          <p:nvPr/>
        </p:nvSpPr>
        <p:spPr>
          <a:xfrm>
            <a:off x="2061258" y="2917077"/>
            <a:ext cx="2310369" cy="864770"/>
          </a:xfrm>
          <a:prstGeom prst="rect">
            <a:avLst/>
          </a:prstGeom>
        </p:spPr>
        <p:txBody>
          <a:bodyPr vert="horz" lIns="0" tIns="36000" rIns="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88900" lvl="1" indent="-88900">
              <a:spcBef>
                <a:spcPts val="0"/>
              </a:spcBef>
              <a:buClrTx/>
            </a:pPr>
            <a:r>
              <a:rPr lang="fr-FR" sz="1000" spc="-10">
                <a:solidFill>
                  <a:schemeClr val="tx1"/>
                </a:solidFill>
                <a:latin typeface="+mj-lt"/>
              </a:rPr>
              <a:t>Cadrer : Analyser l’organisation</a:t>
            </a:r>
          </a:p>
          <a:p>
            <a:pPr marL="88900" lvl="1" indent="-88900">
              <a:spcBef>
                <a:spcPts val="0"/>
              </a:spcBef>
              <a:buClrTx/>
            </a:pPr>
            <a:r>
              <a:rPr lang="fr-FR" sz="1000" spc="-10">
                <a:solidFill>
                  <a:schemeClr val="tx1"/>
                </a:solidFill>
                <a:latin typeface="+mj-lt"/>
              </a:rPr>
              <a:t>Cartographier les perceptions et impacts</a:t>
            </a:r>
          </a:p>
          <a:p>
            <a:pPr marL="88900" lvl="1" indent="-88900">
              <a:spcBef>
                <a:spcPts val="0"/>
              </a:spcBef>
              <a:buClrTx/>
            </a:pPr>
            <a:r>
              <a:rPr lang="fr-FR" sz="1000" spc="-10">
                <a:solidFill>
                  <a:schemeClr val="tx1"/>
                </a:solidFill>
                <a:latin typeface="+mj-lt"/>
              </a:rPr>
              <a:t>Préparer le discours </a:t>
            </a:r>
          </a:p>
          <a:p>
            <a:pPr marL="88900" lvl="1" indent="-88900">
              <a:spcBef>
                <a:spcPts val="0"/>
              </a:spcBef>
              <a:buClrTx/>
            </a:pPr>
            <a:r>
              <a:rPr lang="fr-FR" sz="1000" spc="-10">
                <a:solidFill>
                  <a:schemeClr val="tx1"/>
                </a:solidFill>
                <a:latin typeface="+mj-lt"/>
              </a:rPr>
              <a:t>Coacher les partie prenantes</a:t>
            </a:r>
          </a:p>
          <a:p>
            <a:pPr marL="88900" lvl="1" indent="-88900">
              <a:spcBef>
                <a:spcPts val="0"/>
              </a:spcBef>
              <a:buClrTx/>
            </a:pPr>
            <a:r>
              <a:rPr lang="fr-FR" sz="1000" spc="-10">
                <a:solidFill>
                  <a:schemeClr val="tx1"/>
                </a:solidFill>
                <a:latin typeface="+mj-lt"/>
              </a:rPr>
              <a:t>Tester avec un groupe pilote</a:t>
            </a:r>
          </a:p>
          <a:p>
            <a:pPr marL="171450" lvl="1" indent="-171450">
              <a:spcBef>
                <a:spcPts val="0"/>
              </a:spcBef>
              <a:buClrTx/>
            </a:pPr>
            <a:endParaRPr lang="fr-FR" sz="1000" spc="-10">
              <a:solidFill>
                <a:schemeClr val="tx1"/>
              </a:solidFill>
              <a:latin typeface="+mj-lt"/>
            </a:endParaRPr>
          </a:p>
        </p:txBody>
      </p:sp>
      <p:sp>
        <p:nvSpPr>
          <p:cNvPr id="18" name="Ellipse 17">
            <a:extLst>
              <a:ext uri="{FF2B5EF4-FFF2-40B4-BE49-F238E27FC236}">
                <a16:creationId xmlns:a16="http://schemas.microsoft.com/office/drawing/2014/main" id="{9FCC7F35-99CA-D64F-A986-4E0E3890F4B0}"/>
              </a:ext>
            </a:extLst>
          </p:cNvPr>
          <p:cNvSpPr/>
          <p:nvPr/>
        </p:nvSpPr>
        <p:spPr>
          <a:xfrm>
            <a:off x="4301707" y="2781408"/>
            <a:ext cx="216000" cy="216000"/>
          </a:xfrm>
          <a:prstGeom prst="ellips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chemeClr val="bg1"/>
                </a:solidFill>
              </a:rPr>
              <a:t>1</a:t>
            </a:r>
          </a:p>
        </p:txBody>
      </p:sp>
      <p:sp>
        <p:nvSpPr>
          <p:cNvPr id="26" name="Ellipse 25">
            <a:extLst>
              <a:ext uri="{FF2B5EF4-FFF2-40B4-BE49-F238E27FC236}">
                <a16:creationId xmlns:a16="http://schemas.microsoft.com/office/drawing/2014/main" id="{6B45B450-36BB-6CDA-280E-2BFF6D4D8421}"/>
              </a:ext>
            </a:extLst>
          </p:cNvPr>
          <p:cNvSpPr/>
          <p:nvPr/>
        </p:nvSpPr>
        <p:spPr>
          <a:xfrm>
            <a:off x="6691064" y="2781408"/>
            <a:ext cx="216000" cy="216000"/>
          </a:xfrm>
          <a:prstGeom prst="ellips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chemeClr val="bg1"/>
                </a:solidFill>
              </a:rPr>
              <a:t>2</a:t>
            </a:r>
          </a:p>
        </p:txBody>
      </p:sp>
      <p:sp>
        <p:nvSpPr>
          <p:cNvPr id="27" name="Ellipse 26">
            <a:extLst>
              <a:ext uri="{FF2B5EF4-FFF2-40B4-BE49-F238E27FC236}">
                <a16:creationId xmlns:a16="http://schemas.microsoft.com/office/drawing/2014/main" id="{D4707CF2-43F9-D49E-CFFD-AEA85D21316E}"/>
              </a:ext>
            </a:extLst>
          </p:cNvPr>
          <p:cNvSpPr/>
          <p:nvPr/>
        </p:nvSpPr>
        <p:spPr>
          <a:xfrm>
            <a:off x="9074765" y="2781408"/>
            <a:ext cx="216000" cy="216000"/>
          </a:xfrm>
          <a:prstGeom prst="ellips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chemeClr val="bg1"/>
                </a:solidFill>
              </a:rPr>
              <a:t>3</a:t>
            </a:r>
          </a:p>
        </p:txBody>
      </p:sp>
      <p:sp>
        <p:nvSpPr>
          <p:cNvPr id="40" name="Ellipse 39">
            <a:extLst>
              <a:ext uri="{FF2B5EF4-FFF2-40B4-BE49-F238E27FC236}">
                <a16:creationId xmlns:a16="http://schemas.microsoft.com/office/drawing/2014/main" id="{0C7D52A7-5F5E-A1AC-2FC9-99920D3730F7}"/>
              </a:ext>
            </a:extLst>
          </p:cNvPr>
          <p:cNvSpPr/>
          <p:nvPr/>
        </p:nvSpPr>
        <p:spPr>
          <a:xfrm>
            <a:off x="1946374" y="2781408"/>
            <a:ext cx="216000" cy="216000"/>
          </a:xfrm>
          <a:prstGeom prst="ellipse">
            <a:avLst/>
          </a:prstGeom>
          <a:solidFill>
            <a:srgbClr val="44388A"/>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chemeClr val="bg1"/>
                </a:solidFill>
              </a:rPr>
              <a:t>0</a:t>
            </a:r>
          </a:p>
        </p:txBody>
      </p:sp>
      <p:sp>
        <p:nvSpPr>
          <p:cNvPr id="54" name="Espace réservé du contenu 3">
            <a:extLst>
              <a:ext uri="{FF2B5EF4-FFF2-40B4-BE49-F238E27FC236}">
                <a16:creationId xmlns:a16="http://schemas.microsoft.com/office/drawing/2014/main" id="{6DDE399D-4579-8C77-7106-12C3659DA88F}"/>
              </a:ext>
            </a:extLst>
          </p:cNvPr>
          <p:cNvSpPr txBox="1">
            <a:spLocks/>
          </p:cNvSpPr>
          <p:nvPr/>
        </p:nvSpPr>
        <p:spPr>
          <a:xfrm>
            <a:off x="4447787" y="4061427"/>
            <a:ext cx="2310369" cy="864770"/>
          </a:xfrm>
          <a:prstGeom prst="rect">
            <a:avLst/>
          </a:prstGeom>
        </p:spPr>
        <p:txBody>
          <a:bodyPr vert="horz" lIns="0" tIns="36000" rIns="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88900" lvl="1" indent="-88900">
              <a:spcBef>
                <a:spcPts val="0"/>
              </a:spcBef>
              <a:buClrTx/>
            </a:pPr>
            <a:r>
              <a:rPr lang="fr-FR" sz="1000" spc="-10">
                <a:solidFill>
                  <a:schemeClr val="tx1"/>
                </a:solidFill>
                <a:latin typeface="+mj-lt"/>
              </a:rPr>
              <a:t>Supports et CR des instances de suivi</a:t>
            </a:r>
          </a:p>
          <a:p>
            <a:pPr marL="88900" lvl="1" indent="-88900">
              <a:spcBef>
                <a:spcPts val="0"/>
              </a:spcBef>
              <a:buClrTx/>
            </a:pPr>
            <a:r>
              <a:rPr lang="fr-FR" sz="1000" spc="-10">
                <a:solidFill>
                  <a:schemeClr val="tx1"/>
                </a:solidFill>
                <a:latin typeface="+mj-lt"/>
              </a:rPr>
              <a:t>Indicateurs de suivi et tableaux de bord</a:t>
            </a:r>
          </a:p>
          <a:p>
            <a:pPr marL="88900" lvl="1" indent="-88900">
              <a:spcBef>
                <a:spcPts val="0"/>
              </a:spcBef>
              <a:buClrTx/>
            </a:pPr>
            <a:r>
              <a:rPr lang="fr-FR" sz="1000" spc="-10">
                <a:solidFill>
                  <a:schemeClr val="tx1"/>
                </a:solidFill>
                <a:latin typeface="+mj-lt"/>
              </a:rPr>
              <a:t>Feuilles de routes de chaque ligne</a:t>
            </a:r>
          </a:p>
          <a:p>
            <a:pPr marL="88900" lvl="1" indent="-88900">
              <a:spcBef>
                <a:spcPts val="0"/>
              </a:spcBef>
              <a:buClrTx/>
            </a:pPr>
            <a:r>
              <a:rPr lang="fr-FR" sz="1000" spc="-10">
                <a:solidFill>
                  <a:schemeClr val="tx1"/>
                </a:solidFill>
                <a:latin typeface="+mj-lt"/>
              </a:rPr>
              <a:t>Planning éditorial d'animation des canaux existants (Yammer, Teams, …)</a:t>
            </a:r>
          </a:p>
        </p:txBody>
      </p:sp>
      <p:cxnSp>
        <p:nvCxnSpPr>
          <p:cNvPr id="55" name="Connecteur droit 54">
            <a:extLst>
              <a:ext uri="{FF2B5EF4-FFF2-40B4-BE49-F238E27FC236}">
                <a16:creationId xmlns:a16="http://schemas.microsoft.com/office/drawing/2014/main" id="{7FF90C3D-91B0-28BB-B3C7-DAA3458B811A}"/>
              </a:ext>
            </a:extLst>
          </p:cNvPr>
          <p:cNvCxnSpPr>
            <a:cxnSpLocks/>
          </p:cNvCxnSpPr>
          <p:nvPr/>
        </p:nvCxnSpPr>
        <p:spPr>
          <a:xfrm>
            <a:off x="6796236" y="4088411"/>
            <a:ext cx="0" cy="8640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6" name="Connecteur droit 55">
            <a:extLst>
              <a:ext uri="{FF2B5EF4-FFF2-40B4-BE49-F238E27FC236}">
                <a16:creationId xmlns:a16="http://schemas.microsoft.com/office/drawing/2014/main" id="{71E7500D-4E9D-6EA4-73CB-E00BE8DAF541}"/>
              </a:ext>
            </a:extLst>
          </p:cNvPr>
          <p:cNvCxnSpPr>
            <a:cxnSpLocks/>
          </p:cNvCxnSpPr>
          <p:nvPr/>
        </p:nvCxnSpPr>
        <p:spPr>
          <a:xfrm>
            <a:off x="9182765" y="4088411"/>
            <a:ext cx="0" cy="8640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A0156D2E-DC68-3F3F-52C0-5E0BBD25724A}"/>
              </a:ext>
            </a:extLst>
          </p:cNvPr>
          <p:cNvCxnSpPr>
            <a:cxnSpLocks/>
          </p:cNvCxnSpPr>
          <p:nvPr/>
        </p:nvCxnSpPr>
        <p:spPr>
          <a:xfrm>
            <a:off x="4409707" y="4088411"/>
            <a:ext cx="0" cy="8640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8" name="Espace réservé du contenu 3">
            <a:extLst>
              <a:ext uri="{FF2B5EF4-FFF2-40B4-BE49-F238E27FC236}">
                <a16:creationId xmlns:a16="http://schemas.microsoft.com/office/drawing/2014/main" id="{5BE98F25-BA9F-4AFF-F335-9B2EB1BB472F}"/>
              </a:ext>
            </a:extLst>
          </p:cNvPr>
          <p:cNvSpPr txBox="1">
            <a:spLocks/>
          </p:cNvSpPr>
          <p:nvPr/>
        </p:nvSpPr>
        <p:spPr>
          <a:xfrm>
            <a:off x="6834316" y="4061427"/>
            <a:ext cx="2310369" cy="864770"/>
          </a:xfrm>
          <a:prstGeom prst="rect">
            <a:avLst/>
          </a:prstGeom>
        </p:spPr>
        <p:txBody>
          <a:bodyPr vert="horz" lIns="0" tIns="36000" rIns="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88900" lvl="1" indent="-88900">
              <a:spcBef>
                <a:spcPts val="0"/>
              </a:spcBef>
              <a:buClrTx/>
            </a:pPr>
            <a:r>
              <a:rPr lang="fr-FR" sz="1000" spc="-10">
                <a:solidFill>
                  <a:schemeClr val="tx1"/>
                </a:solidFill>
                <a:latin typeface="+mj-lt"/>
              </a:rPr>
              <a:t>Nouveaux support de formation « papier » et digitaux</a:t>
            </a:r>
          </a:p>
          <a:p>
            <a:pPr marL="88900" lvl="1" indent="-88900">
              <a:spcBef>
                <a:spcPts val="0"/>
              </a:spcBef>
              <a:buClrTx/>
            </a:pPr>
            <a:r>
              <a:rPr lang="fr-FR" sz="1000" spc="-10">
                <a:solidFill>
                  <a:schemeClr val="tx1"/>
                </a:solidFill>
                <a:latin typeface="+mj-lt"/>
              </a:rPr>
              <a:t>Feuilles d’émargement des stagiaires</a:t>
            </a:r>
          </a:p>
          <a:p>
            <a:pPr marL="88900" lvl="1" indent="-88900">
              <a:spcBef>
                <a:spcPts val="0"/>
              </a:spcBef>
              <a:buClrTx/>
            </a:pPr>
            <a:r>
              <a:rPr lang="fr-FR" sz="1000" spc="-10">
                <a:solidFill>
                  <a:schemeClr val="tx1"/>
                </a:solidFill>
                <a:latin typeface="+mj-lt"/>
              </a:rPr>
              <a:t>CR du déroulé des formations</a:t>
            </a:r>
          </a:p>
        </p:txBody>
      </p:sp>
      <p:sp>
        <p:nvSpPr>
          <p:cNvPr id="59" name="Espace réservé du contenu 3">
            <a:extLst>
              <a:ext uri="{FF2B5EF4-FFF2-40B4-BE49-F238E27FC236}">
                <a16:creationId xmlns:a16="http://schemas.microsoft.com/office/drawing/2014/main" id="{279ABEF7-8A60-6FCF-1202-4BAA373923E1}"/>
              </a:ext>
            </a:extLst>
          </p:cNvPr>
          <p:cNvSpPr txBox="1">
            <a:spLocks/>
          </p:cNvSpPr>
          <p:nvPr/>
        </p:nvSpPr>
        <p:spPr>
          <a:xfrm>
            <a:off x="9220846" y="4061427"/>
            <a:ext cx="2310369" cy="864770"/>
          </a:xfrm>
          <a:prstGeom prst="rect">
            <a:avLst/>
          </a:prstGeom>
        </p:spPr>
        <p:txBody>
          <a:bodyPr vert="horz" lIns="0" tIns="36000" rIns="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88900" lvl="1" indent="-88900">
              <a:spcBef>
                <a:spcPts val="0"/>
              </a:spcBef>
              <a:buClrTx/>
            </a:pPr>
            <a:r>
              <a:rPr lang="fr-FR" sz="1000" spc="-10">
                <a:solidFill>
                  <a:schemeClr val="tx1"/>
                </a:solidFill>
                <a:latin typeface="+mj-lt"/>
              </a:rPr>
              <a:t>Mise à jour des supports de formation existants</a:t>
            </a:r>
          </a:p>
          <a:p>
            <a:pPr marL="88900" lvl="1" indent="-88900">
              <a:spcBef>
                <a:spcPts val="0"/>
              </a:spcBef>
              <a:buClrTx/>
            </a:pPr>
            <a:r>
              <a:rPr lang="fr-FR" sz="1000" spc="-10">
                <a:solidFill>
                  <a:schemeClr val="tx1"/>
                </a:solidFill>
                <a:latin typeface="+mj-lt"/>
              </a:rPr>
              <a:t>Synthèse des codev</a:t>
            </a:r>
          </a:p>
          <a:p>
            <a:pPr marL="88900" lvl="1" indent="-88900">
              <a:spcBef>
                <a:spcPts val="0"/>
              </a:spcBef>
              <a:buClrTx/>
            </a:pPr>
            <a:r>
              <a:rPr lang="fr-FR" sz="1000" spc="-10">
                <a:solidFill>
                  <a:schemeClr val="tx1"/>
                </a:solidFill>
                <a:latin typeface="+mj-lt"/>
              </a:rPr>
              <a:t>Synthèse des REX</a:t>
            </a:r>
          </a:p>
          <a:p>
            <a:pPr marL="88900" lvl="1" indent="-88900">
              <a:spcBef>
                <a:spcPts val="0"/>
              </a:spcBef>
              <a:buClrTx/>
            </a:pPr>
            <a:r>
              <a:rPr lang="fr-FR" sz="1000" spc="-10">
                <a:solidFill>
                  <a:schemeClr val="tx1"/>
                </a:solidFill>
                <a:latin typeface="+mj-lt"/>
              </a:rPr>
              <a:t>Synthèse des évaluations et proposition de plan d’action</a:t>
            </a:r>
          </a:p>
          <a:p>
            <a:pPr marL="171450" lvl="1" indent="-171450">
              <a:spcBef>
                <a:spcPts val="0"/>
              </a:spcBef>
              <a:buClrTx/>
            </a:pPr>
            <a:endParaRPr lang="fr-FR" sz="1000" spc="-10">
              <a:solidFill>
                <a:schemeClr val="tx1"/>
              </a:solidFill>
              <a:latin typeface="+mj-lt"/>
            </a:endParaRPr>
          </a:p>
        </p:txBody>
      </p:sp>
      <p:sp>
        <p:nvSpPr>
          <p:cNvPr id="60" name="Espace réservé du contenu 3">
            <a:extLst>
              <a:ext uri="{FF2B5EF4-FFF2-40B4-BE49-F238E27FC236}">
                <a16:creationId xmlns:a16="http://schemas.microsoft.com/office/drawing/2014/main" id="{A63E2F5A-3053-DB59-4E60-7CC46A615F2D}"/>
              </a:ext>
            </a:extLst>
          </p:cNvPr>
          <p:cNvSpPr txBox="1">
            <a:spLocks/>
          </p:cNvSpPr>
          <p:nvPr/>
        </p:nvSpPr>
        <p:spPr>
          <a:xfrm>
            <a:off x="2061258" y="4061427"/>
            <a:ext cx="2310369" cy="864770"/>
          </a:xfrm>
          <a:prstGeom prst="rect">
            <a:avLst/>
          </a:prstGeom>
        </p:spPr>
        <p:txBody>
          <a:bodyPr vert="horz" lIns="0" tIns="36000" rIns="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88900" lvl="1" indent="-88900">
              <a:spcBef>
                <a:spcPts val="0"/>
              </a:spcBef>
              <a:buClrTx/>
              <a:buSzPts val="1100"/>
            </a:pPr>
            <a:r>
              <a:rPr lang="fr-FR" sz="1000" spc="-10">
                <a:solidFill>
                  <a:schemeClr val="tx1"/>
                </a:solidFill>
                <a:latin typeface="+mj-lt"/>
                <a:sym typeface="Montserrat"/>
              </a:rPr>
              <a:t>Analyse de l’organisation</a:t>
            </a:r>
          </a:p>
          <a:p>
            <a:pPr marL="88900" lvl="1" indent="-88900">
              <a:spcBef>
                <a:spcPts val="0"/>
              </a:spcBef>
              <a:buClrTx/>
              <a:buSzPts val="1100"/>
            </a:pPr>
            <a:r>
              <a:rPr lang="fr-FR" sz="1000" spc="-10">
                <a:solidFill>
                  <a:schemeClr val="tx1"/>
                </a:solidFill>
                <a:latin typeface="+mj-lt"/>
                <a:sym typeface="Montserrat"/>
              </a:rPr>
              <a:t>Cartographie des impacts et des perceptions</a:t>
            </a:r>
          </a:p>
          <a:p>
            <a:pPr marL="88900" lvl="1" indent="-88900">
              <a:spcBef>
                <a:spcPts val="0"/>
              </a:spcBef>
              <a:buClrTx/>
              <a:buSzPts val="1100"/>
            </a:pPr>
            <a:r>
              <a:rPr lang="fr-FR" sz="1000" spc="-10">
                <a:solidFill>
                  <a:schemeClr val="tx1"/>
                </a:solidFill>
                <a:latin typeface="+mj-lt"/>
                <a:sym typeface="Montserrat"/>
              </a:rPr>
              <a:t>Supports produits lors des ateliers co-construction</a:t>
            </a:r>
          </a:p>
          <a:p>
            <a:pPr marL="88900" lvl="1" indent="-88900">
              <a:spcBef>
                <a:spcPts val="0"/>
              </a:spcBef>
              <a:buClrTx/>
              <a:buSzPts val="1100"/>
            </a:pPr>
            <a:r>
              <a:rPr lang="fr-FR" sz="1000" spc="-10">
                <a:solidFill>
                  <a:schemeClr val="tx1"/>
                </a:solidFill>
                <a:latin typeface="+mj-lt"/>
                <a:sym typeface="Montserrat"/>
              </a:rPr>
              <a:t>Storytelling et éléments de langage</a:t>
            </a:r>
          </a:p>
          <a:p>
            <a:pPr marL="88900" lvl="1" indent="-88900">
              <a:spcBef>
                <a:spcPts val="0"/>
              </a:spcBef>
              <a:buClrTx/>
              <a:buSzPts val="1100"/>
            </a:pPr>
            <a:r>
              <a:rPr lang="fr-FR" sz="1000" spc="-10">
                <a:solidFill>
                  <a:schemeClr val="tx1"/>
                </a:solidFill>
                <a:latin typeface="+mj-lt"/>
                <a:sym typeface="Montserrat"/>
              </a:rPr>
              <a:t>Processus de traitement des remontées du terrain</a:t>
            </a:r>
          </a:p>
          <a:p>
            <a:pPr marL="88900" lvl="1" indent="-88900">
              <a:spcBef>
                <a:spcPts val="0"/>
              </a:spcBef>
              <a:buClrTx/>
            </a:pPr>
            <a:endParaRPr lang="fr-FR" sz="1000" spc="-10">
              <a:solidFill>
                <a:schemeClr val="tx1"/>
              </a:solidFill>
              <a:latin typeface="+mj-lt"/>
            </a:endParaRPr>
          </a:p>
          <a:p>
            <a:pPr marL="171450" lvl="1" indent="-171450">
              <a:spcBef>
                <a:spcPts val="0"/>
              </a:spcBef>
              <a:buClrTx/>
            </a:pPr>
            <a:endParaRPr lang="fr-FR" sz="1000" spc="-10">
              <a:solidFill>
                <a:schemeClr val="tx1"/>
              </a:solidFill>
              <a:latin typeface="+mj-lt"/>
            </a:endParaRPr>
          </a:p>
        </p:txBody>
      </p:sp>
      <p:sp>
        <p:nvSpPr>
          <p:cNvPr id="20" name="object 46">
            <a:extLst>
              <a:ext uri="{FF2B5EF4-FFF2-40B4-BE49-F238E27FC236}">
                <a16:creationId xmlns:a16="http://schemas.microsoft.com/office/drawing/2014/main" id="{80199D23-5ABE-8C68-32FF-386CC63C6FFB}"/>
              </a:ext>
            </a:extLst>
          </p:cNvPr>
          <p:cNvSpPr txBox="1"/>
          <p:nvPr/>
        </p:nvSpPr>
        <p:spPr>
          <a:xfrm>
            <a:off x="1946373" y="6180134"/>
            <a:ext cx="9712598" cy="359360"/>
          </a:xfrm>
          <a:prstGeom prst="rect">
            <a:avLst/>
          </a:prstGeom>
          <a:solidFill>
            <a:schemeClr val="bg2"/>
          </a:solidFill>
          <a:ln w="28575">
            <a:solidFill>
              <a:schemeClr val="accent3"/>
            </a:solidFill>
          </a:ln>
        </p:spPr>
        <p:txBody>
          <a:bodyPr vert="horz" wrap="square" lIns="0" tIns="3810" rIns="0" bIns="0" rtlCol="0" anchor="ctr">
            <a:noAutofit/>
          </a:bodyPr>
          <a:lstStyle/>
          <a:p>
            <a:pPr algn="ctr">
              <a:lnSpc>
                <a:spcPct val="100000"/>
              </a:lnSpc>
            </a:pPr>
            <a:r>
              <a:rPr lang="fr-FR" sz="1200" spc="-5">
                <a:solidFill>
                  <a:srgbClr val="FFFFFF"/>
                </a:solidFill>
                <a:latin typeface="+mj-lt"/>
                <a:cs typeface="Verdana"/>
              </a:rPr>
              <a:t>La mission 0 ne fait pas partie de notre offre dans le cadre de cette AO. </a:t>
            </a:r>
          </a:p>
          <a:p>
            <a:pPr algn="ctr">
              <a:lnSpc>
                <a:spcPct val="100000"/>
              </a:lnSpc>
            </a:pPr>
            <a:r>
              <a:rPr lang="fr-FR" sz="1200" spc="-5">
                <a:solidFill>
                  <a:srgbClr val="FFFFFF"/>
                </a:solidFill>
                <a:latin typeface="+mj-lt"/>
                <a:cs typeface="Verdana"/>
              </a:rPr>
              <a:t>Elle représente nos convictions et elle doit être conduite en parallèle par les équipes existantes pour assurer le succès du déploiement.</a:t>
            </a:r>
            <a:endParaRPr lang="fr-FR" sz="1200">
              <a:latin typeface="+mj-lt"/>
              <a:cs typeface="Verdana"/>
            </a:endParaRPr>
          </a:p>
        </p:txBody>
      </p:sp>
    </p:spTree>
    <p:extLst>
      <p:ext uri="{BB962C8B-B14F-4D97-AF65-F5344CB8AC3E}">
        <p14:creationId xmlns:p14="http://schemas.microsoft.com/office/powerpoint/2010/main" val="29661119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6FE86CE-D796-92B4-487A-BCCC0D40C12E}"/>
              </a:ext>
            </a:extLst>
          </p:cNvPr>
          <p:cNvSpPr>
            <a:spLocks noGrp="1"/>
          </p:cNvSpPr>
          <p:nvPr>
            <p:ph type="title"/>
          </p:nvPr>
        </p:nvSpPr>
        <p:spPr/>
        <p:txBody>
          <a:bodyPr anchor="t">
            <a:normAutofit fontScale="90000"/>
          </a:bodyPr>
          <a:lstStyle/>
          <a:p>
            <a:r>
              <a:rPr kumimoji="0" lang="fr-FR" sz="1800" b="1" i="0" u="none" strike="noStrike" kern="0" cap="none" spc="0" normalizeH="0" baseline="0" noProof="0">
                <a:ln>
                  <a:noFill/>
                </a:ln>
                <a:solidFill>
                  <a:schemeClr val="accent3"/>
                </a:solidFill>
                <a:effectLst/>
                <a:uLnTx/>
                <a:uFillTx/>
                <a:latin typeface="Arial Black" panose="020B0604020202020204" pitchFamily="34" charset="0"/>
                <a:sym typeface="Montserrat"/>
              </a:rPr>
              <a:t>0</a:t>
            </a:r>
            <a:r>
              <a:rPr kumimoji="0" lang="fr-FR" sz="1800" b="1" i="0" u="none" strike="noStrike" kern="0" cap="none" spc="0" normalizeH="0" baseline="0" noProof="0">
                <a:ln>
                  <a:noFill/>
                </a:ln>
                <a:solidFill>
                  <a:srgbClr val="44398A"/>
                </a:solidFill>
                <a:effectLst/>
                <a:uLnTx/>
                <a:uFillTx/>
                <a:latin typeface="Arial Black" panose="020B0604020202020204" pitchFamily="34" charset="0"/>
                <a:sym typeface="Montserrat"/>
              </a:rPr>
              <a:t>. PRÉREQUIS</a:t>
            </a:r>
            <a:br>
              <a:rPr lang="fr-FR" sz="2200"/>
            </a:br>
            <a:r>
              <a:rPr lang="fr-FR" sz="1800" b="0">
                <a:solidFill>
                  <a:schemeClr val="bg2">
                    <a:lumMod val="60000"/>
                    <a:lumOff val="40000"/>
                  </a:schemeClr>
                </a:solidFill>
                <a:latin typeface="+mn-lt"/>
                <a:cs typeface="Arial" panose="020B0604020202020204" pitchFamily="34" charset="0"/>
              </a:rPr>
              <a:t>Contraintes convictions et facteurs clés de succès</a:t>
            </a:r>
          </a:p>
        </p:txBody>
      </p:sp>
      <p:graphicFrame>
        <p:nvGraphicFramePr>
          <p:cNvPr id="3" name="Tableau 4">
            <a:extLst>
              <a:ext uri="{FF2B5EF4-FFF2-40B4-BE49-F238E27FC236}">
                <a16:creationId xmlns:a16="http://schemas.microsoft.com/office/drawing/2014/main" id="{81992096-3CCB-79FC-B948-7A4A1C42BBD8}"/>
              </a:ext>
            </a:extLst>
          </p:cNvPr>
          <p:cNvGraphicFramePr>
            <a:graphicFrameLocks noGrp="1"/>
          </p:cNvGraphicFramePr>
          <p:nvPr>
            <p:extLst>
              <p:ext uri="{D42A27DB-BD31-4B8C-83A1-F6EECF244321}">
                <p14:modId xmlns:p14="http://schemas.microsoft.com/office/powerpoint/2010/main" val="3906673580"/>
              </p:ext>
            </p:extLst>
          </p:nvPr>
        </p:nvGraphicFramePr>
        <p:xfrm>
          <a:off x="1264918" y="1931619"/>
          <a:ext cx="9655198" cy="4413716"/>
        </p:xfrm>
        <a:graphic>
          <a:graphicData uri="http://schemas.openxmlformats.org/drawingml/2006/table">
            <a:tbl>
              <a:tblPr bandRow="1">
                <a:tableStyleId>{5C22544A-7EE6-4342-B048-85BDC9FD1C3A}</a:tableStyleId>
              </a:tblPr>
              <a:tblGrid>
                <a:gridCol w="3826891">
                  <a:extLst>
                    <a:ext uri="{9D8B030D-6E8A-4147-A177-3AD203B41FA5}">
                      <a16:colId xmlns:a16="http://schemas.microsoft.com/office/drawing/2014/main" val="3835464732"/>
                    </a:ext>
                  </a:extLst>
                </a:gridCol>
                <a:gridCol w="5828307">
                  <a:extLst>
                    <a:ext uri="{9D8B030D-6E8A-4147-A177-3AD203B41FA5}">
                      <a16:colId xmlns:a16="http://schemas.microsoft.com/office/drawing/2014/main" val="2107302021"/>
                    </a:ext>
                  </a:extLst>
                </a:gridCol>
              </a:tblGrid>
              <a:tr h="732580">
                <a:tc>
                  <a:txBody>
                    <a:bodyPr/>
                    <a:lstStyle/>
                    <a:p>
                      <a:r>
                        <a:rPr lang="fr-FR" sz="1200" b="1">
                          <a:solidFill>
                            <a:schemeClr val="bg1"/>
                          </a:solidFill>
                          <a:latin typeface="+mj-lt"/>
                        </a:rPr>
                        <a:t>L’outil est présenté comme la solution, alors qu’il ne s’agit que d’un moyen </a:t>
                      </a:r>
                    </a:p>
                  </a:txBody>
                  <a:tcPr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a:solidFill>
                            <a:schemeClr val="tx1">
                              <a:lumMod val="85000"/>
                              <a:lumOff val="15000"/>
                            </a:schemeClr>
                          </a:solidFill>
                          <a:latin typeface="+mj-lt"/>
                          <a:sym typeface="Wingdings" panose="05000000000000000000" pitchFamily="2" charset="2"/>
                        </a:rPr>
                        <a:t>Revenir </a:t>
                      </a:r>
                      <a:r>
                        <a:rPr lang="fr-FR" sz="1100" b="1">
                          <a:solidFill>
                            <a:schemeClr val="tx1">
                              <a:lumMod val="85000"/>
                              <a:lumOff val="15000"/>
                            </a:schemeClr>
                          </a:solidFill>
                          <a:latin typeface="+mj-lt"/>
                          <a:sym typeface="Wingdings" panose="05000000000000000000" pitchFamily="2" charset="2"/>
                        </a:rPr>
                        <a:t>aux besoins métiers </a:t>
                      </a:r>
                      <a:r>
                        <a:rPr lang="fr-FR" sz="1100">
                          <a:solidFill>
                            <a:schemeClr val="tx1">
                              <a:lumMod val="85000"/>
                              <a:lumOff val="15000"/>
                            </a:schemeClr>
                          </a:solidFill>
                          <a:latin typeface="+mj-lt"/>
                          <a:sym typeface="Wingdings" panose="05000000000000000000" pitchFamily="2" charset="2"/>
                        </a:rPr>
                        <a:t>avant et durant les formations. S’assurer que les </a:t>
                      </a:r>
                      <a:r>
                        <a:rPr lang="fr-FR" sz="1100" b="1">
                          <a:solidFill>
                            <a:schemeClr val="tx1">
                              <a:lumMod val="85000"/>
                              <a:lumOff val="15000"/>
                            </a:schemeClr>
                          </a:solidFill>
                          <a:latin typeface="+mj-lt"/>
                          <a:sym typeface="Wingdings" panose="05000000000000000000" pitchFamily="2" charset="2"/>
                        </a:rPr>
                        <a:t>fonctionnalités nécessaires </a:t>
                      </a:r>
                      <a:r>
                        <a:rPr lang="fr-FR" sz="1100">
                          <a:solidFill>
                            <a:schemeClr val="tx1">
                              <a:lumMod val="85000"/>
                              <a:lumOff val="15000"/>
                            </a:schemeClr>
                          </a:solidFill>
                          <a:latin typeface="+mj-lt"/>
                          <a:sym typeface="Wingdings" panose="05000000000000000000" pitchFamily="2" charset="2"/>
                        </a:rPr>
                        <a:t>sont correctement implémentées et qu’une boucle </a:t>
                      </a:r>
                      <a:r>
                        <a:rPr lang="fr-FR" sz="1100" b="1">
                          <a:solidFill>
                            <a:schemeClr val="tx1">
                              <a:lumMod val="85000"/>
                              <a:lumOff val="15000"/>
                            </a:schemeClr>
                          </a:solidFill>
                          <a:latin typeface="+mj-lt"/>
                          <a:sym typeface="Wingdings" panose="05000000000000000000" pitchFamily="2" charset="2"/>
                        </a:rPr>
                        <a:t>d’amélioration continue de l’outil </a:t>
                      </a:r>
                      <a:r>
                        <a:rPr lang="fr-FR" sz="1100">
                          <a:solidFill>
                            <a:schemeClr val="tx1">
                              <a:lumMod val="85000"/>
                              <a:lumOff val="15000"/>
                            </a:schemeClr>
                          </a:solidFill>
                          <a:latin typeface="+mj-lt"/>
                          <a:sym typeface="Wingdings" panose="05000000000000000000" pitchFamily="2" charset="2"/>
                        </a:rPr>
                        <a:t>est mise en plac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100">
                          <a:solidFill>
                            <a:schemeClr val="tx1">
                              <a:lumMod val="85000"/>
                              <a:lumOff val="15000"/>
                            </a:schemeClr>
                          </a:solidFill>
                          <a:latin typeface="+mj-lt"/>
                          <a:sym typeface="Wingdings" panose="05000000000000000000" pitchFamily="2" charset="2"/>
                        </a:rPr>
                        <a:t>Faciliter les échanges métier durant les formations.</a:t>
                      </a: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62416897"/>
                  </a:ext>
                </a:extLst>
              </a:tr>
              <a:tr h="729784">
                <a:tc>
                  <a:txBody>
                    <a:bodyPr/>
                    <a:lstStyle/>
                    <a:p>
                      <a:r>
                        <a:rPr lang="fr-FR" sz="1200" b="1">
                          <a:solidFill>
                            <a:schemeClr val="bg1"/>
                          </a:solidFill>
                          <a:latin typeface="+mj-lt"/>
                        </a:rPr>
                        <a:t>Enjeu de résistance majeure dans un contexte VUCA*</a:t>
                      </a:r>
                    </a:p>
                  </a:txBody>
                  <a:tcPr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100" b="0">
                          <a:solidFill>
                            <a:schemeClr val="tx1"/>
                          </a:solidFill>
                          <a:latin typeface="+mj-lt"/>
                        </a:rPr>
                        <a:t>Une démarche à mettre en place en amont des formations qui vise à prévenir la gestion de crise, déminer les irritants et rendre lisible pour tous les enjeux et l’évolution du projet</a:t>
                      </a:r>
                      <a:endParaRPr lang="fr-FR" sz="1100" b="1">
                        <a:solidFill>
                          <a:schemeClr val="tx1"/>
                        </a:solidFill>
                        <a:latin typeface="+mj-lt"/>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01884082"/>
                  </a:ext>
                </a:extLst>
              </a:tr>
              <a:tr h="7297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a:solidFill>
                            <a:schemeClr val="bg1"/>
                          </a:solidFill>
                          <a:latin typeface="+mj-lt"/>
                        </a:rPr>
                        <a:t>Diversité des profils des acteurs concernés par l’accompagnement, dont certains peu technophiles</a:t>
                      </a:r>
                      <a:endParaRPr lang="fr-FR" sz="1200" b="0">
                        <a:solidFill>
                          <a:schemeClr val="bg1"/>
                        </a:solidFill>
                        <a:latin typeface="+mj-lt"/>
                      </a:endParaRPr>
                    </a:p>
                  </a:txBody>
                  <a:tcPr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a:solidFill>
                            <a:schemeClr val="tx1"/>
                          </a:solidFill>
                          <a:latin typeface="+mj-lt"/>
                          <a:sym typeface="Wingdings" panose="05000000000000000000" pitchFamily="2" charset="2"/>
                        </a:rPr>
                        <a:t>Des formateurs tenant compte des différences, une attention renforcée à l’adoption des nouveaux usages et de leurs impacts (outils, métiers, culture)</a:t>
                      </a: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97876756"/>
                  </a:ext>
                </a:extLst>
              </a:tr>
              <a:tr h="729784">
                <a:tc>
                  <a:txBody>
                    <a:bodyPr/>
                    <a:lstStyle/>
                    <a:p>
                      <a:r>
                        <a:rPr lang="fr-FR" sz="1200" b="1">
                          <a:solidFill>
                            <a:schemeClr val="bg1"/>
                          </a:solidFill>
                          <a:latin typeface="+mj-lt"/>
                        </a:rPr>
                        <a:t>Incompréhensions des objectifs du projet et mauvaise perception de l’outil</a:t>
                      </a:r>
                    </a:p>
                  </a:txBody>
                  <a:tcPr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a:solidFill>
                            <a:schemeClr val="tx1"/>
                          </a:solidFill>
                          <a:latin typeface="+mj-lt"/>
                          <a:sym typeface="Wingdings" panose="05000000000000000000" pitchFamily="2" charset="2"/>
                        </a:rPr>
                        <a:t>Démonter les </a:t>
                      </a:r>
                      <a:r>
                        <a:rPr lang="fr-FR" sz="1100" b="1">
                          <a:solidFill>
                            <a:schemeClr val="tx1"/>
                          </a:solidFill>
                          <a:latin typeface="+mj-lt"/>
                          <a:sym typeface="Wingdings" panose="05000000000000000000" pitchFamily="2" charset="2"/>
                        </a:rPr>
                        <a:t>bénéfices pour l’entreprises</a:t>
                      </a:r>
                      <a:r>
                        <a:rPr lang="fr-FR" sz="1100">
                          <a:solidFill>
                            <a:schemeClr val="tx1"/>
                          </a:solidFill>
                          <a:latin typeface="+mj-lt"/>
                          <a:sym typeface="Wingdings" panose="05000000000000000000" pitchFamily="2" charset="2"/>
                        </a:rPr>
                        <a:t>. Utiliser la puissance de l’intelligence collective pour embarquer le collectif et </a:t>
                      </a:r>
                      <a:r>
                        <a:rPr lang="fr-FR" sz="1100" b="1">
                          <a:solidFill>
                            <a:schemeClr val="tx1"/>
                          </a:solidFill>
                          <a:latin typeface="+mj-lt"/>
                          <a:sym typeface="Wingdings" panose="05000000000000000000" pitchFamily="2" charset="2"/>
                        </a:rPr>
                        <a:t>le rendre acteur.</a:t>
                      </a: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12115173"/>
                  </a:ext>
                </a:extLst>
              </a:tr>
              <a:tr h="729784">
                <a:tc>
                  <a:txBody>
                    <a:bodyPr/>
                    <a:lstStyle/>
                    <a:p>
                      <a:r>
                        <a:rPr lang="fr-FR" sz="1200" b="1">
                          <a:solidFill>
                            <a:schemeClr val="bg1"/>
                          </a:solidFill>
                          <a:latin typeface="+mj-lt"/>
                        </a:rPr>
                        <a:t>Outil qui nécessite une véritable montée en compétences</a:t>
                      </a:r>
                    </a:p>
                  </a:txBody>
                  <a:tcPr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a:solidFill>
                            <a:schemeClr val="tx1"/>
                          </a:solidFill>
                          <a:latin typeface="+mj-lt"/>
                          <a:sym typeface="Wingdings" panose="05000000000000000000" pitchFamily="2" charset="2"/>
                        </a:rPr>
                        <a:t>Des </a:t>
                      </a:r>
                      <a:r>
                        <a:rPr lang="fr-FR" sz="1100" b="1">
                          <a:solidFill>
                            <a:schemeClr val="tx1"/>
                          </a:solidFill>
                          <a:latin typeface="+mj-lt"/>
                          <a:sym typeface="Wingdings" panose="05000000000000000000" pitchFamily="2" charset="2"/>
                        </a:rPr>
                        <a:t>évaluations régulières </a:t>
                      </a:r>
                      <a:r>
                        <a:rPr lang="fr-FR" sz="1100">
                          <a:solidFill>
                            <a:schemeClr val="tx1"/>
                          </a:solidFill>
                          <a:latin typeface="+mj-lt"/>
                          <a:sym typeface="Wingdings" panose="05000000000000000000" pitchFamily="2" charset="2"/>
                        </a:rPr>
                        <a:t>pour </a:t>
                      </a:r>
                      <a:r>
                        <a:rPr lang="fr-FR" sz="1100" b="1">
                          <a:solidFill>
                            <a:schemeClr val="tx1"/>
                          </a:solidFill>
                          <a:latin typeface="+mj-lt"/>
                          <a:sym typeface="Wingdings" panose="05000000000000000000" pitchFamily="2" charset="2"/>
                        </a:rPr>
                        <a:t>affiner l’accompagnement </a:t>
                      </a:r>
                      <a:r>
                        <a:rPr lang="fr-FR" sz="1100">
                          <a:solidFill>
                            <a:schemeClr val="tx1"/>
                          </a:solidFill>
                          <a:latin typeface="+mj-lt"/>
                          <a:sym typeface="Wingdings" panose="05000000000000000000" pitchFamily="2" charset="2"/>
                        </a:rPr>
                        <a:t>et le coaching des collaborateurs et équipes qui en auraient besoin.</a:t>
                      </a: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00747416"/>
                  </a:ext>
                </a:extLst>
              </a:tr>
              <a:tr h="7325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a:solidFill>
                            <a:schemeClr val="bg1"/>
                          </a:solidFill>
                          <a:latin typeface="+mj-lt"/>
                          <a:sym typeface="Wingdings" panose="05000000000000000000" pitchFamily="2" charset="2"/>
                        </a:rPr>
                        <a:t>Impact sur le quotidien opérationnel de travail, les comportements , voire le sens du travail</a:t>
                      </a:r>
                    </a:p>
                  </a:txBody>
                  <a:tcPr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b="0">
                          <a:solidFill>
                            <a:schemeClr val="tx1"/>
                          </a:solidFill>
                          <a:latin typeface="+mj-lt"/>
                          <a:sym typeface="Wingdings" panose="05000000000000000000" pitchFamily="2" charset="2"/>
                        </a:rPr>
                        <a:t>La mise en place d’un </a:t>
                      </a:r>
                      <a:r>
                        <a:rPr lang="fr-FR" sz="1100" b="1">
                          <a:solidFill>
                            <a:schemeClr val="tx1"/>
                          </a:solidFill>
                          <a:latin typeface="+mj-lt"/>
                          <a:sym typeface="Wingdings" panose="05000000000000000000" pitchFamily="2" charset="2"/>
                        </a:rPr>
                        <a:t>processus d’identification, traitement et résolution des retours terrain.</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100" b="1">
                          <a:solidFill>
                            <a:schemeClr val="tx1"/>
                          </a:solidFill>
                          <a:latin typeface="+mj-lt"/>
                          <a:sym typeface="Wingdings" panose="05000000000000000000" pitchFamily="2" charset="2"/>
                        </a:rPr>
                        <a:t>Accompagner les métiers </a:t>
                      </a:r>
                      <a:r>
                        <a:rPr lang="fr-FR" sz="1100" b="0">
                          <a:solidFill>
                            <a:schemeClr val="tx1"/>
                          </a:solidFill>
                          <a:latin typeface="+mj-lt"/>
                          <a:sym typeface="Wingdings" panose="05000000000000000000" pitchFamily="2" charset="2"/>
                        </a:rPr>
                        <a:t>dans la réalité des difficultés rencontrées au quotidien.</a:t>
                      </a: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33921741"/>
                  </a:ext>
                </a:extLst>
              </a:tr>
            </a:tbl>
          </a:graphicData>
        </a:graphic>
      </p:graphicFrame>
      <p:graphicFrame>
        <p:nvGraphicFramePr>
          <p:cNvPr id="5" name="Tableau 4">
            <a:extLst>
              <a:ext uri="{FF2B5EF4-FFF2-40B4-BE49-F238E27FC236}">
                <a16:creationId xmlns:a16="http://schemas.microsoft.com/office/drawing/2014/main" id="{B9B1D6E0-DD50-8430-A71B-3AFD3F68ECC5}"/>
              </a:ext>
            </a:extLst>
          </p:cNvPr>
          <p:cNvGraphicFramePr>
            <a:graphicFrameLocks noGrp="1"/>
          </p:cNvGraphicFramePr>
          <p:nvPr>
            <p:extLst>
              <p:ext uri="{D42A27DB-BD31-4B8C-83A1-F6EECF244321}">
                <p14:modId xmlns:p14="http://schemas.microsoft.com/office/powerpoint/2010/main" val="4174163946"/>
              </p:ext>
            </p:extLst>
          </p:nvPr>
        </p:nvGraphicFramePr>
        <p:xfrm>
          <a:off x="1183894" y="1635981"/>
          <a:ext cx="9557998" cy="335280"/>
        </p:xfrm>
        <a:graphic>
          <a:graphicData uri="http://schemas.openxmlformats.org/drawingml/2006/table">
            <a:tbl>
              <a:tblPr bandRow="1">
                <a:tableStyleId>{5C22544A-7EE6-4342-B048-85BDC9FD1C3A}</a:tableStyleId>
              </a:tblPr>
              <a:tblGrid>
                <a:gridCol w="3481337">
                  <a:extLst>
                    <a:ext uri="{9D8B030D-6E8A-4147-A177-3AD203B41FA5}">
                      <a16:colId xmlns:a16="http://schemas.microsoft.com/office/drawing/2014/main" val="2158994345"/>
                    </a:ext>
                  </a:extLst>
                </a:gridCol>
                <a:gridCol w="6076661">
                  <a:extLst>
                    <a:ext uri="{9D8B030D-6E8A-4147-A177-3AD203B41FA5}">
                      <a16:colId xmlns:a16="http://schemas.microsoft.com/office/drawing/2014/main" val="2196992585"/>
                    </a:ext>
                  </a:extLst>
                </a:gridCol>
              </a:tblGrid>
              <a:tr h="277376">
                <a:tc>
                  <a:txBody>
                    <a:bodyPr/>
                    <a:lstStyle/>
                    <a:p>
                      <a:pPr algn="l"/>
                      <a:r>
                        <a:rPr lang="fr-FR" sz="1600" b="1">
                          <a:latin typeface="+mj-lt"/>
                        </a:rPr>
                        <a:t>Enjeux &amp; points de vigilance</a:t>
                      </a:r>
                    </a:p>
                  </a:txBody>
                  <a:tcPr>
                    <a:noFill/>
                  </a:tcPr>
                </a:tc>
                <a:tc>
                  <a:txBody>
                    <a:bodyPr/>
                    <a:lstStyle/>
                    <a:p>
                      <a:pPr algn="l"/>
                      <a:r>
                        <a:rPr lang="fr-FR" sz="1600" b="1">
                          <a:latin typeface="+mj-lt"/>
                        </a:rPr>
                        <a:t>      Convictions / facteurs clés de succès</a:t>
                      </a:r>
                    </a:p>
                  </a:txBody>
                  <a:tcPr>
                    <a:noFill/>
                  </a:tcPr>
                </a:tc>
                <a:extLst>
                  <a:ext uri="{0D108BD9-81ED-4DB2-BD59-A6C34878D82A}">
                    <a16:rowId xmlns:a16="http://schemas.microsoft.com/office/drawing/2014/main" val="106914808"/>
                  </a:ext>
                </a:extLst>
              </a:tr>
            </a:tbl>
          </a:graphicData>
        </a:graphic>
      </p:graphicFrame>
      <p:sp>
        <p:nvSpPr>
          <p:cNvPr id="6" name="Triangle isocèle 5">
            <a:extLst>
              <a:ext uri="{FF2B5EF4-FFF2-40B4-BE49-F238E27FC236}">
                <a16:creationId xmlns:a16="http://schemas.microsoft.com/office/drawing/2014/main" id="{5C4F8E70-E6D1-E0EA-856E-1A1F458B1CDD}"/>
              </a:ext>
            </a:extLst>
          </p:cNvPr>
          <p:cNvSpPr/>
          <p:nvPr/>
        </p:nvSpPr>
        <p:spPr>
          <a:xfrm rot="5400000">
            <a:off x="826169" y="2223809"/>
            <a:ext cx="613960" cy="162044"/>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Triangle isocèle 7">
            <a:extLst>
              <a:ext uri="{FF2B5EF4-FFF2-40B4-BE49-F238E27FC236}">
                <a16:creationId xmlns:a16="http://schemas.microsoft.com/office/drawing/2014/main" id="{02DAB6A1-D026-D451-EB2C-75643147F2BC}"/>
              </a:ext>
            </a:extLst>
          </p:cNvPr>
          <p:cNvSpPr/>
          <p:nvPr/>
        </p:nvSpPr>
        <p:spPr>
          <a:xfrm rot="5400000">
            <a:off x="826169" y="2984856"/>
            <a:ext cx="613960" cy="16204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Triangle isocèle 8">
            <a:extLst>
              <a:ext uri="{FF2B5EF4-FFF2-40B4-BE49-F238E27FC236}">
                <a16:creationId xmlns:a16="http://schemas.microsoft.com/office/drawing/2014/main" id="{ED65A0BA-C8F8-1E43-E4C3-0F1CAB6297C4}"/>
              </a:ext>
            </a:extLst>
          </p:cNvPr>
          <p:cNvSpPr/>
          <p:nvPr/>
        </p:nvSpPr>
        <p:spPr>
          <a:xfrm rot="5400000">
            <a:off x="826169" y="3727797"/>
            <a:ext cx="613960" cy="162044"/>
          </a:xfrm>
          <a:prstGeom prst="triangle">
            <a:avLst/>
          </a:prstGeom>
          <a:solidFill>
            <a:srgbClr val="257A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Triangle isocèle 9">
            <a:extLst>
              <a:ext uri="{FF2B5EF4-FFF2-40B4-BE49-F238E27FC236}">
                <a16:creationId xmlns:a16="http://schemas.microsoft.com/office/drawing/2014/main" id="{C85AAFC8-045B-02F1-5FA7-0B2F8C3EB371}"/>
              </a:ext>
            </a:extLst>
          </p:cNvPr>
          <p:cNvSpPr/>
          <p:nvPr/>
        </p:nvSpPr>
        <p:spPr>
          <a:xfrm rot="5400000">
            <a:off x="826169" y="4488844"/>
            <a:ext cx="613960" cy="16204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Triangle isocèle 10">
            <a:extLst>
              <a:ext uri="{FF2B5EF4-FFF2-40B4-BE49-F238E27FC236}">
                <a16:creationId xmlns:a16="http://schemas.microsoft.com/office/drawing/2014/main" id="{AF7C7458-5737-11A4-8D8E-9B9FA411B313}"/>
              </a:ext>
            </a:extLst>
          </p:cNvPr>
          <p:cNvSpPr/>
          <p:nvPr/>
        </p:nvSpPr>
        <p:spPr>
          <a:xfrm rot="5400000">
            <a:off x="826169" y="5249891"/>
            <a:ext cx="613960" cy="162044"/>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Triangle isocèle 11">
            <a:extLst>
              <a:ext uri="{FF2B5EF4-FFF2-40B4-BE49-F238E27FC236}">
                <a16:creationId xmlns:a16="http://schemas.microsoft.com/office/drawing/2014/main" id="{6BA7DB66-CBE9-5AD8-2838-C095C4BB2EB3}"/>
              </a:ext>
            </a:extLst>
          </p:cNvPr>
          <p:cNvSpPr/>
          <p:nvPr/>
        </p:nvSpPr>
        <p:spPr>
          <a:xfrm rot="5400000">
            <a:off x="826169" y="6010938"/>
            <a:ext cx="613960" cy="16204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15DD90F7-F451-510E-DC3C-3935270A7118}"/>
              </a:ext>
            </a:extLst>
          </p:cNvPr>
          <p:cNvSpPr/>
          <p:nvPr/>
        </p:nvSpPr>
        <p:spPr>
          <a:xfrm>
            <a:off x="540001" y="889246"/>
            <a:ext cx="11128063" cy="8325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fr-FR" sz="1400">
                <a:solidFill>
                  <a:schemeClr val="bg2"/>
                </a:solidFill>
              </a:rPr>
              <a:t>Forts du constat que le climat social est particulièrement sensible et pourrait mettre en risque la formation des équipes concernées,</a:t>
            </a:r>
          </a:p>
          <a:p>
            <a:r>
              <a:rPr lang="fr-FR">
                <a:solidFill>
                  <a:schemeClr val="bg2"/>
                </a:solidFill>
              </a:rPr>
              <a:t>n</a:t>
            </a:r>
            <a:r>
              <a:rPr lang="fr-FR" sz="1400">
                <a:solidFill>
                  <a:schemeClr val="bg2"/>
                </a:solidFill>
              </a:rPr>
              <a:t>ous sommes </a:t>
            </a:r>
            <a:r>
              <a:rPr lang="fr-FR">
                <a:solidFill>
                  <a:schemeClr val="bg2"/>
                </a:solidFill>
              </a:rPr>
              <a:t>co</a:t>
            </a:r>
            <a:r>
              <a:rPr lang="fr-FR" sz="1400">
                <a:solidFill>
                  <a:schemeClr val="bg2"/>
                </a:solidFill>
              </a:rPr>
              <a:t>nvaincus qu’il est important de mettre en place les conditions préalables pour mener les formations sereinement.</a:t>
            </a:r>
          </a:p>
          <a:p>
            <a:r>
              <a:rPr lang="fr-FR">
                <a:solidFill>
                  <a:schemeClr val="bg2"/>
                </a:solidFill>
              </a:rPr>
              <a:t>C’est pourquoi nous souhaitons vous présenter nos convictions fondamentales pour ce projet </a:t>
            </a:r>
            <a:endParaRPr lang="fr-FR" sz="1400">
              <a:solidFill>
                <a:schemeClr val="bg2"/>
              </a:solidFill>
            </a:endParaRPr>
          </a:p>
        </p:txBody>
      </p:sp>
      <p:sp>
        <p:nvSpPr>
          <p:cNvPr id="19" name="ZoneTexte 18">
            <a:extLst>
              <a:ext uri="{FF2B5EF4-FFF2-40B4-BE49-F238E27FC236}">
                <a16:creationId xmlns:a16="http://schemas.microsoft.com/office/drawing/2014/main" id="{E64885A3-B9BD-DAFB-5011-117DD36AF717}"/>
              </a:ext>
            </a:extLst>
          </p:cNvPr>
          <p:cNvSpPr txBox="1"/>
          <p:nvPr/>
        </p:nvSpPr>
        <p:spPr>
          <a:xfrm>
            <a:off x="1183894" y="6304237"/>
            <a:ext cx="6867144" cy="261610"/>
          </a:xfrm>
          <a:prstGeom prst="rect">
            <a:avLst/>
          </a:prstGeom>
          <a:noFill/>
        </p:spPr>
        <p:txBody>
          <a:bodyPr wrap="square">
            <a:spAutoFit/>
          </a:bodyPr>
          <a:lstStyle/>
          <a:p>
            <a:r>
              <a:rPr lang="fr-FR" sz="1100" b="0" i="0">
                <a:solidFill>
                  <a:srgbClr val="202124"/>
                </a:solidFill>
                <a:effectLst/>
                <a:latin typeface="arial" panose="020B0604020202020204" pitchFamily="34" charset="0"/>
              </a:rPr>
              <a:t>*</a:t>
            </a:r>
            <a:r>
              <a:rPr lang="fr-FR" sz="1050" b="0" i="1">
                <a:solidFill>
                  <a:schemeClr val="tx1">
                    <a:lumMod val="50000"/>
                    <a:lumOff val="50000"/>
                  </a:schemeClr>
                </a:solidFill>
                <a:effectLst/>
                <a:latin typeface="arial" panose="020B0604020202020204" pitchFamily="34" charset="0"/>
              </a:rPr>
              <a:t>VUCA est l’acronyme de : volatilité, l'incertitude, la complexité, et l'ambigüité.</a:t>
            </a:r>
            <a:endParaRPr lang="fr-FR" sz="1100" i="1">
              <a:solidFill>
                <a:schemeClr val="tx1">
                  <a:lumMod val="50000"/>
                  <a:lumOff val="50000"/>
                </a:schemeClr>
              </a:solidFill>
            </a:endParaRPr>
          </a:p>
        </p:txBody>
      </p:sp>
    </p:spTree>
    <p:extLst>
      <p:ext uri="{BB962C8B-B14F-4D97-AF65-F5344CB8AC3E}">
        <p14:creationId xmlns:p14="http://schemas.microsoft.com/office/powerpoint/2010/main" val="1946307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e 22">
            <a:extLst>
              <a:ext uri="{FF2B5EF4-FFF2-40B4-BE49-F238E27FC236}">
                <a16:creationId xmlns:a16="http://schemas.microsoft.com/office/drawing/2014/main" id="{67B8A81D-EAC9-7D71-55F0-5E3F5BECC553}"/>
              </a:ext>
            </a:extLst>
          </p:cNvPr>
          <p:cNvGrpSpPr/>
          <p:nvPr/>
        </p:nvGrpSpPr>
        <p:grpSpPr>
          <a:xfrm>
            <a:off x="5309774" y="3034795"/>
            <a:ext cx="1572451" cy="1572451"/>
            <a:chOff x="1209952" y="4447688"/>
            <a:chExt cx="1572451" cy="1572451"/>
          </a:xfrm>
        </p:grpSpPr>
        <p:sp>
          <p:nvSpPr>
            <p:cNvPr id="20" name="Ellipse 19">
              <a:extLst>
                <a:ext uri="{FF2B5EF4-FFF2-40B4-BE49-F238E27FC236}">
                  <a16:creationId xmlns:a16="http://schemas.microsoft.com/office/drawing/2014/main" id="{A3BD2133-D169-7BCD-CFDE-BAF1B0D9EB5B}"/>
                </a:ext>
              </a:extLst>
            </p:cNvPr>
            <p:cNvSpPr/>
            <p:nvPr/>
          </p:nvSpPr>
          <p:spPr>
            <a:xfrm>
              <a:off x="1209952" y="4447688"/>
              <a:ext cx="1572451" cy="157245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2" name="Graphique 21" descr="Engrenages avec un remplissage uni">
              <a:extLst>
                <a:ext uri="{FF2B5EF4-FFF2-40B4-BE49-F238E27FC236}">
                  <a16:creationId xmlns:a16="http://schemas.microsoft.com/office/drawing/2014/main" id="{13126475-6F29-9F5C-F4EC-60D7AB57AE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05697" y="4609410"/>
              <a:ext cx="1249008" cy="1249008"/>
            </a:xfrm>
            <a:prstGeom prst="rect">
              <a:avLst/>
            </a:prstGeom>
          </p:spPr>
        </p:pic>
      </p:grpSp>
      <p:sp>
        <p:nvSpPr>
          <p:cNvPr id="2" name="Titre 1">
            <a:extLst>
              <a:ext uri="{FF2B5EF4-FFF2-40B4-BE49-F238E27FC236}">
                <a16:creationId xmlns:a16="http://schemas.microsoft.com/office/drawing/2014/main" id="{A0C68FB2-2545-2E0E-EFF1-B5151E3523F0}"/>
              </a:ext>
            </a:extLst>
          </p:cNvPr>
          <p:cNvSpPr>
            <a:spLocks noGrp="1"/>
          </p:cNvSpPr>
          <p:nvPr>
            <p:ph type="title"/>
          </p:nvPr>
        </p:nvSpPr>
        <p:spPr/>
        <p:txBody>
          <a:bodyPr/>
          <a:lstStyle/>
          <a:p>
            <a:r>
              <a:rPr lang="fr-FR" sz="1600">
                <a:solidFill>
                  <a:schemeClr val="accent3"/>
                </a:solidFill>
              </a:rPr>
              <a:t>0</a:t>
            </a:r>
            <a:r>
              <a:rPr lang="fr-FR" sz="1600"/>
              <a:t>. PRÉREQUIS</a:t>
            </a:r>
            <a:br>
              <a:rPr lang="fr-FR" sz="1600" b="0"/>
            </a:br>
            <a:r>
              <a:rPr lang="fr-FR" sz="1600" b="0">
                <a:solidFill>
                  <a:schemeClr val="bg2">
                    <a:lumMod val="60000"/>
                    <a:lumOff val="40000"/>
                  </a:schemeClr>
                </a:solidFill>
                <a:latin typeface="+mn-lt"/>
                <a:cs typeface="Arial" panose="020B0604020202020204" pitchFamily="34" charset="0"/>
                <a:sym typeface="Arial"/>
              </a:rPr>
              <a:t>Adresser les freins actuels à la dynamique de formation</a:t>
            </a:r>
          </a:p>
        </p:txBody>
      </p:sp>
      <p:sp>
        <p:nvSpPr>
          <p:cNvPr id="4" name="Espace réservé du texte 2">
            <a:extLst>
              <a:ext uri="{FF2B5EF4-FFF2-40B4-BE49-F238E27FC236}">
                <a16:creationId xmlns:a16="http://schemas.microsoft.com/office/drawing/2014/main" id="{38B92C94-8232-0543-CC5C-6FDF5DC44BCB}"/>
              </a:ext>
            </a:extLst>
          </p:cNvPr>
          <p:cNvSpPr txBox="1">
            <a:spLocks/>
          </p:cNvSpPr>
          <p:nvPr/>
        </p:nvSpPr>
        <p:spPr>
          <a:xfrm>
            <a:off x="1086354" y="4574988"/>
            <a:ext cx="3312000" cy="540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9525" marR="0" lvl="0" indent="0" algn="l" rtl="0" eaLnBrk="1" hangingPunct="1">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eaLnBrk="1" hangingPunct="1">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algn="r"/>
            <a:r>
              <a:rPr lang="fr-FR" sz="1400"/>
              <a:t>Quelle décision commune pour l’élaboration des spécifications ? </a:t>
            </a:r>
            <a:endParaRPr lang="fr-FR" sz="1400" b="1"/>
          </a:p>
        </p:txBody>
      </p:sp>
      <p:sp>
        <p:nvSpPr>
          <p:cNvPr id="5" name="Espace réservé du texte 2">
            <a:extLst>
              <a:ext uri="{FF2B5EF4-FFF2-40B4-BE49-F238E27FC236}">
                <a16:creationId xmlns:a16="http://schemas.microsoft.com/office/drawing/2014/main" id="{194B4EF6-7ED4-5379-76B4-6747F3295D02}"/>
              </a:ext>
            </a:extLst>
          </p:cNvPr>
          <p:cNvSpPr txBox="1">
            <a:spLocks/>
          </p:cNvSpPr>
          <p:nvPr/>
        </p:nvSpPr>
        <p:spPr>
          <a:xfrm>
            <a:off x="7744520" y="4372775"/>
            <a:ext cx="3361126" cy="12240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9525" marR="0" lvl="0" indent="0" algn="l" rtl="0" eaLnBrk="1" hangingPunct="1">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eaLnBrk="1" hangingPunct="1">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sz="1400"/>
              <a:t>Tous les sujets non adressés par l’outil : </a:t>
            </a:r>
          </a:p>
          <a:p>
            <a:r>
              <a:rPr lang="fr-FR" sz="1200"/>
              <a:t>les process, animer des ateliers pour former sur un sujet auquel </a:t>
            </a:r>
            <a:r>
              <a:rPr lang="fr-FR" sz="1200" err="1"/>
              <a:t>Hastus</a:t>
            </a:r>
            <a:r>
              <a:rPr lang="fr-FR" sz="1200"/>
              <a:t> ne répond pas, accompagnement pour sécuriser la formation…</a:t>
            </a:r>
          </a:p>
          <a:p>
            <a:pPr marL="180975" indent="-171450">
              <a:buFontTx/>
              <a:buChar char="-"/>
            </a:pPr>
            <a:endParaRPr lang="fr-FR" sz="1400"/>
          </a:p>
          <a:p>
            <a:pPr marL="180975" indent="-171450">
              <a:buFontTx/>
              <a:buChar char="-"/>
            </a:pPr>
            <a:endParaRPr lang="fr-FR" sz="1400"/>
          </a:p>
          <a:p>
            <a:endParaRPr lang="fr-FR" sz="1400"/>
          </a:p>
          <a:p>
            <a:endParaRPr lang="fr-FR" sz="1400"/>
          </a:p>
          <a:p>
            <a:pPr marL="180975" indent="-171450">
              <a:buFontTx/>
              <a:buChar char="-"/>
            </a:pPr>
            <a:endParaRPr lang="fr-FR" sz="1400"/>
          </a:p>
          <a:p>
            <a:endParaRPr lang="fr-FR" sz="1400"/>
          </a:p>
          <a:p>
            <a:endParaRPr lang="fr-FR" sz="1400"/>
          </a:p>
          <a:p>
            <a:endParaRPr lang="fr-FR" sz="1400"/>
          </a:p>
        </p:txBody>
      </p:sp>
      <p:sp>
        <p:nvSpPr>
          <p:cNvPr id="6" name="Titre 1">
            <a:extLst>
              <a:ext uri="{FF2B5EF4-FFF2-40B4-BE49-F238E27FC236}">
                <a16:creationId xmlns:a16="http://schemas.microsoft.com/office/drawing/2014/main" id="{4BC84521-8B17-95A5-CF5B-55FBE76B3908}"/>
              </a:ext>
            </a:extLst>
          </p:cNvPr>
          <p:cNvSpPr txBox="1">
            <a:spLocks/>
          </p:cNvSpPr>
          <p:nvPr/>
        </p:nvSpPr>
        <p:spPr>
          <a:xfrm>
            <a:off x="5265088" y="3522555"/>
            <a:ext cx="1661823" cy="40779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rgbClr val="20408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pPr algn="ctr"/>
            <a:r>
              <a:rPr lang="fr-FR">
                <a:solidFill>
                  <a:schemeClr val="bg2"/>
                </a:solidFill>
              </a:rPr>
              <a:t>HASTUS</a:t>
            </a:r>
          </a:p>
        </p:txBody>
      </p:sp>
      <p:sp>
        <p:nvSpPr>
          <p:cNvPr id="8" name="Rectangle 7">
            <a:extLst>
              <a:ext uri="{FF2B5EF4-FFF2-40B4-BE49-F238E27FC236}">
                <a16:creationId xmlns:a16="http://schemas.microsoft.com/office/drawing/2014/main" id="{E6002D31-DCEF-C486-5A17-E697ACC1B0B3}"/>
              </a:ext>
            </a:extLst>
          </p:cNvPr>
          <p:cNvSpPr/>
          <p:nvPr/>
        </p:nvSpPr>
        <p:spPr>
          <a:xfrm>
            <a:off x="479425" y="1153219"/>
            <a:ext cx="11233151" cy="9969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fr-FR" sz="1400">
                <a:solidFill>
                  <a:schemeClr val="tx1"/>
                </a:solidFill>
              </a:rPr>
              <a:t>L’outil </a:t>
            </a:r>
            <a:r>
              <a:rPr lang="fr-FR" sz="1400" err="1">
                <a:solidFill>
                  <a:schemeClr val="tx1"/>
                </a:solidFill>
              </a:rPr>
              <a:t>Hastus</a:t>
            </a:r>
            <a:r>
              <a:rPr lang="fr-FR" sz="1400">
                <a:solidFill>
                  <a:schemeClr val="tx1"/>
                </a:solidFill>
              </a:rPr>
              <a:t> semble faire émerger un grand nombre de questions. Il semble essentiel </a:t>
            </a:r>
            <a:r>
              <a:rPr lang="fr-FR" sz="1400" b="1">
                <a:solidFill>
                  <a:schemeClr val="tx1"/>
                </a:solidFill>
              </a:rPr>
              <a:t>d’adresser celles-ci </a:t>
            </a:r>
            <a:r>
              <a:rPr lang="fr-FR" sz="1400" b="1" u="sng">
                <a:solidFill>
                  <a:schemeClr val="tx1"/>
                </a:solidFill>
              </a:rPr>
              <a:t>avant</a:t>
            </a:r>
            <a:r>
              <a:rPr lang="fr-FR" sz="1400" b="1">
                <a:solidFill>
                  <a:schemeClr val="tx1"/>
                </a:solidFill>
              </a:rPr>
              <a:t> les formations </a:t>
            </a:r>
            <a:r>
              <a:rPr lang="fr-FR" sz="1400">
                <a:solidFill>
                  <a:schemeClr val="tx1"/>
                </a:solidFill>
              </a:rPr>
              <a:t>pour : </a:t>
            </a:r>
          </a:p>
          <a:p>
            <a:pPr marL="358775" indent="-173038">
              <a:buFont typeface="Arial" panose="020B0604020202020204" pitchFamily="34" charset="0"/>
              <a:buChar char="•"/>
            </a:pPr>
            <a:r>
              <a:rPr lang="fr-FR" sz="1400" b="1">
                <a:solidFill>
                  <a:schemeClr val="tx1"/>
                </a:solidFill>
              </a:rPr>
              <a:t>générer de la confiance</a:t>
            </a:r>
            <a:r>
              <a:rPr lang="fr-FR" sz="1400">
                <a:solidFill>
                  <a:schemeClr val="tx1"/>
                </a:solidFill>
              </a:rPr>
              <a:t> à travers l’écoute ;</a:t>
            </a:r>
            <a:endParaRPr lang="fr-FR">
              <a:solidFill>
                <a:schemeClr val="tx1"/>
              </a:solidFill>
            </a:endParaRPr>
          </a:p>
          <a:p>
            <a:pPr marL="358775" indent="-173038">
              <a:buFont typeface="Arial" panose="020B0604020202020204" pitchFamily="34" charset="0"/>
              <a:buChar char="•"/>
            </a:pPr>
            <a:r>
              <a:rPr lang="fr-FR" sz="1400" b="1">
                <a:solidFill>
                  <a:schemeClr val="tx1"/>
                </a:solidFill>
              </a:rPr>
              <a:t>comprendre les besoins</a:t>
            </a:r>
            <a:r>
              <a:rPr lang="fr-FR" sz="1400">
                <a:solidFill>
                  <a:schemeClr val="tx1"/>
                </a:solidFill>
              </a:rPr>
              <a:t> métier et s’assurer que l’outil y réponde ;</a:t>
            </a:r>
            <a:endParaRPr lang="fr-FR">
              <a:solidFill>
                <a:schemeClr val="tx1"/>
              </a:solidFill>
            </a:endParaRPr>
          </a:p>
          <a:p>
            <a:pPr marL="358775" indent="-173038">
              <a:buFont typeface="Arial" panose="020B0604020202020204" pitchFamily="34" charset="0"/>
              <a:buChar char="•"/>
            </a:pPr>
            <a:r>
              <a:rPr lang="fr-FR" sz="1400" b="1">
                <a:solidFill>
                  <a:schemeClr val="tx1"/>
                </a:solidFill>
              </a:rPr>
              <a:t>Renforcer le collectif </a:t>
            </a:r>
            <a:r>
              <a:rPr lang="fr-FR" sz="1400">
                <a:solidFill>
                  <a:schemeClr val="tx1"/>
                </a:solidFill>
              </a:rPr>
              <a:t>en permettant aux parties prenantes d’exprimer </a:t>
            </a:r>
            <a:r>
              <a:rPr lang="fr-FR" sz="1400" b="1">
                <a:solidFill>
                  <a:schemeClr val="tx1"/>
                </a:solidFill>
              </a:rPr>
              <a:t>ce que l’outil vient interroger </a:t>
            </a:r>
            <a:r>
              <a:rPr lang="fr-FR" sz="1400">
                <a:solidFill>
                  <a:schemeClr val="tx1"/>
                </a:solidFill>
              </a:rPr>
              <a:t>dans leurs pratiques au quotidien</a:t>
            </a:r>
          </a:p>
        </p:txBody>
      </p:sp>
      <p:sp>
        <p:nvSpPr>
          <p:cNvPr id="10" name="ZoneTexte 9">
            <a:extLst>
              <a:ext uri="{FF2B5EF4-FFF2-40B4-BE49-F238E27FC236}">
                <a16:creationId xmlns:a16="http://schemas.microsoft.com/office/drawing/2014/main" id="{204A081B-E254-A745-D88B-E094D0D2AAF0}"/>
              </a:ext>
            </a:extLst>
          </p:cNvPr>
          <p:cNvSpPr txBox="1"/>
          <p:nvPr/>
        </p:nvSpPr>
        <p:spPr>
          <a:xfrm>
            <a:off x="479425" y="3211113"/>
            <a:ext cx="3448813" cy="954107"/>
          </a:xfrm>
          <a:prstGeom prst="rect">
            <a:avLst/>
          </a:prstGeom>
          <a:noFill/>
        </p:spPr>
        <p:txBody>
          <a:bodyPr wrap="square" anchor="ctr">
            <a:spAutoFit/>
          </a:bodyPr>
          <a:lstStyle/>
          <a:p>
            <a:pPr marL="9525" algn="r"/>
            <a:r>
              <a:rPr lang="fr-FR"/>
              <a:t>Comment permettre à l'outil de s'adapter à nos besoins tout en prenant en compte les contraintes de ce dernier lors de ces prochaines évolutions </a:t>
            </a:r>
            <a:r>
              <a:rPr lang="fr-FR" sz="1400"/>
              <a:t>?</a:t>
            </a:r>
          </a:p>
        </p:txBody>
      </p:sp>
      <p:sp>
        <p:nvSpPr>
          <p:cNvPr id="12" name="ZoneTexte 11">
            <a:extLst>
              <a:ext uri="{FF2B5EF4-FFF2-40B4-BE49-F238E27FC236}">
                <a16:creationId xmlns:a16="http://schemas.microsoft.com/office/drawing/2014/main" id="{7F48751E-D980-442B-865F-DF74B153E726}"/>
              </a:ext>
            </a:extLst>
          </p:cNvPr>
          <p:cNvSpPr txBox="1"/>
          <p:nvPr/>
        </p:nvSpPr>
        <p:spPr>
          <a:xfrm>
            <a:off x="4440000" y="5841750"/>
            <a:ext cx="3312000" cy="540000"/>
          </a:xfrm>
          <a:prstGeom prst="rect">
            <a:avLst/>
          </a:prstGeom>
          <a:noFill/>
        </p:spPr>
        <p:txBody>
          <a:bodyPr wrap="square" anchor="ctr">
            <a:spAutoFit/>
          </a:bodyPr>
          <a:lstStyle/>
          <a:p>
            <a:pPr marL="9525" algn="ctr"/>
            <a:r>
              <a:rPr lang="fr-FR" sz="1400"/>
              <a:t>Quel accompagnement au quotidien pour moi dans mon travail ?</a:t>
            </a:r>
          </a:p>
        </p:txBody>
      </p:sp>
      <p:sp>
        <p:nvSpPr>
          <p:cNvPr id="14" name="ZoneTexte 13">
            <a:extLst>
              <a:ext uri="{FF2B5EF4-FFF2-40B4-BE49-F238E27FC236}">
                <a16:creationId xmlns:a16="http://schemas.microsoft.com/office/drawing/2014/main" id="{A62B1F1D-CA61-1E9E-9B88-DBCF1B2A552C}"/>
              </a:ext>
            </a:extLst>
          </p:cNvPr>
          <p:cNvSpPr txBox="1"/>
          <p:nvPr/>
        </p:nvSpPr>
        <p:spPr>
          <a:xfrm>
            <a:off x="8235341" y="3464842"/>
            <a:ext cx="3312000" cy="523220"/>
          </a:xfrm>
          <a:prstGeom prst="rect">
            <a:avLst/>
          </a:prstGeom>
          <a:noFill/>
        </p:spPr>
        <p:txBody>
          <a:bodyPr wrap="square" anchor="ctr">
            <a:spAutoFit/>
          </a:bodyPr>
          <a:lstStyle/>
          <a:p>
            <a:pPr marL="9525"/>
            <a:r>
              <a:rPr lang="fr-FR" sz="1400"/>
              <a:t>Par quelles échéances suis-je concerné ?</a:t>
            </a:r>
          </a:p>
        </p:txBody>
      </p:sp>
      <p:sp>
        <p:nvSpPr>
          <p:cNvPr id="15" name="Ellipse 14">
            <a:extLst>
              <a:ext uri="{FF2B5EF4-FFF2-40B4-BE49-F238E27FC236}">
                <a16:creationId xmlns:a16="http://schemas.microsoft.com/office/drawing/2014/main" id="{D7356453-338D-DC2C-10A1-5042C7EA523A}"/>
              </a:ext>
            </a:extLst>
          </p:cNvPr>
          <p:cNvSpPr/>
          <p:nvPr/>
        </p:nvSpPr>
        <p:spPr>
          <a:xfrm>
            <a:off x="4017476" y="3324014"/>
            <a:ext cx="832319" cy="832319"/>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Ellipse 15">
            <a:extLst>
              <a:ext uri="{FF2B5EF4-FFF2-40B4-BE49-F238E27FC236}">
                <a16:creationId xmlns:a16="http://schemas.microsoft.com/office/drawing/2014/main" id="{E366361B-AA03-1D80-6765-8BB94466C45D}"/>
              </a:ext>
            </a:extLst>
          </p:cNvPr>
          <p:cNvSpPr/>
          <p:nvPr/>
        </p:nvSpPr>
        <p:spPr>
          <a:xfrm>
            <a:off x="4524727" y="4372775"/>
            <a:ext cx="832319" cy="832319"/>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Ellipse 16">
            <a:extLst>
              <a:ext uri="{FF2B5EF4-FFF2-40B4-BE49-F238E27FC236}">
                <a16:creationId xmlns:a16="http://schemas.microsoft.com/office/drawing/2014/main" id="{5F65B283-103C-9974-AFE5-792C3C879268}"/>
              </a:ext>
            </a:extLst>
          </p:cNvPr>
          <p:cNvSpPr/>
          <p:nvPr/>
        </p:nvSpPr>
        <p:spPr>
          <a:xfrm>
            <a:off x="5694918" y="4963563"/>
            <a:ext cx="832319" cy="832319"/>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llipse 17">
            <a:extLst>
              <a:ext uri="{FF2B5EF4-FFF2-40B4-BE49-F238E27FC236}">
                <a16:creationId xmlns:a16="http://schemas.microsoft.com/office/drawing/2014/main" id="{C1A4AAAE-095A-28A0-B43A-9A84DA83E794}"/>
              </a:ext>
            </a:extLst>
          </p:cNvPr>
          <p:cNvSpPr/>
          <p:nvPr/>
        </p:nvSpPr>
        <p:spPr>
          <a:xfrm>
            <a:off x="6849321" y="4358531"/>
            <a:ext cx="832319" cy="832319"/>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Ellipse 18">
            <a:extLst>
              <a:ext uri="{FF2B5EF4-FFF2-40B4-BE49-F238E27FC236}">
                <a16:creationId xmlns:a16="http://schemas.microsoft.com/office/drawing/2014/main" id="{8D0580A3-EE4D-A790-A9E0-95E76732D88D}"/>
              </a:ext>
            </a:extLst>
          </p:cNvPr>
          <p:cNvSpPr/>
          <p:nvPr/>
        </p:nvSpPr>
        <p:spPr>
          <a:xfrm>
            <a:off x="7358345" y="3319095"/>
            <a:ext cx="832319" cy="832319"/>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5" name="Graphique 24" descr="Aide avec un remplissage uni">
            <a:extLst>
              <a:ext uri="{FF2B5EF4-FFF2-40B4-BE49-F238E27FC236}">
                <a16:creationId xmlns:a16="http://schemas.microsoft.com/office/drawing/2014/main" id="{CA7C1763-1B79-A195-96D0-44B866C152F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67402" y="4490856"/>
            <a:ext cx="596156" cy="596156"/>
          </a:xfrm>
          <a:prstGeom prst="rect">
            <a:avLst/>
          </a:prstGeom>
        </p:spPr>
      </p:pic>
      <p:pic>
        <p:nvPicPr>
          <p:cNvPr id="27" name="Graphique 26" descr="Sablier 90% avec un remplissage uni">
            <a:extLst>
              <a:ext uri="{FF2B5EF4-FFF2-40B4-BE49-F238E27FC236}">
                <a16:creationId xmlns:a16="http://schemas.microsoft.com/office/drawing/2014/main" id="{FB51EB8D-AB07-FBBB-86A8-D0BC5E6E8D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76426" y="3459684"/>
            <a:ext cx="596156" cy="596156"/>
          </a:xfrm>
          <a:prstGeom prst="rect">
            <a:avLst/>
          </a:prstGeom>
        </p:spPr>
      </p:pic>
      <p:pic>
        <p:nvPicPr>
          <p:cNvPr id="29" name="Graphique 28" descr="Main ouverte avec une plante avec un remplissage uni">
            <a:extLst>
              <a:ext uri="{FF2B5EF4-FFF2-40B4-BE49-F238E27FC236}">
                <a16:creationId xmlns:a16="http://schemas.microsoft.com/office/drawing/2014/main" id="{904D07E2-F678-4259-8BF0-6413AF480DB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94045" y="5066888"/>
            <a:ext cx="596156" cy="596156"/>
          </a:xfrm>
          <a:prstGeom prst="rect">
            <a:avLst/>
          </a:prstGeom>
        </p:spPr>
      </p:pic>
      <p:pic>
        <p:nvPicPr>
          <p:cNvPr id="31" name="Graphique 30" descr="Loupe avec un remplissage uni">
            <a:extLst>
              <a:ext uri="{FF2B5EF4-FFF2-40B4-BE49-F238E27FC236}">
                <a16:creationId xmlns:a16="http://schemas.microsoft.com/office/drawing/2014/main" id="{02537B4B-5A9B-FBFB-5688-B809B319565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79622" y="4490856"/>
            <a:ext cx="596156" cy="596156"/>
          </a:xfrm>
          <a:prstGeom prst="rect">
            <a:avLst/>
          </a:prstGeom>
        </p:spPr>
      </p:pic>
      <p:pic>
        <p:nvPicPr>
          <p:cNvPr id="33" name="Graphique 32" descr="Faire un zoom avant avec un remplissage uni">
            <a:extLst>
              <a:ext uri="{FF2B5EF4-FFF2-40B4-BE49-F238E27FC236}">
                <a16:creationId xmlns:a16="http://schemas.microsoft.com/office/drawing/2014/main" id="{088C7894-08BE-0226-FDD9-6CE3E70591B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074121" y="3459684"/>
            <a:ext cx="596156" cy="596156"/>
          </a:xfrm>
          <a:prstGeom prst="rect">
            <a:avLst/>
          </a:prstGeom>
        </p:spPr>
      </p:pic>
      <p:pic>
        <p:nvPicPr>
          <p:cNvPr id="35" name="Graphique 34" descr="Point d’insertion vert le haut avec un remplissage uni">
            <a:extLst>
              <a:ext uri="{FF2B5EF4-FFF2-40B4-BE49-F238E27FC236}">
                <a16:creationId xmlns:a16="http://schemas.microsoft.com/office/drawing/2014/main" id="{6709759F-CB4A-DC57-71C7-9135A3758CD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flipV="1">
            <a:off x="5907179" y="4555768"/>
            <a:ext cx="407795" cy="407795"/>
          </a:xfrm>
          <a:prstGeom prst="rect">
            <a:avLst/>
          </a:prstGeom>
        </p:spPr>
      </p:pic>
      <p:pic>
        <p:nvPicPr>
          <p:cNvPr id="36" name="Graphique 35" descr="Point d’insertion vert le haut avec un remplissage uni">
            <a:extLst>
              <a:ext uri="{FF2B5EF4-FFF2-40B4-BE49-F238E27FC236}">
                <a16:creationId xmlns:a16="http://schemas.microsoft.com/office/drawing/2014/main" id="{C5724DC1-05B5-4625-CF1A-D1CFEC80822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rot="16200000" flipV="1">
            <a:off x="6882225" y="3531356"/>
            <a:ext cx="407795" cy="407795"/>
          </a:xfrm>
          <a:prstGeom prst="rect">
            <a:avLst/>
          </a:prstGeom>
        </p:spPr>
      </p:pic>
      <p:pic>
        <p:nvPicPr>
          <p:cNvPr id="37" name="Graphique 36" descr="Point d’insertion vert le haut avec un remplissage uni">
            <a:extLst>
              <a:ext uri="{FF2B5EF4-FFF2-40B4-BE49-F238E27FC236}">
                <a16:creationId xmlns:a16="http://schemas.microsoft.com/office/drawing/2014/main" id="{121533FC-BD6B-ADEA-34B6-90981460D25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rot="16200000" flipH="1">
            <a:off x="4869457" y="3521482"/>
            <a:ext cx="407795" cy="407795"/>
          </a:xfrm>
          <a:prstGeom prst="rect">
            <a:avLst/>
          </a:prstGeom>
        </p:spPr>
      </p:pic>
      <p:sp>
        <p:nvSpPr>
          <p:cNvPr id="38" name="ZoneTexte 37">
            <a:extLst>
              <a:ext uri="{FF2B5EF4-FFF2-40B4-BE49-F238E27FC236}">
                <a16:creationId xmlns:a16="http://schemas.microsoft.com/office/drawing/2014/main" id="{BDA7C944-7D30-F678-06FB-5E9C6F652C65}"/>
              </a:ext>
            </a:extLst>
          </p:cNvPr>
          <p:cNvSpPr txBox="1"/>
          <p:nvPr/>
        </p:nvSpPr>
        <p:spPr>
          <a:xfrm>
            <a:off x="3790396" y="2506518"/>
            <a:ext cx="4603454" cy="307777"/>
          </a:xfrm>
          <a:prstGeom prst="rect">
            <a:avLst/>
          </a:prstGeom>
          <a:noFill/>
        </p:spPr>
        <p:txBody>
          <a:bodyPr wrap="square" anchor="ctr">
            <a:spAutoFit/>
          </a:bodyPr>
          <a:lstStyle/>
          <a:p>
            <a:pPr marL="9525" algn="ctr"/>
            <a:r>
              <a:rPr lang="fr-FR" sz="1400" b="1">
                <a:solidFill>
                  <a:schemeClr val="bg1">
                    <a:lumMod val="65000"/>
                  </a:schemeClr>
                </a:solidFill>
              </a:rPr>
              <a:t>Des exemples de sujets à adresser en amont :</a:t>
            </a:r>
          </a:p>
        </p:txBody>
      </p:sp>
    </p:spTree>
    <p:extLst>
      <p:ext uri="{BB962C8B-B14F-4D97-AF65-F5344CB8AC3E}">
        <p14:creationId xmlns:p14="http://schemas.microsoft.com/office/powerpoint/2010/main" val="2907742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11BF5BD-75C4-4E77-9598-7225EFF82CC5}"/>
              </a:ext>
            </a:extLst>
          </p:cNvPr>
          <p:cNvSpPr>
            <a:spLocks noGrp="1"/>
          </p:cNvSpPr>
          <p:nvPr>
            <p:ph type="title"/>
          </p:nvPr>
        </p:nvSpPr>
        <p:spPr>
          <a:xfrm>
            <a:off x="396655" y="292153"/>
            <a:ext cx="7091480" cy="407795"/>
          </a:xfrm>
        </p:spPr>
        <p:txBody>
          <a:bodyPr/>
          <a:lstStyle/>
          <a:p>
            <a:r>
              <a:rPr lang="fr-FR" sz="1600">
                <a:solidFill>
                  <a:schemeClr val="accent3"/>
                </a:solidFill>
                <a:latin typeface="Arial Black"/>
              </a:rPr>
              <a:t>0</a:t>
            </a:r>
            <a:r>
              <a:rPr lang="fr-FR" sz="1600">
                <a:latin typeface="Arial Black"/>
              </a:rPr>
              <a:t>. PRÉREQUIS</a:t>
            </a:r>
            <a:br>
              <a:rPr lang="fr-FR" sz="1600"/>
            </a:br>
            <a:r>
              <a:rPr lang="fr-FR" sz="1600" b="0">
                <a:solidFill>
                  <a:schemeClr val="bg2">
                    <a:lumMod val="60000"/>
                    <a:lumOff val="40000"/>
                  </a:schemeClr>
                </a:solidFill>
                <a:latin typeface="+mn-lt"/>
                <a:cs typeface="Arial"/>
              </a:rPr>
              <a:t>Démarche proposée en même temps que la préparation des formations</a:t>
            </a:r>
            <a:endParaRPr lang="fr-FR" sz="1600" b="0" err="1">
              <a:solidFill>
                <a:schemeClr val="bg2">
                  <a:lumMod val="60000"/>
                  <a:lumOff val="40000"/>
                </a:schemeClr>
              </a:solidFill>
              <a:latin typeface="+mn-lt"/>
              <a:cs typeface="Arial" panose="020B0604020202020204" pitchFamily="34" charset="0"/>
            </a:endParaRPr>
          </a:p>
        </p:txBody>
      </p:sp>
      <p:sp>
        <p:nvSpPr>
          <p:cNvPr id="4" name="Google Shape;201;g62decd456d_2_291">
            <a:extLst>
              <a:ext uri="{FF2B5EF4-FFF2-40B4-BE49-F238E27FC236}">
                <a16:creationId xmlns:a16="http://schemas.microsoft.com/office/drawing/2014/main" id="{DFE4ECB6-193A-41CD-8C1D-5A9AA8C9E006}"/>
              </a:ext>
            </a:extLst>
          </p:cNvPr>
          <p:cNvSpPr txBox="1"/>
          <p:nvPr/>
        </p:nvSpPr>
        <p:spPr>
          <a:xfrm>
            <a:off x="476395" y="1521101"/>
            <a:ext cx="3668400" cy="1620714"/>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Char char="•"/>
            </a:pPr>
            <a:endParaRPr lang="fr-FR" sz="1050">
              <a:solidFill>
                <a:srgbClr val="757070"/>
              </a:solidFill>
              <a:latin typeface="+mj-lt"/>
              <a:ea typeface="Montserrat"/>
              <a:cs typeface="Montserrat"/>
              <a:sym typeface="Montserrat"/>
            </a:endParaRPr>
          </a:p>
        </p:txBody>
      </p:sp>
      <p:pic>
        <p:nvPicPr>
          <p:cNvPr id="5" name="Google Shape;189;g62decd456d_2_291">
            <a:extLst>
              <a:ext uri="{FF2B5EF4-FFF2-40B4-BE49-F238E27FC236}">
                <a16:creationId xmlns:a16="http://schemas.microsoft.com/office/drawing/2014/main" id="{8D4A21DA-4CA0-49B7-AD78-0F9B8A7532E6}"/>
              </a:ext>
            </a:extLst>
          </p:cNvPr>
          <p:cNvPicPr preferRelativeResize="0"/>
          <p:nvPr/>
        </p:nvPicPr>
        <p:blipFill>
          <a:blip r:embed="rId3">
            <a:alphaModFix/>
          </a:blip>
          <a:stretch>
            <a:fillRect/>
          </a:stretch>
        </p:blipFill>
        <p:spPr>
          <a:xfrm>
            <a:off x="476397" y="1116859"/>
            <a:ext cx="383635" cy="383634"/>
          </a:xfrm>
          <a:prstGeom prst="rect">
            <a:avLst/>
          </a:prstGeom>
          <a:noFill/>
          <a:ln>
            <a:noFill/>
          </a:ln>
        </p:spPr>
      </p:pic>
      <p:pic>
        <p:nvPicPr>
          <p:cNvPr id="6" name="Google Shape;190;g62decd456d_2_291">
            <a:extLst>
              <a:ext uri="{FF2B5EF4-FFF2-40B4-BE49-F238E27FC236}">
                <a16:creationId xmlns:a16="http://schemas.microsoft.com/office/drawing/2014/main" id="{CCA51F63-3D45-49D1-A294-FEE7069F69F3}"/>
              </a:ext>
            </a:extLst>
          </p:cNvPr>
          <p:cNvPicPr preferRelativeResize="0"/>
          <p:nvPr/>
        </p:nvPicPr>
        <p:blipFill>
          <a:blip r:embed="rId4">
            <a:alphaModFix/>
          </a:blip>
          <a:stretch>
            <a:fillRect/>
          </a:stretch>
        </p:blipFill>
        <p:spPr>
          <a:xfrm>
            <a:off x="476395" y="3240962"/>
            <a:ext cx="368880" cy="368879"/>
          </a:xfrm>
          <a:prstGeom prst="rect">
            <a:avLst/>
          </a:prstGeom>
          <a:noFill/>
          <a:ln>
            <a:noFill/>
          </a:ln>
        </p:spPr>
      </p:pic>
      <p:pic>
        <p:nvPicPr>
          <p:cNvPr id="7" name="Google Shape;192;g62decd456d_2_291">
            <a:extLst>
              <a:ext uri="{FF2B5EF4-FFF2-40B4-BE49-F238E27FC236}">
                <a16:creationId xmlns:a16="http://schemas.microsoft.com/office/drawing/2014/main" id="{917A7A55-7496-4AA5-B913-66B9922A7AB0}"/>
              </a:ext>
            </a:extLst>
          </p:cNvPr>
          <p:cNvPicPr preferRelativeResize="0"/>
          <p:nvPr/>
        </p:nvPicPr>
        <p:blipFill>
          <a:blip r:embed="rId5">
            <a:alphaModFix/>
          </a:blip>
          <a:stretch>
            <a:fillRect/>
          </a:stretch>
        </p:blipFill>
        <p:spPr>
          <a:xfrm>
            <a:off x="4465994" y="1124237"/>
            <a:ext cx="354125" cy="368879"/>
          </a:xfrm>
          <a:prstGeom prst="rect">
            <a:avLst/>
          </a:prstGeom>
          <a:noFill/>
          <a:ln>
            <a:noFill/>
          </a:ln>
        </p:spPr>
      </p:pic>
      <p:cxnSp>
        <p:nvCxnSpPr>
          <p:cNvPr id="8" name="Google Shape;194;g62decd456d_2_291">
            <a:extLst>
              <a:ext uri="{FF2B5EF4-FFF2-40B4-BE49-F238E27FC236}">
                <a16:creationId xmlns:a16="http://schemas.microsoft.com/office/drawing/2014/main" id="{9B35EB87-18EF-4C68-8104-C08FBB737A15}"/>
              </a:ext>
            </a:extLst>
          </p:cNvPr>
          <p:cNvCxnSpPr>
            <a:cxnSpLocks/>
          </p:cNvCxnSpPr>
          <p:nvPr/>
        </p:nvCxnSpPr>
        <p:spPr>
          <a:xfrm>
            <a:off x="476395" y="1563842"/>
            <a:ext cx="3668400" cy="0"/>
          </a:xfrm>
          <a:prstGeom prst="straightConnector1">
            <a:avLst/>
          </a:prstGeom>
          <a:noFill/>
          <a:ln w="9525" cap="flat" cmpd="sng">
            <a:solidFill>
              <a:srgbClr val="7F7F7F"/>
            </a:solidFill>
            <a:prstDash val="solid"/>
            <a:round/>
            <a:headEnd type="none" w="med" len="med"/>
            <a:tailEnd type="none" w="med" len="med"/>
          </a:ln>
        </p:spPr>
      </p:cxnSp>
      <p:sp>
        <p:nvSpPr>
          <p:cNvPr id="9" name="Google Shape;195;g62decd456d_2_291">
            <a:extLst>
              <a:ext uri="{FF2B5EF4-FFF2-40B4-BE49-F238E27FC236}">
                <a16:creationId xmlns:a16="http://schemas.microsoft.com/office/drawing/2014/main" id="{B9D16533-3C4E-49F8-8625-77A29914D708}"/>
              </a:ext>
            </a:extLst>
          </p:cNvPr>
          <p:cNvSpPr txBox="1"/>
          <p:nvPr/>
        </p:nvSpPr>
        <p:spPr>
          <a:xfrm>
            <a:off x="843950" y="1141426"/>
            <a:ext cx="1827000" cy="334500"/>
          </a:xfrm>
          <a:prstGeom prst="rect">
            <a:avLst/>
          </a:prstGeom>
          <a:noFill/>
          <a:ln>
            <a:noFill/>
          </a:ln>
        </p:spPr>
        <p:txBody>
          <a:bodyPr spcFirstLastPara="1" wrap="square" lIns="91425" tIns="91425" rIns="91425" bIns="91425" anchor="ctr" anchorCtr="0">
            <a:noAutofit/>
          </a:bodyPr>
          <a:lstStyle/>
          <a:p>
            <a:pPr>
              <a:buClr>
                <a:srgbClr val="000000"/>
              </a:buClr>
              <a:buFont typeface="Arial"/>
              <a:buNone/>
            </a:pPr>
            <a:r>
              <a:rPr lang="fr-FR" sz="1200" b="1" kern="0">
                <a:solidFill>
                  <a:srgbClr val="767171"/>
                </a:solidFill>
                <a:latin typeface="+mj-lt"/>
                <a:ea typeface="Montserrat"/>
                <a:cs typeface="Montserrat"/>
                <a:sym typeface="Montserrat"/>
              </a:rPr>
              <a:t>OBJECTIFS</a:t>
            </a:r>
            <a:r>
              <a:rPr lang="fr-FR" sz="1200" kern="0">
                <a:solidFill>
                  <a:srgbClr val="000000"/>
                </a:solidFill>
                <a:latin typeface="+mj-lt"/>
                <a:ea typeface="Montserrat"/>
                <a:cs typeface="Montserrat"/>
                <a:sym typeface="Montserrat"/>
              </a:rPr>
              <a:t> </a:t>
            </a:r>
            <a:endParaRPr sz="1200" kern="0">
              <a:solidFill>
                <a:srgbClr val="000000"/>
              </a:solidFill>
              <a:latin typeface="+mj-lt"/>
              <a:ea typeface="Montserrat"/>
              <a:cs typeface="Montserrat"/>
              <a:sym typeface="Montserrat"/>
            </a:endParaRPr>
          </a:p>
        </p:txBody>
      </p:sp>
      <p:sp>
        <p:nvSpPr>
          <p:cNvPr id="10" name="Google Shape;196;g62decd456d_2_291">
            <a:extLst>
              <a:ext uri="{FF2B5EF4-FFF2-40B4-BE49-F238E27FC236}">
                <a16:creationId xmlns:a16="http://schemas.microsoft.com/office/drawing/2014/main" id="{2C1BE3D3-AF86-4F00-99E9-C106820D1EEC}"/>
              </a:ext>
            </a:extLst>
          </p:cNvPr>
          <p:cNvSpPr txBox="1"/>
          <p:nvPr/>
        </p:nvSpPr>
        <p:spPr>
          <a:xfrm>
            <a:off x="843950" y="3265518"/>
            <a:ext cx="2556205" cy="334500"/>
          </a:xfrm>
          <a:prstGeom prst="rect">
            <a:avLst/>
          </a:prstGeom>
          <a:noFill/>
          <a:ln>
            <a:noFill/>
          </a:ln>
        </p:spPr>
        <p:txBody>
          <a:bodyPr spcFirstLastPara="1" wrap="square" lIns="91425" tIns="91425" rIns="91425" bIns="91425" anchor="ctr" anchorCtr="0">
            <a:noAutofit/>
          </a:bodyPr>
          <a:lstStyle/>
          <a:p>
            <a:pPr>
              <a:buClr>
                <a:srgbClr val="000000"/>
              </a:buClr>
              <a:buFont typeface="Arial"/>
              <a:buNone/>
            </a:pPr>
            <a:r>
              <a:rPr lang="fr-FR" sz="1200" b="1" kern="0">
                <a:solidFill>
                  <a:srgbClr val="767171"/>
                </a:solidFill>
                <a:latin typeface="+mj-lt"/>
                <a:ea typeface="Montserrat"/>
                <a:cs typeface="Montserrat"/>
                <a:sym typeface="Montserrat"/>
              </a:rPr>
              <a:t>FACTEURS CLES DE SUCCES</a:t>
            </a:r>
            <a:endParaRPr sz="1200" kern="0">
              <a:solidFill>
                <a:srgbClr val="000000"/>
              </a:solidFill>
              <a:latin typeface="+mj-lt"/>
              <a:ea typeface="Montserrat"/>
              <a:cs typeface="Montserrat"/>
              <a:sym typeface="Montserrat"/>
            </a:endParaRPr>
          </a:p>
        </p:txBody>
      </p:sp>
      <p:sp>
        <p:nvSpPr>
          <p:cNvPr id="11" name="Google Shape;198;g62decd456d_2_291">
            <a:extLst>
              <a:ext uri="{FF2B5EF4-FFF2-40B4-BE49-F238E27FC236}">
                <a16:creationId xmlns:a16="http://schemas.microsoft.com/office/drawing/2014/main" id="{C292AB15-E768-45D5-AD2A-5C819B23BD9F}"/>
              </a:ext>
            </a:extLst>
          </p:cNvPr>
          <p:cNvSpPr txBox="1"/>
          <p:nvPr/>
        </p:nvSpPr>
        <p:spPr>
          <a:xfrm>
            <a:off x="4818794" y="1141426"/>
            <a:ext cx="3600000" cy="334500"/>
          </a:xfrm>
          <a:prstGeom prst="rect">
            <a:avLst/>
          </a:prstGeom>
          <a:noFill/>
          <a:ln>
            <a:noFill/>
          </a:ln>
        </p:spPr>
        <p:txBody>
          <a:bodyPr spcFirstLastPara="1" wrap="square" lIns="91425" tIns="91425" rIns="91425" bIns="91425" anchor="ctr" anchorCtr="0">
            <a:noAutofit/>
          </a:bodyPr>
          <a:lstStyle/>
          <a:p>
            <a:r>
              <a:rPr lang="fr-FR" sz="1200" b="1">
                <a:solidFill>
                  <a:srgbClr val="767171"/>
                </a:solidFill>
                <a:latin typeface="+mj-lt"/>
                <a:ea typeface="Montserrat"/>
                <a:cs typeface="Montserrat"/>
                <a:sym typeface="Montserrat"/>
              </a:rPr>
              <a:t>DÉMARCHE</a:t>
            </a:r>
            <a:endParaRPr lang="fr-FR" sz="1200" b="1">
              <a:solidFill>
                <a:srgbClr val="767171"/>
              </a:solidFill>
              <a:latin typeface="+mj-lt"/>
              <a:cs typeface="Montserrat"/>
              <a:sym typeface="Montserrat"/>
            </a:endParaRPr>
          </a:p>
        </p:txBody>
      </p:sp>
      <p:cxnSp>
        <p:nvCxnSpPr>
          <p:cNvPr id="12" name="Google Shape;199;g62decd456d_2_291">
            <a:extLst>
              <a:ext uri="{FF2B5EF4-FFF2-40B4-BE49-F238E27FC236}">
                <a16:creationId xmlns:a16="http://schemas.microsoft.com/office/drawing/2014/main" id="{5FBBD91D-8660-43E8-AAAC-8ECF816A7DB7}"/>
              </a:ext>
            </a:extLst>
          </p:cNvPr>
          <p:cNvCxnSpPr>
            <a:cxnSpLocks/>
          </p:cNvCxnSpPr>
          <p:nvPr/>
        </p:nvCxnSpPr>
        <p:spPr>
          <a:xfrm>
            <a:off x="4465994" y="1563834"/>
            <a:ext cx="7246581" cy="0"/>
          </a:xfrm>
          <a:prstGeom prst="straightConnector1">
            <a:avLst/>
          </a:prstGeom>
          <a:noFill/>
          <a:ln w="9525" cap="flat" cmpd="sng">
            <a:solidFill>
              <a:srgbClr val="7F7F7F"/>
            </a:solidFill>
            <a:prstDash val="solid"/>
            <a:round/>
            <a:headEnd type="none" w="med" len="med"/>
            <a:tailEnd type="none" w="med" len="med"/>
          </a:ln>
        </p:spPr>
      </p:cxnSp>
      <p:sp>
        <p:nvSpPr>
          <p:cNvPr id="13" name="Google Shape;202;g62decd456d_2_291">
            <a:extLst>
              <a:ext uri="{FF2B5EF4-FFF2-40B4-BE49-F238E27FC236}">
                <a16:creationId xmlns:a16="http://schemas.microsoft.com/office/drawing/2014/main" id="{E22D3A68-8C63-4250-BAEB-59D55544985D}"/>
              </a:ext>
            </a:extLst>
          </p:cNvPr>
          <p:cNvSpPr txBox="1"/>
          <p:nvPr/>
        </p:nvSpPr>
        <p:spPr>
          <a:xfrm>
            <a:off x="476395" y="3460609"/>
            <a:ext cx="3668400" cy="1007263"/>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Char char="•"/>
            </a:pPr>
            <a:endParaRPr lang="fr-FR" sz="1050">
              <a:solidFill>
                <a:srgbClr val="757070"/>
              </a:solidFill>
              <a:latin typeface="+mj-lt"/>
              <a:ea typeface="Montserrat"/>
              <a:cs typeface="Montserrat"/>
              <a:sym typeface="Montserrat"/>
            </a:endParaRPr>
          </a:p>
        </p:txBody>
      </p:sp>
      <p:cxnSp>
        <p:nvCxnSpPr>
          <p:cNvPr id="14" name="Google Shape;206;g62decd456d_2_291">
            <a:extLst>
              <a:ext uri="{FF2B5EF4-FFF2-40B4-BE49-F238E27FC236}">
                <a16:creationId xmlns:a16="http://schemas.microsoft.com/office/drawing/2014/main" id="{CA362DFC-94B7-4CD5-8459-C95A5EA44217}"/>
              </a:ext>
            </a:extLst>
          </p:cNvPr>
          <p:cNvCxnSpPr>
            <a:cxnSpLocks/>
          </p:cNvCxnSpPr>
          <p:nvPr/>
        </p:nvCxnSpPr>
        <p:spPr>
          <a:xfrm>
            <a:off x="476395" y="3682672"/>
            <a:ext cx="3668400" cy="0"/>
          </a:xfrm>
          <a:prstGeom prst="straightConnector1">
            <a:avLst/>
          </a:prstGeom>
          <a:noFill/>
          <a:ln w="9525" cap="flat" cmpd="sng">
            <a:solidFill>
              <a:srgbClr val="7F7F7F"/>
            </a:solidFill>
            <a:prstDash val="solid"/>
            <a:round/>
            <a:headEnd type="none" w="med" len="med"/>
            <a:tailEnd type="none" w="med" len="med"/>
          </a:ln>
        </p:spPr>
      </p:cxnSp>
      <p:sp>
        <p:nvSpPr>
          <p:cNvPr id="15" name="Google Shape;198;g62decd456d_2_291">
            <a:extLst>
              <a:ext uri="{FF2B5EF4-FFF2-40B4-BE49-F238E27FC236}">
                <a16:creationId xmlns:a16="http://schemas.microsoft.com/office/drawing/2014/main" id="{864E3EB6-63A0-4187-87C2-15847F11EF55}"/>
              </a:ext>
            </a:extLst>
          </p:cNvPr>
          <p:cNvSpPr txBox="1"/>
          <p:nvPr/>
        </p:nvSpPr>
        <p:spPr>
          <a:xfrm>
            <a:off x="841608" y="4823046"/>
            <a:ext cx="1827000" cy="334500"/>
          </a:xfrm>
          <a:prstGeom prst="rect">
            <a:avLst/>
          </a:prstGeom>
          <a:noFill/>
          <a:ln>
            <a:noFill/>
          </a:ln>
        </p:spPr>
        <p:txBody>
          <a:bodyPr spcFirstLastPara="1" wrap="square" lIns="91425" tIns="91425" rIns="91425" bIns="91425" anchor="ctr" anchorCtr="0">
            <a:noAutofit/>
          </a:bodyPr>
          <a:lstStyle/>
          <a:p>
            <a:pPr>
              <a:buClr>
                <a:srgbClr val="000000"/>
              </a:buClr>
              <a:buFont typeface="Arial"/>
              <a:buNone/>
            </a:pPr>
            <a:r>
              <a:rPr lang="fr-FR" sz="1200" b="1">
                <a:solidFill>
                  <a:srgbClr val="767171"/>
                </a:solidFill>
                <a:latin typeface="+mj-lt"/>
                <a:ea typeface="Montserrat"/>
                <a:cs typeface="Montserrat"/>
                <a:sym typeface="Montserrat"/>
              </a:rPr>
              <a:t>LIVRABLES</a:t>
            </a:r>
            <a:endParaRPr sz="1200" kern="0">
              <a:solidFill>
                <a:srgbClr val="000000"/>
              </a:solidFill>
              <a:latin typeface="+mj-lt"/>
              <a:ea typeface="Montserrat"/>
              <a:cs typeface="Montserrat"/>
              <a:sym typeface="Montserrat"/>
            </a:endParaRPr>
          </a:p>
        </p:txBody>
      </p:sp>
      <p:cxnSp>
        <p:nvCxnSpPr>
          <p:cNvPr id="16" name="Google Shape;199;g62decd456d_2_291">
            <a:extLst>
              <a:ext uri="{FF2B5EF4-FFF2-40B4-BE49-F238E27FC236}">
                <a16:creationId xmlns:a16="http://schemas.microsoft.com/office/drawing/2014/main" id="{B8AE57C4-69CE-4608-8DDB-7E6E3218F160}"/>
              </a:ext>
            </a:extLst>
          </p:cNvPr>
          <p:cNvCxnSpPr>
            <a:cxnSpLocks/>
          </p:cNvCxnSpPr>
          <p:nvPr/>
        </p:nvCxnSpPr>
        <p:spPr>
          <a:xfrm>
            <a:off x="474053" y="5197391"/>
            <a:ext cx="3668400" cy="0"/>
          </a:xfrm>
          <a:prstGeom prst="straightConnector1">
            <a:avLst/>
          </a:prstGeom>
          <a:noFill/>
          <a:ln w="9525" cap="flat" cmpd="sng">
            <a:solidFill>
              <a:srgbClr val="7F7F7F"/>
            </a:solidFill>
            <a:prstDash val="solid"/>
            <a:round/>
            <a:headEnd type="none" w="med" len="med"/>
            <a:tailEnd type="none" w="med" len="med"/>
          </a:ln>
        </p:spPr>
      </p:cxnSp>
      <p:sp>
        <p:nvSpPr>
          <p:cNvPr id="17" name="Google Shape;202;g62decd456d_2_291">
            <a:extLst>
              <a:ext uri="{FF2B5EF4-FFF2-40B4-BE49-F238E27FC236}">
                <a16:creationId xmlns:a16="http://schemas.microsoft.com/office/drawing/2014/main" id="{081C14F2-F0CF-453C-B5E6-3AB28B427042}"/>
              </a:ext>
            </a:extLst>
          </p:cNvPr>
          <p:cNvSpPr txBox="1"/>
          <p:nvPr/>
        </p:nvSpPr>
        <p:spPr>
          <a:xfrm>
            <a:off x="474053" y="5184499"/>
            <a:ext cx="3628607" cy="1308477"/>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Char char="•"/>
            </a:pPr>
            <a:endParaRPr lang="fr-FR" sz="1050">
              <a:solidFill>
                <a:srgbClr val="757070"/>
              </a:solidFill>
              <a:latin typeface="+mj-lt"/>
              <a:sym typeface="Montserrat"/>
            </a:endParaRPr>
          </a:p>
        </p:txBody>
      </p:sp>
      <p:pic>
        <p:nvPicPr>
          <p:cNvPr id="24" name="Google Shape;193;g62decd456d_2_291">
            <a:extLst>
              <a:ext uri="{FF2B5EF4-FFF2-40B4-BE49-F238E27FC236}">
                <a16:creationId xmlns:a16="http://schemas.microsoft.com/office/drawing/2014/main" id="{07A552B2-1363-45E7-BB1D-2B6DAE61A8ED}"/>
              </a:ext>
            </a:extLst>
          </p:cNvPr>
          <p:cNvPicPr preferRelativeResize="0"/>
          <p:nvPr/>
        </p:nvPicPr>
        <p:blipFill>
          <a:blip r:embed="rId6">
            <a:alphaModFix/>
          </a:blip>
          <a:stretch>
            <a:fillRect/>
          </a:stretch>
        </p:blipFill>
        <p:spPr>
          <a:xfrm>
            <a:off x="474053" y="4774107"/>
            <a:ext cx="368880" cy="368879"/>
          </a:xfrm>
          <a:prstGeom prst="rect">
            <a:avLst/>
          </a:prstGeom>
          <a:noFill/>
          <a:ln>
            <a:noFill/>
          </a:ln>
        </p:spPr>
      </p:pic>
      <p:sp>
        <p:nvSpPr>
          <p:cNvPr id="22" name="Google Shape;201;g62decd456d_2_291">
            <a:extLst>
              <a:ext uri="{FF2B5EF4-FFF2-40B4-BE49-F238E27FC236}">
                <a16:creationId xmlns:a16="http://schemas.microsoft.com/office/drawing/2014/main" id="{DC76E146-902E-309E-4342-0D19BBAA32E5}"/>
              </a:ext>
            </a:extLst>
          </p:cNvPr>
          <p:cNvSpPr txBox="1"/>
          <p:nvPr/>
        </p:nvSpPr>
        <p:spPr>
          <a:xfrm>
            <a:off x="628795" y="1590377"/>
            <a:ext cx="3668400" cy="1620714"/>
          </a:xfrm>
          <a:prstGeom prst="rect">
            <a:avLst/>
          </a:prstGeom>
          <a:noFill/>
          <a:ln>
            <a:noFill/>
          </a:ln>
        </p:spPr>
        <p:txBody>
          <a:bodyPr spcFirstLastPara="1" wrap="square" lIns="91425" tIns="91425" rIns="91425" bIns="91425" anchor="t" anchorCtr="0">
            <a:noAutofit/>
          </a:bodyPr>
          <a:lstStyle/>
          <a:p>
            <a:pPr marL="171450" indent="-165100">
              <a:spcAft>
                <a:spcPts val="300"/>
              </a:spcAft>
              <a:buClr>
                <a:schemeClr val="accent4"/>
              </a:buClr>
              <a:buSzPts val="1100"/>
              <a:buFont typeface="Arial"/>
              <a:buChar char="•"/>
            </a:pPr>
            <a:r>
              <a:rPr lang="fr-FR" sz="1050">
                <a:solidFill>
                  <a:srgbClr val="757070"/>
                </a:solidFill>
                <a:latin typeface="+mj-lt"/>
                <a:ea typeface="Montserrat"/>
                <a:cs typeface="Montserrat"/>
                <a:sym typeface="Montserrat"/>
              </a:rPr>
              <a:t>Traiter les incompréhensions sur le projet et les perceptions négatives de l’outil</a:t>
            </a:r>
            <a:endParaRPr lang="fr-FR" sz="1050">
              <a:solidFill>
                <a:srgbClr val="757070"/>
              </a:solidFill>
              <a:latin typeface="+mj-lt"/>
              <a:sym typeface="Montserrat"/>
            </a:endParaRPr>
          </a:p>
          <a:p>
            <a:pPr marL="171450" indent="-165100">
              <a:spcAft>
                <a:spcPts val="300"/>
              </a:spcAft>
              <a:buClr>
                <a:schemeClr val="accent4"/>
              </a:buClr>
              <a:buSzPts val="1100"/>
              <a:buFont typeface="Arial"/>
              <a:buChar char="•"/>
            </a:pPr>
            <a:r>
              <a:rPr lang="fr-FR" sz="1050">
                <a:solidFill>
                  <a:srgbClr val="757070"/>
                </a:solidFill>
                <a:latin typeface="+mj-lt"/>
                <a:sym typeface="Montserrat"/>
              </a:rPr>
              <a:t>Permettre la bonne identification, remontée et résolution des difficultés</a:t>
            </a:r>
          </a:p>
          <a:p>
            <a:pPr marL="171450" indent="-165100">
              <a:spcAft>
                <a:spcPts val="300"/>
              </a:spcAft>
              <a:buClr>
                <a:schemeClr val="accent4"/>
              </a:buClr>
              <a:buSzPts val="1100"/>
              <a:buFont typeface="Arial"/>
              <a:buChar char="•"/>
            </a:pPr>
            <a:r>
              <a:rPr lang="fr-FR" sz="1050">
                <a:solidFill>
                  <a:srgbClr val="757070"/>
                </a:solidFill>
                <a:latin typeface="+mj-lt"/>
                <a:sym typeface="Montserrat"/>
              </a:rPr>
              <a:t>Générer le climat de confiance et de dialogue nécessaires pour assurer les formations</a:t>
            </a:r>
          </a:p>
          <a:p>
            <a:pPr marL="171450" indent="-165100">
              <a:spcAft>
                <a:spcPts val="300"/>
              </a:spcAft>
              <a:buClr>
                <a:schemeClr val="accent4"/>
              </a:buClr>
              <a:buSzPts val="1100"/>
              <a:buFont typeface="Arial"/>
              <a:buChar char="•"/>
            </a:pPr>
            <a:r>
              <a:rPr lang="fr-FR" sz="1050">
                <a:solidFill>
                  <a:srgbClr val="757070"/>
                </a:solidFill>
                <a:latin typeface="+mj-lt"/>
                <a:sym typeface="Montserrat"/>
              </a:rPr>
              <a:t>Démonter l’accompagnement au plus près du quotidien des difficultés rencontrées</a:t>
            </a:r>
          </a:p>
        </p:txBody>
      </p:sp>
      <p:sp>
        <p:nvSpPr>
          <p:cNvPr id="23" name="Google Shape;202;g62decd456d_2_291">
            <a:extLst>
              <a:ext uri="{FF2B5EF4-FFF2-40B4-BE49-F238E27FC236}">
                <a16:creationId xmlns:a16="http://schemas.microsoft.com/office/drawing/2014/main" id="{F979F6E0-171A-87CA-01DC-52FC713FCF71}"/>
              </a:ext>
            </a:extLst>
          </p:cNvPr>
          <p:cNvSpPr txBox="1"/>
          <p:nvPr/>
        </p:nvSpPr>
        <p:spPr>
          <a:xfrm>
            <a:off x="646536" y="3690208"/>
            <a:ext cx="3668400" cy="1007263"/>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Char char="•"/>
            </a:pPr>
            <a:r>
              <a:rPr lang="fr-FR" sz="1050">
                <a:solidFill>
                  <a:srgbClr val="757070"/>
                </a:solidFill>
                <a:latin typeface="+mj-lt"/>
                <a:ea typeface="Montserrat"/>
                <a:cs typeface="Montserrat"/>
                <a:sym typeface="Montserrat"/>
              </a:rPr>
              <a:t>Une équipe projet disponible durant cette période</a:t>
            </a:r>
          </a:p>
          <a:p>
            <a:pPr marL="171450" lvl="0" indent="-165100">
              <a:spcAft>
                <a:spcPts val="300"/>
              </a:spcAft>
              <a:buClr>
                <a:schemeClr val="accent4"/>
              </a:buClr>
              <a:buSzPts val="1100"/>
              <a:buChar char="•"/>
            </a:pPr>
            <a:r>
              <a:rPr lang="fr-FR" sz="1050">
                <a:solidFill>
                  <a:srgbClr val="757070"/>
                </a:solidFill>
                <a:latin typeface="+mj-lt"/>
                <a:ea typeface="Montserrat"/>
                <a:cs typeface="Montserrat"/>
                <a:sym typeface="Montserrat"/>
              </a:rPr>
              <a:t>Le temps nécessaire pour réaliser les analyses et ateliers</a:t>
            </a:r>
          </a:p>
          <a:p>
            <a:pPr marL="171450" lvl="0" indent="-165100">
              <a:spcAft>
                <a:spcPts val="300"/>
              </a:spcAft>
              <a:buClr>
                <a:schemeClr val="accent4"/>
              </a:buClr>
              <a:buSzPts val="1100"/>
              <a:buChar char="•"/>
            </a:pPr>
            <a:r>
              <a:rPr lang="fr-FR" sz="1050">
                <a:solidFill>
                  <a:srgbClr val="757070"/>
                </a:solidFill>
                <a:latin typeface="+mj-lt"/>
                <a:ea typeface="Montserrat"/>
                <a:cs typeface="Montserrat"/>
                <a:sym typeface="Montserrat"/>
              </a:rPr>
              <a:t>Un groupe pilote bien identifié </a:t>
            </a:r>
          </a:p>
          <a:p>
            <a:pPr marL="171450" lvl="0" indent="-165100">
              <a:spcAft>
                <a:spcPts val="300"/>
              </a:spcAft>
              <a:buClr>
                <a:schemeClr val="accent4"/>
              </a:buClr>
              <a:buSzPts val="1100"/>
              <a:buChar char="•"/>
            </a:pPr>
            <a:r>
              <a:rPr lang="fr-FR" sz="1050">
                <a:solidFill>
                  <a:srgbClr val="757070"/>
                </a:solidFill>
                <a:latin typeface="+mj-lt"/>
                <a:ea typeface="Montserrat"/>
                <a:cs typeface="Montserrat"/>
                <a:sym typeface="Montserrat"/>
              </a:rPr>
              <a:t>Un sponsor disponible aux moments clés</a:t>
            </a:r>
          </a:p>
          <a:p>
            <a:pPr marL="171450" lvl="0" indent="-165100">
              <a:spcAft>
                <a:spcPts val="300"/>
              </a:spcAft>
              <a:buClr>
                <a:schemeClr val="accent4"/>
              </a:buClr>
              <a:buSzPts val="1100"/>
              <a:buChar char="•"/>
            </a:pPr>
            <a:endParaRPr lang="fr-FR" sz="1050">
              <a:solidFill>
                <a:srgbClr val="757070"/>
              </a:solidFill>
              <a:latin typeface="+mj-lt"/>
              <a:ea typeface="Montserrat"/>
              <a:cs typeface="Montserrat"/>
              <a:sym typeface="Montserrat"/>
            </a:endParaRPr>
          </a:p>
        </p:txBody>
      </p:sp>
      <p:sp>
        <p:nvSpPr>
          <p:cNvPr id="25" name="Google Shape;202;g62decd456d_2_291">
            <a:extLst>
              <a:ext uri="{FF2B5EF4-FFF2-40B4-BE49-F238E27FC236}">
                <a16:creationId xmlns:a16="http://schemas.microsoft.com/office/drawing/2014/main" id="{94D99A8C-5F03-8F13-2A34-D7859586F16E}"/>
              </a:ext>
            </a:extLst>
          </p:cNvPr>
          <p:cNvSpPr txBox="1"/>
          <p:nvPr/>
        </p:nvSpPr>
        <p:spPr>
          <a:xfrm>
            <a:off x="628795" y="5232550"/>
            <a:ext cx="3628607" cy="1308477"/>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Char char="•"/>
            </a:pPr>
            <a:r>
              <a:rPr lang="fr-FR" sz="1050">
                <a:solidFill>
                  <a:srgbClr val="757070"/>
                </a:solidFill>
                <a:latin typeface="+mj-lt"/>
                <a:sym typeface="Montserrat"/>
              </a:rPr>
              <a:t>Analyse de l’organisation et propositions</a:t>
            </a:r>
          </a:p>
          <a:p>
            <a:pPr marL="171450" lvl="0" indent="-165100">
              <a:spcAft>
                <a:spcPts val="300"/>
              </a:spcAft>
              <a:buClr>
                <a:schemeClr val="accent4"/>
              </a:buClr>
              <a:buSzPts val="1100"/>
              <a:buChar char="•"/>
            </a:pPr>
            <a:r>
              <a:rPr lang="fr-FR" sz="1050">
                <a:solidFill>
                  <a:srgbClr val="757070"/>
                </a:solidFill>
                <a:latin typeface="+mj-lt"/>
                <a:sym typeface="Montserrat"/>
              </a:rPr>
              <a:t>Cartographie des impacts et des perceptions</a:t>
            </a:r>
          </a:p>
          <a:p>
            <a:pPr marL="171450" lvl="0" indent="-165100">
              <a:spcAft>
                <a:spcPts val="300"/>
              </a:spcAft>
              <a:buClr>
                <a:schemeClr val="accent4"/>
              </a:buClr>
              <a:buSzPts val="1100"/>
              <a:buChar char="•"/>
            </a:pPr>
            <a:r>
              <a:rPr lang="fr-FR" sz="1050">
                <a:solidFill>
                  <a:srgbClr val="757070"/>
                </a:solidFill>
                <a:latin typeface="+mj-lt"/>
                <a:sym typeface="Montserrat"/>
              </a:rPr>
              <a:t>Supports produits lors des ateliers co-construction menés dans le cadre du chantier</a:t>
            </a:r>
          </a:p>
          <a:p>
            <a:pPr marL="171450" lvl="0" indent="-165100">
              <a:spcAft>
                <a:spcPts val="300"/>
              </a:spcAft>
              <a:buClr>
                <a:schemeClr val="accent4"/>
              </a:buClr>
              <a:buSzPts val="1100"/>
              <a:buChar char="•"/>
            </a:pPr>
            <a:r>
              <a:rPr lang="fr-FR" sz="1050">
                <a:solidFill>
                  <a:srgbClr val="757070"/>
                </a:solidFill>
                <a:latin typeface="+mj-lt"/>
                <a:sym typeface="Montserrat"/>
              </a:rPr>
              <a:t>Storytelling et éléments de langage</a:t>
            </a:r>
          </a:p>
          <a:p>
            <a:pPr marL="171450" lvl="0" indent="-165100">
              <a:spcAft>
                <a:spcPts val="300"/>
              </a:spcAft>
              <a:buClr>
                <a:schemeClr val="accent4"/>
              </a:buClr>
              <a:buSzPts val="1100"/>
              <a:buChar char="•"/>
            </a:pPr>
            <a:r>
              <a:rPr lang="fr-FR" sz="1050">
                <a:solidFill>
                  <a:srgbClr val="757070"/>
                </a:solidFill>
                <a:latin typeface="+mj-lt"/>
                <a:sym typeface="Montserrat"/>
              </a:rPr>
              <a:t>Processus de traitement des remontées du terrain</a:t>
            </a:r>
          </a:p>
        </p:txBody>
      </p:sp>
      <p:sp>
        <p:nvSpPr>
          <p:cNvPr id="18" name="Rectangle : coins arrondis 17">
            <a:extLst>
              <a:ext uri="{FF2B5EF4-FFF2-40B4-BE49-F238E27FC236}">
                <a16:creationId xmlns:a16="http://schemas.microsoft.com/office/drawing/2014/main" id="{3A8B8457-5C75-82B5-1A52-08C120912456}"/>
              </a:ext>
            </a:extLst>
          </p:cNvPr>
          <p:cNvSpPr/>
          <p:nvPr/>
        </p:nvSpPr>
        <p:spPr>
          <a:xfrm>
            <a:off x="5335604" y="2172600"/>
            <a:ext cx="2080672" cy="1136343"/>
          </a:xfrm>
          <a:prstGeom prst="roundRect">
            <a:avLst>
              <a:gd name="adj" fmla="val 98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867"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9" name="Google Shape;576;p17">
            <a:extLst>
              <a:ext uri="{FF2B5EF4-FFF2-40B4-BE49-F238E27FC236}">
                <a16:creationId xmlns:a16="http://schemas.microsoft.com/office/drawing/2014/main" id="{7C46BB92-13A8-E3DD-3294-CBF535A5C938}"/>
              </a:ext>
            </a:extLst>
          </p:cNvPr>
          <p:cNvSpPr/>
          <p:nvPr/>
        </p:nvSpPr>
        <p:spPr>
          <a:xfrm>
            <a:off x="5429031" y="2244484"/>
            <a:ext cx="1987245" cy="728132"/>
          </a:xfrm>
          <a:prstGeom prst="rect">
            <a:avLst/>
          </a:prstGeom>
          <a:noFill/>
          <a:ln>
            <a:noFill/>
          </a:ln>
        </p:spPr>
        <p:txBody>
          <a:bodyPr spcFirstLastPara="1" wrap="square" lIns="121900" tIns="60925" rIns="121900" bIns="60925" anchor="t" anchorCtr="0">
            <a:noAutofit/>
          </a:bodyPr>
          <a:lstStyle/>
          <a:p>
            <a:pPr algn="ctr">
              <a:defRPr/>
            </a:pPr>
            <a:r>
              <a:rPr lang="fr-FR" sz="1200">
                <a:solidFill>
                  <a:srgbClr val="FFFFFF"/>
                </a:solidFill>
                <a:latin typeface="Arial" panose="020B0604020202020204" pitchFamily="34" charset="0"/>
                <a:cs typeface="Arial" panose="020B0604020202020204" pitchFamily="34" charset="0"/>
              </a:rPr>
              <a:t>Analyser et challenger l’organisation projet à date (comitologie, responsabilités et processus décisionnels)</a:t>
            </a:r>
          </a:p>
        </p:txBody>
      </p:sp>
      <p:sp>
        <p:nvSpPr>
          <p:cNvPr id="21" name="Rectangle : coins arrondis 20">
            <a:extLst>
              <a:ext uri="{FF2B5EF4-FFF2-40B4-BE49-F238E27FC236}">
                <a16:creationId xmlns:a16="http://schemas.microsoft.com/office/drawing/2014/main" id="{9BBF1C10-C9DE-DD13-13A7-81CD25725349}"/>
              </a:ext>
            </a:extLst>
          </p:cNvPr>
          <p:cNvSpPr/>
          <p:nvPr/>
        </p:nvSpPr>
        <p:spPr>
          <a:xfrm>
            <a:off x="7488135" y="2172600"/>
            <a:ext cx="2080672" cy="1136343"/>
          </a:xfrm>
          <a:prstGeom prst="roundRect">
            <a:avLst>
              <a:gd name="adj" fmla="val 98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867"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8" name="Google Shape;576;p17">
            <a:extLst>
              <a:ext uri="{FF2B5EF4-FFF2-40B4-BE49-F238E27FC236}">
                <a16:creationId xmlns:a16="http://schemas.microsoft.com/office/drawing/2014/main" id="{F5E6F020-1B3B-864E-C7C8-1B2AFFFC2D31}"/>
              </a:ext>
            </a:extLst>
          </p:cNvPr>
          <p:cNvSpPr/>
          <p:nvPr/>
        </p:nvSpPr>
        <p:spPr>
          <a:xfrm>
            <a:off x="7581562" y="2244484"/>
            <a:ext cx="1987245" cy="728132"/>
          </a:xfrm>
          <a:prstGeom prst="rect">
            <a:avLst/>
          </a:prstGeom>
          <a:noFill/>
          <a:ln>
            <a:noFill/>
          </a:ln>
        </p:spPr>
        <p:txBody>
          <a:bodyPr spcFirstLastPara="1" wrap="square" lIns="121900" tIns="60925" rIns="121900" bIns="60925" anchor="t" anchorCtr="0">
            <a:noAutofit/>
          </a:bodyPr>
          <a:lstStyle/>
          <a:p>
            <a:pPr algn="ctr">
              <a:defRPr/>
            </a:pPr>
            <a:r>
              <a:rPr lang="fr-FR" sz="1200">
                <a:solidFill>
                  <a:srgbClr val="FFFFFF"/>
                </a:solidFill>
                <a:latin typeface="Arial" panose="020B0604020202020204" pitchFamily="34" charset="0"/>
                <a:cs typeface="Arial" panose="020B0604020202020204" pitchFamily="34" charset="0"/>
              </a:rPr>
              <a:t>Cartographier les perceptions et les impacts (via entretiens, ateliers d’expression et analyse documentaire)</a:t>
            </a:r>
            <a:endParaRPr kumimoji="0" lang="fr-FR"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39" name="Rectangle : coins arrondis 38">
            <a:extLst>
              <a:ext uri="{FF2B5EF4-FFF2-40B4-BE49-F238E27FC236}">
                <a16:creationId xmlns:a16="http://schemas.microsoft.com/office/drawing/2014/main" id="{89AFE7E6-F72D-FC8B-2BB6-5A7AC970AC13}"/>
              </a:ext>
            </a:extLst>
          </p:cNvPr>
          <p:cNvSpPr/>
          <p:nvPr/>
        </p:nvSpPr>
        <p:spPr>
          <a:xfrm>
            <a:off x="9670845" y="2172600"/>
            <a:ext cx="1293533" cy="1136343"/>
          </a:xfrm>
          <a:prstGeom prst="roundRect">
            <a:avLst>
              <a:gd name="adj" fmla="val 98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867"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0" name="Google Shape;576;p17">
            <a:extLst>
              <a:ext uri="{FF2B5EF4-FFF2-40B4-BE49-F238E27FC236}">
                <a16:creationId xmlns:a16="http://schemas.microsoft.com/office/drawing/2014/main" id="{9A8FC910-398B-6CA1-01F1-A497C2F749B6}"/>
              </a:ext>
            </a:extLst>
          </p:cNvPr>
          <p:cNvSpPr/>
          <p:nvPr/>
        </p:nvSpPr>
        <p:spPr>
          <a:xfrm>
            <a:off x="9666605" y="2368134"/>
            <a:ext cx="1293533" cy="728132"/>
          </a:xfrm>
          <a:prstGeom prst="rect">
            <a:avLst/>
          </a:prstGeom>
          <a:noFill/>
          <a:ln>
            <a:noFill/>
          </a:ln>
        </p:spPr>
        <p:txBody>
          <a:bodyPr spcFirstLastPara="1" wrap="square" lIns="121900" tIns="60925" rIns="121900" bIns="60925" anchor="t" anchorCtr="0">
            <a:noAutofit/>
          </a:bodyPr>
          <a:lstStyle/>
          <a:p>
            <a:pPr algn="ctr">
              <a:defRPr/>
            </a:pPr>
            <a:r>
              <a:rPr lang="fr-FR" sz="1200">
                <a:solidFill>
                  <a:srgbClr val="FFFFFF"/>
                </a:solidFill>
                <a:latin typeface="Arial" panose="020B0604020202020204" pitchFamily="34" charset="0"/>
                <a:cs typeface="Arial" panose="020B0604020202020204" pitchFamily="34" charset="0"/>
              </a:rPr>
              <a:t>Réaliser un maillage du </a:t>
            </a:r>
            <a:r>
              <a:rPr lang="fr-FR" sz="1200" err="1">
                <a:solidFill>
                  <a:srgbClr val="FFFFFF"/>
                </a:solidFill>
                <a:latin typeface="Arial" panose="020B0604020202020204" pitchFamily="34" charset="0"/>
                <a:cs typeface="Arial" panose="020B0604020202020204" pitchFamily="34" charset="0"/>
              </a:rPr>
              <a:t>sponsorship</a:t>
            </a:r>
            <a:endParaRPr lang="fr-FR" sz="1200">
              <a:solidFill>
                <a:srgbClr val="FFFFFF"/>
              </a:solidFill>
              <a:latin typeface="Arial" panose="020B0604020202020204" pitchFamily="34" charset="0"/>
              <a:cs typeface="Arial" panose="020B0604020202020204" pitchFamily="34" charset="0"/>
            </a:endParaRPr>
          </a:p>
        </p:txBody>
      </p:sp>
      <p:sp>
        <p:nvSpPr>
          <p:cNvPr id="41" name="Rectangle : coins arrondis 40">
            <a:extLst>
              <a:ext uri="{FF2B5EF4-FFF2-40B4-BE49-F238E27FC236}">
                <a16:creationId xmlns:a16="http://schemas.microsoft.com/office/drawing/2014/main" id="{2F6BD9A0-FD72-C4C8-06D6-F06BAF6C6EBF}"/>
              </a:ext>
            </a:extLst>
          </p:cNvPr>
          <p:cNvSpPr/>
          <p:nvPr/>
        </p:nvSpPr>
        <p:spPr>
          <a:xfrm>
            <a:off x="6726935" y="3376112"/>
            <a:ext cx="2080672" cy="1136343"/>
          </a:xfrm>
          <a:prstGeom prst="roundRect">
            <a:avLst>
              <a:gd name="adj" fmla="val 981"/>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867"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2" name="Google Shape;576;p17">
            <a:extLst>
              <a:ext uri="{FF2B5EF4-FFF2-40B4-BE49-F238E27FC236}">
                <a16:creationId xmlns:a16="http://schemas.microsoft.com/office/drawing/2014/main" id="{165090DE-1F5A-0B2A-D6A5-8CFA5E1FAA43}"/>
              </a:ext>
            </a:extLst>
          </p:cNvPr>
          <p:cNvSpPr/>
          <p:nvPr/>
        </p:nvSpPr>
        <p:spPr>
          <a:xfrm>
            <a:off x="6820362" y="3447996"/>
            <a:ext cx="1987245" cy="728132"/>
          </a:xfrm>
          <a:prstGeom prst="rect">
            <a:avLst/>
          </a:prstGeom>
          <a:noFill/>
          <a:ln>
            <a:noFill/>
          </a:ln>
        </p:spPr>
        <p:txBody>
          <a:bodyPr spcFirstLastPara="1" wrap="square" lIns="121900" tIns="60925" rIns="121900" bIns="60925" anchor="t" anchorCtr="0">
            <a:noAutofit/>
          </a:bodyPr>
          <a:lstStyle/>
          <a:p>
            <a:pPr algn="ctr">
              <a:defRPr/>
            </a:pPr>
            <a:r>
              <a:rPr lang="fr-FR" sz="1200">
                <a:solidFill>
                  <a:srgbClr val="FFFFFF"/>
                </a:solidFill>
                <a:latin typeface="Arial" panose="020B0604020202020204" pitchFamily="34" charset="0"/>
                <a:cs typeface="Arial" panose="020B0604020202020204" pitchFamily="34" charset="0"/>
              </a:rPr>
              <a:t>Créer des binômes experts terrain et experts métiers (GU) pour s’assurer de l’adéquation des besoins</a:t>
            </a:r>
          </a:p>
        </p:txBody>
      </p:sp>
      <p:sp>
        <p:nvSpPr>
          <p:cNvPr id="43" name="Rectangle : coins arrondis 42">
            <a:extLst>
              <a:ext uri="{FF2B5EF4-FFF2-40B4-BE49-F238E27FC236}">
                <a16:creationId xmlns:a16="http://schemas.microsoft.com/office/drawing/2014/main" id="{10438207-BA7A-1004-3D81-96E140200BC2}"/>
              </a:ext>
            </a:extLst>
          </p:cNvPr>
          <p:cNvSpPr/>
          <p:nvPr/>
        </p:nvSpPr>
        <p:spPr>
          <a:xfrm>
            <a:off x="8879466" y="3366486"/>
            <a:ext cx="2080672" cy="1136343"/>
          </a:xfrm>
          <a:prstGeom prst="roundRect">
            <a:avLst>
              <a:gd name="adj" fmla="val 981"/>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867"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4" name="Google Shape;576;p17">
            <a:extLst>
              <a:ext uri="{FF2B5EF4-FFF2-40B4-BE49-F238E27FC236}">
                <a16:creationId xmlns:a16="http://schemas.microsoft.com/office/drawing/2014/main" id="{DF7E957E-DBD3-B916-56F9-DBD9E1DA6084}"/>
              </a:ext>
            </a:extLst>
          </p:cNvPr>
          <p:cNvSpPr/>
          <p:nvPr/>
        </p:nvSpPr>
        <p:spPr>
          <a:xfrm>
            <a:off x="8972893" y="3493978"/>
            <a:ext cx="1987245" cy="728132"/>
          </a:xfrm>
          <a:prstGeom prst="rect">
            <a:avLst/>
          </a:prstGeom>
          <a:noFill/>
          <a:ln>
            <a:noFill/>
          </a:ln>
        </p:spPr>
        <p:txBody>
          <a:bodyPr spcFirstLastPara="1" wrap="square" lIns="121900" tIns="60925" rIns="121900" bIns="60925" anchor="t" anchorCtr="0">
            <a:noAutofit/>
          </a:bodyPr>
          <a:lstStyle/>
          <a:p>
            <a:pPr marR="0" lvl="0" algn="ctr" defTabSz="914400" rtl="0" eaLnBrk="1" fontAlgn="auto" latinLnBrk="0" hangingPunct="1">
              <a:spcBef>
                <a:spcPts val="0"/>
              </a:spcBef>
              <a:spcAft>
                <a:spcPts val="0"/>
              </a:spcAft>
              <a:buClr>
                <a:srgbClr val="000000"/>
              </a:buClr>
              <a:buSzTx/>
              <a:tabLst/>
              <a:defRPr/>
            </a:pPr>
            <a:r>
              <a:rPr lang="fr-FR" sz="1200">
                <a:solidFill>
                  <a:srgbClr val="FFFFFF"/>
                </a:solidFill>
                <a:latin typeface="Arial" panose="020B0604020202020204" pitchFamily="34" charset="0"/>
                <a:cs typeface="Arial" panose="020B0604020202020204" pitchFamily="34" charset="0"/>
              </a:rPr>
              <a:t>Coacher les personnes pertinentes sur la prise de décision collective et le suivi des décisions</a:t>
            </a:r>
          </a:p>
        </p:txBody>
      </p:sp>
      <p:sp>
        <p:nvSpPr>
          <p:cNvPr id="45" name="Rectangle : coins arrondis 44">
            <a:extLst>
              <a:ext uri="{FF2B5EF4-FFF2-40B4-BE49-F238E27FC236}">
                <a16:creationId xmlns:a16="http://schemas.microsoft.com/office/drawing/2014/main" id="{31A9FBCB-57F4-4E5D-70E8-F50C6B93E68F}"/>
              </a:ext>
            </a:extLst>
          </p:cNvPr>
          <p:cNvSpPr/>
          <p:nvPr/>
        </p:nvSpPr>
        <p:spPr>
          <a:xfrm>
            <a:off x="5335604" y="3385862"/>
            <a:ext cx="1293533" cy="1136343"/>
          </a:xfrm>
          <a:prstGeom prst="roundRect">
            <a:avLst>
              <a:gd name="adj" fmla="val 981"/>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867"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6" name="Google Shape;576;p17">
            <a:extLst>
              <a:ext uri="{FF2B5EF4-FFF2-40B4-BE49-F238E27FC236}">
                <a16:creationId xmlns:a16="http://schemas.microsoft.com/office/drawing/2014/main" id="{FEDC1355-7B48-21BC-4C59-16DD018AAEAA}"/>
              </a:ext>
            </a:extLst>
          </p:cNvPr>
          <p:cNvSpPr/>
          <p:nvPr/>
        </p:nvSpPr>
        <p:spPr>
          <a:xfrm>
            <a:off x="5361543" y="3493978"/>
            <a:ext cx="1293533" cy="728132"/>
          </a:xfrm>
          <a:prstGeom prst="rect">
            <a:avLst/>
          </a:prstGeom>
          <a:noFill/>
          <a:ln>
            <a:noFill/>
          </a:ln>
        </p:spPr>
        <p:txBody>
          <a:bodyPr spcFirstLastPara="1" wrap="square" lIns="121900" tIns="60925" rIns="121900" bIns="60925" anchor="t" anchorCtr="0">
            <a:noAutofit/>
          </a:bodyPr>
          <a:lstStyle/>
          <a:p>
            <a:pPr lvl="0" algn="ctr" defTabSz="914400" eaLnBrk="1" fontAlgn="auto" latinLnBrk="0" hangingPunct="1">
              <a:buSzTx/>
              <a:tabLst/>
              <a:defRPr/>
            </a:pPr>
            <a:r>
              <a:rPr lang="fr-FR" sz="1200">
                <a:solidFill>
                  <a:srgbClr val="FFFFFF"/>
                </a:solidFill>
                <a:latin typeface="Arial" panose="020B0604020202020204" pitchFamily="34" charset="0"/>
                <a:cs typeface="Arial" panose="020B0604020202020204" pitchFamily="34" charset="0"/>
              </a:rPr>
              <a:t>Travailler le storytelling métier du projet</a:t>
            </a:r>
          </a:p>
        </p:txBody>
      </p:sp>
      <p:sp>
        <p:nvSpPr>
          <p:cNvPr id="47" name="Rectangle : coins arrondis 46">
            <a:extLst>
              <a:ext uri="{FF2B5EF4-FFF2-40B4-BE49-F238E27FC236}">
                <a16:creationId xmlns:a16="http://schemas.microsoft.com/office/drawing/2014/main" id="{3D663214-33B7-A1A8-1816-E526AD3497DA}"/>
              </a:ext>
            </a:extLst>
          </p:cNvPr>
          <p:cNvSpPr/>
          <p:nvPr/>
        </p:nvSpPr>
        <p:spPr>
          <a:xfrm>
            <a:off x="6096000" y="4589374"/>
            <a:ext cx="2080672" cy="1136343"/>
          </a:xfrm>
          <a:prstGeom prst="roundRect">
            <a:avLst>
              <a:gd name="adj" fmla="val 981"/>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867"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8" name="Google Shape;576;p17">
            <a:extLst>
              <a:ext uri="{FF2B5EF4-FFF2-40B4-BE49-F238E27FC236}">
                <a16:creationId xmlns:a16="http://schemas.microsoft.com/office/drawing/2014/main" id="{4281360E-0AC0-414E-C3C5-A2C2E0A9629B}"/>
              </a:ext>
            </a:extLst>
          </p:cNvPr>
          <p:cNvSpPr/>
          <p:nvPr/>
        </p:nvSpPr>
        <p:spPr>
          <a:xfrm>
            <a:off x="6096000" y="4820433"/>
            <a:ext cx="1987245" cy="728132"/>
          </a:xfrm>
          <a:prstGeom prst="rect">
            <a:avLst/>
          </a:prstGeom>
          <a:noFill/>
          <a:ln>
            <a:noFill/>
          </a:ln>
        </p:spPr>
        <p:txBody>
          <a:bodyPr spcFirstLastPara="1" wrap="square" lIns="121900" tIns="60925" rIns="121900" bIns="60925" anchor="t" anchorCtr="0">
            <a:noAutofit/>
          </a:bodyPr>
          <a:lstStyle/>
          <a:p>
            <a:pPr marR="0" lvl="0" algn="ctr" defTabSz="914400" rtl="0" eaLnBrk="1" fontAlgn="auto" latinLnBrk="0" hangingPunct="1">
              <a:spcBef>
                <a:spcPts val="0"/>
              </a:spcBef>
              <a:spcAft>
                <a:spcPts val="0"/>
              </a:spcAft>
              <a:buClr>
                <a:srgbClr val="000000"/>
              </a:buClr>
              <a:buSzTx/>
              <a:tabLst/>
              <a:defRPr/>
            </a:pPr>
            <a:r>
              <a:rPr lang="fr-FR" sz="1200">
                <a:solidFill>
                  <a:srgbClr val="FFFFFF"/>
                </a:solidFill>
                <a:latin typeface="Arial" panose="020B0604020202020204" pitchFamily="34" charset="0"/>
                <a:cs typeface="Arial" panose="020B0604020202020204" pitchFamily="34" charset="0"/>
              </a:rPr>
              <a:t>Mettre en place un groupe pilote pour tester la démarche de formation</a:t>
            </a:r>
          </a:p>
        </p:txBody>
      </p:sp>
      <p:sp>
        <p:nvSpPr>
          <p:cNvPr id="49" name="Rectangle : coins arrondis 48">
            <a:extLst>
              <a:ext uri="{FF2B5EF4-FFF2-40B4-BE49-F238E27FC236}">
                <a16:creationId xmlns:a16="http://schemas.microsoft.com/office/drawing/2014/main" id="{A76E7395-566C-4976-4C03-D0DE8D0721A5}"/>
              </a:ext>
            </a:extLst>
          </p:cNvPr>
          <p:cNvSpPr/>
          <p:nvPr/>
        </p:nvSpPr>
        <p:spPr>
          <a:xfrm>
            <a:off x="8248531" y="4579748"/>
            <a:ext cx="2080672" cy="1136343"/>
          </a:xfrm>
          <a:prstGeom prst="roundRect">
            <a:avLst>
              <a:gd name="adj" fmla="val 98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867"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0" name="Google Shape;576;p17">
            <a:extLst>
              <a:ext uri="{FF2B5EF4-FFF2-40B4-BE49-F238E27FC236}">
                <a16:creationId xmlns:a16="http://schemas.microsoft.com/office/drawing/2014/main" id="{1C282BF0-3505-46E1-1BE5-79F4A0F3DBF6}"/>
              </a:ext>
            </a:extLst>
          </p:cNvPr>
          <p:cNvSpPr/>
          <p:nvPr/>
        </p:nvSpPr>
        <p:spPr>
          <a:xfrm>
            <a:off x="8341958" y="4707240"/>
            <a:ext cx="1987245" cy="728132"/>
          </a:xfrm>
          <a:prstGeom prst="rect">
            <a:avLst/>
          </a:prstGeom>
          <a:noFill/>
          <a:ln>
            <a:noFill/>
          </a:ln>
        </p:spPr>
        <p:txBody>
          <a:bodyPr spcFirstLastPara="1" wrap="square" lIns="121900" tIns="60925" rIns="121900" bIns="60925" anchor="t" anchorCtr="0">
            <a:noAutofit/>
          </a:bodyPr>
          <a:lstStyle/>
          <a:p>
            <a:pPr marR="0" lvl="0" algn="ctr" defTabSz="914400" rtl="0" eaLnBrk="1" fontAlgn="auto" latinLnBrk="0" hangingPunct="1">
              <a:spcBef>
                <a:spcPts val="0"/>
              </a:spcBef>
              <a:spcAft>
                <a:spcPts val="0"/>
              </a:spcAft>
              <a:buClr>
                <a:srgbClr val="000000"/>
              </a:buClr>
              <a:buSzTx/>
              <a:tabLst/>
              <a:defRPr/>
            </a:pPr>
            <a:r>
              <a:rPr lang="fr-FR" sz="1200">
                <a:solidFill>
                  <a:srgbClr val="FFFFFF"/>
                </a:solidFill>
                <a:latin typeface="Arial" panose="020B0604020202020204" pitchFamily="34" charset="0"/>
                <a:cs typeface="Arial" panose="020B0604020202020204" pitchFamily="34" charset="0"/>
              </a:rPr>
              <a:t>Définir un process de remonté des feedback terrain, de leur traitement et de prise de décisions</a:t>
            </a:r>
          </a:p>
        </p:txBody>
      </p:sp>
    </p:spTree>
    <p:extLst>
      <p:ext uri="{BB962C8B-B14F-4D97-AF65-F5344CB8AC3E}">
        <p14:creationId xmlns:p14="http://schemas.microsoft.com/office/powerpoint/2010/main" val="16794918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11BF5BD-75C4-4E77-9598-7225EFF82CC5}"/>
              </a:ext>
            </a:extLst>
          </p:cNvPr>
          <p:cNvSpPr>
            <a:spLocks noGrp="1"/>
          </p:cNvSpPr>
          <p:nvPr>
            <p:ph type="title"/>
          </p:nvPr>
        </p:nvSpPr>
        <p:spPr/>
        <p:txBody>
          <a:bodyPr/>
          <a:lstStyle/>
          <a:p>
            <a:r>
              <a:rPr lang="fr-FR" sz="1600"/>
              <a:t>1. ORGANISER ET PILOTER LES FORMATIONS ET L’APPROPRIATION</a:t>
            </a:r>
            <a:br>
              <a:rPr lang="fr-FR" sz="1600"/>
            </a:br>
            <a:r>
              <a:rPr lang="fr-FR" sz="1600" b="0">
                <a:solidFill>
                  <a:schemeClr val="bg2">
                    <a:lumMod val="60000"/>
                    <a:lumOff val="40000"/>
                  </a:schemeClr>
                </a:solidFill>
                <a:latin typeface="+mn-lt"/>
                <a:cs typeface="Arial" panose="020B0604020202020204" pitchFamily="34" charset="0"/>
              </a:rPr>
              <a:t>Démarche proposée</a:t>
            </a:r>
          </a:p>
        </p:txBody>
      </p:sp>
      <p:sp>
        <p:nvSpPr>
          <p:cNvPr id="4" name="Google Shape;201;g62decd456d_2_291">
            <a:extLst>
              <a:ext uri="{FF2B5EF4-FFF2-40B4-BE49-F238E27FC236}">
                <a16:creationId xmlns:a16="http://schemas.microsoft.com/office/drawing/2014/main" id="{DFE4ECB6-193A-41CD-8C1D-5A9AA8C9E006}"/>
              </a:ext>
            </a:extLst>
          </p:cNvPr>
          <p:cNvSpPr txBox="1"/>
          <p:nvPr/>
        </p:nvSpPr>
        <p:spPr>
          <a:xfrm>
            <a:off x="476395" y="1521101"/>
            <a:ext cx="3668400" cy="1620714"/>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Char char="•"/>
            </a:pPr>
            <a:endParaRPr lang="fr-FR" sz="1050">
              <a:solidFill>
                <a:srgbClr val="757070"/>
              </a:solidFill>
              <a:latin typeface="+mj-lt"/>
              <a:ea typeface="Montserrat"/>
              <a:cs typeface="Montserrat"/>
              <a:sym typeface="Montserrat"/>
            </a:endParaRPr>
          </a:p>
        </p:txBody>
      </p:sp>
      <p:pic>
        <p:nvPicPr>
          <p:cNvPr id="5" name="Google Shape;189;g62decd456d_2_291">
            <a:extLst>
              <a:ext uri="{FF2B5EF4-FFF2-40B4-BE49-F238E27FC236}">
                <a16:creationId xmlns:a16="http://schemas.microsoft.com/office/drawing/2014/main" id="{8D4A21DA-4CA0-49B7-AD78-0F9B8A7532E6}"/>
              </a:ext>
            </a:extLst>
          </p:cNvPr>
          <p:cNvPicPr preferRelativeResize="0"/>
          <p:nvPr/>
        </p:nvPicPr>
        <p:blipFill>
          <a:blip r:embed="rId3">
            <a:alphaModFix/>
          </a:blip>
          <a:stretch>
            <a:fillRect/>
          </a:stretch>
        </p:blipFill>
        <p:spPr>
          <a:xfrm>
            <a:off x="476397" y="1116859"/>
            <a:ext cx="383635" cy="383634"/>
          </a:xfrm>
          <a:prstGeom prst="rect">
            <a:avLst/>
          </a:prstGeom>
          <a:noFill/>
          <a:ln>
            <a:noFill/>
          </a:ln>
        </p:spPr>
      </p:pic>
      <p:pic>
        <p:nvPicPr>
          <p:cNvPr id="6" name="Google Shape;190;g62decd456d_2_291">
            <a:extLst>
              <a:ext uri="{FF2B5EF4-FFF2-40B4-BE49-F238E27FC236}">
                <a16:creationId xmlns:a16="http://schemas.microsoft.com/office/drawing/2014/main" id="{CCA51F63-3D45-49D1-A294-FEE7069F69F3}"/>
              </a:ext>
            </a:extLst>
          </p:cNvPr>
          <p:cNvPicPr preferRelativeResize="0"/>
          <p:nvPr/>
        </p:nvPicPr>
        <p:blipFill>
          <a:blip r:embed="rId4">
            <a:alphaModFix/>
          </a:blip>
          <a:stretch>
            <a:fillRect/>
          </a:stretch>
        </p:blipFill>
        <p:spPr>
          <a:xfrm>
            <a:off x="476395" y="3583919"/>
            <a:ext cx="368880" cy="368879"/>
          </a:xfrm>
          <a:prstGeom prst="rect">
            <a:avLst/>
          </a:prstGeom>
          <a:noFill/>
          <a:ln>
            <a:noFill/>
          </a:ln>
        </p:spPr>
      </p:pic>
      <p:pic>
        <p:nvPicPr>
          <p:cNvPr id="7" name="Google Shape;192;g62decd456d_2_291">
            <a:extLst>
              <a:ext uri="{FF2B5EF4-FFF2-40B4-BE49-F238E27FC236}">
                <a16:creationId xmlns:a16="http://schemas.microsoft.com/office/drawing/2014/main" id="{917A7A55-7496-4AA5-B913-66B9922A7AB0}"/>
              </a:ext>
            </a:extLst>
          </p:cNvPr>
          <p:cNvPicPr preferRelativeResize="0"/>
          <p:nvPr/>
        </p:nvPicPr>
        <p:blipFill>
          <a:blip r:embed="rId5">
            <a:alphaModFix/>
          </a:blip>
          <a:stretch>
            <a:fillRect/>
          </a:stretch>
        </p:blipFill>
        <p:spPr>
          <a:xfrm>
            <a:off x="4465994" y="1124237"/>
            <a:ext cx="354125" cy="368879"/>
          </a:xfrm>
          <a:prstGeom prst="rect">
            <a:avLst/>
          </a:prstGeom>
          <a:noFill/>
          <a:ln>
            <a:noFill/>
          </a:ln>
        </p:spPr>
      </p:pic>
      <p:cxnSp>
        <p:nvCxnSpPr>
          <p:cNvPr id="8" name="Google Shape;194;g62decd456d_2_291">
            <a:extLst>
              <a:ext uri="{FF2B5EF4-FFF2-40B4-BE49-F238E27FC236}">
                <a16:creationId xmlns:a16="http://schemas.microsoft.com/office/drawing/2014/main" id="{9B35EB87-18EF-4C68-8104-C08FBB737A15}"/>
              </a:ext>
            </a:extLst>
          </p:cNvPr>
          <p:cNvCxnSpPr>
            <a:cxnSpLocks/>
          </p:cNvCxnSpPr>
          <p:nvPr/>
        </p:nvCxnSpPr>
        <p:spPr>
          <a:xfrm>
            <a:off x="476395" y="1563842"/>
            <a:ext cx="3668400" cy="0"/>
          </a:xfrm>
          <a:prstGeom prst="straightConnector1">
            <a:avLst/>
          </a:prstGeom>
          <a:noFill/>
          <a:ln w="9525" cap="flat" cmpd="sng">
            <a:solidFill>
              <a:srgbClr val="7F7F7F"/>
            </a:solidFill>
            <a:prstDash val="solid"/>
            <a:round/>
            <a:headEnd type="none" w="med" len="med"/>
            <a:tailEnd type="none" w="med" len="med"/>
          </a:ln>
        </p:spPr>
      </p:cxnSp>
      <p:sp>
        <p:nvSpPr>
          <p:cNvPr id="9" name="Google Shape;195;g62decd456d_2_291">
            <a:extLst>
              <a:ext uri="{FF2B5EF4-FFF2-40B4-BE49-F238E27FC236}">
                <a16:creationId xmlns:a16="http://schemas.microsoft.com/office/drawing/2014/main" id="{B9D16533-3C4E-49F8-8625-77A29914D708}"/>
              </a:ext>
            </a:extLst>
          </p:cNvPr>
          <p:cNvSpPr txBox="1"/>
          <p:nvPr/>
        </p:nvSpPr>
        <p:spPr>
          <a:xfrm>
            <a:off x="843950" y="1141426"/>
            <a:ext cx="1827000" cy="334500"/>
          </a:xfrm>
          <a:prstGeom prst="rect">
            <a:avLst/>
          </a:prstGeom>
          <a:noFill/>
          <a:ln>
            <a:noFill/>
          </a:ln>
        </p:spPr>
        <p:txBody>
          <a:bodyPr spcFirstLastPara="1" wrap="square" lIns="91425" tIns="91425" rIns="91425" bIns="91425" anchor="ctr" anchorCtr="0">
            <a:noAutofit/>
          </a:bodyPr>
          <a:lstStyle/>
          <a:p>
            <a:pPr>
              <a:buClr>
                <a:srgbClr val="000000"/>
              </a:buClr>
              <a:buFont typeface="Arial"/>
              <a:buNone/>
            </a:pPr>
            <a:r>
              <a:rPr lang="fr-FR" sz="1200" b="1" kern="0">
                <a:solidFill>
                  <a:srgbClr val="767171"/>
                </a:solidFill>
                <a:latin typeface="+mj-lt"/>
                <a:ea typeface="Montserrat"/>
                <a:cs typeface="Montserrat"/>
                <a:sym typeface="Montserrat"/>
              </a:rPr>
              <a:t>OBJECTIFS</a:t>
            </a:r>
            <a:r>
              <a:rPr lang="fr-FR" sz="1200" kern="0">
                <a:solidFill>
                  <a:srgbClr val="000000"/>
                </a:solidFill>
                <a:latin typeface="+mj-lt"/>
                <a:ea typeface="Montserrat"/>
                <a:cs typeface="Montserrat"/>
                <a:sym typeface="Montserrat"/>
              </a:rPr>
              <a:t> </a:t>
            </a:r>
            <a:endParaRPr sz="1200" kern="0">
              <a:solidFill>
                <a:srgbClr val="000000"/>
              </a:solidFill>
              <a:latin typeface="+mj-lt"/>
              <a:ea typeface="Montserrat"/>
              <a:cs typeface="Montserrat"/>
              <a:sym typeface="Montserrat"/>
            </a:endParaRPr>
          </a:p>
        </p:txBody>
      </p:sp>
      <p:sp>
        <p:nvSpPr>
          <p:cNvPr id="10" name="Google Shape;196;g62decd456d_2_291">
            <a:extLst>
              <a:ext uri="{FF2B5EF4-FFF2-40B4-BE49-F238E27FC236}">
                <a16:creationId xmlns:a16="http://schemas.microsoft.com/office/drawing/2014/main" id="{2C1BE3D3-AF86-4F00-99E9-C106820D1EEC}"/>
              </a:ext>
            </a:extLst>
          </p:cNvPr>
          <p:cNvSpPr txBox="1"/>
          <p:nvPr/>
        </p:nvSpPr>
        <p:spPr>
          <a:xfrm>
            <a:off x="843950" y="3608475"/>
            <a:ext cx="2556205" cy="334500"/>
          </a:xfrm>
          <a:prstGeom prst="rect">
            <a:avLst/>
          </a:prstGeom>
          <a:noFill/>
          <a:ln>
            <a:noFill/>
          </a:ln>
        </p:spPr>
        <p:txBody>
          <a:bodyPr spcFirstLastPara="1" wrap="square" lIns="91425" tIns="91425" rIns="91425" bIns="91425" anchor="ctr" anchorCtr="0">
            <a:noAutofit/>
          </a:bodyPr>
          <a:lstStyle/>
          <a:p>
            <a:pPr>
              <a:buClr>
                <a:srgbClr val="000000"/>
              </a:buClr>
              <a:buFont typeface="Arial"/>
              <a:buNone/>
            </a:pPr>
            <a:r>
              <a:rPr lang="fr-FR" sz="1200" b="1" kern="0">
                <a:solidFill>
                  <a:srgbClr val="767171"/>
                </a:solidFill>
                <a:latin typeface="+mj-lt"/>
                <a:ea typeface="Montserrat"/>
                <a:cs typeface="Montserrat"/>
                <a:sym typeface="Montserrat"/>
              </a:rPr>
              <a:t>FACTEURS CLES DE SUCCES</a:t>
            </a:r>
            <a:endParaRPr sz="1200" kern="0">
              <a:solidFill>
                <a:srgbClr val="000000"/>
              </a:solidFill>
              <a:latin typeface="+mj-lt"/>
              <a:ea typeface="Montserrat"/>
              <a:cs typeface="Montserrat"/>
              <a:sym typeface="Montserrat"/>
            </a:endParaRPr>
          </a:p>
        </p:txBody>
      </p:sp>
      <p:sp>
        <p:nvSpPr>
          <p:cNvPr id="11" name="Google Shape;198;g62decd456d_2_291">
            <a:extLst>
              <a:ext uri="{FF2B5EF4-FFF2-40B4-BE49-F238E27FC236}">
                <a16:creationId xmlns:a16="http://schemas.microsoft.com/office/drawing/2014/main" id="{C292AB15-E768-45D5-AD2A-5C819B23BD9F}"/>
              </a:ext>
            </a:extLst>
          </p:cNvPr>
          <p:cNvSpPr txBox="1"/>
          <p:nvPr/>
        </p:nvSpPr>
        <p:spPr>
          <a:xfrm>
            <a:off x="4820119" y="1149377"/>
            <a:ext cx="3600000" cy="334500"/>
          </a:xfrm>
          <a:prstGeom prst="rect">
            <a:avLst/>
          </a:prstGeom>
          <a:noFill/>
          <a:ln>
            <a:noFill/>
          </a:ln>
        </p:spPr>
        <p:txBody>
          <a:bodyPr spcFirstLastPara="1" wrap="square" lIns="91425" tIns="91425" rIns="91425" bIns="91425" anchor="ctr" anchorCtr="0">
            <a:noAutofit/>
          </a:bodyPr>
          <a:lstStyle/>
          <a:p>
            <a:r>
              <a:rPr lang="fr-FR" sz="1200" b="1">
                <a:solidFill>
                  <a:srgbClr val="767171"/>
                </a:solidFill>
                <a:latin typeface="+mj-lt"/>
                <a:ea typeface="Montserrat"/>
                <a:cs typeface="Montserrat"/>
                <a:sym typeface="Montserrat"/>
              </a:rPr>
              <a:t>DÉMARCHE</a:t>
            </a:r>
            <a:endParaRPr lang="fr-FR" sz="1200" b="1">
              <a:solidFill>
                <a:srgbClr val="767171"/>
              </a:solidFill>
              <a:latin typeface="+mj-lt"/>
              <a:cs typeface="Montserrat"/>
              <a:sym typeface="Montserrat"/>
            </a:endParaRPr>
          </a:p>
        </p:txBody>
      </p:sp>
      <p:cxnSp>
        <p:nvCxnSpPr>
          <p:cNvPr id="12" name="Google Shape;199;g62decd456d_2_291">
            <a:extLst>
              <a:ext uri="{FF2B5EF4-FFF2-40B4-BE49-F238E27FC236}">
                <a16:creationId xmlns:a16="http://schemas.microsoft.com/office/drawing/2014/main" id="{5FBBD91D-8660-43E8-AAAC-8ECF816A7DB7}"/>
              </a:ext>
            </a:extLst>
          </p:cNvPr>
          <p:cNvCxnSpPr>
            <a:cxnSpLocks/>
          </p:cNvCxnSpPr>
          <p:nvPr/>
        </p:nvCxnSpPr>
        <p:spPr>
          <a:xfrm>
            <a:off x="4465994" y="1563834"/>
            <a:ext cx="7246581" cy="0"/>
          </a:xfrm>
          <a:prstGeom prst="straightConnector1">
            <a:avLst/>
          </a:prstGeom>
          <a:noFill/>
          <a:ln w="9525" cap="flat" cmpd="sng">
            <a:solidFill>
              <a:srgbClr val="7F7F7F"/>
            </a:solidFill>
            <a:prstDash val="solid"/>
            <a:round/>
            <a:headEnd type="none" w="med" len="med"/>
            <a:tailEnd type="none" w="med" len="med"/>
          </a:ln>
        </p:spPr>
      </p:cxnSp>
      <p:sp>
        <p:nvSpPr>
          <p:cNvPr id="13" name="Google Shape;202;g62decd456d_2_291">
            <a:extLst>
              <a:ext uri="{FF2B5EF4-FFF2-40B4-BE49-F238E27FC236}">
                <a16:creationId xmlns:a16="http://schemas.microsoft.com/office/drawing/2014/main" id="{E22D3A68-8C63-4250-BAEB-59D55544985D}"/>
              </a:ext>
            </a:extLst>
          </p:cNvPr>
          <p:cNvSpPr txBox="1"/>
          <p:nvPr/>
        </p:nvSpPr>
        <p:spPr>
          <a:xfrm>
            <a:off x="476395" y="3518035"/>
            <a:ext cx="3668400" cy="1007263"/>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Char char="•"/>
            </a:pPr>
            <a:endParaRPr lang="fr-FR" sz="1050">
              <a:solidFill>
                <a:srgbClr val="757070"/>
              </a:solidFill>
              <a:latin typeface="+mj-lt"/>
              <a:ea typeface="Montserrat"/>
              <a:cs typeface="Montserrat"/>
              <a:sym typeface="Montserrat"/>
            </a:endParaRPr>
          </a:p>
        </p:txBody>
      </p:sp>
      <p:cxnSp>
        <p:nvCxnSpPr>
          <p:cNvPr id="14" name="Google Shape;206;g62decd456d_2_291">
            <a:extLst>
              <a:ext uri="{FF2B5EF4-FFF2-40B4-BE49-F238E27FC236}">
                <a16:creationId xmlns:a16="http://schemas.microsoft.com/office/drawing/2014/main" id="{CA362DFC-94B7-4CD5-8459-C95A5EA44217}"/>
              </a:ext>
            </a:extLst>
          </p:cNvPr>
          <p:cNvCxnSpPr>
            <a:cxnSpLocks/>
          </p:cNvCxnSpPr>
          <p:nvPr/>
        </p:nvCxnSpPr>
        <p:spPr>
          <a:xfrm>
            <a:off x="476395" y="4025629"/>
            <a:ext cx="3668400" cy="0"/>
          </a:xfrm>
          <a:prstGeom prst="straightConnector1">
            <a:avLst/>
          </a:prstGeom>
          <a:noFill/>
          <a:ln w="9525" cap="flat" cmpd="sng">
            <a:solidFill>
              <a:srgbClr val="7F7F7F"/>
            </a:solidFill>
            <a:prstDash val="solid"/>
            <a:round/>
            <a:headEnd type="none" w="med" len="med"/>
            <a:tailEnd type="none" w="med" len="med"/>
          </a:ln>
        </p:spPr>
      </p:cxnSp>
      <p:sp>
        <p:nvSpPr>
          <p:cNvPr id="15" name="Google Shape;198;g62decd456d_2_291">
            <a:extLst>
              <a:ext uri="{FF2B5EF4-FFF2-40B4-BE49-F238E27FC236}">
                <a16:creationId xmlns:a16="http://schemas.microsoft.com/office/drawing/2014/main" id="{864E3EB6-63A0-4187-87C2-15847F11EF55}"/>
              </a:ext>
            </a:extLst>
          </p:cNvPr>
          <p:cNvSpPr txBox="1"/>
          <p:nvPr/>
        </p:nvSpPr>
        <p:spPr>
          <a:xfrm>
            <a:off x="843950" y="5126908"/>
            <a:ext cx="1827000" cy="334500"/>
          </a:xfrm>
          <a:prstGeom prst="rect">
            <a:avLst/>
          </a:prstGeom>
          <a:noFill/>
          <a:ln>
            <a:noFill/>
          </a:ln>
        </p:spPr>
        <p:txBody>
          <a:bodyPr spcFirstLastPara="1" wrap="square" lIns="91425" tIns="91425" rIns="91425" bIns="91425" anchor="ctr" anchorCtr="0">
            <a:noAutofit/>
          </a:bodyPr>
          <a:lstStyle/>
          <a:p>
            <a:pPr>
              <a:buClr>
                <a:srgbClr val="000000"/>
              </a:buClr>
              <a:buFont typeface="Arial"/>
              <a:buNone/>
            </a:pPr>
            <a:r>
              <a:rPr lang="fr-FR" sz="1200" b="1">
                <a:solidFill>
                  <a:srgbClr val="767171"/>
                </a:solidFill>
                <a:latin typeface="+mj-lt"/>
                <a:ea typeface="Montserrat"/>
                <a:cs typeface="Montserrat"/>
                <a:sym typeface="Montserrat"/>
              </a:rPr>
              <a:t>LIVRABLES</a:t>
            </a:r>
            <a:endParaRPr sz="1200" kern="0">
              <a:solidFill>
                <a:srgbClr val="000000"/>
              </a:solidFill>
              <a:latin typeface="+mj-lt"/>
              <a:ea typeface="Montserrat"/>
              <a:cs typeface="Montserrat"/>
              <a:sym typeface="Montserrat"/>
            </a:endParaRPr>
          </a:p>
        </p:txBody>
      </p:sp>
      <p:cxnSp>
        <p:nvCxnSpPr>
          <p:cNvPr id="16" name="Google Shape;199;g62decd456d_2_291">
            <a:extLst>
              <a:ext uri="{FF2B5EF4-FFF2-40B4-BE49-F238E27FC236}">
                <a16:creationId xmlns:a16="http://schemas.microsoft.com/office/drawing/2014/main" id="{B8AE57C4-69CE-4608-8DDB-7E6E3218F160}"/>
              </a:ext>
            </a:extLst>
          </p:cNvPr>
          <p:cNvCxnSpPr>
            <a:cxnSpLocks/>
          </p:cNvCxnSpPr>
          <p:nvPr/>
        </p:nvCxnSpPr>
        <p:spPr>
          <a:xfrm>
            <a:off x="476395" y="5474366"/>
            <a:ext cx="3668400" cy="0"/>
          </a:xfrm>
          <a:prstGeom prst="straightConnector1">
            <a:avLst/>
          </a:prstGeom>
          <a:noFill/>
          <a:ln w="9525" cap="flat" cmpd="sng">
            <a:solidFill>
              <a:srgbClr val="7F7F7F"/>
            </a:solidFill>
            <a:prstDash val="solid"/>
            <a:round/>
            <a:headEnd type="none" w="med" len="med"/>
            <a:tailEnd type="none" w="med" len="med"/>
          </a:ln>
        </p:spPr>
      </p:cxnSp>
      <p:sp>
        <p:nvSpPr>
          <p:cNvPr id="17" name="Google Shape;202;g62decd456d_2_291">
            <a:extLst>
              <a:ext uri="{FF2B5EF4-FFF2-40B4-BE49-F238E27FC236}">
                <a16:creationId xmlns:a16="http://schemas.microsoft.com/office/drawing/2014/main" id="{081C14F2-F0CF-453C-B5E6-3AB28B427042}"/>
              </a:ext>
            </a:extLst>
          </p:cNvPr>
          <p:cNvSpPr txBox="1"/>
          <p:nvPr/>
        </p:nvSpPr>
        <p:spPr>
          <a:xfrm>
            <a:off x="476395" y="5080150"/>
            <a:ext cx="3628607" cy="1308477"/>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Char char="•"/>
            </a:pPr>
            <a:endParaRPr lang="fr-FR" sz="1050">
              <a:solidFill>
                <a:srgbClr val="757070"/>
              </a:solidFill>
              <a:latin typeface="+mj-lt"/>
              <a:sym typeface="Montserrat"/>
            </a:endParaRPr>
          </a:p>
        </p:txBody>
      </p:sp>
      <p:pic>
        <p:nvPicPr>
          <p:cNvPr id="24" name="Google Shape;193;g62decd456d_2_291">
            <a:extLst>
              <a:ext uri="{FF2B5EF4-FFF2-40B4-BE49-F238E27FC236}">
                <a16:creationId xmlns:a16="http://schemas.microsoft.com/office/drawing/2014/main" id="{07A552B2-1363-45E7-BB1D-2B6DAE61A8ED}"/>
              </a:ext>
            </a:extLst>
          </p:cNvPr>
          <p:cNvPicPr preferRelativeResize="0"/>
          <p:nvPr/>
        </p:nvPicPr>
        <p:blipFill>
          <a:blip r:embed="rId6">
            <a:alphaModFix/>
          </a:blip>
          <a:stretch>
            <a:fillRect/>
          </a:stretch>
        </p:blipFill>
        <p:spPr>
          <a:xfrm>
            <a:off x="476395" y="5077969"/>
            <a:ext cx="368880" cy="368879"/>
          </a:xfrm>
          <a:prstGeom prst="rect">
            <a:avLst/>
          </a:prstGeom>
          <a:noFill/>
          <a:ln>
            <a:noFill/>
          </a:ln>
        </p:spPr>
      </p:pic>
      <p:sp>
        <p:nvSpPr>
          <p:cNvPr id="3" name="Google Shape;201;g62decd456d_2_291">
            <a:extLst>
              <a:ext uri="{FF2B5EF4-FFF2-40B4-BE49-F238E27FC236}">
                <a16:creationId xmlns:a16="http://schemas.microsoft.com/office/drawing/2014/main" id="{F7A7856B-1983-4DFF-51A1-B2E593B2F3C1}"/>
              </a:ext>
            </a:extLst>
          </p:cNvPr>
          <p:cNvSpPr txBox="1"/>
          <p:nvPr/>
        </p:nvSpPr>
        <p:spPr>
          <a:xfrm>
            <a:off x="476395" y="1521100"/>
            <a:ext cx="3668400" cy="2072813"/>
          </a:xfrm>
          <a:prstGeom prst="rect">
            <a:avLst/>
          </a:prstGeom>
          <a:noFill/>
          <a:ln>
            <a:noFill/>
          </a:ln>
        </p:spPr>
        <p:txBody>
          <a:bodyPr spcFirstLastPara="1" wrap="square" lIns="91425" tIns="91425" rIns="91425" bIns="91425" anchor="t" anchorCtr="0">
            <a:noAutofit/>
          </a:bodyPr>
          <a:lstStyle/>
          <a:p>
            <a:pPr marL="171450" indent="-165100">
              <a:spcAft>
                <a:spcPts val="300"/>
              </a:spcAft>
              <a:buClr>
                <a:schemeClr val="accent4"/>
              </a:buClr>
              <a:buSzPts val="1100"/>
              <a:buFont typeface="Arial"/>
              <a:buChar char="•"/>
            </a:pPr>
            <a:r>
              <a:rPr lang="fr-FR" sz="1000">
                <a:solidFill>
                  <a:srgbClr val="757070"/>
                </a:solidFill>
                <a:latin typeface="+mj-lt"/>
                <a:sym typeface="Montserrat"/>
              </a:rPr>
              <a:t>Produire une vision claire de l’avancement des formations</a:t>
            </a:r>
          </a:p>
          <a:p>
            <a:pPr marL="171450" indent="-165100">
              <a:spcAft>
                <a:spcPts val="300"/>
              </a:spcAft>
              <a:buClr>
                <a:schemeClr val="accent4"/>
              </a:buClr>
              <a:buSzPts val="1100"/>
              <a:buFont typeface="Arial"/>
              <a:buChar char="•"/>
            </a:pPr>
            <a:r>
              <a:rPr lang="fr-FR" sz="1000">
                <a:solidFill>
                  <a:srgbClr val="757070"/>
                </a:solidFill>
                <a:latin typeface="+mj-lt"/>
                <a:sym typeface="Montserrat"/>
              </a:rPr>
              <a:t>Planifier les activités, en alignement avec les attentes du projet et en cohérence avec les jalons des lignes TN</a:t>
            </a:r>
          </a:p>
          <a:p>
            <a:pPr marL="171450" indent="-165100">
              <a:spcAft>
                <a:spcPts val="300"/>
              </a:spcAft>
              <a:buClr>
                <a:schemeClr val="accent4"/>
              </a:buClr>
              <a:buSzPts val="1100"/>
              <a:buFont typeface="Arial"/>
              <a:buChar char="•"/>
            </a:pPr>
            <a:r>
              <a:rPr lang="fr-FR" sz="1000">
                <a:solidFill>
                  <a:srgbClr val="757070"/>
                </a:solidFill>
                <a:latin typeface="+mj-lt"/>
                <a:sym typeface="Montserrat"/>
              </a:rPr>
              <a:t>Identifier les risques, les priorisations nécessaires, les plans d’actions</a:t>
            </a:r>
          </a:p>
          <a:p>
            <a:pPr marL="171450" indent="-165100">
              <a:spcAft>
                <a:spcPts val="300"/>
              </a:spcAft>
              <a:buClr>
                <a:schemeClr val="accent4"/>
              </a:buClr>
              <a:buSzPts val="1100"/>
              <a:buFont typeface="Arial"/>
              <a:buChar char="•"/>
            </a:pPr>
            <a:r>
              <a:rPr lang="fr-FR" sz="1000">
                <a:solidFill>
                  <a:srgbClr val="757070"/>
                </a:solidFill>
                <a:latin typeface="+mj-lt"/>
                <a:sym typeface="Montserrat"/>
              </a:rPr>
              <a:t>Gérer de manière proactive les aléas de plannings et la cohérence du plan de marche</a:t>
            </a:r>
          </a:p>
          <a:p>
            <a:pPr marL="171450" indent="-165100">
              <a:spcAft>
                <a:spcPts val="300"/>
              </a:spcAft>
              <a:buClr>
                <a:schemeClr val="accent4"/>
              </a:buClr>
              <a:buSzPts val="1100"/>
              <a:buFont typeface="Arial"/>
              <a:buChar char="•"/>
            </a:pPr>
            <a:r>
              <a:rPr lang="fr-FR" sz="1000">
                <a:solidFill>
                  <a:srgbClr val="757070"/>
                </a:solidFill>
                <a:latin typeface="+mj-lt"/>
                <a:sym typeface="Montserrat"/>
              </a:rPr>
              <a:t>Veiller à la bonne appropriation des concepts outil et métier par les lignes TN</a:t>
            </a:r>
          </a:p>
          <a:p>
            <a:pPr marL="171450" indent="-165100">
              <a:spcAft>
                <a:spcPts val="300"/>
              </a:spcAft>
              <a:buClr>
                <a:schemeClr val="accent4"/>
              </a:buClr>
              <a:buSzPts val="1100"/>
              <a:buFont typeface="Arial"/>
              <a:buChar char="•"/>
            </a:pPr>
            <a:r>
              <a:rPr lang="fr-FR" sz="1000">
                <a:solidFill>
                  <a:srgbClr val="757070"/>
                </a:solidFill>
                <a:latin typeface="+mj-lt"/>
                <a:sym typeface="Montserrat"/>
              </a:rPr>
              <a:t>Favoriser la bonne cohésion et la bonne circulation de l’information</a:t>
            </a:r>
          </a:p>
        </p:txBody>
      </p:sp>
      <p:sp>
        <p:nvSpPr>
          <p:cNvPr id="19" name="Google Shape;202;g62decd456d_2_291">
            <a:extLst>
              <a:ext uri="{FF2B5EF4-FFF2-40B4-BE49-F238E27FC236}">
                <a16:creationId xmlns:a16="http://schemas.microsoft.com/office/drawing/2014/main" id="{25641672-7DDF-07B7-585D-3EF002201B63}"/>
              </a:ext>
            </a:extLst>
          </p:cNvPr>
          <p:cNvSpPr txBox="1"/>
          <p:nvPr/>
        </p:nvSpPr>
        <p:spPr>
          <a:xfrm>
            <a:off x="476395" y="4070002"/>
            <a:ext cx="3668400" cy="948102"/>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Font typeface="Arial"/>
              <a:buChar char="•"/>
            </a:pPr>
            <a:r>
              <a:rPr lang="fr-FR" sz="1000">
                <a:solidFill>
                  <a:srgbClr val="757070"/>
                </a:solidFill>
                <a:latin typeface="+mj-lt"/>
                <a:sym typeface="Montserrat"/>
              </a:rPr>
              <a:t>Une coordination et coopération maximale avec les parties prenantes</a:t>
            </a:r>
          </a:p>
          <a:p>
            <a:pPr marL="171450" lvl="0" indent="-165100">
              <a:spcAft>
                <a:spcPts val="300"/>
              </a:spcAft>
              <a:buClr>
                <a:schemeClr val="accent4"/>
              </a:buClr>
              <a:buSzPts val="1100"/>
              <a:buFont typeface="Arial"/>
              <a:buChar char="•"/>
            </a:pPr>
            <a:r>
              <a:rPr lang="fr-FR" sz="1000">
                <a:solidFill>
                  <a:srgbClr val="757070"/>
                </a:solidFill>
                <a:latin typeface="+mj-lt"/>
                <a:sym typeface="Montserrat"/>
              </a:rPr>
              <a:t>La disponibilité et implication de tous les acteurs internes et externes</a:t>
            </a:r>
          </a:p>
          <a:p>
            <a:pPr marL="171450" lvl="0" indent="-165100">
              <a:spcAft>
                <a:spcPts val="300"/>
              </a:spcAft>
              <a:buClr>
                <a:schemeClr val="accent4"/>
              </a:buClr>
              <a:buSzPts val="1100"/>
              <a:buFont typeface="Arial"/>
              <a:buChar char="•"/>
            </a:pPr>
            <a:r>
              <a:rPr lang="fr-FR" sz="1000">
                <a:solidFill>
                  <a:srgbClr val="757070"/>
                </a:solidFill>
                <a:latin typeface="+mj-lt"/>
                <a:sym typeface="Montserrat"/>
              </a:rPr>
              <a:t>Une coordination des plannings des lignes et du projet</a:t>
            </a:r>
          </a:p>
        </p:txBody>
      </p:sp>
      <p:sp>
        <p:nvSpPr>
          <p:cNvPr id="20" name="Google Shape;202;g62decd456d_2_291">
            <a:extLst>
              <a:ext uri="{FF2B5EF4-FFF2-40B4-BE49-F238E27FC236}">
                <a16:creationId xmlns:a16="http://schemas.microsoft.com/office/drawing/2014/main" id="{AB555737-EC51-39A0-99D0-29EC9FEF6DAA}"/>
              </a:ext>
            </a:extLst>
          </p:cNvPr>
          <p:cNvSpPr txBox="1"/>
          <p:nvPr/>
        </p:nvSpPr>
        <p:spPr>
          <a:xfrm>
            <a:off x="476395" y="5427867"/>
            <a:ext cx="3668400" cy="948102"/>
          </a:xfrm>
          <a:prstGeom prst="rect">
            <a:avLst/>
          </a:prstGeom>
          <a:noFill/>
          <a:ln>
            <a:noFill/>
          </a:ln>
        </p:spPr>
        <p:txBody>
          <a:bodyPr spcFirstLastPara="1" wrap="square" lIns="91425" tIns="91425" rIns="91425" bIns="91425" anchor="t" anchorCtr="0">
            <a:noAutofit/>
          </a:bodyPr>
          <a:lstStyle/>
          <a:p>
            <a:pPr marL="171450" indent="-165100">
              <a:spcAft>
                <a:spcPts val="300"/>
              </a:spcAft>
              <a:buClr>
                <a:schemeClr val="accent4"/>
              </a:buClr>
              <a:buSzPts val="1100"/>
              <a:buFont typeface="Arial"/>
              <a:buChar char="•"/>
            </a:pPr>
            <a:r>
              <a:rPr lang="fr-FR" sz="1000">
                <a:solidFill>
                  <a:srgbClr val="757070"/>
                </a:solidFill>
                <a:latin typeface="+mj-lt"/>
              </a:rPr>
              <a:t>Supports et CR des instances de suivi</a:t>
            </a:r>
          </a:p>
          <a:p>
            <a:pPr marL="171450" indent="-165100">
              <a:spcAft>
                <a:spcPts val="300"/>
              </a:spcAft>
              <a:buClr>
                <a:schemeClr val="accent4"/>
              </a:buClr>
              <a:buSzPts val="1100"/>
              <a:buFont typeface="Arial"/>
              <a:buChar char="•"/>
            </a:pPr>
            <a:r>
              <a:rPr lang="fr-FR" sz="1000">
                <a:solidFill>
                  <a:srgbClr val="757070"/>
                </a:solidFill>
                <a:latin typeface="+mj-lt"/>
                <a:sym typeface="Montserrat"/>
              </a:rPr>
              <a:t>Indicateurs de suivi et tableaux de bord</a:t>
            </a:r>
          </a:p>
          <a:p>
            <a:pPr marL="171450" indent="-165100">
              <a:spcAft>
                <a:spcPts val="300"/>
              </a:spcAft>
              <a:buClr>
                <a:schemeClr val="accent4"/>
              </a:buClr>
              <a:buSzPts val="1100"/>
              <a:buFont typeface="Arial"/>
              <a:buChar char="•"/>
            </a:pPr>
            <a:r>
              <a:rPr lang="fr-FR" sz="1000">
                <a:solidFill>
                  <a:srgbClr val="757070"/>
                </a:solidFill>
                <a:latin typeface="+mj-lt"/>
                <a:sym typeface="Montserrat"/>
              </a:rPr>
              <a:t>Feuilles de routes de chaque ligne</a:t>
            </a:r>
          </a:p>
          <a:p>
            <a:pPr marL="171450" indent="-165100">
              <a:spcAft>
                <a:spcPts val="300"/>
              </a:spcAft>
              <a:buClr>
                <a:schemeClr val="accent4"/>
              </a:buClr>
              <a:buSzPts val="1100"/>
              <a:buFont typeface="Arial"/>
              <a:buChar char="•"/>
            </a:pPr>
            <a:r>
              <a:rPr lang="fr-FR" sz="1000">
                <a:solidFill>
                  <a:srgbClr val="757070"/>
                </a:solidFill>
                <a:latin typeface="+mj-lt"/>
                <a:sym typeface="Montserrat"/>
              </a:rPr>
              <a:t>Planning éditorial d'animation des canaux existants (Yammer, Teams, …)</a:t>
            </a:r>
          </a:p>
        </p:txBody>
      </p:sp>
      <p:sp>
        <p:nvSpPr>
          <p:cNvPr id="21" name="Rectangle 20">
            <a:extLst>
              <a:ext uri="{FF2B5EF4-FFF2-40B4-BE49-F238E27FC236}">
                <a16:creationId xmlns:a16="http://schemas.microsoft.com/office/drawing/2014/main" id="{FBB04BE9-7FDD-5958-F025-C713C9B96962}"/>
              </a:ext>
            </a:extLst>
          </p:cNvPr>
          <p:cNvSpPr/>
          <p:nvPr/>
        </p:nvSpPr>
        <p:spPr>
          <a:xfrm>
            <a:off x="9189756" y="5453287"/>
            <a:ext cx="2413469" cy="723670"/>
          </a:xfrm>
          <a:prstGeom prst="rect">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a:t>Notre posture : le PMO est proactif, résilient et il sait exiger poliment</a:t>
            </a:r>
          </a:p>
        </p:txBody>
      </p:sp>
      <p:sp>
        <p:nvSpPr>
          <p:cNvPr id="22" name="Espace réservé du contenu 2">
            <a:extLst>
              <a:ext uri="{FF2B5EF4-FFF2-40B4-BE49-F238E27FC236}">
                <a16:creationId xmlns:a16="http://schemas.microsoft.com/office/drawing/2014/main" id="{2D175479-27D7-3EA2-826B-395747576765}"/>
              </a:ext>
            </a:extLst>
          </p:cNvPr>
          <p:cNvSpPr txBox="1">
            <a:spLocks/>
          </p:cNvSpPr>
          <p:nvPr/>
        </p:nvSpPr>
        <p:spPr>
          <a:xfrm>
            <a:off x="4553212" y="1772957"/>
            <a:ext cx="3600000" cy="1800000"/>
          </a:xfrm>
          <a:prstGeom prst="rect">
            <a:avLst/>
          </a:prstGeom>
        </p:spPr>
        <p:txBody>
          <a:bodyPr vert="horz" lIns="91440" tIns="45720" rIns="91440" bIns="45720" rtlCol="0" anchor="t">
            <a:norm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Tx/>
            </a:pPr>
            <a:r>
              <a:rPr lang="fr-FR" sz="1200">
                <a:solidFill>
                  <a:schemeClr val="bg1"/>
                </a:solidFill>
                <a:cs typeface="Arial"/>
              </a:rPr>
              <a:t>Cadrer</a:t>
            </a:r>
          </a:p>
          <a:p>
            <a:pPr marL="228600" indent="-228600" algn="just">
              <a:spcBef>
                <a:spcPts val="600"/>
              </a:spcBef>
              <a:buClr>
                <a:schemeClr val="accent1"/>
              </a:buClr>
              <a:buFont typeface="Arial" panose="020B0604020202020204" pitchFamily="34" charset="0"/>
              <a:buChar char="•"/>
            </a:pPr>
            <a:r>
              <a:rPr lang="fr-FR" sz="1000" b="0" cap="none">
                <a:solidFill>
                  <a:schemeClr val="tx1"/>
                </a:solidFill>
              </a:rPr>
              <a:t>Mettre à jour le référentiel de pilotage : </a:t>
            </a:r>
            <a:r>
              <a:rPr lang="fr-FR" sz="1000" cap="none">
                <a:solidFill>
                  <a:schemeClr val="tx1"/>
                </a:solidFill>
              </a:rPr>
              <a:t>indicateurs qualitatifs ET quantitatifs</a:t>
            </a:r>
          </a:p>
          <a:p>
            <a:pPr marL="228600" indent="-228600" algn="just">
              <a:spcBef>
                <a:spcPts val="600"/>
              </a:spcBef>
              <a:buClr>
                <a:schemeClr val="accent1"/>
              </a:buClr>
              <a:buFont typeface="Arial" panose="020B0604020202020204" pitchFamily="34" charset="0"/>
              <a:buChar char="•"/>
            </a:pPr>
            <a:r>
              <a:rPr lang="fr-FR" sz="1000" b="0" cap="none">
                <a:solidFill>
                  <a:schemeClr val="tx1"/>
                </a:solidFill>
              </a:rPr>
              <a:t>Préparer les instances : synthèse d’avancement et implication dans la préparation des </a:t>
            </a:r>
            <a:r>
              <a:rPr lang="fr-FR" sz="1000" cap="none">
                <a:solidFill>
                  <a:schemeClr val="tx1"/>
                </a:solidFill>
              </a:rPr>
              <a:t>décisions</a:t>
            </a:r>
            <a:endParaRPr lang="fr-FR" sz="1000" b="0" cap="none">
              <a:solidFill>
                <a:schemeClr val="tx1"/>
              </a:solidFill>
            </a:endParaRPr>
          </a:p>
        </p:txBody>
      </p:sp>
      <p:sp>
        <p:nvSpPr>
          <p:cNvPr id="23" name="Espace réservé du contenu 3">
            <a:extLst>
              <a:ext uri="{FF2B5EF4-FFF2-40B4-BE49-F238E27FC236}">
                <a16:creationId xmlns:a16="http://schemas.microsoft.com/office/drawing/2014/main" id="{CB49DDE4-D49B-DAE6-03AA-3B29E5C8A3E6}"/>
              </a:ext>
            </a:extLst>
          </p:cNvPr>
          <p:cNvSpPr txBox="1">
            <a:spLocks/>
          </p:cNvSpPr>
          <p:nvPr/>
        </p:nvSpPr>
        <p:spPr>
          <a:xfrm>
            <a:off x="8182187" y="1772955"/>
            <a:ext cx="3600000" cy="1800000"/>
          </a:xfrm>
          <a:prstGeom prst="rect">
            <a:avLst/>
          </a:prstGeom>
        </p:spPr>
        <p:txBody>
          <a:bodyPr vert="horz" lIns="91440" tIns="45720" rIns="91440" bIns="45720" rtlCol="0" anchor="t">
            <a:norm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Tx/>
            </a:pPr>
            <a:r>
              <a:rPr lang="fr-FR" sz="1200">
                <a:solidFill>
                  <a:schemeClr val="bg1"/>
                </a:solidFill>
                <a:cs typeface="Arial"/>
              </a:rPr>
              <a:t>Anticiper</a:t>
            </a:r>
          </a:p>
          <a:p>
            <a:pPr marL="228600" indent="-228600">
              <a:spcBef>
                <a:spcPts val="600"/>
              </a:spcBef>
              <a:buClr>
                <a:schemeClr val="accent1"/>
              </a:buClr>
              <a:buFont typeface="Arial" panose="020B0604020202020204" pitchFamily="34" charset="0"/>
              <a:buChar char="•"/>
            </a:pPr>
            <a:r>
              <a:rPr lang="fr-FR" sz="1000" b="0" cap="none">
                <a:solidFill>
                  <a:schemeClr val="tx1"/>
                </a:solidFill>
              </a:rPr>
              <a:t>Piloter les </a:t>
            </a:r>
            <a:r>
              <a:rPr lang="fr-FR" sz="1000" cap="none">
                <a:solidFill>
                  <a:schemeClr val="tx1"/>
                </a:solidFill>
              </a:rPr>
              <a:t>actions</a:t>
            </a:r>
          </a:p>
          <a:p>
            <a:pPr marL="228600" indent="-228600">
              <a:spcBef>
                <a:spcPts val="600"/>
              </a:spcBef>
              <a:buClr>
                <a:schemeClr val="accent1"/>
              </a:buClr>
              <a:buFont typeface="Arial" panose="020B0604020202020204" pitchFamily="34" charset="0"/>
              <a:buChar char="•"/>
            </a:pPr>
            <a:r>
              <a:rPr lang="fr-FR" sz="1000" b="0" cap="none">
                <a:solidFill>
                  <a:schemeClr val="tx1"/>
                </a:solidFill>
              </a:rPr>
              <a:t>Consolider la </a:t>
            </a:r>
            <a:r>
              <a:rPr lang="fr-FR" sz="1000" cap="none">
                <a:solidFill>
                  <a:schemeClr val="tx1"/>
                </a:solidFill>
              </a:rPr>
              <a:t>vision plannings transverse </a:t>
            </a:r>
            <a:r>
              <a:rPr lang="fr-FR" sz="1000" b="0" cap="none">
                <a:solidFill>
                  <a:schemeClr val="tx1"/>
                </a:solidFill>
              </a:rPr>
              <a:t>et </a:t>
            </a:r>
            <a:r>
              <a:rPr lang="fr-FR" sz="1000" cap="none">
                <a:solidFill>
                  <a:schemeClr val="tx1"/>
                </a:solidFill>
              </a:rPr>
              <a:t>(re)-planifier</a:t>
            </a:r>
            <a:r>
              <a:rPr lang="fr-FR" sz="1000" b="0" cap="none">
                <a:solidFill>
                  <a:schemeClr val="tx1"/>
                </a:solidFill>
              </a:rPr>
              <a:t> des chantiers de manière coordonnée le cas échéant</a:t>
            </a:r>
          </a:p>
          <a:p>
            <a:pPr marL="228600" indent="-228600">
              <a:spcBef>
                <a:spcPts val="600"/>
              </a:spcBef>
              <a:buClr>
                <a:schemeClr val="accent1"/>
              </a:buClr>
              <a:buFont typeface="Arial" panose="020B0604020202020204" pitchFamily="34" charset="0"/>
              <a:buChar char="•"/>
            </a:pPr>
            <a:r>
              <a:rPr lang="fr-FR" sz="1000" b="0" cap="none">
                <a:solidFill>
                  <a:schemeClr val="tx1"/>
                </a:solidFill>
              </a:rPr>
              <a:t>Appuyer l’identification et la qualification (probabilité, impacts) des </a:t>
            </a:r>
            <a:r>
              <a:rPr lang="fr-FR" sz="1000" cap="none">
                <a:solidFill>
                  <a:schemeClr val="tx1"/>
                </a:solidFill>
              </a:rPr>
              <a:t>risques</a:t>
            </a:r>
          </a:p>
        </p:txBody>
      </p:sp>
      <p:sp>
        <p:nvSpPr>
          <p:cNvPr id="25" name="Espace réservé du contenu 2">
            <a:extLst>
              <a:ext uri="{FF2B5EF4-FFF2-40B4-BE49-F238E27FC236}">
                <a16:creationId xmlns:a16="http://schemas.microsoft.com/office/drawing/2014/main" id="{55E6BDAE-AAF2-B7BA-B72B-066E8AA47D52}"/>
              </a:ext>
            </a:extLst>
          </p:cNvPr>
          <p:cNvSpPr txBox="1">
            <a:spLocks/>
          </p:cNvSpPr>
          <p:nvPr/>
        </p:nvSpPr>
        <p:spPr>
          <a:xfrm>
            <a:off x="4553212" y="3455450"/>
            <a:ext cx="3600000" cy="1800000"/>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Tx/>
            </a:pPr>
            <a:r>
              <a:rPr lang="fr-FR" sz="1000">
                <a:solidFill>
                  <a:schemeClr val="bg1"/>
                </a:solidFill>
                <a:cs typeface="Arial"/>
              </a:rPr>
              <a:t>Informer</a:t>
            </a:r>
          </a:p>
          <a:p>
            <a:pPr marL="228600" indent="-228600">
              <a:spcBef>
                <a:spcPts val="600"/>
              </a:spcBef>
              <a:buClr>
                <a:schemeClr val="accent1"/>
              </a:buClr>
              <a:buFont typeface="Arial" panose="020B0604020202020204" pitchFamily="34" charset="0"/>
              <a:buChar char="•"/>
            </a:pPr>
            <a:r>
              <a:rPr lang="fr-FR" sz="1000" b="0" cap="none">
                <a:solidFill>
                  <a:schemeClr val="tx1"/>
                </a:solidFill>
                <a:cs typeface="Arial"/>
              </a:rPr>
              <a:t>« Points météo » : partager les </a:t>
            </a:r>
            <a:r>
              <a:rPr lang="fr-FR" sz="1000" cap="none">
                <a:solidFill>
                  <a:schemeClr val="tx1"/>
                </a:solidFill>
                <a:cs typeface="Arial"/>
              </a:rPr>
              <a:t>priorités </a:t>
            </a:r>
            <a:r>
              <a:rPr lang="fr-FR" sz="1000" b="0" cap="none">
                <a:solidFill>
                  <a:schemeClr val="tx1"/>
                </a:solidFill>
                <a:cs typeface="Arial"/>
              </a:rPr>
              <a:t>programme,  passer en revue l’</a:t>
            </a:r>
            <a:r>
              <a:rPr lang="fr-FR" sz="1000" cap="none">
                <a:solidFill>
                  <a:schemeClr val="tx1"/>
                </a:solidFill>
                <a:cs typeface="Arial"/>
              </a:rPr>
              <a:t>avancement</a:t>
            </a:r>
            <a:r>
              <a:rPr lang="fr-FR" sz="1000" b="0" cap="none">
                <a:solidFill>
                  <a:schemeClr val="tx1"/>
                </a:solidFill>
                <a:cs typeface="Arial"/>
              </a:rPr>
              <a:t> (jalons, livrables, ressources), le </a:t>
            </a:r>
            <a:r>
              <a:rPr lang="fr-FR" sz="1000" cap="none">
                <a:solidFill>
                  <a:schemeClr val="tx1"/>
                </a:solidFill>
                <a:cs typeface="Arial"/>
              </a:rPr>
              <a:t>reste à faire </a:t>
            </a:r>
            <a:r>
              <a:rPr lang="fr-FR" sz="1000" b="0" cap="none">
                <a:solidFill>
                  <a:schemeClr val="tx1"/>
                </a:solidFill>
                <a:cs typeface="Arial"/>
              </a:rPr>
              <a:t>et les points de </a:t>
            </a:r>
            <a:r>
              <a:rPr lang="fr-FR" sz="1000" cap="none">
                <a:solidFill>
                  <a:schemeClr val="tx1"/>
                </a:solidFill>
                <a:cs typeface="Arial"/>
              </a:rPr>
              <a:t>vigilance</a:t>
            </a:r>
            <a:r>
              <a:rPr lang="fr-FR" sz="1000" b="0" cap="none">
                <a:solidFill>
                  <a:schemeClr val="tx1"/>
                </a:solidFill>
                <a:cs typeface="Arial"/>
              </a:rPr>
              <a:t> (</a:t>
            </a:r>
            <a:r>
              <a:rPr lang="fr-FR" sz="1000" cap="none">
                <a:solidFill>
                  <a:schemeClr val="tx1"/>
                </a:solidFill>
                <a:cs typeface="Arial"/>
              </a:rPr>
              <a:t>plans d’actions </a:t>
            </a:r>
            <a:r>
              <a:rPr lang="fr-FR" sz="1000" b="0" cap="none">
                <a:solidFill>
                  <a:schemeClr val="tx1"/>
                </a:solidFill>
                <a:cs typeface="Arial"/>
              </a:rPr>
              <a:t>associés)</a:t>
            </a:r>
          </a:p>
          <a:p>
            <a:pPr marL="228600" indent="-228600" algn="just">
              <a:spcBef>
                <a:spcPts val="600"/>
              </a:spcBef>
              <a:buClr>
                <a:schemeClr val="accent1"/>
              </a:buClr>
              <a:buFont typeface="Arial" panose="020B0604020202020204" pitchFamily="34" charset="0"/>
              <a:buChar char="•"/>
            </a:pPr>
            <a:r>
              <a:rPr lang="fr-FR" sz="1000" b="0" cap="none">
                <a:solidFill>
                  <a:schemeClr val="tx1"/>
                </a:solidFill>
                <a:cs typeface="Arial"/>
              </a:rPr>
              <a:t>Consolider les supports d’avancement par chantier + </a:t>
            </a:r>
            <a:r>
              <a:rPr lang="fr-FR" sz="1000" cap="none">
                <a:solidFill>
                  <a:schemeClr val="tx1"/>
                </a:solidFill>
                <a:cs typeface="Arial"/>
              </a:rPr>
              <a:t>synthèse</a:t>
            </a:r>
            <a:r>
              <a:rPr lang="fr-FR" sz="1000" b="0" cap="none">
                <a:solidFill>
                  <a:schemeClr val="tx1"/>
                </a:solidFill>
                <a:cs typeface="Arial"/>
              </a:rPr>
              <a:t> transverse</a:t>
            </a:r>
          </a:p>
          <a:p>
            <a:pPr marL="228600" indent="-228600" algn="just">
              <a:spcBef>
                <a:spcPts val="600"/>
              </a:spcBef>
              <a:buClr>
                <a:schemeClr val="accent1"/>
              </a:buClr>
              <a:buFont typeface="Arial" panose="020B0604020202020204" pitchFamily="34" charset="0"/>
              <a:buChar char="•"/>
            </a:pPr>
            <a:r>
              <a:rPr lang="fr-FR" sz="1000" b="0" cap="none">
                <a:solidFill>
                  <a:schemeClr val="tx1"/>
                </a:solidFill>
                <a:cs typeface="Arial"/>
              </a:rPr>
              <a:t>Diffuser </a:t>
            </a:r>
            <a:r>
              <a:rPr lang="fr-FR" sz="1000" cap="none">
                <a:solidFill>
                  <a:schemeClr val="tx1"/>
                </a:solidFill>
                <a:cs typeface="Arial"/>
              </a:rPr>
              <a:t>l’information de référence </a:t>
            </a:r>
            <a:r>
              <a:rPr lang="fr-FR" sz="1000" b="0" cap="none">
                <a:solidFill>
                  <a:schemeClr val="tx1"/>
                </a:solidFill>
                <a:cs typeface="Arial"/>
              </a:rPr>
              <a:t>sur les jalons, les priorités et les décisions prises (notamment à travers les CR d’instances)</a:t>
            </a:r>
          </a:p>
        </p:txBody>
      </p:sp>
      <p:sp>
        <p:nvSpPr>
          <p:cNvPr id="26" name="Espace réservé du contenu 2">
            <a:extLst>
              <a:ext uri="{FF2B5EF4-FFF2-40B4-BE49-F238E27FC236}">
                <a16:creationId xmlns:a16="http://schemas.microsoft.com/office/drawing/2014/main" id="{5D693F64-5D09-232B-FE70-B581E88B0F63}"/>
              </a:ext>
            </a:extLst>
          </p:cNvPr>
          <p:cNvSpPr txBox="1">
            <a:spLocks/>
          </p:cNvSpPr>
          <p:nvPr/>
        </p:nvSpPr>
        <p:spPr>
          <a:xfrm>
            <a:off x="8182187" y="3455450"/>
            <a:ext cx="3600000" cy="1800000"/>
          </a:xfrm>
          <a:prstGeom prst="rect">
            <a:avLst/>
          </a:prstGeom>
        </p:spPr>
        <p:txBody>
          <a:bodyPr vert="horz" lIns="91440" tIns="45720" rIns="91440" bIns="45720" rtlCol="0">
            <a:norm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Tx/>
            </a:pPr>
            <a:r>
              <a:rPr lang="fr-FR" sz="1200">
                <a:solidFill>
                  <a:schemeClr val="bg1"/>
                </a:solidFill>
              </a:rPr>
              <a:t>Sécuriser</a:t>
            </a:r>
          </a:p>
          <a:p>
            <a:pPr marL="228600" indent="-228600">
              <a:spcBef>
                <a:spcPts val="600"/>
              </a:spcBef>
              <a:buClr>
                <a:schemeClr val="accent1"/>
              </a:buClr>
              <a:buFont typeface="Arial" panose="020B0604020202020204" pitchFamily="34" charset="0"/>
              <a:buChar char="•"/>
            </a:pPr>
            <a:r>
              <a:rPr lang="fr-FR" sz="1000" cap="none">
                <a:solidFill>
                  <a:schemeClr val="tx1"/>
                </a:solidFill>
              </a:rPr>
              <a:t>Coconstruire et piloter </a:t>
            </a:r>
            <a:r>
              <a:rPr lang="fr-FR" sz="1000" b="0" cap="none">
                <a:solidFill>
                  <a:schemeClr val="tx1"/>
                </a:solidFill>
              </a:rPr>
              <a:t>les </a:t>
            </a:r>
            <a:r>
              <a:rPr lang="fr-FR" sz="1000" cap="none">
                <a:solidFill>
                  <a:schemeClr val="tx1"/>
                </a:solidFill>
              </a:rPr>
              <a:t>plans de mise sous contrôle </a:t>
            </a:r>
            <a:r>
              <a:rPr lang="fr-FR" sz="1000" b="0" cap="none">
                <a:solidFill>
                  <a:schemeClr val="tx1"/>
                </a:solidFill>
              </a:rPr>
              <a:t>des risques dès l’identification de ces derniers</a:t>
            </a:r>
          </a:p>
          <a:p>
            <a:pPr marL="228600" indent="-228600">
              <a:spcBef>
                <a:spcPts val="600"/>
              </a:spcBef>
              <a:buClr>
                <a:schemeClr val="accent1"/>
              </a:buClr>
              <a:buFont typeface="Arial" panose="020B0604020202020204" pitchFamily="34" charset="0"/>
              <a:buChar char="•"/>
            </a:pPr>
            <a:r>
              <a:rPr lang="fr-FR" sz="1000" cap="none">
                <a:solidFill>
                  <a:schemeClr val="tx1"/>
                </a:solidFill>
              </a:rPr>
              <a:t>Piloter leur exécution </a:t>
            </a:r>
            <a:r>
              <a:rPr lang="fr-FR" sz="1000" b="0" cap="none">
                <a:solidFill>
                  <a:schemeClr val="tx1"/>
                </a:solidFill>
              </a:rPr>
              <a:t>(suivi des plans d’actions et réévaluation des probabilités et impacts)</a:t>
            </a:r>
          </a:p>
          <a:p>
            <a:pPr marL="228600" indent="-228600">
              <a:spcBef>
                <a:spcPts val="600"/>
              </a:spcBef>
              <a:buClr>
                <a:schemeClr val="accent1"/>
              </a:buClr>
              <a:buFont typeface="Arial" panose="020B0604020202020204" pitchFamily="34" charset="0"/>
              <a:buChar char="•"/>
            </a:pPr>
            <a:r>
              <a:rPr lang="fr-FR" sz="1000" b="0" cap="none">
                <a:solidFill>
                  <a:schemeClr val="tx1"/>
                </a:solidFill>
              </a:rPr>
              <a:t>Organiser des </a:t>
            </a:r>
            <a:r>
              <a:rPr lang="fr-FR" sz="1000" cap="none">
                <a:solidFill>
                  <a:schemeClr val="tx1"/>
                </a:solidFill>
              </a:rPr>
              <a:t>points </a:t>
            </a:r>
            <a:r>
              <a:rPr lang="fr-FR" sz="1000" i="1" cap="none">
                <a:solidFill>
                  <a:schemeClr val="tx1"/>
                </a:solidFill>
              </a:rPr>
              <a:t>ad hoc </a:t>
            </a:r>
            <a:r>
              <a:rPr lang="fr-FR" sz="1000" cap="none">
                <a:solidFill>
                  <a:schemeClr val="tx1"/>
                </a:solidFill>
              </a:rPr>
              <a:t>ou task-forces  </a:t>
            </a:r>
            <a:r>
              <a:rPr lang="fr-FR" sz="1000" b="0" cap="none">
                <a:solidFill>
                  <a:schemeClr val="tx1"/>
                </a:solidFill>
              </a:rPr>
              <a:t>mobilisant les acteurs nécessaires à la résolution des problèmes</a:t>
            </a:r>
          </a:p>
          <a:p>
            <a:pPr marL="228600" indent="-228600">
              <a:spcBef>
                <a:spcPts val="600"/>
              </a:spcBef>
              <a:buClr>
                <a:schemeClr val="accent1"/>
              </a:buClr>
              <a:buFont typeface="+mj-lt"/>
              <a:buAutoNum type="arabicPeriod"/>
            </a:pPr>
            <a:endParaRPr lang="fr-FR" sz="1000" b="0" cap="none">
              <a:solidFill>
                <a:schemeClr val="tx1"/>
              </a:solidFill>
            </a:endParaRPr>
          </a:p>
          <a:p>
            <a:pPr marL="228600" indent="-228600">
              <a:spcBef>
                <a:spcPts val="600"/>
              </a:spcBef>
              <a:buClr>
                <a:schemeClr val="accent1"/>
              </a:buClr>
              <a:buFont typeface="+mj-lt"/>
              <a:buAutoNum type="arabicPeriod"/>
            </a:pPr>
            <a:endParaRPr lang="fr-FR" sz="1000" b="0" cap="none">
              <a:solidFill>
                <a:schemeClr val="tx1"/>
              </a:solidFill>
            </a:endParaRPr>
          </a:p>
        </p:txBody>
      </p:sp>
      <p:sp>
        <p:nvSpPr>
          <p:cNvPr id="27" name="Rectangle 26">
            <a:extLst>
              <a:ext uri="{FF2B5EF4-FFF2-40B4-BE49-F238E27FC236}">
                <a16:creationId xmlns:a16="http://schemas.microsoft.com/office/drawing/2014/main" id="{B6B92539-4B76-BE98-28B7-33156A44AA51}"/>
              </a:ext>
            </a:extLst>
          </p:cNvPr>
          <p:cNvSpPr/>
          <p:nvPr/>
        </p:nvSpPr>
        <p:spPr>
          <a:xfrm>
            <a:off x="5814969" y="1679790"/>
            <a:ext cx="1080000" cy="288000"/>
          </a:xfrm>
          <a:prstGeom prst="rect">
            <a:avLst/>
          </a:prstGeom>
          <a:solidFill>
            <a:schemeClr val="accent1">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a:t>CADRER</a:t>
            </a:r>
          </a:p>
        </p:txBody>
      </p:sp>
      <p:sp>
        <p:nvSpPr>
          <p:cNvPr id="28" name="Rectangle 27">
            <a:extLst>
              <a:ext uri="{FF2B5EF4-FFF2-40B4-BE49-F238E27FC236}">
                <a16:creationId xmlns:a16="http://schemas.microsoft.com/office/drawing/2014/main" id="{63A3981F-6994-40D4-2779-C844C61D1D13}"/>
              </a:ext>
            </a:extLst>
          </p:cNvPr>
          <p:cNvSpPr/>
          <p:nvPr/>
        </p:nvSpPr>
        <p:spPr>
          <a:xfrm>
            <a:off x="9452394" y="1679790"/>
            <a:ext cx="1080000" cy="288000"/>
          </a:xfrm>
          <a:prstGeom prst="rect">
            <a:avLst/>
          </a:prstGeom>
          <a:solidFill>
            <a:schemeClr val="bg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a:t>ANTICIPER</a:t>
            </a:r>
          </a:p>
        </p:txBody>
      </p:sp>
      <p:sp>
        <p:nvSpPr>
          <p:cNvPr id="29" name="Rectangle 28">
            <a:extLst>
              <a:ext uri="{FF2B5EF4-FFF2-40B4-BE49-F238E27FC236}">
                <a16:creationId xmlns:a16="http://schemas.microsoft.com/office/drawing/2014/main" id="{B4BA37ED-9679-88DE-23DF-9DCBDD040A3B}"/>
              </a:ext>
            </a:extLst>
          </p:cNvPr>
          <p:cNvSpPr/>
          <p:nvPr/>
        </p:nvSpPr>
        <p:spPr>
          <a:xfrm>
            <a:off x="9452394" y="3362285"/>
            <a:ext cx="1080000" cy="288000"/>
          </a:xfrm>
          <a:prstGeom prst="rect">
            <a:avLst/>
          </a:prstGeom>
          <a:solidFill>
            <a:schemeClr val="accent5">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fr-FR" sz="1200" b="1"/>
              <a:t>SECURISER</a:t>
            </a:r>
          </a:p>
        </p:txBody>
      </p:sp>
      <p:sp>
        <p:nvSpPr>
          <p:cNvPr id="30" name="Rectangle 29">
            <a:extLst>
              <a:ext uri="{FF2B5EF4-FFF2-40B4-BE49-F238E27FC236}">
                <a16:creationId xmlns:a16="http://schemas.microsoft.com/office/drawing/2014/main" id="{304FF7F7-C505-477A-BF45-885AEEB2704F}"/>
              </a:ext>
            </a:extLst>
          </p:cNvPr>
          <p:cNvSpPr/>
          <p:nvPr/>
        </p:nvSpPr>
        <p:spPr>
          <a:xfrm>
            <a:off x="5814969" y="3362285"/>
            <a:ext cx="1080000" cy="288000"/>
          </a:xfrm>
          <a:prstGeom prst="rect">
            <a:avLst/>
          </a:prstGeom>
          <a:solidFill>
            <a:schemeClr val="accent4">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a:t>INFORMER</a:t>
            </a:r>
          </a:p>
        </p:txBody>
      </p:sp>
      <p:pic>
        <p:nvPicPr>
          <p:cNvPr id="31" name="Image 30">
            <a:extLst>
              <a:ext uri="{FF2B5EF4-FFF2-40B4-BE49-F238E27FC236}">
                <a16:creationId xmlns:a16="http://schemas.microsoft.com/office/drawing/2014/main" id="{C318B216-BDEA-7D98-FF21-7C65478D48A5}"/>
              </a:ext>
            </a:extLst>
          </p:cNvPr>
          <p:cNvPicPr>
            <a:picLocks noChangeAspect="1"/>
          </p:cNvPicPr>
          <p:nvPr/>
        </p:nvPicPr>
        <p:blipFill>
          <a:blip r:embed="rId7">
            <a:duotone>
              <a:schemeClr val="accent4">
                <a:shade val="45000"/>
                <a:satMod val="135000"/>
              </a:schemeClr>
              <a:prstClr val="white"/>
            </a:duotone>
          </a:blip>
          <a:stretch>
            <a:fillRect/>
          </a:stretch>
        </p:blipFill>
        <p:spPr>
          <a:xfrm>
            <a:off x="8993256" y="5253995"/>
            <a:ext cx="335049" cy="360000"/>
          </a:xfrm>
          <a:prstGeom prst="rect">
            <a:avLst/>
          </a:prstGeom>
        </p:spPr>
      </p:pic>
    </p:spTree>
    <p:extLst>
      <p:ext uri="{BB962C8B-B14F-4D97-AF65-F5344CB8AC3E}">
        <p14:creationId xmlns:p14="http://schemas.microsoft.com/office/powerpoint/2010/main" val="37142644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11BF5BD-75C4-4E77-9598-7225EFF82CC5}"/>
              </a:ext>
            </a:extLst>
          </p:cNvPr>
          <p:cNvSpPr>
            <a:spLocks noGrp="1"/>
          </p:cNvSpPr>
          <p:nvPr>
            <p:ph type="title"/>
          </p:nvPr>
        </p:nvSpPr>
        <p:spPr/>
        <p:txBody>
          <a:bodyPr/>
          <a:lstStyle/>
          <a:p>
            <a:r>
              <a:rPr lang="fr-FR" sz="1600"/>
              <a:t>2. PRÉPARER ET ANIMER LES FORMATIONS</a:t>
            </a:r>
            <a:br>
              <a:rPr lang="fr-FR" sz="1600"/>
            </a:br>
            <a:r>
              <a:rPr lang="fr-FR" sz="1600" b="0">
                <a:solidFill>
                  <a:schemeClr val="bg2">
                    <a:lumMod val="60000"/>
                    <a:lumOff val="40000"/>
                  </a:schemeClr>
                </a:solidFill>
                <a:latin typeface="+mn-lt"/>
                <a:cs typeface="Arial" panose="020B0604020202020204" pitchFamily="34" charset="0"/>
              </a:rPr>
              <a:t>Démarche proposée</a:t>
            </a:r>
          </a:p>
        </p:txBody>
      </p:sp>
      <p:sp>
        <p:nvSpPr>
          <p:cNvPr id="4" name="Google Shape;201;g62decd456d_2_291">
            <a:extLst>
              <a:ext uri="{FF2B5EF4-FFF2-40B4-BE49-F238E27FC236}">
                <a16:creationId xmlns:a16="http://schemas.microsoft.com/office/drawing/2014/main" id="{DFE4ECB6-193A-41CD-8C1D-5A9AA8C9E006}"/>
              </a:ext>
            </a:extLst>
          </p:cNvPr>
          <p:cNvSpPr txBox="1"/>
          <p:nvPr/>
        </p:nvSpPr>
        <p:spPr>
          <a:xfrm>
            <a:off x="476395" y="1544139"/>
            <a:ext cx="3668400" cy="1620714"/>
          </a:xfrm>
          <a:prstGeom prst="rect">
            <a:avLst/>
          </a:prstGeom>
          <a:noFill/>
          <a:ln>
            <a:noFill/>
          </a:ln>
        </p:spPr>
        <p:txBody>
          <a:bodyPr spcFirstLastPara="1" wrap="square" lIns="91425" tIns="91425" rIns="91425" bIns="91425" anchor="t" anchorCtr="0">
            <a:noAutofit/>
          </a:bodyPr>
          <a:lstStyle/>
          <a:p>
            <a:pPr marL="171450" indent="-165100">
              <a:spcAft>
                <a:spcPts val="300"/>
              </a:spcAft>
              <a:buClr>
                <a:schemeClr val="accent4"/>
              </a:buClr>
              <a:buSzPts val="1100"/>
              <a:buFont typeface="Arial"/>
              <a:buChar char="•"/>
            </a:pPr>
            <a:r>
              <a:rPr lang="fr-FR" sz="900">
                <a:solidFill>
                  <a:srgbClr val="757070"/>
                </a:solidFill>
                <a:latin typeface="+mj-lt"/>
                <a:ea typeface="Montserrat"/>
                <a:cs typeface="Montserrat"/>
                <a:sym typeface="Montserrat"/>
              </a:rPr>
              <a:t>Construire une animation propre à faciliter l’échange métier autour de l’adoption de l’outil </a:t>
            </a:r>
          </a:p>
          <a:p>
            <a:pPr marL="444500" lvl="4" indent="-165100">
              <a:spcAft>
                <a:spcPts val="300"/>
              </a:spcAft>
              <a:buClr>
                <a:schemeClr val="accent4"/>
              </a:buClr>
              <a:buSzPts val="1100"/>
              <a:buFont typeface="Arial"/>
              <a:buChar char="•"/>
            </a:pPr>
            <a:r>
              <a:rPr lang="fr-FR" sz="900">
                <a:solidFill>
                  <a:srgbClr val="757070"/>
                </a:solidFill>
                <a:latin typeface="+mj-lt"/>
                <a:ea typeface="Montserrat"/>
                <a:cs typeface="Montserrat"/>
                <a:sym typeface="Montserrat"/>
              </a:rPr>
              <a:t>Outil qui intervient alors comme un levier d’amélioration des pratiques métier</a:t>
            </a:r>
          </a:p>
          <a:p>
            <a:pPr marL="444500" lvl="4" indent="-165100">
              <a:spcAft>
                <a:spcPts val="300"/>
              </a:spcAft>
              <a:buClr>
                <a:schemeClr val="accent4"/>
              </a:buClr>
              <a:buSzPts val="1100"/>
              <a:buFont typeface="Arial"/>
              <a:buChar char="•"/>
            </a:pPr>
            <a:r>
              <a:rPr lang="fr-FR" sz="900">
                <a:solidFill>
                  <a:srgbClr val="757070"/>
                </a:solidFill>
                <a:latin typeface="+mj-lt"/>
                <a:ea typeface="Montserrat"/>
                <a:cs typeface="Montserrat"/>
                <a:sym typeface="Montserrat"/>
              </a:rPr>
              <a:t>Conditions pour adopter au quotidien</a:t>
            </a:r>
          </a:p>
          <a:p>
            <a:pPr marL="171450" indent="-165100">
              <a:spcAft>
                <a:spcPts val="300"/>
              </a:spcAft>
              <a:buClr>
                <a:schemeClr val="accent4"/>
              </a:buClr>
              <a:buSzPts val="1100"/>
              <a:buFont typeface="Arial"/>
              <a:buChar char="•"/>
            </a:pPr>
            <a:r>
              <a:rPr lang="fr-FR" sz="900">
                <a:solidFill>
                  <a:srgbClr val="757070"/>
                </a:solidFill>
                <a:latin typeface="+mj-lt"/>
                <a:ea typeface="Montserrat"/>
                <a:cs typeface="Montserrat"/>
                <a:sym typeface="Montserrat"/>
              </a:rPr>
              <a:t>Elaborer une stratégie de formation qui dépasse la découverte des </a:t>
            </a:r>
            <a:r>
              <a:rPr lang="fr-FR" sz="900" err="1">
                <a:solidFill>
                  <a:srgbClr val="757070"/>
                </a:solidFill>
                <a:latin typeface="+mj-lt"/>
                <a:ea typeface="Montserrat"/>
                <a:cs typeface="Montserrat"/>
                <a:sym typeface="Montserrat"/>
              </a:rPr>
              <a:t>slideshow</a:t>
            </a:r>
            <a:r>
              <a:rPr lang="fr-FR" sz="900">
                <a:solidFill>
                  <a:srgbClr val="757070"/>
                </a:solidFill>
                <a:latin typeface="+mj-lt"/>
                <a:ea typeface="Montserrat"/>
                <a:cs typeface="Montserrat"/>
                <a:sym typeface="Montserrat"/>
              </a:rPr>
              <a:t> seuls (réflexion avant pendant après, par exemple au poste de travail)</a:t>
            </a:r>
          </a:p>
          <a:p>
            <a:pPr marL="171450" indent="-165100">
              <a:spcAft>
                <a:spcPts val="300"/>
              </a:spcAft>
              <a:buClr>
                <a:schemeClr val="accent4"/>
              </a:buClr>
              <a:buSzPts val="1100"/>
              <a:buFont typeface="Arial"/>
              <a:buChar char="•"/>
            </a:pPr>
            <a:r>
              <a:rPr lang="fr-FR" sz="900">
                <a:solidFill>
                  <a:srgbClr val="757070"/>
                </a:solidFill>
                <a:latin typeface="+mj-lt"/>
                <a:ea typeface="Montserrat"/>
                <a:cs typeface="Montserrat"/>
                <a:sym typeface="Montserrat"/>
              </a:rPr>
              <a:t>Constituer un collectif de formateur aptes à animer une telle démarche transformante </a:t>
            </a:r>
          </a:p>
          <a:p>
            <a:pPr marL="171450" lvl="0" indent="-165100">
              <a:spcAft>
                <a:spcPts val="300"/>
              </a:spcAft>
              <a:buClr>
                <a:schemeClr val="accent4"/>
              </a:buClr>
              <a:buSzPts val="1100"/>
              <a:buChar char="•"/>
            </a:pPr>
            <a:r>
              <a:rPr lang="fr-FR" sz="900">
                <a:solidFill>
                  <a:srgbClr val="757070"/>
                </a:solidFill>
                <a:latin typeface="+mj-lt"/>
                <a:ea typeface="Montserrat"/>
                <a:cs typeface="Montserrat"/>
                <a:sym typeface="Montserrat"/>
              </a:rPr>
              <a:t>Créer du contenu de formation évolutif et réutilisable</a:t>
            </a:r>
          </a:p>
          <a:p>
            <a:pPr marL="171450" lvl="0" indent="-165100">
              <a:spcAft>
                <a:spcPts val="300"/>
              </a:spcAft>
              <a:buClr>
                <a:schemeClr val="accent4"/>
              </a:buClr>
              <a:buSzPts val="1100"/>
              <a:buChar char="•"/>
            </a:pPr>
            <a:r>
              <a:rPr lang="fr-FR" sz="900">
                <a:solidFill>
                  <a:srgbClr val="757070"/>
                </a:solidFill>
                <a:latin typeface="+mj-lt"/>
                <a:ea typeface="Montserrat"/>
                <a:cs typeface="Montserrat"/>
                <a:sym typeface="Montserrat"/>
              </a:rPr>
              <a:t>Embarquer les nouveaux arrivants</a:t>
            </a:r>
          </a:p>
        </p:txBody>
      </p:sp>
      <p:pic>
        <p:nvPicPr>
          <p:cNvPr id="5" name="Google Shape;189;g62decd456d_2_291">
            <a:extLst>
              <a:ext uri="{FF2B5EF4-FFF2-40B4-BE49-F238E27FC236}">
                <a16:creationId xmlns:a16="http://schemas.microsoft.com/office/drawing/2014/main" id="{8D4A21DA-4CA0-49B7-AD78-0F9B8A7532E6}"/>
              </a:ext>
            </a:extLst>
          </p:cNvPr>
          <p:cNvPicPr preferRelativeResize="0"/>
          <p:nvPr/>
        </p:nvPicPr>
        <p:blipFill>
          <a:blip r:embed="rId3">
            <a:alphaModFix/>
          </a:blip>
          <a:stretch>
            <a:fillRect/>
          </a:stretch>
        </p:blipFill>
        <p:spPr>
          <a:xfrm>
            <a:off x="476397" y="1116859"/>
            <a:ext cx="383635" cy="383634"/>
          </a:xfrm>
          <a:prstGeom prst="rect">
            <a:avLst/>
          </a:prstGeom>
          <a:noFill/>
          <a:ln>
            <a:noFill/>
          </a:ln>
        </p:spPr>
      </p:pic>
      <p:pic>
        <p:nvPicPr>
          <p:cNvPr id="6" name="Google Shape;190;g62decd456d_2_291">
            <a:extLst>
              <a:ext uri="{FF2B5EF4-FFF2-40B4-BE49-F238E27FC236}">
                <a16:creationId xmlns:a16="http://schemas.microsoft.com/office/drawing/2014/main" id="{CCA51F63-3D45-49D1-A294-FEE7069F69F3}"/>
              </a:ext>
            </a:extLst>
          </p:cNvPr>
          <p:cNvPicPr preferRelativeResize="0"/>
          <p:nvPr/>
        </p:nvPicPr>
        <p:blipFill>
          <a:blip r:embed="rId4">
            <a:alphaModFix/>
          </a:blip>
          <a:stretch>
            <a:fillRect/>
          </a:stretch>
        </p:blipFill>
        <p:spPr>
          <a:xfrm>
            <a:off x="476395" y="3634633"/>
            <a:ext cx="368880" cy="368879"/>
          </a:xfrm>
          <a:prstGeom prst="rect">
            <a:avLst/>
          </a:prstGeom>
          <a:noFill/>
          <a:ln>
            <a:noFill/>
          </a:ln>
        </p:spPr>
      </p:pic>
      <p:pic>
        <p:nvPicPr>
          <p:cNvPr id="7" name="Google Shape;192;g62decd456d_2_291">
            <a:extLst>
              <a:ext uri="{FF2B5EF4-FFF2-40B4-BE49-F238E27FC236}">
                <a16:creationId xmlns:a16="http://schemas.microsoft.com/office/drawing/2014/main" id="{917A7A55-7496-4AA5-B913-66B9922A7AB0}"/>
              </a:ext>
            </a:extLst>
          </p:cNvPr>
          <p:cNvPicPr preferRelativeResize="0"/>
          <p:nvPr/>
        </p:nvPicPr>
        <p:blipFill>
          <a:blip r:embed="rId5">
            <a:alphaModFix/>
          </a:blip>
          <a:stretch>
            <a:fillRect/>
          </a:stretch>
        </p:blipFill>
        <p:spPr>
          <a:xfrm>
            <a:off x="4465994" y="1124237"/>
            <a:ext cx="354125" cy="368879"/>
          </a:xfrm>
          <a:prstGeom prst="rect">
            <a:avLst/>
          </a:prstGeom>
          <a:noFill/>
          <a:ln>
            <a:noFill/>
          </a:ln>
        </p:spPr>
      </p:pic>
      <p:cxnSp>
        <p:nvCxnSpPr>
          <p:cNvPr id="8" name="Google Shape;194;g62decd456d_2_291">
            <a:extLst>
              <a:ext uri="{FF2B5EF4-FFF2-40B4-BE49-F238E27FC236}">
                <a16:creationId xmlns:a16="http://schemas.microsoft.com/office/drawing/2014/main" id="{9B35EB87-18EF-4C68-8104-C08FBB737A15}"/>
              </a:ext>
            </a:extLst>
          </p:cNvPr>
          <p:cNvCxnSpPr>
            <a:cxnSpLocks/>
          </p:cNvCxnSpPr>
          <p:nvPr/>
        </p:nvCxnSpPr>
        <p:spPr>
          <a:xfrm>
            <a:off x="476395" y="1563842"/>
            <a:ext cx="3668400" cy="0"/>
          </a:xfrm>
          <a:prstGeom prst="straightConnector1">
            <a:avLst/>
          </a:prstGeom>
          <a:noFill/>
          <a:ln w="9525" cap="flat" cmpd="sng">
            <a:solidFill>
              <a:srgbClr val="7F7F7F"/>
            </a:solidFill>
            <a:prstDash val="solid"/>
            <a:round/>
            <a:headEnd type="none" w="med" len="med"/>
            <a:tailEnd type="none" w="med" len="med"/>
          </a:ln>
        </p:spPr>
      </p:cxnSp>
      <p:sp>
        <p:nvSpPr>
          <p:cNvPr id="9" name="Google Shape;195;g62decd456d_2_291">
            <a:extLst>
              <a:ext uri="{FF2B5EF4-FFF2-40B4-BE49-F238E27FC236}">
                <a16:creationId xmlns:a16="http://schemas.microsoft.com/office/drawing/2014/main" id="{B9D16533-3C4E-49F8-8625-77A29914D708}"/>
              </a:ext>
            </a:extLst>
          </p:cNvPr>
          <p:cNvSpPr txBox="1"/>
          <p:nvPr/>
        </p:nvSpPr>
        <p:spPr>
          <a:xfrm>
            <a:off x="843950" y="1141426"/>
            <a:ext cx="1827000" cy="334500"/>
          </a:xfrm>
          <a:prstGeom prst="rect">
            <a:avLst/>
          </a:prstGeom>
          <a:noFill/>
          <a:ln>
            <a:noFill/>
          </a:ln>
        </p:spPr>
        <p:txBody>
          <a:bodyPr spcFirstLastPara="1" wrap="square" lIns="91425" tIns="91425" rIns="91425" bIns="91425" anchor="ctr" anchorCtr="0">
            <a:noAutofit/>
          </a:bodyPr>
          <a:lstStyle/>
          <a:p>
            <a:pPr>
              <a:buClr>
                <a:srgbClr val="000000"/>
              </a:buClr>
              <a:buFont typeface="Arial"/>
              <a:buNone/>
            </a:pPr>
            <a:r>
              <a:rPr lang="fr-FR" sz="1200" b="1" kern="0">
                <a:solidFill>
                  <a:srgbClr val="767171"/>
                </a:solidFill>
                <a:latin typeface="+mj-lt"/>
                <a:ea typeface="Montserrat"/>
                <a:cs typeface="Montserrat"/>
                <a:sym typeface="Montserrat"/>
              </a:rPr>
              <a:t>OBJECTIFS</a:t>
            </a:r>
            <a:r>
              <a:rPr lang="fr-FR" sz="1200" kern="0">
                <a:solidFill>
                  <a:srgbClr val="000000"/>
                </a:solidFill>
                <a:latin typeface="+mj-lt"/>
                <a:ea typeface="Montserrat"/>
                <a:cs typeface="Montserrat"/>
                <a:sym typeface="Montserrat"/>
              </a:rPr>
              <a:t> </a:t>
            </a:r>
            <a:endParaRPr sz="1200" kern="0">
              <a:solidFill>
                <a:srgbClr val="000000"/>
              </a:solidFill>
              <a:latin typeface="+mj-lt"/>
              <a:ea typeface="Montserrat"/>
              <a:cs typeface="Montserrat"/>
              <a:sym typeface="Montserrat"/>
            </a:endParaRPr>
          </a:p>
        </p:txBody>
      </p:sp>
      <p:sp>
        <p:nvSpPr>
          <p:cNvPr id="10" name="Google Shape;196;g62decd456d_2_291">
            <a:extLst>
              <a:ext uri="{FF2B5EF4-FFF2-40B4-BE49-F238E27FC236}">
                <a16:creationId xmlns:a16="http://schemas.microsoft.com/office/drawing/2014/main" id="{2C1BE3D3-AF86-4F00-99E9-C106820D1EEC}"/>
              </a:ext>
            </a:extLst>
          </p:cNvPr>
          <p:cNvSpPr txBox="1"/>
          <p:nvPr/>
        </p:nvSpPr>
        <p:spPr>
          <a:xfrm>
            <a:off x="843950" y="3659189"/>
            <a:ext cx="2556205" cy="334500"/>
          </a:xfrm>
          <a:prstGeom prst="rect">
            <a:avLst/>
          </a:prstGeom>
          <a:noFill/>
          <a:ln>
            <a:noFill/>
          </a:ln>
        </p:spPr>
        <p:txBody>
          <a:bodyPr spcFirstLastPara="1" wrap="square" lIns="91425" tIns="91425" rIns="91425" bIns="91425" anchor="ctr" anchorCtr="0">
            <a:noAutofit/>
          </a:bodyPr>
          <a:lstStyle/>
          <a:p>
            <a:pPr>
              <a:buClr>
                <a:srgbClr val="000000"/>
              </a:buClr>
              <a:buFont typeface="Arial"/>
              <a:buNone/>
            </a:pPr>
            <a:r>
              <a:rPr lang="fr-FR" sz="1200" b="1" kern="0">
                <a:solidFill>
                  <a:srgbClr val="767171"/>
                </a:solidFill>
                <a:latin typeface="+mj-lt"/>
                <a:ea typeface="Montserrat"/>
                <a:cs typeface="Montserrat"/>
                <a:sym typeface="Montserrat"/>
              </a:rPr>
              <a:t>FACTEURS CLES DE SUCCES</a:t>
            </a:r>
            <a:endParaRPr sz="1200" kern="0">
              <a:solidFill>
                <a:srgbClr val="000000"/>
              </a:solidFill>
              <a:latin typeface="+mj-lt"/>
              <a:ea typeface="Montserrat"/>
              <a:cs typeface="Montserrat"/>
              <a:sym typeface="Montserrat"/>
            </a:endParaRPr>
          </a:p>
        </p:txBody>
      </p:sp>
      <p:sp>
        <p:nvSpPr>
          <p:cNvPr id="11" name="Google Shape;198;g62decd456d_2_291">
            <a:extLst>
              <a:ext uri="{FF2B5EF4-FFF2-40B4-BE49-F238E27FC236}">
                <a16:creationId xmlns:a16="http://schemas.microsoft.com/office/drawing/2014/main" id="{C292AB15-E768-45D5-AD2A-5C819B23BD9F}"/>
              </a:ext>
            </a:extLst>
          </p:cNvPr>
          <p:cNvSpPr txBox="1"/>
          <p:nvPr/>
        </p:nvSpPr>
        <p:spPr>
          <a:xfrm>
            <a:off x="4818794" y="1141426"/>
            <a:ext cx="3600000" cy="334500"/>
          </a:xfrm>
          <a:prstGeom prst="rect">
            <a:avLst/>
          </a:prstGeom>
          <a:noFill/>
          <a:ln>
            <a:noFill/>
          </a:ln>
        </p:spPr>
        <p:txBody>
          <a:bodyPr spcFirstLastPara="1" wrap="square" lIns="91425" tIns="91425" rIns="91425" bIns="91425" anchor="ctr" anchorCtr="0">
            <a:noAutofit/>
          </a:bodyPr>
          <a:lstStyle/>
          <a:p>
            <a:r>
              <a:rPr lang="fr-FR" sz="1200" b="1">
                <a:solidFill>
                  <a:srgbClr val="767171"/>
                </a:solidFill>
                <a:latin typeface="+mj-lt"/>
                <a:ea typeface="Montserrat"/>
                <a:cs typeface="Montserrat"/>
                <a:sym typeface="Montserrat"/>
              </a:rPr>
              <a:t>DÉMARCHE</a:t>
            </a:r>
            <a:endParaRPr lang="fr-FR" sz="1200" b="1">
              <a:solidFill>
                <a:srgbClr val="767171"/>
              </a:solidFill>
              <a:latin typeface="+mj-lt"/>
              <a:cs typeface="Montserrat"/>
              <a:sym typeface="Montserrat"/>
            </a:endParaRPr>
          </a:p>
        </p:txBody>
      </p:sp>
      <p:cxnSp>
        <p:nvCxnSpPr>
          <p:cNvPr id="12" name="Google Shape;199;g62decd456d_2_291">
            <a:extLst>
              <a:ext uri="{FF2B5EF4-FFF2-40B4-BE49-F238E27FC236}">
                <a16:creationId xmlns:a16="http://schemas.microsoft.com/office/drawing/2014/main" id="{5FBBD91D-8660-43E8-AAAC-8ECF816A7DB7}"/>
              </a:ext>
            </a:extLst>
          </p:cNvPr>
          <p:cNvCxnSpPr>
            <a:cxnSpLocks/>
          </p:cNvCxnSpPr>
          <p:nvPr/>
        </p:nvCxnSpPr>
        <p:spPr>
          <a:xfrm>
            <a:off x="4465994" y="1563834"/>
            <a:ext cx="7246581" cy="0"/>
          </a:xfrm>
          <a:prstGeom prst="straightConnector1">
            <a:avLst/>
          </a:prstGeom>
          <a:noFill/>
          <a:ln w="9525" cap="flat" cmpd="sng">
            <a:solidFill>
              <a:srgbClr val="7F7F7F"/>
            </a:solidFill>
            <a:prstDash val="solid"/>
            <a:round/>
            <a:headEnd type="none" w="med" len="med"/>
            <a:tailEnd type="none" w="med" len="med"/>
          </a:ln>
        </p:spPr>
      </p:cxnSp>
      <p:sp>
        <p:nvSpPr>
          <p:cNvPr id="13" name="Google Shape;202;g62decd456d_2_291">
            <a:extLst>
              <a:ext uri="{FF2B5EF4-FFF2-40B4-BE49-F238E27FC236}">
                <a16:creationId xmlns:a16="http://schemas.microsoft.com/office/drawing/2014/main" id="{E22D3A68-8C63-4250-BAEB-59D55544985D}"/>
              </a:ext>
            </a:extLst>
          </p:cNvPr>
          <p:cNvSpPr txBox="1"/>
          <p:nvPr/>
        </p:nvSpPr>
        <p:spPr>
          <a:xfrm>
            <a:off x="476395" y="4045839"/>
            <a:ext cx="3668400" cy="1484467"/>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Char char="•"/>
            </a:pPr>
            <a:r>
              <a:rPr lang="fr-FR" sz="900">
                <a:solidFill>
                  <a:srgbClr val="757070"/>
                </a:solidFill>
                <a:latin typeface="+mj-lt"/>
                <a:ea typeface="Montserrat"/>
                <a:cs typeface="Montserrat"/>
                <a:sym typeface="Montserrat"/>
              </a:rPr>
              <a:t>Favoriser le transfert entre pairs</a:t>
            </a:r>
          </a:p>
          <a:p>
            <a:pPr marL="171450" lvl="0" indent="-165100">
              <a:spcAft>
                <a:spcPts val="300"/>
              </a:spcAft>
              <a:buClr>
                <a:schemeClr val="accent4"/>
              </a:buClr>
              <a:buSzPts val="1100"/>
              <a:buChar char="•"/>
            </a:pPr>
            <a:r>
              <a:rPr lang="fr-FR" sz="900">
                <a:solidFill>
                  <a:srgbClr val="757070"/>
                </a:solidFill>
                <a:latin typeface="+mj-lt"/>
                <a:ea typeface="Montserrat"/>
                <a:cs typeface="Montserrat"/>
                <a:sym typeface="Montserrat"/>
              </a:rPr>
              <a:t>Faciliter les échanges métiers lors des formations </a:t>
            </a:r>
          </a:p>
          <a:p>
            <a:pPr marL="171450" lvl="0" indent="-165100">
              <a:spcAft>
                <a:spcPts val="300"/>
              </a:spcAft>
              <a:buClr>
                <a:schemeClr val="accent4"/>
              </a:buClr>
              <a:buSzPts val="1100"/>
              <a:buChar char="•"/>
            </a:pPr>
            <a:r>
              <a:rPr lang="fr-FR" sz="900">
                <a:solidFill>
                  <a:srgbClr val="757070"/>
                </a:solidFill>
                <a:latin typeface="+mj-lt"/>
                <a:ea typeface="Montserrat"/>
                <a:cs typeface="Montserrat"/>
                <a:sym typeface="Montserrat"/>
              </a:rPr>
              <a:t>Garantir la disponibilité de contenus pédagogiques en libre accès</a:t>
            </a:r>
          </a:p>
          <a:p>
            <a:pPr marL="171450" lvl="0" indent="-165100">
              <a:spcAft>
                <a:spcPts val="300"/>
              </a:spcAft>
              <a:buClr>
                <a:schemeClr val="accent4"/>
              </a:buClr>
              <a:buSzPts val="1100"/>
              <a:buChar char="•"/>
            </a:pPr>
            <a:r>
              <a:rPr lang="fr-FR" sz="900">
                <a:solidFill>
                  <a:srgbClr val="757070"/>
                </a:solidFill>
                <a:latin typeface="+mj-lt"/>
                <a:ea typeface="Montserrat"/>
                <a:cs typeface="Montserrat"/>
                <a:sym typeface="Montserrat"/>
              </a:rPr>
              <a:t>Connaître les enjeux et les métiers pour délivrer une formation orientée vers la cible TN</a:t>
            </a:r>
          </a:p>
          <a:p>
            <a:pPr marL="171450" lvl="0" indent="-165100">
              <a:spcAft>
                <a:spcPts val="300"/>
              </a:spcAft>
              <a:buClr>
                <a:schemeClr val="accent4"/>
              </a:buClr>
              <a:buSzPts val="1100"/>
              <a:buChar char="•"/>
            </a:pPr>
            <a:r>
              <a:rPr lang="fr-FR" sz="900">
                <a:solidFill>
                  <a:srgbClr val="757070"/>
                </a:solidFill>
                <a:latin typeface="+mj-lt"/>
                <a:ea typeface="Montserrat"/>
                <a:cs typeface="Montserrat"/>
                <a:sym typeface="Montserrat"/>
              </a:rPr>
              <a:t>Présence d’un expert métier lors du déroulé des formations</a:t>
            </a:r>
          </a:p>
          <a:p>
            <a:pPr marL="171450" lvl="0" indent="-165100">
              <a:spcAft>
                <a:spcPts val="300"/>
              </a:spcAft>
              <a:buClr>
                <a:schemeClr val="accent4"/>
              </a:buClr>
              <a:buSzPts val="1100"/>
              <a:buChar char="•"/>
            </a:pPr>
            <a:r>
              <a:rPr lang="fr-FR" sz="900">
                <a:solidFill>
                  <a:srgbClr val="757070"/>
                </a:solidFill>
                <a:latin typeface="+mj-lt"/>
                <a:ea typeface="Montserrat"/>
                <a:cs typeface="Montserrat"/>
                <a:sym typeface="Montserrat"/>
              </a:rPr>
              <a:t>Garantir un temps dédié des participants pour les formations</a:t>
            </a:r>
          </a:p>
        </p:txBody>
      </p:sp>
      <p:cxnSp>
        <p:nvCxnSpPr>
          <p:cNvPr id="14" name="Google Shape;206;g62decd456d_2_291">
            <a:extLst>
              <a:ext uri="{FF2B5EF4-FFF2-40B4-BE49-F238E27FC236}">
                <a16:creationId xmlns:a16="http://schemas.microsoft.com/office/drawing/2014/main" id="{CA362DFC-94B7-4CD5-8459-C95A5EA44217}"/>
              </a:ext>
            </a:extLst>
          </p:cNvPr>
          <p:cNvCxnSpPr>
            <a:cxnSpLocks/>
          </p:cNvCxnSpPr>
          <p:nvPr/>
        </p:nvCxnSpPr>
        <p:spPr>
          <a:xfrm>
            <a:off x="476395" y="4076343"/>
            <a:ext cx="3668400" cy="0"/>
          </a:xfrm>
          <a:prstGeom prst="straightConnector1">
            <a:avLst/>
          </a:prstGeom>
          <a:noFill/>
          <a:ln w="9525" cap="flat" cmpd="sng">
            <a:solidFill>
              <a:srgbClr val="7F7F7F"/>
            </a:solidFill>
            <a:prstDash val="solid"/>
            <a:round/>
            <a:headEnd type="none" w="med" len="med"/>
            <a:tailEnd type="none" w="med" len="med"/>
          </a:ln>
        </p:spPr>
      </p:cxnSp>
      <p:sp>
        <p:nvSpPr>
          <p:cNvPr id="15" name="Google Shape;198;g62decd456d_2_291">
            <a:extLst>
              <a:ext uri="{FF2B5EF4-FFF2-40B4-BE49-F238E27FC236}">
                <a16:creationId xmlns:a16="http://schemas.microsoft.com/office/drawing/2014/main" id="{864E3EB6-63A0-4187-87C2-15847F11EF55}"/>
              </a:ext>
            </a:extLst>
          </p:cNvPr>
          <p:cNvSpPr txBox="1"/>
          <p:nvPr/>
        </p:nvSpPr>
        <p:spPr>
          <a:xfrm>
            <a:off x="843950" y="5360763"/>
            <a:ext cx="1827000" cy="334500"/>
          </a:xfrm>
          <a:prstGeom prst="rect">
            <a:avLst/>
          </a:prstGeom>
          <a:noFill/>
          <a:ln>
            <a:noFill/>
          </a:ln>
        </p:spPr>
        <p:txBody>
          <a:bodyPr spcFirstLastPara="1" wrap="square" lIns="91425" tIns="91425" rIns="91425" bIns="91425" anchor="ctr" anchorCtr="0">
            <a:noAutofit/>
          </a:bodyPr>
          <a:lstStyle/>
          <a:p>
            <a:pPr>
              <a:buClr>
                <a:srgbClr val="000000"/>
              </a:buClr>
              <a:buFont typeface="Arial"/>
              <a:buNone/>
            </a:pPr>
            <a:r>
              <a:rPr lang="fr-FR" sz="1200" b="1">
                <a:solidFill>
                  <a:srgbClr val="767171"/>
                </a:solidFill>
                <a:latin typeface="+mj-lt"/>
                <a:ea typeface="Montserrat"/>
                <a:cs typeface="Montserrat"/>
                <a:sym typeface="Montserrat"/>
              </a:rPr>
              <a:t>LIVRABLES</a:t>
            </a:r>
            <a:endParaRPr sz="1200" kern="0">
              <a:solidFill>
                <a:srgbClr val="000000"/>
              </a:solidFill>
              <a:latin typeface="+mj-lt"/>
              <a:ea typeface="Montserrat"/>
              <a:cs typeface="Montserrat"/>
              <a:sym typeface="Montserrat"/>
            </a:endParaRPr>
          </a:p>
        </p:txBody>
      </p:sp>
      <p:cxnSp>
        <p:nvCxnSpPr>
          <p:cNvPr id="16" name="Google Shape;199;g62decd456d_2_291">
            <a:extLst>
              <a:ext uri="{FF2B5EF4-FFF2-40B4-BE49-F238E27FC236}">
                <a16:creationId xmlns:a16="http://schemas.microsoft.com/office/drawing/2014/main" id="{B8AE57C4-69CE-4608-8DDB-7E6E3218F160}"/>
              </a:ext>
            </a:extLst>
          </p:cNvPr>
          <p:cNvCxnSpPr>
            <a:cxnSpLocks/>
          </p:cNvCxnSpPr>
          <p:nvPr/>
        </p:nvCxnSpPr>
        <p:spPr>
          <a:xfrm>
            <a:off x="476395" y="5708221"/>
            <a:ext cx="3668400" cy="0"/>
          </a:xfrm>
          <a:prstGeom prst="straightConnector1">
            <a:avLst/>
          </a:prstGeom>
          <a:noFill/>
          <a:ln w="9525" cap="flat" cmpd="sng">
            <a:solidFill>
              <a:srgbClr val="7F7F7F"/>
            </a:solidFill>
            <a:prstDash val="solid"/>
            <a:round/>
            <a:headEnd type="none" w="med" len="med"/>
            <a:tailEnd type="none" w="med" len="med"/>
          </a:ln>
        </p:spPr>
      </p:cxnSp>
      <p:sp>
        <p:nvSpPr>
          <p:cNvPr id="17" name="Google Shape;202;g62decd456d_2_291">
            <a:extLst>
              <a:ext uri="{FF2B5EF4-FFF2-40B4-BE49-F238E27FC236}">
                <a16:creationId xmlns:a16="http://schemas.microsoft.com/office/drawing/2014/main" id="{081C14F2-F0CF-453C-B5E6-3AB28B427042}"/>
              </a:ext>
            </a:extLst>
          </p:cNvPr>
          <p:cNvSpPr txBox="1"/>
          <p:nvPr/>
        </p:nvSpPr>
        <p:spPr>
          <a:xfrm>
            <a:off x="476395" y="5722217"/>
            <a:ext cx="3628607" cy="1047802"/>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Char char="•"/>
            </a:pPr>
            <a:r>
              <a:rPr lang="fr-FR" sz="900">
                <a:solidFill>
                  <a:srgbClr val="757070"/>
                </a:solidFill>
                <a:latin typeface="+mj-lt"/>
                <a:sym typeface="Montserrat"/>
              </a:rPr>
              <a:t>Nouveaux support de formation « papier » et digitaux (</a:t>
            </a:r>
            <a:r>
              <a:rPr lang="fr-FR" sz="900" err="1">
                <a:solidFill>
                  <a:srgbClr val="757070"/>
                </a:solidFill>
                <a:latin typeface="+mj-lt"/>
                <a:sym typeface="Montserrat"/>
              </a:rPr>
              <a:t>cf</a:t>
            </a:r>
            <a:r>
              <a:rPr lang="fr-FR" sz="900">
                <a:solidFill>
                  <a:srgbClr val="757070"/>
                </a:solidFill>
                <a:latin typeface="+mj-lt"/>
                <a:sym typeface="Montserrat"/>
              </a:rPr>
              <a:t> focus tutoriels)</a:t>
            </a:r>
          </a:p>
          <a:p>
            <a:pPr marL="171450" lvl="0" indent="-165100">
              <a:spcAft>
                <a:spcPts val="300"/>
              </a:spcAft>
              <a:buClr>
                <a:schemeClr val="accent4"/>
              </a:buClr>
              <a:buSzPts val="1100"/>
              <a:buChar char="•"/>
            </a:pPr>
            <a:r>
              <a:rPr lang="fr-FR" sz="900">
                <a:solidFill>
                  <a:srgbClr val="757070"/>
                </a:solidFill>
                <a:latin typeface="+mj-lt"/>
                <a:sym typeface="Montserrat"/>
              </a:rPr>
              <a:t>Feuilles d’émargement des stagiaires</a:t>
            </a:r>
          </a:p>
          <a:p>
            <a:pPr marL="171450" lvl="0" indent="-165100">
              <a:spcAft>
                <a:spcPts val="300"/>
              </a:spcAft>
              <a:buClr>
                <a:schemeClr val="accent4"/>
              </a:buClr>
              <a:buSzPts val="1100"/>
              <a:buChar char="•"/>
            </a:pPr>
            <a:r>
              <a:rPr lang="fr-FR" sz="900">
                <a:solidFill>
                  <a:srgbClr val="757070"/>
                </a:solidFill>
                <a:latin typeface="+mj-lt"/>
                <a:sym typeface="Montserrat"/>
              </a:rPr>
              <a:t>CR du déroulé des formations</a:t>
            </a:r>
          </a:p>
        </p:txBody>
      </p:sp>
      <p:pic>
        <p:nvPicPr>
          <p:cNvPr id="24" name="Google Shape;193;g62decd456d_2_291">
            <a:extLst>
              <a:ext uri="{FF2B5EF4-FFF2-40B4-BE49-F238E27FC236}">
                <a16:creationId xmlns:a16="http://schemas.microsoft.com/office/drawing/2014/main" id="{07A552B2-1363-45E7-BB1D-2B6DAE61A8ED}"/>
              </a:ext>
            </a:extLst>
          </p:cNvPr>
          <p:cNvPicPr preferRelativeResize="0"/>
          <p:nvPr/>
        </p:nvPicPr>
        <p:blipFill>
          <a:blip r:embed="rId6">
            <a:alphaModFix/>
          </a:blip>
          <a:stretch>
            <a:fillRect/>
          </a:stretch>
        </p:blipFill>
        <p:spPr>
          <a:xfrm>
            <a:off x="476395" y="5311824"/>
            <a:ext cx="368880" cy="368879"/>
          </a:xfrm>
          <a:prstGeom prst="rect">
            <a:avLst/>
          </a:prstGeom>
          <a:noFill/>
          <a:ln>
            <a:noFill/>
          </a:ln>
        </p:spPr>
      </p:pic>
      <p:sp>
        <p:nvSpPr>
          <p:cNvPr id="18" name="Rectangle 17">
            <a:extLst>
              <a:ext uri="{FF2B5EF4-FFF2-40B4-BE49-F238E27FC236}">
                <a16:creationId xmlns:a16="http://schemas.microsoft.com/office/drawing/2014/main" id="{4C19FCF4-D461-0058-13D2-B028F508BBEA}"/>
              </a:ext>
            </a:extLst>
          </p:cNvPr>
          <p:cNvSpPr/>
          <p:nvPr/>
        </p:nvSpPr>
        <p:spPr>
          <a:xfrm>
            <a:off x="8531169" y="2192497"/>
            <a:ext cx="3097525" cy="407323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algn="ctr"/>
            <a:endParaRPr lang="fr-FR" sz="1200" b="1">
              <a:solidFill>
                <a:schemeClr val="bg2"/>
              </a:solidFill>
            </a:endParaRPr>
          </a:p>
          <a:p>
            <a:pPr algn="ctr"/>
            <a:r>
              <a:rPr lang="fr-FR" sz="1200" b="1">
                <a:solidFill>
                  <a:schemeClr val="bg2"/>
                </a:solidFill>
              </a:rPr>
              <a:t>Déroulé cyclique des formations</a:t>
            </a:r>
          </a:p>
        </p:txBody>
      </p:sp>
      <p:sp>
        <p:nvSpPr>
          <p:cNvPr id="21" name="Rectangle 20">
            <a:extLst>
              <a:ext uri="{FF2B5EF4-FFF2-40B4-BE49-F238E27FC236}">
                <a16:creationId xmlns:a16="http://schemas.microsoft.com/office/drawing/2014/main" id="{2806116F-6F2D-1385-E97D-25A261E917CC}"/>
              </a:ext>
            </a:extLst>
          </p:cNvPr>
          <p:cNvSpPr/>
          <p:nvPr/>
        </p:nvSpPr>
        <p:spPr>
          <a:xfrm>
            <a:off x="4590900" y="2192497"/>
            <a:ext cx="3881820" cy="40732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algn="ctr"/>
            <a:endParaRPr lang="fr-FR" sz="800" b="1">
              <a:solidFill>
                <a:schemeClr val="tx1">
                  <a:lumMod val="50000"/>
                  <a:lumOff val="50000"/>
                </a:schemeClr>
              </a:solidFill>
            </a:endParaRPr>
          </a:p>
          <a:p>
            <a:pPr algn="ctr"/>
            <a:r>
              <a:rPr lang="fr-FR" sz="1200" b="1">
                <a:solidFill>
                  <a:schemeClr val="tx1">
                    <a:lumMod val="50000"/>
                    <a:lumOff val="50000"/>
                  </a:schemeClr>
                </a:solidFill>
              </a:rPr>
              <a:t>Phase de montée en compétences des formateurs</a:t>
            </a:r>
          </a:p>
        </p:txBody>
      </p:sp>
      <p:grpSp>
        <p:nvGrpSpPr>
          <p:cNvPr id="26" name="Groupe 25">
            <a:extLst>
              <a:ext uri="{FF2B5EF4-FFF2-40B4-BE49-F238E27FC236}">
                <a16:creationId xmlns:a16="http://schemas.microsoft.com/office/drawing/2014/main" id="{1F2CEE5A-5DBC-EEC6-4BF8-195AA9480179}"/>
              </a:ext>
            </a:extLst>
          </p:cNvPr>
          <p:cNvGrpSpPr/>
          <p:nvPr/>
        </p:nvGrpSpPr>
        <p:grpSpPr>
          <a:xfrm rot="3415149">
            <a:off x="9078642" y="3486437"/>
            <a:ext cx="2000353" cy="2017701"/>
            <a:chOff x="3143711" y="1896225"/>
            <a:chExt cx="2803337" cy="2827649"/>
          </a:xfrm>
        </p:grpSpPr>
        <p:sp>
          <p:nvSpPr>
            <p:cNvPr id="27" name="Google Shape;741;p28">
              <a:extLst>
                <a:ext uri="{FF2B5EF4-FFF2-40B4-BE49-F238E27FC236}">
                  <a16:creationId xmlns:a16="http://schemas.microsoft.com/office/drawing/2014/main" id="{16D55485-4FB0-03CE-0C8E-9C3CADE447F9}"/>
                </a:ext>
              </a:extLst>
            </p:cNvPr>
            <p:cNvSpPr/>
            <p:nvPr/>
          </p:nvSpPr>
          <p:spPr>
            <a:xfrm rot="-411518">
              <a:off x="4628351" y="1923190"/>
              <a:ext cx="1318697" cy="1839614"/>
            </a:xfrm>
            <a:custGeom>
              <a:avLst/>
              <a:gdLst/>
              <a:ahLst/>
              <a:cxnLst/>
              <a:rect l="l" t="t" r="r" b="b"/>
              <a:pathLst>
                <a:path w="9645" h="13455" extrusionOk="0">
                  <a:moveTo>
                    <a:pt x="250" y="0"/>
                  </a:moveTo>
                  <a:lnTo>
                    <a:pt x="3024" y="2762"/>
                  </a:lnTo>
                  <a:lnTo>
                    <a:pt x="0" y="5787"/>
                  </a:lnTo>
                  <a:cubicBezTo>
                    <a:pt x="1643" y="6203"/>
                    <a:pt x="2846" y="7692"/>
                    <a:pt x="2846" y="9466"/>
                  </a:cubicBezTo>
                  <a:lnTo>
                    <a:pt x="1667" y="9466"/>
                  </a:lnTo>
                  <a:lnTo>
                    <a:pt x="2691" y="10490"/>
                  </a:lnTo>
                  <a:lnTo>
                    <a:pt x="5656" y="13454"/>
                  </a:lnTo>
                  <a:lnTo>
                    <a:pt x="8501" y="10609"/>
                  </a:lnTo>
                  <a:lnTo>
                    <a:pt x="9644" y="9466"/>
                  </a:lnTo>
                  <a:lnTo>
                    <a:pt x="8573" y="9466"/>
                  </a:lnTo>
                  <a:cubicBezTo>
                    <a:pt x="8573" y="4608"/>
                    <a:pt x="4941" y="607"/>
                    <a:pt x="250" y="0"/>
                  </a:cubicBezTo>
                  <a:close/>
                </a:path>
              </a:pathLst>
            </a:custGeom>
            <a:solidFill>
              <a:schemeClr val="bg2"/>
            </a:solidFill>
            <a:ln w="12700"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742;p28">
              <a:extLst>
                <a:ext uri="{FF2B5EF4-FFF2-40B4-BE49-F238E27FC236}">
                  <a16:creationId xmlns:a16="http://schemas.microsoft.com/office/drawing/2014/main" id="{4812D65E-8EEF-9459-113B-985ABFF621B3}"/>
                </a:ext>
              </a:extLst>
            </p:cNvPr>
            <p:cNvSpPr/>
            <p:nvPr/>
          </p:nvSpPr>
          <p:spPr>
            <a:xfrm rot="-411518">
              <a:off x="4093039" y="3398614"/>
              <a:ext cx="1842895" cy="1325260"/>
            </a:xfrm>
            <a:custGeom>
              <a:avLst/>
              <a:gdLst/>
              <a:ahLst/>
              <a:cxnLst/>
              <a:rect l="l" t="t" r="r" b="b"/>
              <a:pathLst>
                <a:path w="13479" h="9693" extrusionOk="0">
                  <a:moveTo>
                    <a:pt x="7644" y="1"/>
                  </a:moveTo>
                  <a:cubicBezTo>
                    <a:pt x="7203" y="1608"/>
                    <a:pt x="5727" y="2787"/>
                    <a:pt x="3989" y="2787"/>
                  </a:cubicBezTo>
                  <a:lnTo>
                    <a:pt x="3989" y="1703"/>
                  </a:lnTo>
                  <a:lnTo>
                    <a:pt x="3012" y="2668"/>
                  </a:lnTo>
                  <a:lnTo>
                    <a:pt x="0" y="5692"/>
                  </a:lnTo>
                  <a:lnTo>
                    <a:pt x="2762" y="8454"/>
                  </a:lnTo>
                  <a:lnTo>
                    <a:pt x="4001" y="9692"/>
                  </a:lnTo>
                  <a:lnTo>
                    <a:pt x="4001" y="8537"/>
                  </a:lnTo>
                  <a:cubicBezTo>
                    <a:pt x="8882" y="8537"/>
                    <a:pt x="12918" y="4858"/>
                    <a:pt x="13478" y="120"/>
                  </a:cubicBezTo>
                  <a:lnTo>
                    <a:pt x="13478" y="120"/>
                  </a:lnTo>
                  <a:lnTo>
                    <a:pt x="10609" y="2965"/>
                  </a:lnTo>
                  <a:lnTo>
                    <a:pt x="7644" y="1"/>
                  </a:lnTo>
                  <a:close/>
                </a:path>
              </a:pathLst>
            </a:custGeom>
            <a:solidFill>
              <a:schemeClr val="bg2">
                <a:lumMod val="75000"/>
              </a:schemeClr>
            </a:solidFill>
            <a:ln w="12700"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743;p28">
              <a:extLst>
                <a:ext uri="{FF2B5EF4-FFF2-40B4-BE49-F238E27FC236}">
                  <a16:creationId xmlns:a16="http://schemas.microsoft.com/office/drawing/2014/main" id="{8ED0AF20-1080-498A-9988-D0BB7C3F5BE2}"/>
                </a:ext>
              </a:extLst>
            </p:cNvPr>
            <p:cNvSpPr/>
            <p:nvPr/>
          </p:nvSpPr>
          <p:spPr>
            <a:xfrm rot="-411518">
              <a:off x="3143711" y="2857296"/>
              <a:ext cx="1321979" cy="1839614"/>
            </a:xfrm>
            <a:custGeom>
              <a:avLst/>
              <a:gdLst/>
              <a:ahLst/>
              <a:cxnLst/>
              <a:rect l="l" t="t" r="r" b="b"/>
              <a:pathLst>
                <a:path w="9669" h="13455" extrusionOk="0">
                  <a:moveTo>
                    <a:pt x="3989" y="1"/>
                  </a:moveTo>
                  <a:lnTo>
                    <a:pt x="1132" y="2858"/>
                  </a:lnTo>
                  <a:lnTo>
                    <a:pt x="0" y="3990"/>
                  </a:lnTo>
                  <a:lnTo>
                    <a:pt x="1072" y="3990"/>
                  </a:lnTo>
                  <a:cubicBezTo>
                    <a:pt x="1072" y="8847"/>
                    <a:pt x="4703" y="12848"/>
                    <a:pt x="9394" y="13455"/>
                  </a:cubicBezTo>
                  <a:lnTo>
                    <a:pt x="6632" y="10693"/>
                  </a:lnTo>
                  <a:lnTo>
                    <a:pt x="9668" y="7680"/>
                  </a:lnTo>
                  <a:cubicBezTo>
                    <a:pt x="8025" y="7264"/>
                    <a:pt x="6823" y="5775"/>
                    <a:pt x="6823" y="4001"/>
                  </a:cubicBezTo>
                  <a:lnTo>
                    <a:pt x="8001" y="4001"/>
                  </a:lnTo>
                  <a:lnTo>
                    <a:pt x="6954" y="2966"/>
                  </a:lnTo>
                  <a:lnTo>
                    <a:pt x="3989" y="1"/>
                  </a:lnTo>
                  <a:close/>
                </a:path>
              </a:pathLst>
            </a:custGeom>
            <a:solidFill>
              <a:schemeClr val="bg2">
                <a:lumMod val="40000"/>
                <a:lumOff val="60000"/>
              </a:schemeClr>
            </a:solidFill>
            <a:ln w="12700">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744;p28">
              <a:extLst>
                <a:ext uri="{FF2B5EF4-FFF2-40B4-BE49-F238E27FC236}">
                  <a16:creationId xmlns:a16="http://schemas.microsoft.com/office/drawing/2014/main" id="{B38F9819-771F-BEA1-6798-E7FB8BC7386B}"/>
                </a:ext>
              </a:extLst>
            </p:cNvPr>
            <p:cNvSpPr/>
            <p:nvPr/>
          </p:nvSpPr>
          <p:spPr>
            <a:xfrm rot="-411518">
              <a:off x="3156365" y="1896225"/>
              <a:ext cx="1842895" cy="1323619"/>
            </a:xfrm>
            <a:custGeom>
              <a:avLst/>
              <a:gdLst/>
              <a:ahLst/>
              <a:cxnLst/>
              <a:rect l="l" t="t" r="r" b="b"/>
              <a:pathLst>
                <a:path w="13479" h="9681" extrusionOk="0">
                  <a:moveTo>
                    <a:pt x="9490" y="1"/>
                  </a:moveTo>
                  <a:lnTo>
                    <a:pt x="9490" y="1168"/>
                  </a:lnTo>
                  <a:cubicBezTo>
                    <a:pt x="4608" y="1168"/>
                    <a:pt x="572" y="4847"/>
                    <a:pt x="0" y="9574"/>
                  </a:cubicBezTo>
                  <a:lnTo>
                    <a:pt x="2870" y="6716"/>
                  </a:lnTo>
                  <a:lnTo>
                    <a:pt x="5823" y="9681"/>
                  </a:lnTo>
                  <a:cubicBezTo>
                    <a:pt x="6275" y="8085"/>
                    <a:pt x="7739" y="6907"/>
                    <a:pt x="9490" y="6907"/>
                  </a:cubicBezTo>
                  <a:lnTo>
                    <a:pt x="9490" y="8002"/>
                  </a:lnTo>
                  <a:lnTo>
                    <a:pt x="10454" y="7026"/>
                  </a:lnTo>
                  <a:lnTo>
                    <a:pt x="13478" y="4013"/>
                  </a:lnTo>
                  <a:lnTo>
                    <a:pt x="10716" y="1239"/>
                  </a:lnTo>
                  <a:lnTo>
                    <a:pt x="9490" y="1"/>
                  </a:lnTo>
                  <a:close/>
                </a:path>
              </a:pathLst>
            </a:custGeom>
            <a:solidFill>
              <a:schemeClr val="bg2">
                <a:lumMod val="60000"/>
                <a:lumOff val="40000"/>
              </a:schemeClr>
            </a:solidFill>
            <a:ln w="12700"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1" name="Flèche : bas 30">
            <a:extLst>
              <a:ext uri="{FF2B5EF4-FFF2-40B4-BE49-F238E27FC236}">
                <a16:creationId xmlns:a16="http://schemas.microsoft.com/office/drawing/2014/main" id="{405F34FB-112B-D9B2-6EC3-A4ED7F783C35}"/>
              </a:ext>
            </a:extLst>
          </p:cNvPr>
          <p:cNvSpPr/>
          <p:nvPr/>
        </p:nvSpPr>
        <p:spPr>
          <a:xfrm rot="16200000">
            <a:off x="7682864" y="3721176"/>
            <a:ext cx="1018572" cy="1517208"/>
          </a:xfrm>
          <a:prstGeom prst="downArrow">
            <a:avLst>
              <a:gd name="adj1" fmla="val 50000"/>
              <a:gd name="adj2" fmla="val 31841"/>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lèche : bas 31">
            <a:extLst>
              <a:ext uri="{FF2B5EF4-FFF2-40B4-BE49-F238E27FC236}">
                <a16:creationId xmlns:a16="http://schemas.microsoft.com/office/drawing/2014/main" id="{D87ED807-D69B-7F3C-2931-614001082529}"/>
              </a:ext>
            </a:extLst>
          </p:cNvPr>
          <p:cNvSpPr/>
          <p:nvPr/>
        </p:nvSpPr>
        <p:spPr>
          <a:xfrm rot="16200000">
            <a:off x="6520264" y="3990576"/>
            <a:ext cx="1018572" cy="978408"/>
          </a:xfrm>
          <a:prstGeom prst="downArrow">
            <a:avLst>
              <a:gd name="adj1" fmla="val 50000"/>
              <a:gd name="adj2" fmla="val 31841"/>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lèche : bas 32">
            <a:extLst>
              <a:ext uri="{FF2B5EF4-FFF2-40B4-BE49-F238E27FC236}">
                <a16:creationId xmlns:a16="http://schemas.microsoft.com/office/drawing/2014/main" id="{E0CF212E-28AF-9982-0C26-8E76888A25EE}"/>
              </a:ext>
            </a:extLst>
          </p:cNvPr>
          <p:cNvSpPr/>
          <p:nvPr/>
        </p:nvSpPr>
        <p:spPr>
          <a:xfrm rot="16200000">
            <a:off x="5627063" y="3990576"/>
            <a:ext cx="1018572" cy="978408"/>
          </a:xfrm>
          <a:prstGeom prst="downArrow">
            <a:avLst>
              <a:gd name="adj1" fmla="val 50000"/>
              <a:gd name="adj2" fmla="val 31841"/>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lèche : bas 33">
            <a:extLst>
              <a:ext uri="{FF2B5EF4-FFF2-40B4-BE49-F238E27FC236}">
                <a16:creationId xmlns:a16="http://schemas.microsoft.com/office/drawing/2014/main" id="{957B383E-53CF-7FA5-13B8-D53C4073A878}"/>
              </a:ext>
            </a:extLst>
          </p:cNvPr>
          <p:cNvSpPr/>
          <p:nvPr/>
        </p:nvSpPr>
        <p:spPr>
          <a:xfrm rot="16200000">
            <a:off x="4733862" y="3990576"/>
            <a:ext cx="1018572" cy="978408"/>
          </a:xfrm>
          <a:prstGeom prst="downArrow">
            <a:avLst>
              <a:gd name="adj1" fmla="val 50000"/>
              <a:gd name="adj2" fmla="val 31841"/>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TextBox 55">
            <a:extLst>
              <a:ext uri="{FF2B5EF4-FFF2-40B4-BE49-F238E27FC236}">
                <a16:creationId xmlns:a16="http://schemas.microsoft.com/office/drawing/2014/main" id="{A1D2A6E9-9A53-78E5-9DE0-4B4AFF0A7351}"/>
              </a:ext>
            </a:extLst>
          </p:cNvPr>
          <p:cNvSpPr txBox="1"/>
          <p:nvPr/>
        </p:nvSpPr>
        <p:spPr>
          <a:xfrm>
            <a:off x="4579144" y="3239407"/>
            <a:ext cx="1060133" cy="577081"/>
          </a:xfrm>
          <a:prstGeom prst="rect">
            <a:avLst/>
          </a:prstGeom>
          <a:noFill/>
        </p:spPr>
        <p:txBody>
          <a:bodyPr wrap="square" rtlCol="0" anchor="b">
            <a:spAutoFit/>
          </a:bodyPr>
          <a:lstStyle/>
          <a:p>
            <a:pPr lvl="0" algn="ctr">
              <a:defRPr/>
            </a:pPr>
            <a:r>
              <a:rPr lang="fr-FR" sz="1050">
                <a:solidFill>
                  <a:schemeClr val="tx1"/>
                </a:solidFill>
              </a:rPr>
              <a:t>Initiation aux enjeux et au contexte TN</a:t>
            </a:r>
          </a:p>
        </p:txBody>
      </p:sp>
      <p:sp>
        <p:nvSpPr>
          <p:cNvPr id="36" name="TextBox 57">
            <a:extLst>
              <a:ext uri="{FF2B5EF4-FFF2-40B4-BE49-F238E27FC236}">
                <a16:creationId xmlns:a16="http://schemas.microsoft.com/office/drawing/2014/main" id="{A25C2952-F2CE-5BAC-075A-0EF54F2C0F20}"/>
              </a:ext>
            </a:extLst>
          </p:cNvPr>
          <p:cNvSpPr txBox="1"/>
          <p:nvPr/>
        </p:nvSpPr>
        <p:spPr>
          <a:xfrm>
            <a:off x="6173673" y="3241713"/>
            <a:ext cx="1380748" cy="577081"/>
          </a:xfrm>
          <a:prstGeom prst="rect">
            <a:avLst/>
          </a:prstGeom>
          <a:noFill/>
        </p:spPr>
        <p:txBody>
          <a:bodyPr wrap="square" rtlCol="0" anchor="b">
            <a:spAutoFit/>
          </a:bodyPr>
          <a:lstStyle/>
          <a:p>
            <a:pPr lvl="0" algn="ctr">
              <a:defRPr/>
            </a:pPr>
            <a:r>
              <a:rPr lang="fr-FR" sz="1050">
                <a:solidFill>
                  <a:schemeClr val="tx1"/>
                </a:solidFill>
              </a:rPr>
              <a:t>Suivi de sessions « Vis ma vie » </a:t>
            </a:r>
          </a:p>
          <a:p>
            <a:pPr lvl="0" algn="ctr">
              <a:defRPr/>
            </a:pPr>
            <a:r>
              <a:rPr lang="fr-FR" sz="1050">
                <a:solidFill>
                  <a:schemeClr val="tx1"/>
                </a:solidFill>
              </a:rPr>
              <a:t>sur les lignes</a:t>
            </a:r>
          </a:p>
        </p:txBody>
      </p:sp>
      <p:sp>
        <p:nvSpPr>
          <p:cNvPr id="37" name="TextBox 58">
            <a:extLst>
              <a:ext uri="{FF2B5EF4-FFF2-40B4-BE49-F238E27FC236}">
                <a16:creationId xmlns:a16="http://schemas.microsoft.com/office/drawing/2014/main" id="{396A7D0D-95A7-CED1-64F5-DF302CAC8062}"/>
              </a:ext>
            </a:extLst>
          </p:cNvPr>
          <p:cNvSpPr txBox="1"/>
          <p:nvPr/>
        </p:nvSpPr>
        <p:spPr>
          <a:xfrm>
            <a:off x="7334693" y="5089074"/>
            <a:ext cx="1180575" cy="738664"/>
          </a:xfrm>
          <a:prstGeom prst="rect">
            <a:avLst/>
          </a:prstGeom>
          <a:noFill/>
        </p:spPr>
        <p:txBody>
          <a:bodyPr wrap="square" rtlCol="0">
            <a:spAutoFit/>
          </a:bodyPr>
          <a:lstStyle/>
          <a:p>
            <a:pPr lvl="0" algn="ctr">
              <a:defRPr/>
            </a:pPr>
            <a:r>
              <a:rPr lang="fr-FR" sz="1050">
                <a:solidFill>
                  <a:schemeClr val="tx1"/>
                </a:solidFill>
              </a:rPr>
              <a:t>Coanimation des premières formations en fond de salle</a:t>
            </a:r>
          </a:p>
        </p:txBody>
      </p:sp>
      <p:sp>
        <p:nvSpPr>
          <p:cNvPr id="38" name="TextBox 55">
            <a:extLst>
              <a:ext uri="{FF2B5EF4-FFF2-40B4-BE49-F238E27FC236}">
                <a16:creationId xmlns:a16="http://schemas.microsoft.com/office/drawing/2014/main" id="{C572C046-2020-CB04-745D-E0F351EBB6A9}"/>
              </a:ext>
            </a:extLst>
          </p:cNvPr>
          <p:cNvSpPr txBox="1"/>
          <p:nvPr/>
        </p:nvSpPr>
        <p:spPr>
          <a:xfrm>
            <a:off x="5494299" y="5094942"/>
            <a:ext cx="121635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chemeClr val="tx1"/>
                </a:solidFill>
                <a:effectLst/>
                <a:uLnTx/>
                <a:uFillTx/>
                <a:sym typeface="Arial"/>
              </a:rPr>
              <a:t>Découverte des métiers</a:t>
            </a:r>
            <a:r>
              <a:rPr lang="fr-FR" sz="1050">
                <a:solidFill>
                  <a:schemeClr val="tx1"/>
                </a:solidFill>
              </a:rPr>
              <a:t> du périmètre de formation</a:t>
            </a:r>
            <a:endParaRPr kumimoji="0" lang="fr-FR" sz="1050" b="0" i="0" u="none" strike="noStrike" kern="0" cap="none" spc="0" normalizeH="0" baseline="0" noProof="0">
              <a:ln>
                <a:noFill/>
              </a:ln>
              <a:solidFill>
                <a:schemeClr val="tx1"/>
              </a:solidFill>
              <a:effectLst/>
              <a:uLnTx/>
              <a:uFillTx/>
              <a:sym typeface="Arial"/>
            </a:endParaRPr>
          </a:p>
        </p:txBody>
      </p:sp>
      <p:sp>
        <p:nvSpPr>
          <p:cNvPr id="39" name="TextBox 59">
            <a:extLst>
              <a:ext uri="{FF2B5EF4-FFF2-40B4-BE49-F238E27FC236}">
                <a16:creationId xmlns:a16="http://schemas.microsoft.com/office/drawing/2014/main" id="{639BEA8A-94AA-981B-E7FE-7BEBF52D5CA8}"/>
              </a:ext>
            </a:extLst>
          </p:cNvPr>
          <p:cNvSpPr txBox="1"/>
          <p:nvPr/>
        </p:nvSpPr>
        <p:spPr>
          <a:xfrm>
            <a:off x="10388216" y="5524941"/>
            <a:ext cx="1240477" cy="557451"/>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algn="l"/>
            <a:r>
              <a:rPr lang="fr-FR" sz="1050">
                <a:solidFill>
                  <a:schemeClr val="tx1"/>
                </a:solidFill>
              </a:rPr>
              <a:t>Organisation et animation des formations</a:t>
            </a:r>
          </a:p>
        </p:txBody>
      </p:sp>
      <p:sp>
        <p:nvSpPr>
          <p:cNvPr id="40" name="TextBox 60">
            <a:extLst>
              <a:ext uri="{FF2B5EF4-FFF2-40B4-BE49-F238E27FC236}">
                <a16:creationId xmlns:a16="http://schemas.microsoft.com/office/drawing/2014/main" id="{09DFE226-DE17-2FBF-3540-BE5968287E80}"/>
              </a:ext>
            </a:extLst>
          </p:cNvPr>
          <p:cNvSpPr txBox="1"/>
          <p:nvPr/>
        </p:nvSpPr>
        <p:spPr>
          <a:xfrm>
            <a:off x="8660380" y="5543926"/>
            <a:ext cx="1216351" cy="395869"/>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algn="r"/>
            <a:r>
              <a:rPr lang="fr-FR" sz="1050">
                <a:solidFill>
                  <a:schemeClr val="tx1"/>
                </a:solidFill>
              </a:rPr>
              <a:t>Rendre compte des formations réalisées</a:t>
            </a:r>
          </a:p>
        </p:txBody>
      </p:sp>
      <p:sp>
        <p:nvSpPr>
          <p:cNvPr id="41" name="TextBox 59">
            <a:extLst>
              <a:ext uri="{FF2B5EF4-FFF2-40B4-BE49-F238E27FC236}">
                <a16:creationId xmlns:a16="http://schemas.microsoft.com/office/drawing/2014/main" id="{C87F2A53-C3ED-764F-96A5-2B0B1AF5BEC8}"/>
              </a:ext>
            </a:extLst>
          </p:cNvPr>
          <p:cNvSpPr txBox="1"/>
          <p:nvPr/>
        </p:nvSpPr>
        <p:spPr>
          <a:xfrm>
            <a:off x="10222277" y="2929395"/>
            <a:ext cx="1317060" cy="557451"/>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algn="l"/>
            <a:r>
              <a:rPr lang="fr-FR" sz="1050">
                <a:solidFill>
                  <a:schemeClr val="tx1"/>
                </a:solidFill>
              </a:rPr>
              <a:t>Préparation / Amélioration des supports de formation</a:t>
            </a:r>
          </a:p>
        </p:txBody>
      </p:sp>
      <p:sp>
        <p:nvSpPr>
          <p:cNvPr id="42" name="TextBox 59">
            <a:extLst>
              <a:ext uri="{FF2B5EF4-FFF2-40B4-BE49-F238E27FC236}">
                <a16:creationId xmlns:a16="http://schemas.microsoft.com/office/drawing/2014/main" id="{AD423B49-EFA2-C58A-5AB6-FEA2F8E92899}"/>
              </a:ext>
            </a:extLst>
          </p:cNvPr>
          <p:cNvSpPr txBox="1"/>
          <p:nvPr/>
        </p:nvSpPr>
        <p:spPr>
          <a:xfrm>
            <a:off x="8531169" y="2929396"/>
            <a:ext cx="1517208" cy="557451"/>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algn="r"/>
            <a:r>
              <a:rPr lang="fr-FR" sz="1050">
                <a:solidFill>
                  <a:schemeClr val="tx1"/>
                </a:solidFill>
              </a:rPr>
              <a:t>Analyse et prise en compte des retours des formations précédentes</a:t>
            </a:r>
          </a:p>
        </p:txBody>
      </p:sp>
      <p:sp>
        <p:nvSpPr>
          <p:cNvPr id="43" name="Rectangle : coins arrondis 42">
            <a:extLst>
              <a:ext uri="{FF2B5EF4-FFF2-40B4-BE49-F238E27FC236}">
                <a16:creationId xmlns:a16="http://schemas.microsoft.com/office/drawing/2014/main" id="{A2E89265-A832-44BC-DB37-CB056035C8A7}"/>
              </a:ext>
            </a:extLst>
          </p:cNvPr>
          <p:cNvSpPr/>
          <p:nvPr/>
        </p:nvSpPr>
        <p:spPr>
          <a:xfrm>
            <a:off x="5709616" y="2092180"/>
            <a:ext cx="1644387" cy="266117"/>
          </a:xfrm>
          <a:prstGeom prst="roundRect">
            <a:avLst>
              <a:gd name="adj" fmla="val 50000"/>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Avril – Août 2023</a:t>
            </a:r>
          </a:p>
        </p:txBody>
      </p:sp>
      <p:sp>
        <p:nvSpPr>
          <p:cNvPr id="44" name="Rectangle : coins arrondis 43">
            <a:extLst>
              <a:ext uri="{FF2B5EF4-FFF2-40B4-BE49-F238E27FC236}">
                <a16:creationId xmlns:a16="http://schemas.microsoft.com/office/drawing/2014/main" id="{89772F3D-8179-8C06-AFB3-40218B1F3A9B}"/>
              </a:ext>
            </a:extLst>
          </p:cNvPr>
          <p:cNvSpPr/>
          <p:nvPr/>
        </p:nvSpPr>
        <p:spPr>
          <a:xfrm>
            <a:off x="9257737" y="2092180"/>
            <a:ext cx="1644387" cy="266117"/>
          </a:xfrm>
          <a:prstGeom prst="roundRect">
            <a:avLst>
              <a:gd name="adj" fmla="val 50000"/>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A partir Août 2023</a:t>
            </a:r>
          </a:p>
        </p:txBody>
      </p:sp>
      <p:pic>
        <p:nvPicPr>
          <p:cNvPr id="45" name="Graphique 44" descr="Calendrier journalier avec un remplissage uni">
            <a:extLst>
              <a:ext uri="{FF2B5EF4-FFF2-40B4-BE49-F238E27FC236}">
                <a16:creationId xmlns:a16="http://schemas.microsoft.com/office/drawing/2014/main" id="{33D684BD-1708-7137-BEC5-721AE2399D4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95364" y="1636223"/>
            <a:ext cx="489964" cy="489964"/>
          </a:xfrm>
          <a:prstGeom prst="rect">
            <a:avLst/>
          </a:prstGeom>
        </p:spPr>
      </p:pic>
      <p:pic>
        <p:nvPicPr>
          <p:cNvPr id="46" name="Graphique 45" descr="Calendrier journalier avec un remplissage uni">
            <a:extLst>
              <a:ext uri="{FF2B5EF4-FFF2-40B4-BE49-F238E27FC236}">
                <a16:creationId xmlns:a16="http://schemas.microsoft.com/office/drawing/2014/main" id="{F2D4D600-9118-84B3-79E3-1D4D560590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26412" y="1634553"/>
            <a:ext cx="489964" cy="489964"/>
          </a:xfrm>
          <a:prstGeom prst="rect">
            <a:avLst/>
          </a:prstGeom>
        </p:spPr>
      </p:pic>
      <p:cxnSp>
        <p:nvCxnSpPr>
          <p:cNvPr id="47" name="Connecteur droit 46">
            <a:extLst>
              <a:ext uri="{FF2B5EF4-FFF2-40B4-BE49-F238E27FC236}">
                <a16:creationId xmlns:a16="http://schemas.microsoft.com/office/drawing/2014/main" id="{CA6E44B2-D37D-8819-0722-4D4086D8D4B2}"/>
              </a:ext>
            </a:extLst>
          </p:cNvPr>
          <p:cNvCxnSpPr>
            <a:cxnSpLocks/>
          </p:cNvCxnSpPr>
          <p:nvPr/>
        </p:nvCxnSpPr>
        <p:spPr>
          <a:xfrm flipV="1">
            <a:off x="5105551" y="3922838"/>
            <a:ext cx="0" cy="386598"/>
          </a:xfrm>
          <a:prstGeom prst="line">
            <a:avLst/>
          </a:prstGeom>
          <a:ln w="19050" cap="rnd">
            <a:solidFill>
              <a:schemeClr val="bg1">
                <a:lumMod val="75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6EA0C923-8FE3-5E3B-CFB0-635B999341EE}"/>
              </a:ext>
            </a:extLst>
          </p:cNvPr>
          <p:cNvCxnSpPr>
            <a:cxnSpLocks/>
          </p:cNvCxnSpPr>
          <p:nvPr/>
        </p:nvCxnSpPr>
        <p:spPr>
          <a:xfrm flipV="1">
            <a:off x="6883297" y="3922838"/>
            <a:ext cx="0" cy="386598"/>
          </a:xfrm>
          <a:prstGeom prst="line">
            <a:avLst/>
          </a:prstGeom>
          <a:ln w="19050" cap="rnd">
            <a:solidFill>
              <a:schemeClr val="bg1">
                <a:lumMod val="50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49" name="Connecteur droit 48">
            <a:extLst>
              <a:ext uri="{FF2B5EF4-FFF2-40B4-BE49-F238E27FC236}">
                <a16:creationId xmlns:a16="http://schemas.microsoft.com/office/drawing/2014/main" id="{E1F3793B-9C12-7FE2-172F-2D71D423035A}"/>
              </a:ext>
            </a:extLst>
          </p:cNvPr>
          <p:cNvCxnSpPr>
            <a:cxnSpLocks/>
          </p:cNvCxnSpPr>
          <p:nvPr/>
        </p:nvCxnSpPr>
        <p:spPr>
          <a:xfrm flipH="1">
            <a:off x="6031731" y="4631343"/>
            <a:ext cx="0" cy="386598"/>
          </a:xfrm>
          <a:prstGeom prst="line">
            <a:avLst/>
          </a:prstGeom>
          <a:ln w="19050" cap="rnd">
            <a:solidFill>
              <a:schemeClr val="bg1">
                <a:lumMod val="65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50" name="Connecteur droit 49">
            <a:extLst>
              <a:ext uri="{FF2B5EF4-FFF2-40B4-BE49-F238E27FC236}">
                <a16:creationId xmlns:a16="http://schemas.microsoft.com/office/drawing/2014/main" id="{09D14A5C-5A65-7065-01DA-B9EC42C4453C}"/>
              </a:ext>
            </a:extLst>
          </p:cNvPr>
          <p:cNvCxnSpPr>
            <a:cxnSpLocks/>
          </p:cNvCxnSpPr>
          <p:nvPr/>
        </p:nvCxnSpPr>
        <p:spPr>
          <a:xfrm flipH="1">
            <a:off x="7938788" y="4631343"/>
            <a:ext cx="0" cy="386598"/>
          </a:xfrm>
          <a:prstGeom prst="line">
            <a:avLst/>
          </a:prstGeom>
          <a:ln w="19050" cap="rnd">
            <a:solidFill>
              <a:schemeClr val="tx1">
                <a:lumMod val="65000"/>
                <a:lumOff val="35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51" name="Connecteur : en angle 50">
            <a:extLst>
              <a:ext uri="{FF2B5EF4-FFF2-40B4-BE49-F238E27FC236}">
                <a16:creationId xmlns:a16="http://schemas.microsoft.com/office/drawing/2014/main" id="{8C4FD16A-35FD-67BD-04A0-4AFC03F22229}"/>
              </a:ext>
            </a:extLst>
          </p:cNvPr>
          <p:cNvCxnSpPr>
            <a:cxnSpLocks/>
          </p:cNvCxnSpPr>
          <p:nvPr/>
        </p:nvCxnSpPr>
        <p:spPr>
          <a:xfrm rot="16200000" flipV="1">
            <a:off x="8898457" y="3577644"/>
            <a:ext cx="483647" cy="379051"/>
          </a:xfrm>
          <a:prstGeom prst="bentConnector3">
            <a:avLst>
              <a:gd name="adj1" fmla="val 69902"/>
            </a:avLst>
          </a:prstGeom>
          <a:ln w="1905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2" name="Connecteur : en angle 51">
            <a:extLst>
              <a:ext uri="{FF2B5EF4-FFF2-40B4-BE49-F238E27FC236}">
                <a16:creationId xmlns:a16="http://schemas.microsoft.com/office/drawing/2014/main" id="{AE063126-C1B2-AD3B-C7E8-B51FD4CCC074}"/>
              </a:ext>
            </a:extLst>
          </p:cNvPr>
          <p:cNvCxnSpPr>
            <a:cxnSpLocks/>
          </p:cNvCxnSpPr>
          <p:nvPr/>
        </p:nvCxnSpPr>
        <p:spPr>
          <a:xfrm rot="5400000">
            <a:off x="10599889" y="3539144"/>
            <a:ext cx="483647" cy="379051"/>
          </a:xfrm>
          <a:prstGeom prst="bentConnector3">
            <a:avLst>
              <a:gd name="adj1" fmla="val 32089"/>
            </a:avLst>
          </a:prstGeom>
          <a:ln w="190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 name="Connecteur : en angle 52">
            <a:extLst>
              <a:ext uri="{FF2B5EF4-FFF2-40B4-BE49-F238E27FC236}">
                <a16:creationId xmlns:a16="http://schemas.microsoft.com/office/drawing/2014/main" id="{AF8DF9F0-F0AC-984D-54B5-5A79A30586C1}"/>
              </a:ext>
            </a:extLst>
          </p:cNvPr>
          <p:cNvCxnSpPr>
            <a:cxnSpLocks/>
          </p:cNvCxnSpPr>
          <p:nvPr/>
        </p:nvCxnSpPr>
        <p:spPr>
          <a:xfrm rot="5400000" flipH="1" flipV="1">
            <a:off x="9023093" y="5088789"/>
            <a:ext cx="483647" cy="379051"/>
          </a:xfrm>
          <a:prstGeom prst="bentConnector3">
            <a:avLst>
              <a:gd name="adj1" fmla="val 34079"/>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 name="Connecteur : en angle 53">
            <a:extLst>
              <a:ext uri="{FF2B5EF4-FFF2-40B4-BE49-F238E27FC236}">
                <a16:creationId xmlns:a16="http://schemas.microsoft.com/office/drawing/2014/main" id="{605D8A01-F58C-94E5-D3F9-5ADB7C069F32}"/>
              </a:ext>
            </a:extLst>
          </p:cNvPr>
          <p:cNvCxnSpPr>
            <a:cxnSpLocks/>
          </p:cNvCxnSpPr>
          <p:nvPr/>
        </p:nvCxnSpPr>
        <p:spPr>
          <a:xfrm rot="16200000" flipV="1">
            <a:off x="10593390" y="5115060"/>
            <a:ext cx="483647" cy="379051"/>
          </a:xfrm>
          <a:prstGeom prst="bentConnector3">
            <a:avLst>
              <a:gd name="adj1" fmla="val 34079"/>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58" name="Graphique 57" descr="Croissance de l'activité avec un remplissage uni">
            <a:extLst>
              <a:ext uri="{FF2B5EF4-FFF2-40B4-BE49-F238E27FC236}">
                <a16:creationId xmlns:a16="http://schemas.microsoft.com/office/drawing/2014/main" id="{973E76ED-1497-9FE2-D0B5-1CC85DE0DD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164653" y="3702473"/>
            <a:ext cx="421824" cy="421824"/>
          </a:xfrm>
          <a:prstGeom prst="rect">
            <a:avLst/>
          </a:prstGeom>
        </p:spPr>
      </p:pic>
      <p:pic>
        <p:nvPicPr>
          <p:cNvPr id="60" name="Graphique 59" descr="Début avec un remplissage uni">
            <a:extLst>
              <a:ext uri="{FF2B5EF4-FFF2-40B4-BE49-F238E27FC236}">
                <a16:creationId xmlns:a16="http://schemas.microsoft.com/office/drawing/2014/main" id="{0E865FD8-6D00-D95A-2A7A-ABA12536768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222186" y="4082466"/>
            <a:ext cx="421824" cy="421824"/>
          </a:xfrm>
          <a:prstGeom prst="rect">
            <a:avLst/>
          </a:prstGeom>
        </p:spPr>
      </p:pic>
      <p:pic>
        <p:nvPicPr>
          <p:cNvPr id="62" name="Graphique 61" descr="Main levée avec un remplissage uni">
            <a:extLst>
              <a:ext uri="{FF2B5EF4-FFF2-40B4-BE49-F238E27FC236}">
                <a16:creationId xmlns:a16="http://schemas.microsoft.com/office/drawing/2014/main" id="{8A997064-A2E9-A495-EF0A-EFBA629C805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773024" y="4278333"/>
            <a:ext cx="421824" cy="421824"/>
          </a:xfrm>
          <a:prstGeom prst="rect">
            <a:avLst/>
          </a:prstGeom>
        </p:spPr>
      </p:pic>
      <p:pic>
        <p:nvPicPr>
          <p:cNvPr id="64" name="Graphique 63" descr="Classe avec un remplissage uni">
            <a:extLst>
              <a:ext uri="{FF2B5EF4-FFF2-40B4-BE49-F238E27FC236}">
                <a16:creationId xmlns:a16="http://schemas.microsoft.com/office/drawing/2014/main" id="{A3E1E93F-3162-B40F-4022-004BAEAD13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780726" y="4283326"/>
            <a:ext cx="421824" cy="421824"/>
          </a:xfrm>
          <a:prstGeom prst="rect">
            <a:avLst/>
          </a:prstGeom>
        </p:spPr>
      </p:pic>
      <p:pic>
        <p:nvPicPr>
          <p:cNvPr id="66" name="Graphique 65" descr="Loupe avec un remplissage uni">
            <a:extLst>
              <a:ext uri="{FF2B5EF4-FFF2-40B4-BE49-F238E27FC236}">
                <a16:creationId xmlns:a16="http://schemas.microsoft.com/office/drawing/2014/main" id="{26DF453C-2C6B-5283-5FCA-CB98423EBFE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860776" y="4280386"/>
            <a:ext cx="421824" cy="421824"/>
          </a:xfrm>
          <a:prstGeom prst="rect">
            <a:avLst/>
          </a:prstGeom>
        </p:spPr>
      </p:pic>
      <p:pic>
        <p:nvPicPr>
          <p:cNvPr id="68" name="Graphique 67" descr="Partie gauche du cerveau avec un remplissage uni">
            <a:extLst>
              <a:ext uri="{FF2B5EF4-FFF2-40B4-BE49-F238E27FC236}">
                <a16:creationId xmlns:a16="http://schemas.microsoft.com/office/drawing/2014/main" id="{67A26C82-8AF7-1439-10E9-B367D279D3B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989633" y="4288068"/>
            <a:ext cx="421824" cy="421824"/>
          </a:xfrm>
          <a:prstGeom prst="rect">
            <a:avLst/>
          </a:prstGeom>
        </p:spPr>
      </p:pic>
      <p:pic>
        <p:nvPicPr>
          <p:cNvPr id="69" name="Graphique 68" descr="Classe avec un remplissage uni">
            <a:extLst>
              <a:ext uri="{FF2B5EF4-FFF2-40B4-BE49-F238E27FC236}">
                <a16:creationId xmlns:a16="http://schemas.microsoft.com/office/drawing/2014/main" id="{91D4141A-CD80-E5E9-DBB8-EF25ECF25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434776" y="4533398"/>
            <a:ext cx="421824" cy="421824"/>
          </a:xfrm>
          <a:prstGeom prst="rect">
            <a:avLst/>
          </a:prstGeom>
        </p:spPr>
      </p:pic>
      <p:pic>
        <p:nvPicPr>
          <p:cNvPr id="71" name="Graphique 70" descr="Commentaire, J’aime avec un remplissage uni">
            <a:extLst>
              <a:ext uri="{FF2B5EF4-FFF2-40B4-BE49-F238E27FC236}">
                <a16:creationId xmlns:a16="http://schemas.microsoft.com/office/drawing/2014/main" id="{A16AEE2C-72C3-B8C0-29CD-13AA3794CE2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535897" y="4869761"/>
            <a:ext cx="460295" cy="460295"/>
          </a:xfrm>
          <a:prstGeom prst="rect">
            <a:avLst/>
          </a:prstGeom>
        </p:spPr>
      </p:pic>
    </p:spTree>
    <p:extLst>
      <p:ext uri="{BB962C8B-B14F-4D97-AF65-F5344CB8AC3E}">
        <p14:creationId xmlns:p14="http://schemas.microsoft.com/office/powerpoint/2010/main" val="18958218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11BF5BD-75C4-4E77-9598-7225EFF82CC5}"/>
              </a:ext>
            </a:extLst>
          </p:cNvPr>
          <p:cNvSpPr>
            <a:spLocks noGrp="1"/>
          </p:cNvSpPr>
          <p:nvPr>
            <p:ph type="title"/>
          </p:nvPr>
        </p:nvSpPr>
        <p:spPr/>
        <p:txBody>
          <a:bodyPr/>
          <a:lstStyle/>
          <a:p>
            <a:r>
              <a:rPr lang="fr-FR" sz="1600">
                <a:highlight>
                  <a:srgbClr val="FFFF00"/>
                </a:highlight>
              </a:rPr>
              <a:t>2. PRÉPARER ET ANIMER LES FORMATIONS – </a:t>
            </a:r>
            <a:r>
              <a:rPr lang="fr-FR" sz="1400">
                <a:highlight>
                  <a:srgbClr val="FFFF00"/>
                </a:highlight>
              </a:rPr>
              <a:t>« Focus » Montée en compétence</a:t>
            </a:r>
            <a:br>
              <a:rPr lang="fr-FR" sz="1600">
                <a:highlight>
                  <a:srgbClr val="FFFF00"/>
                </a:highlight>
              </a:rPr>
            </a:br>
            <a:r>
              <a:rPr lang="fr-FR" sz="1600" b="0">
                <a:solidFill>
                  <a:schemeClr val="bg2">
                    <a:lumMod val="60000"/>
                    <a:lumOff val="40000"/>
                  </a:schemeClr>
                </a:solidFill>
                <a:highlight>
                  <a:srgbClr val="FFFF00"/>
                </a:highlight>
                <a:latin typeface="+mn-lt"/>
                <a:cs typeface="Arial" panose="020B0604020202020204" pitchFamily="34" charset="0"/>
              </a:rPr>
              <a:t>Démarche proposée</a:t>
            </a:r>
          </a:p>
        </p:txBody>
      </p:sp>
      <p:sp>
        <p:nvSpPr>
          <p:cNvPr id="21" name="Rectangle 20">
            <a:extLst>
              <a:ext uri="{FF2B5EF4-FFF2-40B4-BE49-F238E27FC236}">
                <a16:creationId xmlns:a16="http://schemas.microsoft.com/office/drawing/2014/main" id="{2806116F-6F2D-1385-E97D-25A261E917CC}"/>
              </a:ext>
            </a:extLst>
          </p:cNvPr>
          <p:cNvSpPr/>
          <p:nvPr/>
        </p:nvSpPr>
        <p:spPr>
          <a:xfrm>
            <a:off x="495979" y="1596146"/>
            <a:ext cx="3881820" cy="4067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algn="ctr"/>
            <a:endParaRPr lang="fr-FR" sz="800" b="1">
              <a:solidFill>
                <a:schemeClr val="tx1">
                  <a:lumMod val="50000"/>
                  <a:lumOff val="50000"/>
                </a:schemeClr>
              </a:solidFill>
            </a:endParaRPr>
          </a:p>
          <a:p>
            <a:pPr algn="ctr"/>
            <a:r>
              <a:rPr lang="fr-FR" sz="1200" b="1">
                <a:solidFill>
                  <a:schemeClr val="tx1">
                    <a:lumMod val="50000"/>
                    <a:lumOff val="50000"/>
                  </a:schemeClr>
                </a:solidFill>
              </a:rPr>
              <a:t>Phase de montée en compétences des formateurs</a:t>
            </a:r>
          </a:p>
        </p:txBody>
      </p:sp>
      <p:sp>
        <p:nvSpPr>
          <p:cNvPr id="31" name="Flèche : bas 30">
            <a:extLst>
              <a:ext uri="{FF2B5EF4-FFF2-40B4-BE49-F238E27FC236}">
                <a16:creationId xmlns:a16="http://schemas.microsoft.com/office/drawing/2014/main" id="{405F34FB-112B-D9B2-6EC3-A4ED7F783C35}"/>
              </a:ext>
            </a:extLst>
          </p:cNvPr>
          <p:cNvSpPr/>
          <p:nvPr/>
        </p:nvSpPr>
        <p:spPr>
          <a:xfrm rot="16200000">
            <a:off x="3348926" y="3312720"/>
            <a:ext cx="1018572" cy="1039174"/>
          </a:xfrm>
          <a:prstGeom prst="downArrow">
            <a:avLst>
              <a:gd name="adj1" fmla="val 50000"/>
              <a:gd name="adj2" fmla="val 31841"/>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Flèche : bas 31">
            <a:extLst>
              <a:ext uri="{FF2B5EF4-FFF2-40B4-BE49-F238E27FC236}">
                <a16:creationId xmlns:a16="http://schemas.microsoft.com/office/drawing/2014/main" id="{D87ED807-D69B-7F3C-2931-614001082529}"/>
              </a:ext>
            </a:extLst>
          </p:cNvPr>
          <p:cNvSpPr/>
          <p:nvPr/>
        </p:nvSpPr>
        <p:spPr>
          <a:xfrm rot="16200000">
            <a:off x="2425343" y="3343103"/>
            <a:ext cx="1018572" cy="978408"/>
          </a:xfrm>
          <a:prstGeom prst="downArrow">
            <a:avLst>
              <a:gd name="adj1" fmla="val 50000"/>
              <a:gd name="adj2" fmla="val 31841"/>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Flèche : bas 32">
            <a:extLst>
              <a:ext uri="{FF2B5EF4-FFF2-40B4-BE49-F238E27FC236}">
                <a16:creationId xmlns:a16="http://schemas.microsoft.com/office/drawing/2014/main" id="{E0CF212E-28AF-9982-0C26-8E76888A25EE}"/>
              </a:ext>
            </a:extLst>
          </p:cNvPr>
          <p:cNvSpPr/>
          <p:nvPr/>
        </p:nvSpPr>
        <p:spPr>
          <a:xfrm rot="16200000">
            <a:off x="1532142" y="3343103"/>
            <a:ext cx="1018572" cy="978408"/>
          </a:xfrm>
          <a:prstGeom prst="downArrow">
            <a:avLst>
              <a:gd name="adj1" fmla="val 50000"/>
              <a:gd name="adj2" fmla="val 31841"/>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Flèche : bas 33">
            <a:extLst>
              <a:ext uri="{FF2B5EF4-FFF2-40B4-BE49-F238E27FC236}">
                <a16:creationId xmlns:a16="http://schemas.microsoft.com/office/drawing/2014/main" id="{957B383E-53CF-7FA5-13B8-D53C4073A878}"/>
              </a:ext>
            </a:extLst>
          </p:cNvPr>
          <p:cNvSpPr/>
          <p:nvPr/>
        </p:nvSpPr>
        <p:spPr>
          <a:xfrm rot="16200000">
            <a:off x="638941" y="3343103"/>
            <a:ext cx="1018572" cy="978408"/>
          </a:xfrm>
          <a:prstGeom prst="downArrow">
            <a:avLst>
              <a:gd name="adj1" fmla="val 50000"/>
              <a:gd name="adj2" fmla="val 31841"/>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TextBox 55">
            <a:extLst>
              <a:ext uri="{FF2B5EF4-FFF2-40B4-BE49-F238E27FC236}">
                <a16:creationId xmlns:a16="http://schemas.microsoft.com/office/drawing/2014/main" id="{A1D2A6E9-9A53-78E5-9DE0-4B4AFF0A7351}"/>
              </a:ext>
            </a:extLst>
          </p:cNvPr>
          <p:cNvSpPr txBox="1"/>
          <p:nvPr/>
        </p:nvSpPr>
        <p:spPr>
          <a:xfrm>
            <a:off x="484223" y="2711213"/>
            <a:ext cx="1060133" cy="577081"/>
          </a:xfrm>
          <a:prstGeom prst="rect">
            <a:avLst/>
          </a:prstGeom>
          <a:noFill/>
        </p:spPr>
        <p:txBody>
          <a:bodyPr wrap="square" rtlCol="0" anchor="b">
            <a:spAutoFit/>
          </a:bodyPr>
          <a:lstStyle/>
          <a:p>
            <a:pPr lvl="0" algn="ctr">
              <a:defRPr/>
            </a:pPr>
            <a:r>
              <a:rPr lang="fr-FR" sz="1050">
                <a:solidFill>
                  <a:schemeClr val="tx1"/>
                </a:solidFill>
              </a:rPr>
              <a:t>Initiation aux enjeux et au contexte TN</a:t>
            </a:r>
          </a:p>
        </p:txBody>
      </p:sp>
      <p:sp>
        <p:nvSpPr>
          <p:cNvPr id="36" name="TextBox 57">
            <a:extLst>
              <a:ext uri="{FF2B5EF4-FFF2-40B4-BE49-F238E27FC236}">
                <a16:creationId xmlns:a16="http://schemas.microsoft.com/office/drawing/2014/main" id="{A25C2952-F2CE-5BAC-075A-0EF54F2C0F20}"/>
              </a:ext>
            </a:extLst>
          </p:cNvPr>
          <p:cNvSpPr txBox="1"/>
          <p:nvPr/>
        </p:nvSpPr>
        <p:spPr>
          <a:xfrm>
            <a:off x="2078752" y="2594240"/>
            <a:ext cx="1380748" cy="577081"/>
          </a:xfrm>
          <a:prstGeom prst="rect">
            <a:avLst/>
          </a:prstGeom>
          <a:noFill/>
        </p:spPr>
        <p:txBody>
          <a:bodyPr wrap="square" rtlCol="0" anchor="b">
            <a:spAutoFit/>
          </a:bodyPr>
          <a:lstStyle/>
          <a:p>
            <a:pPr lvl="0" algn="ctr">
              <a:defRPr/>
            </a:pPr>
            <a:r>
              <a:rPr lang="fr-FR" sz="1050">
                <a:solidFill>
                  <a:schemeClr val="tx1"/>
                </a:solidFill>
              </a:rPr>
              <a:t>Suivi de sessions « Vis ma vie » </a:t>
            </a:r>
          </a:p>
          <a:p>
            <a:pPr lvl="0" algn="ctr">
              <a:defRPr/>
            </a:pPr>
            <a:r>
              <a:rPr lang="fr-FR" sz="1050">
                <a:solidFill>
                  <a:schemeClr val="tx1"/>
                </a:solidFill>
              </a:rPr>
              <a:t>sur les lignes</a:t>
            </a:r>
          </a:p>
        </p:txBody>
      </p:sp>
      <p:sp>
        <p:nvSpPr>
          <p:cNvPr id="37" name="TextBox 58">
            <a:extLst>
              <a:ext uri="{FF2B5EF4-FFF2-40B4-BE49-F238E27FC236}">
                <a16:creationId xmlns:a16="http://schemas.microsoft.com/office/drawing/2014/main" id="{396A7D0D-95A7-CED1-64F5-DF302CAC8062}"/>
              </a:ext>
            </a:extLst>
          </p:cNvPr>
          <p:cNvSpPr txBox="1"/>
          <p:nvPr/>
        </p:nvSpPr>
        <p:spPr>
          <a:xfrm>
            <a:off x="3239772" y="4441601"/>
            <a:ext cx="1180575" cy="738664"/>
          </a:xfrm>
          <a:prstGeom prst="rect">
            <a:avLst/>
          </a:prstGeom>
          <a:noFill/>
        </p:spPr>
        <p:txBody>
          <a:bodyPr wrap="square" rtlCol="0">
            <a:spAutoFit/>
          </a:bodyPr>
          <a:lstStyle/>
          <a:p>
            <a:pPr lvl="0" algn="ctr">
              <a:defRPr/>
            </a:pPr>
            <a:r>
              <a:rPr lang="fr-FR" sz="1050">
                <a:solidFill>
                  <a:schemeClr val="tx1"/>
                </a:solidFill>
              </a:rPr>
              <a:t>Coanimation des premières formations en fond de salle</a:t>
            </a:r>
          </a:p>
        </p:txBody>
      </p:sp>
      <p:sp>
        <p:nvSpPr>
          <p:cNvPr id="38" name="TextBox 55">
            <a:extLst>
              <a:ext uri="{FF2B5EF4-FFF2-40B4-BE49-F238E27FC236}">
                <a16:creationId xmlns:a16="http://schemas.microsoft.com/office/drawing/2014/main" id="{C572C046-2020-CB04-745D-E0F351EBB6A9}"/>
              </a:ext>
            </a:extLst>
          </p:cNvPr>
          <p:cNvSpPr txBox="1"/>
          <p:nvPr/>
        </p:nvSpPr>
        <p:spPr>
          <a:xfrm>
            <a:off x="1399378" y="4447469"/>
            <a:ext cx="121635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chemeClr val="tx1"/>
                </a:solidFill>
                <a:effectLst/>
                <a:uLnTx/>
                <a:uFillTx/>
                <a:sym typeface="Arial"/>
              </a:rPr>
              <a:t>Découverte des métiers</a:t>
            </a:r>
            <a:r>
              <a:rPr lang="fr-FR" sz="1050">
                <a:solidFill>
                  <a:schemeClr val="tx1"/>
                </a:solidFill>
              </a:rPr>
              <a:t> du périmètre de formation</a:t>
            </a:r>
            <a:endParaRPr kumimoji="0" lang="fr-FR" sz="1050" b="0" i="0" u="none" strike="noStrike" kern="0" cap="none" spc="0" normalizeH="0" baseline="0" noProof="0">
              <a:ln>
                <a:noFill/>
              </a:ln>
              <a:solidFill>
                <a:schemeClr val="tx1"/>
              </a:solidFill>
              <a:effectLst/>
              <a:uLnTx/>
              <a:uFillTx/>
              <a:sym typeface="Arial"/>
            </a:endParaRPr>
          </a:p>
        </p:txBody>
      </p:sp>
      <p:sp>
        <p:nvSpPr>
          <p:cNvPr id="43" name="Rectangle : coins arrondis 42">
            <a:extLst>
              <a:ext uri="{FF2B5EF4-FFF2-40B4-BE49-F238E27FC236}">
                <a16:creationId xmlns:a16="http://schemas.microsoft.com/office/drawing/2014/main" id="{A2E89265-A832-44BC-DB37-CB056035C8A7}"/>
              </a:ext>
            </a:extLst>
          </p:cNvPr>
          <p:cNvSpPr/>
          <p:nvPr/>
        </p:nvSpPr>
        <p:spPr>
          <a:xfrm>
            <a:off x="1614695" y="1444707"/>
            <a:ext cx="1644387" cy="266117"/>
          </a:xfrm>
          <a:prstGeom prst="roundRect">
            <a:avLst>
              <a:gd name="adj" fmla="val 50000"/>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Avril – Août 2023</a:t>
            </a:r>
          </a:p>
        </p:txBody>
      </p:sp>
      <p:pic>
        <p:nvPicPr>
          <p:cNvPr id="45" name="Graphique 44" descr="Calendrier journalier avec un remplissage uni">
            <a:extLst>
              <a:ext uri="{FF2B5EF4-FFF2-40B4-BE49-F238E27FC236}">
                <a16:creationId xmlns:a16="http://schemas.microsoft.com/office/drawing/2014/main" id="{33D684BD-1708-7137-BEC5-721AE2399D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00443" y="988750"/>
            <a:ext cx="489964" cy="489964"/>
          </a:xfrm>
          <a:prstGeom prst="rect">
            <a:avLst/>
          </a:prstGeom>
        </p:spPr>
      </p:pic>
      <p:cxnSp>
        <p:nvCxnSpPr>
          <p:cNvPr id="47" name="Connecteur droit 46">
            <a:extLst>
              <a:ext uri="{FF2B5EF4-FFF2-40B4-BE49-F238E27FC236}">
                <a16:creationId xmlns:a16="http://schemas.microsoft.com/office/drawing/2014/main" id="{CA6E44B2-D37D-8819-0722-4D4086D8D4B2}"/>
              </a:ext>
            </a:extLst>
          </p:cNvPr>
          <p:cNvCxnSpPr>
            <a:cxnSpLocks/>
          </p:cNvCxnSpPr>
          <p:nvPr/>
        </p:nvCxnSpPr>
        <p:spPr>
          <a:xfrm flipV="1">
            <a:off x="1010630" y="3275365"/>
            <a:ext cx="0" cy="386598"/>
          </a:xfrm>
          <a:prstGeom prst="line">
            <a:avLst/>
          </a:prstGeom>
          <a:ln w="19050" cap="rnd">
            <a:solidFill>
              <a:schemeClr val="bg1">
                <a:lumMod val="75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6EA0C923-8FE3-5E3B-CFB0-635B999341EE}"/>
              </a:ext>
            </a:extLst>
          </p:cNvPr>
          <p:cNvCxnSpPr>
            <a:cxnSpLocks/>
          </p:cNvCxnSpPr>
          <p:nvPr/>
        </p:nvCxnSpPr>
        <p:spPr>
          <a:xfrm flipV="1">
            <a:off x="2788376" y="3275365"/>
            <a:ext cx="0" cy="386598"/>
          </a:xfrm>
          <a:prstGeom prst="line">
            <a:avLst/>
          </a:prstGeom>
          <a:ln w="19050" cap="rnd">
            <a:solidFill>
              <a:schemeClr val="bg1">
                <a:lumMod val="50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49" name="Connecteur droit 48">
            <a:extLst>
              <a:ext uri="{FF2B5EF4-FFF2-40B4-BE49-F238E27FC236}">
                <a16:creationId xmlns:a16="http://schemas.microsoft.com/office/drawing/2014/main" id="{E1F3793B-9C12-7FE2-172F-2D71D423035A}"/>
              </a:ext>
            </a:extLst>
          </p:cNvPr>
          <p:cNvCxnSpPr>
            <a:cxnSpLocks/>
          </p:cNvCxnSpPr>
          <p:nvPr/>
        </p:nvCxnSpPr>
        <p:spPr>
          <a:xfrm flipH="1">
            <a:off x="1936810" y="3983870"/>
            <a:ext cx="0" cy="386598"/>
          </a:xfrm>
          <a:prstGeom prst="line">
            <a:avLst/>
          </a:prstGeom>
          <a:ln w="19050" cap="rnd">
            <a:solidFill>
              <a:schemeClr val="bg1">
                <a:lumMod val="65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50" name="Connecteur droit 49">
            <a:extLst>
              <a:ext uri="{FF2B5EF4-FFF2-40B4-BE49-F238E27FC236}">
                <a16:creationId xmlns:a16="http://schemas.microsoft.com/office/drawing/2014/main" id="{09D14A5C-5A65-7065-01DA-B9EC42C4453C}"/>
              </a:ext>
            </a:extLst>
          </p:cNvPr>
          <p:cNvCxnSpPr>
            <a:cxnSpLocks/>
          </p:cNvCxnSpPr>
          <p:nvPr/>
        </p:nvCxnSpPr>
        <p:spPr>
          <a:xfrm flipH="1">
            <a:off x="3843867" y="3983870"/>
            <a:ext cx="0" cy="386598"/>
          </a:xfrm>
          <a:prstGeom prst="line">
            <a:avLst/>
          </a:prstGeom>
          <a:ln w="19050" cap="rnd">
            <a:solidFill>
              <a:schemeClr val="tx1">
                <a:lumMod val="65000"/>
                <a:lumOff val="35000"/>
              </a:schemeClr>
            </a:solidFill>
            <a:tailEnd type="none" w="lg" len="lg"/>
          </a:ln>
        </p:spPr>
        <p:style>
          <a:lnRef idx="1">
            <a:schemeClr val="accent1"/>
          </a:lnRef>
          <a:fillRef idx="0">
            <a:schemeClr val="accent1"/>
          </a:fillRef>
          <a:effectRef idx="0">
            <a:schemeClr val="accent1"/>
          </a:effectRef>
          <a:fontRef idx="minor">
            <a:schemeClr val="tx1"/>
          </a:fontRef>
        </p:style>
      </p:cxnSp>
      <p:pic>
        <p:nvPicPr>
          <p:cNvPr id="62" name="Graphique 61" descr="Main levée avec un remplissage uni">
            <a:extLst>
              <a:ext uri="{FF2B5EF4-FFF2-40B4-BE49-F238E27FC236}">
                <a16:creationId xmlns:a16="http://schemas.microsoft.com/office/drawing/2014/main" id="{8A997064-A2E9-A495-EF0A-EFBA629C805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78103" y="3630860"/>
            <a:ext cx="421824" cy="421824"/>
          </a:xfrm>
          <a:prstGeom prst="rect">
            <a:avLst/>
          </a:prstGeom>
        </p:spPr>
      </p:pic>
      <p:pic>
        <p:nvPicPr>
          <p:cNvPr id="64" name="Graphique 63" descr="Classe avec un remplissage uni">
            <a:extLst>
              <a:ext uri="{FF2B5EF4-FFF2-40B4-BE49-F238E27FC236}">
                <a16:creationId xmlns:a16="http://schemas.microsoft.com/office/drawing/2014/main" id="{A3E1E93F-3162-B40F-4022-004BAEAD13E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85805" y="3635853"/>
            <a:ext cx="421824" cy="421824"/>
          </a:xfrm>
          <a:prstGeom prst="rect">
            <a:avLst/>
          </a:prstGeom>
        </p:spPr>
      </p:pic>
      <p:pic>
        <p:nvPicPr>
          <p:cNvPr id="66" name="Graphique 65" descr="Loupe avec un remplissage uni">
            <a:extLst>
              <a:ext uri="{FF2B5EF4-FFF2-40B4-BE49-F238E27FC236}">
                <a16:creationId xmlns:a16="http://schemas.microsoft.com/office/drawing/2014/main" id="{26DF453C-2C6B-5283-5FCA-CB98423EBFE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65855" y="3632913"/>
            <a:ext cx="421824" cy="421824"/>
          </a:xfrm>
          <a:prstGeom prst="rect">
            <a:avLst/>
          </a:prstGeom>
        </p:spPr>
      </p:pic>
      <p:pic>
        <p:nvPicPr>
          <p:cNvPr id="68" name="Graphique 67" descr="Partie gauche du cerveau avec un remplissage uni">
            <a:extLst>
              <a:ext uri="{FF2B5EF4-FFF2-40B4-BE49-F238E27FC236}">
                <a16:creationId xmlns:a16="http://schemas.microsoft.com/office/drawing/2014/main" id="{67A26C82-8AF7-1439-10E9-B367D279D3B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4712" y="3640595"/>
            <a:ext cx="421824" cy="421824"/>
          </a:xfrm>
          <a:prstGeom prst="rect">
            <a:avLst/>
          </a:prstGeom>
        </p:spPr>
      </p:pic>
      <p:sp>
        <p:nvSpPr>
          <p:cNvPr id="3" name="Triangle isocèle 2">
            <a:extLst>
              <a:ext uri="{FF2B5EF4-FFF2-40B4-BE49-F238E27FC236}">
                <a16:creationId xmlns:a16="http://schemas.microsoft.com/office/drawing/2014/main" id="{D346C06B-E16C-6F24-EEC2-C8BCC622F0C3}"/>
              </a:ext>
            </a:extLst>
          </p:cNvPr>
          <p:cNvSpPr/>
          <p:nvPr/>
        </p:nvSpPr>
        <p:spPr>
          <a:xfrm rot="5400000">
            <a:off x="2313391" y="3300632"/>
            <a:ext cx="4972036" cy="489964"/>
          </a:xfrm>
          <a:prstGeom prst="triangl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4" name="Tableau 3">
            <a:extLst>
              <a:ext uri="{FF2B5EF4-FFF2-40B4-BE49-F238E27FC236}">
                <a16:creationId xmlns:a16="http://schemas.microsoft.com/office/drawing/2014/main" id="{47035697-1F52-1231-AB96-78ECCB31EB51}"/>
              </a:ext>
            </a:extLst>
          </p:cNvPr>
          <p:cNvGraphicFramePr>
            <a:graphicFrameLocks noGrp="1"/>
          </p:cNvGraphicFramePr>
          <p:nvPr>
            <p:extLst>
              <p:ext uri="{D42A27DB-BD31-4B8C-83A1-F6EECF244321}">
                <p14:modId xmlns:p14="http://schemas.microsoft.com/office/powerpoint/2010/main" val="1682636371"/>
              </p:ext>
            </p:extLst>
          </p:nvPr>
        </p:nvGraphicFramePr>
        <p:xfrm>
          <a:off x="5284451" y="1059595"/>
          <a:ext cx="6411570" cy="1745054"/>
        </p:xfrm>
        <a:graphic>
          <a:graphicData uri="http://schemas.openxmlformats.org/drawingml/2006/table">
            <a:tbl>
              <a:tblPr/>
              <a:tblGrid>
                <a:gridCol w="707216">
                  <a:extLst>
                    <a:ext uri="{9D8B030D-6E8A-4147-A177-3AD203B41FA5}">
                      <a16:colId xmlns:a16="http://schemas.microsoft.com/office/drawing/2014/main" val="1666595529"/>
                    </a:ext>
                  </a:extLst>
                </a:gridCol>
                <a:gridCol w="5121484">
                  <a:extLst>
                    <a:ext uri="{9D8B030D-6E8A-4147-A177-3AD203B41FA5}">
                      <a16:colId xmlns:a16="http://schemas.microsoft.com/office/drawing/2014/main" val="941514309"/>
                    </a:ext>
                  </a:extLst>
                </a:gridCol>
                <a:gridCol w="582870">
                  <a:extLst>
                    <a:ext uri="{9D8B030D-6E8A-4147-A177-3AD203B41FA5}">
                      <a16:colId xmlns:a16="http://schemas.microsoft.com/office/drawing/2014/main" val="3923041553"/>
                    </a:ext>
                  </a:extLst>
                </a:gridCol>
              </a:tblGrid>
              <a:tr h="360000">
                <a:tc>
                  <a:txBody>
                    <a:bodyPr/>
                    <a:lstStyle/>
                    <a:p>
                      <a:r>
                        <a:rPr lang="fr-FR" sz="900">
                          <a:solidFill>
                            <a:srgbClr val="363636"/>
                          </a:solidFill>
                          <a:effectLst/>
                          <a:latin typeface="+mj-lt"/>
                        </a:rPr>
                        <a:t>WBS</a:t>
                      </a:r>
                      <a:endParaRPr lang="fr-FR" sz="9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DFE3E8"/>
                    </a:solidFill>
                  </a:tcPr>
                </a:tc>
                <a:tc>
                  <a:txBody>
                    <a:bodyPr/>
                    <a:lstStyle/>
                    <a:p>
                      <a:r>
                        <a:rPr lang="fr-FR" sz="900">
                          <a:solidFill>
                            <a:srgbClr val="363636"/>
                          </a:solidFill>
                          <a:effectLst/>
                          <a:latin typeface="+mj-lt"/>
                        </a:rPr>
                        <a:t>Nom de la tâche</a:t>
                      </a:r>
                      <a:endParaRPr lang="fr-FR" sz="9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DFE3E8"/>
                    </a:solidFill>
                  </a:tcPr>
                </a:tc>
                <a:tc>
                  <a:txBody>
                    <a:bodyPr/>
                    <a:lstStyle/>
                    <a:p>
                      <a:r>
                        <a:rPr lang="fr-FR" sz="900">
                          <a:solidFill>
                            <a:srgbClr val="363636"/>
                          </a:solidFill>
                          <a:effectLst/>
                          <a:latin typeface="+mj-lt"/>
                        </a:rPr>
                        <a:t>Charge Talan</a:t>
                      </a:r>
                      <a:endParaRPr lang="fr-FR" sz="9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DFE3E8"/>
                    </a:solidFill>
                  </a:tcPr>
                </a:tc>
                <a:extLst>
                  <a:ext uri="{0D108BD9-81ED-4DB2-BD59-A6C34878D82A}">
                    <a16:rowId xmlns:a16="http://schemas.microsoft.com/office/drawing/2014/main" val="673226622"/>
                  </a:ext>
                </a:extLst>
              </a:tr>
              <a:tr h="211832">
                <a:tc>
                  <a:txBody>
                    <a:bodyPr/>
                    <a:lstStyle/>
                    <a:p>
                      <a:r>
                        <a:rPr lang="fr-FR" sz="1200" b="1">
                          <a:solidFill>
                            <a:srgbClr val="FFFFFF"/>
                          </a:solidFill>
                          <a:effectLst/>
                          <a:latin typeface="+mj-lt"/>
                        </a:rPr>
                        <a:t>3</a:t>
                      </a:r>
                      <a:endParaRPr lang="fr-FR" sz="12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BFBFBF"/>
                    </a:solidFill>
                  </a:tcPr>
                </a:tc>
                <a:tc>
                  <a:txBody>
                    <a:bodyPr/>
                    <a:lstStyle/>
                    <a:p>
                      <a:r>
                        <a:rPr lang="fr-FR" sz="1200" b="1">
                          <a:solidFill>
                            <a:srgbClr val="FFFFFF"/>
                          </a:solidFill>
                          <a:effectLst/>
                          <a:latin typeface="+mj-lt"/>
                        </a:rPr>
                        <a:t>Montée en compétences</a:t>
                      </a:r>
                      <a:endParaRPr lang="fr-FR" sz="12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BFBFBF"/>
                    </a:solidFill>
                  </a:tcPr>
                </a:tc>
                <a:tc>
                  <a:txBody>
                    <a:bodyPr/>
                    <a:lstStyle/>
                    <a:p>
                      <a:pPr algn="r"/>
                      <a:r>
                        <a:rPr lang="fr-FR" sz="1200" b="1">
                          <a:solidFill>
                            <a:srgbClr val="FFFFFF"/>
                          </a:solidFill>
                          <a:effectLst/>
                          <a:latin typeface="+mj-lt"/>
                        </a:rPr>
                        <a:t>335 j</a:t>
                      </a:r>
                      <a:endParaRPr lang="fr-FR" sz="12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BFBFBF"/>
                    </a:solidFill>
                  </a:tcPr>
                </a:tc>
                <a:extLst>
                  <a:ext uri="{0D108BD9-81ED-4DB2-BD59-A6C34878D82A}">
                    <a16:rowId xmlns:a16="http://schemas.microsoft.com/office/drawing/2014/main" val="1058427205"/>
                  </a:ext>
                </a:extLst>
              </a:tr>
              <a:tr h="195537">
                <a:tc>
                  <a:txBody>
                    <a:bodyPr/>
                    <a:lstStyle/>
                    <a:p>
                      <a:r>
                        <a:rPr lang="fr-FR" sz="1100">
                          <a:solidFill>
                            <a:srgbClr val="000000"/>
                          </a:solidFill>
                          <a:effectLst/>
                          <a:latin typeface="+mj-lt"/>
                        </a:rPr>
                        <a:t>3.1</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r>
                        <a:rPr lang="fr-FR" sz="1100">
                          <a:solidFill>
                            <a:srgbClr val="000000"/>
                          </a:solidFill>
                          <a:effectLst/>
                          <a:latin typeface="+mj-lt"/>
                        </a:rPr>
                        <a:t>   Accompagnement des formateurs Talan par les experts métiers Transilien</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a:r>
                        <a:rPr lang="fr-FR" sz="1100">
                          <a:solidFill>
                            <a:srgbClr val="000000"/>
                          </a:solidFill>
                          <a:effectLst/>
                          <a:latin typeface="+mj-lt"/>
                        </a:rPr>
                        <a:t>55 j</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983983329"/>
                  </a:ext>
                </a:extLst>
              </a:tr>
              <a:tr h="195537">
                <a:tc>
                  <a:txBody>
                    <a:bodyPr/>
                    <a:lstStyle/>
                    <a:p>
                      <a:r>
                        <a:rPr lang="fr-FR" sz="1100">
                          <a:solidFill>
                            <a:srgbClr val="000000"/>
                          </a:solidFill>
                          <a:effectLst/>
                          <a:latin typeface="+mj-lt"/>
                        </a:rPr>
                        <a:t>3.2</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r>
                        <a:rPr lang="fr-FR" sz="1100">
                          <a:solidFill>
                            <a:srgbClr val="000000"/>
                          </a:solidFill>
                          <a:effectLst/>
                          <a:latin typeface="+mj-lt"/>
                        </a:rPr>
                        <a:t>   Participation aux formations en fond de salle</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a:r>
                        <a:rPr lang="fr-FR" sz="1100">
                          <a:solidFill>
                            <a:srgbClr val="000000"/>
                          </a:solidFill>
                          <a:effectLst/>
                          <a:latin typeface="+mj-lt"/>
                        </a:rPr>
                        <a:t>85 j</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2878604311"/>
                  </a:ext>
                </a:extLst>
              </a:tr>
              <a:tr h="195537">
                <a:tc>
                  <a:txBody>
                    <a:bodyPr/>
                    <a:lstStyle/>
                    <a:p>
                      <a:r>
                        <a:rPr lang="fr-FR" sz="1100">
                          <a:solidFill>
                            <a:srgbClr val="000000"/>
                          </a:solidFill>
                          <a:effectLst/>
                          <a:latin typeface="+mj-lt"/>
                        </a:rPr>
                        <a:t>3.3</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r>
                        <a:rPr lang="fr-FR" sz="1100">
                          <a:solidFill>
                            <a:srgbClr val="000000"/>
                          </a:solidFill>
                          <a:effectLst/>
                          <a:latin typeface="+mj-lt"/>
                        </a:rPr>
                        <a:t>   Consolidation de l'animation des formations par Talan</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a:r>
                        <a:rPr lang="fr-FR" sz="1100">
                          <a:solidFill>
                            <a:srgbClr val="000000"/>
                          </a:solidFill>
                          <a:effectLst/>
                          <a:latin typeface="+mj-lt"/>
                        </a:rPr>
                        <a:t>15 j</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969636950"/>
                  </a:ext>
                </a:extLst>
              </a:tr>
              <a:tr h="195537">
                <a:tc>
                  <a:txBody>
                    <a:bodyPr/>
                    <a:lstStyle/>
                    <a:p>
                      <a:r>
                        <a:rPr lang="fr-FR" sz="1100">
                          <a:solidFill>
                            <a:srgbClr val="000000"/>
                          </a:solidFill>
                          <a:effectLst/>
                          <a:latin typeface="+mj-lt"/>
                        </a:rPr>
                        <a:t>3.4</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r>
                        <a:rPr lang="fr-FR" sz="1100">
                          <a:solidFill>
                            <a:srgbClr val="000000"/>
                          </a:solidFill>
                          <a:effectLst/>
                          <a:latin typeface="+mj-lt"/>
                        </a:rPr>
                        <a:t>   Visite sur le terrain, notamment sur les sites pilotes</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a:r>
                        <a:rPr lang="fr-FR" sz="1100">
                          <a:solidFill>
                            <a:srgbClr val="000000"/>
                          </a:solidFill>
                          <a:effectLst/>
                          <a:latin typeface="+mj-lt"/>
                        </a:rPr>
                        <a:t>30 j</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2276098658"/>
                  </a:ext>
                </a:extLst>
              </a:tr>
              <a:tr h="195537">
                <a:tc>
                  <a:txBody>
                    <a:bodyPr/>
                    <a:lstStyle/>
                    <a:p>
                      <a:r>
                        <a:rPr lang="fr-FR" sz="1100">
                          <a:solidFill>
                            <a:srgbClr val="000000"/>
                          </a:solidFill>
                          <a:effectLst/>
                          <a:latin typeface="+mj-lt"/>
                        </a:rPr>
                        <a:t>3.5</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r>
                        <a:rPr lang="fr-FR" sz="1100">
                          <a:solidFill>
                            <a:srgbClr val="000000"/>
                          </a:solidFill>
                          <a:effectLst/>
                          <a:latin typeface="+mj-lt"/>
                        </a:rPr>
                        <a:t>   Formation à Hastus par Talan et coaching</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a:r>
                        <a:rPr lang="fr-FR" sz="1100">
                          <a:solidFill>
                            <a:srgbClr val="000000"/>
                          </a:solidFill>
                          <a:effectLst/>
                          <a:latin typeface="+mj-lt"/>
                        </a:rPr>
                        <a:t>50 j</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286369768"/>
                  </a:ext>
                </a:extLst>
              </a:tr>
              <a:tr h="195537">
                <a:tc>
                  <a:txBody>
                    <a:bodyPr/>
                    <a:lstStyle/>
                    <a:p>
                      <a:r>
                        <a:rPr lang="fr-FR" sz="1100">
                          <a:solidFill>
                            <a:srgbClr val="000000"/>
                          </a:solidFill>
                          <a:effectLst/>
                          <a:latin typeface="+mj-lt"/>
                        </a:rPr>
                        <a:t>3.6</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r>
                        <a:rPr lang="fr-FR" sz="1100">
                          <a:solidFill>
                            <a:srgbClr val="000000"/>
                          </a:solidFill>
                          <a:effectLst/>
                          <a:latin typeface="+mj-lt"/>
                        </a:rPr>
                        <a:t>   Etude documentaire et pratiques Hastus</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a:r>
                        <a:rPr lang="fr-FR" sz="1100">
                          <a:solidFill>
                            <a:srgbClr val="000000"/>
                          </a:solidFill>
                          <a:effectLst/>
                          <a:latin typeface="+mj-lt"/>
                        </a:rPr>
                        <a:t>100 j</a:t>
                      </a:r>
                      <a:endParaRPr lang="fr-FR" sz="1100">
                        <a:effectLst/>
                        <a:latin typeface="+mj-lt"/>
                      </a:endParaRPr>
                    </a:p>
                  </a:txBody>
                  <a:tcPr marL="7620" marR="7620" marT="7620" marB="762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948126331"/>
                  </a:ext>
                </a:extLst>
              </a:tr>
            </a:tbl>
          </a:graphicData>
        </a:graphic>
      </p:graphicFrame>
      <p:graphicFrame>
        <p:nvGraphicFramePr>
          <p:cNvPr id="19" name="Tableau 4">
            <a:extLst>
              <a:ext uri="{FF2B5EF4-FFF2-40B4-BE49-F238E27FC236}">
                <a16:creationId xmlns:a16="http://schemas.microsoft.com/office/drawing/2014/main" id="{918C2788-4FB2-A160-8567-038F4488845F}"/>
              </a:ext>
            </a:extLst>
          </p:cNvPr>
          <p:cNvGraphicFramePr>
            <a:graphicFrameLocks noGrp="1"/>
          </p:cNvGraphicFramePr>
          <p:nvPr>
            <p:extLst>
              <p:ext uri="{D42A27DB-BD31-4B8C-83A1-F6EECF244321}">
                <p14:modId xmlns:p14="http://schemas.microsoft.com/office/powerpoint/2010/main" val="3443127840"/>
              </p:ext>
            </p:extLst>
          </p:nvPr>
        </p:nvGraphicFramePr>
        <p:xfrm>
          <a:off x="5270041" y="3029606"/>
          <a:ext cx="6425980" cy="3096069"/>
        </p:xfrm>
        <a:graphic>
          <a:graphicData uri="http://schemas.openxmlformats.org/drawingml/2006/table">
            <a:tbl>
              <a:tblPr bandRow="1">
                <a:tableStyleId>{5C22544A-7EE6-4342-B048-85BDC9FD1C3A}</a:tableStyleId>
              </a:tblPr>
              <a:tblGrid>
                <a:gridCol w="414276">
                  <a:extLst>
                    <a:ext uri="{9D8B030D-6E8A-4147-A177-3AD203B41FA5}">
                      <a16:colId xmlns:a16="http://schemas.microsoft.com/office/drawing/2014/main" val="3835464732"/>
                    </a:ext>
                  </a:extLst>
                </a:gridCol>
                <a:gridCol w="6011704">
                  <a:extLst>
                    <a:ext uri="{9D8B030D-6E8A-4147-A177-3AD203B41FA5}">
                      <a16:colId xmlns:a16="http://schemas.microsoft.com/office/drawing/2014/main" val="2107302021"/>
                    </a:ext>
                  </a:extLst>
                </a:gridCol>
              </a:tblGrid>
              <a:tr h="308368">
                <a:tc>
                  <a:txBody>
                    <a:bodyPr/>
                    <a:lstStyle/>
                    <a:p>
                      <a:r>
                        <a:rPr lang="fr-FR" sz="1000" b="0">
                          <a:solidFill>
                            <a:schemeClr val="bg1"/>
                          </a:solidFill>
                          <a:latin typeface="+mj-lt"/>
                        </a:rPr>
                        <a:t>3.1</a:t>
                      </a:r>
                    </a:p>
                  </a:txBody>
                  <a:tcPr marT="0" marB="0"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44388A"/>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000">
                          <a:solidFill>
                            <a:schemeClr val="tx1">
                              <a:lumMod val="85000"/>
                              <a:lumOff val="15000"/>
                            </a:schemeClr>
                          </a:solidFill>
                          <a:latin typeface="+mj-lt"/>
                          <a:sym typeface="Wingdings" panose="05000000000000000000" pitchFamily="2" charset="2"/>
                        </a:rPr>
                        <a:t>5 jours d’accompagnement sur les 3 premières semaine puis une demie journée par semaine jusqu’à fin août = 11 jours x 5 personnes</a:t>
                      </a:r>
                    </a:p>
                  </a:txBody>
                  <a:tcPr marT="0" marB="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62416897"/>
                  </a:ext>
                </a:extLst>
              </a:tr>
              <a:tr h="545573">
                <a:tc>
                  <a:txBody>
                    <a:bodyPr/>
                    <a:lstStyle/>
                    <a:p>
                      <a:r>
                        <a:rPr lang="fr-FR" sz="1000" b="0">
                          <a:solidFill>
                            <a:schemeClr val="bg1"/>
                          </a:solidFill>
                          <a:latin typeface="+mj-lt"/>
                        </a:rPr>
                        <a:t>3.2</a:t>
                      </a:r>
                    </a:p>
                  </a:txBody>
                  <a:tcPr marT="0" marB="0"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44388A"/>
                    </a:solidFill>
                  </a:tcPr>
                </a:tc>
                <a:tc>
                  <a:txBody>
                    <a:bodyPr/>
                    <a:lstStyle/>
                    <a:p>
                      <a:pPr marL="9525" indent="0">
                        <a:buFont typeface="Arial" panose="020B0604020202020204" pitchFamily="34" charset="0"/>
                        <a:buNone/>
                      </a:pPr>
                      <a:r>
                        <a:rPr lang="fr-FR" sz="1000" b="0">
                          <a:solidFill>
                            <a:schemeClr val="tx1"/>
                          </a:solidFill>
                          <a:latin typeface="+mj-lt"/>
                        </a:rPr>
                        <a:t>Sur un volume de 35 jours prévus sur mai et juin on prévoit une participation environ de la moitié de l’équipe pour chaque session puisque :</a:t>
                      </a:r>
                    </a:p>
                    <a:p>
                      <a:pPr marL="238125" indent="-228600">
                        <a:buFont typeface="Arial" panose="020B0604020202020204" pitchFamily="34" charset="0"/>
                        <a:buAutoNum type="arabicPeriod"/>
                      </a:pPr>
                      <a:r>
                        <a:rPr lang="fr-FR" sz="1000" b="0">
                          <a:solidFill>
                            <a:schemeClr val="tx1"/>
                          </a:solidFill>
                          <a:latin typeface="+mj-lt"/>
                        </a:rPr>
                        <a:t>Certaines sessions se déroulent en parallèle</a:t>
                      </a:r>
                    </a:p>
                    <a:p>
                      <a:pPr marL="238125" indent="-228600">
                        <a:buFont typeface="Arial" panose="020B0604020202020204" pitchFamily="34" charset="0"/>
                        <a:buAutoNum type="arabicPeriod"/>
                      </a:pPr>
                      <a:r>
                        <a:rPr lang="fr-FR" sz="1000" b="0">
                          <a:solidFill>
                            <a:schemeClr val="tx1"/>
                          </a:solidFill>
                          <a:latin typeface="+mj-lt"/>
                        </a:rPr>
                        <a:t>La présence de 5 personnes en fond de salle n’est pas souhaitable</a:t>
                      </a:r>
                    </a:p>
                  </a:txBody>
                  <a:tcPr marT="0" marB="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01884082"/>
                  </a:ext>
                </a:extLst>
              </a:tr>
              <a:tr h="308368">
                <a:tc>
                  <a:txBody>
                    <a:bodyPr/>
                    <a:lstStyle/>
                    <a:p>
                      <a:r>
                        <a:rPr lang="fr-FR" sz="1000" b="0">
                          <a:solidFill>
                            <a:schemeClr val="bg1"/>
                          </a:solidFill>
                          <a:latin typeface="+mj-lt"/>
                        </a:rPr>
                        <a:t>3.3</a:t>
                      </a:r>
                    </a:p>
                  </a:txBody>
                  <a:tcPr marT="0" marB="0"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44388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a:solidFill>
                            <a:schemeClr val="tx1"/>
                          </a:solidFill>
                          <a:latin typeface="+mj-lt"/>
                          <a:sym typeface="Wingdings" panose="05000000000000000000" pitchFamily="2" charset="2"/>
                        </a:rPr>
                        <a:t>Accompagnement par Talan des formateurs pour perfectionner leurs acquis pédagogiques dans le domaine = 3 jours x 5 personnes</a:t>
                      </a:r>
                    </a:p>
                  </a:txBody>
                  <a:tcPr marT="0" marB="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12115173"/>
                  </a:ext>
                </a:extLst>
              </a:tr>
              <a:tr h="1138588">
                <a:tc>
                  <a:txBody>
                    <a:bodyPr/>
                    <a:lstStyle/>
                    <a:p>
                      <a:r>
                        <a:rPr lang="fr-FR" sz="1000" b="0">
                          <a:solidFill>
                            <a:schemeClr val="bg1"/>
                          </a:solidFill>
                          <a:latin typeface="+mj-lt"/>
                        </a:rPr>
                        <a:t>3.4</a:t>
                      </a:r>
                    </a:p>
                  </a:txBody>
                  <a:tcPr marT="0" marB="0"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44388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a:solidFill>
                            <a:schemeClr val="tx1"/>
                          </a:solidFill>
                          <a:latin typeface="+mj-lt"/>
                          <a:sym typeface="Wingdings" panose="05000000000000000000" pitchFamily="2" charset="2"/>
                        </a:rPr>
                        <a:t>Visites terrain pour découvrir les métier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000">
                          <a:solidFill>
                            <a:schemeClr val="tx1"/>
                          </a:solidFill>
                          <a:latin typeface="+mj-lt"/>
                          <a:sym typeface="Wingdings" panose="05000000000000000000" pitchFamily="2" charset="2"/>
                        </a:rPr>
                        <a:t>Technicentr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000">
                          <a:solidFill>
                            <a:schemeClr val="tx1"/>
                          </a:solidFill>
                          <a:latin typeface="+mj-lt"/>
                          <a:sym typeface="Wingdings" panose="05000000000000000000" pitchFamily="2" charset="2"/>
                        </a:rPr>
                        <a:t>Produit trai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000">
                          <a:solidFill>
                            <a:schemeClr val="tx1"/>
                          </a:solidFill>
                          <a:latin typeface="+mj-lt"/>
                          <a:sym typeface="Wingdings" panose="05000000000000000000" pitchFamily="2" charset="2"/>
                        </a:rPr>
                        <a:t>Train/ASC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000">
                          <a:solidFill>
                            <a:schemeClr val="tx1"/>
                          </a:solidFill>
                          <a:latin typeface="+mj-lt"/>
                          <a:sym typeface="Wingdings" panose="05000000000000000000" pitchFamily="2" charset="2"/>
                        </a:rPr>
                        <a:t>Gare (x2)</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000">
                          <a:solidFill>
                            <a:schemeClr val="tx1"/>
                          </a:solidFill>
                          <a:latin typeface="+mj-lt"/>
                          <a:sym typeface="Wingdings" panose="05000000000000000000" pitchFamily="2" charset="2"/>
                        </a:rPr>
                        <a:t>IV</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000">
                          <a:solidFill>
                            <a:schemeClr val="tx1"/>
                          </a:solidFill>
                          <a:latin typeface="+mj-lt"/>
                          <a:sym typeface="Wingdings" panose="05000000000000000000" pitchFamily="2" charset="2"/>
                        </a:rPr>
                        <a:t>Point d’attention : afin de ne pas « déranger » les agents dans leurs activité quotidienne il faudra cibler les sites et les équipes avec précaution. Ainsi la posture des consultants ne sera pas invasive mais en mode observation.</a:t>
                      </a:r>
                    </a:p>
                  </a:txBody>
                  <a:tcPr marT="0" marB="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34542134"/>
                  </a:ext>
                </a:extLst>
              </a:tr>
              <a:tr h="308368">
                <a:tc>
                  <a:txBody>
                    <a:bodyPr/>
                    <a:lstStyle/>
                    <a:p>
                      <a:r>
                        <a:rPr lang="fr-FR" sz="1000" b="0">
                          <a:solidFill>
                            <a:schemeClr val="bg1"/>
                          </a:solidFill>
                          <a:latin typeface="+mj-lt"/>
                        </a:rPr>
                        <a:t>3.5</a:t>
                      </a:r>
                    </a:p>
                  </a:txBody>
                  <a:tcPr marT="0" marB="0"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44388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a:solidFill>
                            <a:schemeClr val="tx1"/>
                          </a:solidFill>
                          <a:latin typeface="+mj-lt"/>
                          <a:sym typeface="Wingdings" panose="05000000000000000000" pitchFamily="2" charset="2"/>
                        </a:rPr>
                        <a:t>Animation par Talan de 4 jours de formation à HASTUS puis coaching à hauteur d’une demie journée par semaine jusqu’à fin août = 10 jours x 5 personnes</a:t>
                      </a:r>
                    </a:p>
                  </a:txBody>
                  <a:tcPr marT="0" marB="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89059680"/>
                  </a:ext>
                </a:extLst>
              </a:tr>
              <a:tr h="189765">
                <a:tc>
                  <a:txBody>
                    <a:bodyPr/>
                    <a:lstStyle/>
                    <a:p>
                      <a:r>
                        <a:rPr lang="fr-FR" sz="1000" b="0">
                          <a:solidFill>
                            <a:schemeClr val="bg1"/>
                          </a:solidFill>
                          <a:latin typeface="+mj-lt"/>
                        </a:rPr>
                        <a:t>3.6</a:t>
                      </a:r>
                    </a:p>
                  </a:txBody>
                  <a:tcPr marT="0" marB="0"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44388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a:solidFill>
                            <a:schemeClr val="tx1"/>
                          </a:solidFill>
                          <a:latin typeface="+mj-lt"/>
                          <a:sym typeface="Wingdings" panose="05000000000000000000" pitchFamily="2" charset="2"/>
                        </a:rPr>
                        <a:t>Travail en autonomie et approfondissement</a:t>
                      </a:r>
                    </a:p>
                  </a:txBody>
                  <a:tcPr marT="0" marB="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95247419"/>
                  </a:ext>
                </a:extLst>
              </a:tr>
            </a:tbl>
          </a:graphicData>
        </a:graphic>
      </p:graphicFrame>
      <p:sp>
        <p:nvSpPr>
          <p:cNvPr id="20" name="ZoneTexte 19">
            <a:extLst>
              <a:ext uri="{FF2B5EF4-FFF2-40B4-BE49-F238E27FC236}">
                <a16:creationId xmlns:a16="http://schemas.microsoft.com/office/drawing/2014/main" id="{13EE3F99-8380-7763-BA83-7CF4024CF3CC}"/>
              </a:ext>
            </a:extLst>
          </p:cNvPr>
          <p:cNvSpPr txBox="1"/>
          <p:nvPr/>
        </p:nvSpPr>
        <p:spPr>
          <a:xfrm>
            <a:off x="5178471" y="2772163"/>
            <a:ext cx="3251154" cy="253916"/>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u="none" strike="noStrike" kern="0" cap="none" spc="0" normalizeH="0" baseline="0" noProof="0">
                <a:ln>
                  <a:noFill/>
                </a:ln>
                <a:solidFill>
                  <a:srgbClr val="7F7F7F">
                    <a:lumMod val="75000"/>
                  </a:srgbClr>
                </a:solidFill>
                <a:effectLst/>
                <a:uLnTx/>
                <a:uFillTx/>
                <a:latin typeface="Arial"/>
                <a:cs typeface="Arial"/>
                <a:sym typeface="Arial"/>
              </a:rPr>
              <a:t>Planification issue du planning globale projet</a:t>
            </a:r>
          </a:p>
        </p:txBody>
      </p:sp>
      <p:sp>
        <p:nvSpPr>
          <p:cNvPr id="22" name="Espace réservé du contenu 7">
            <a:extLst>
              <a:ext uri="{FF2B5EF4-FFF2-40B4-BE49-F238E27FC236}">
                <a16:creationId xmlns:a16="http://schemas.microsoft.com/office/drawing/2014/main" id="{B58F78E0-5485-CB04-5B71-42CF98DDFEDC}"/>
              </a:ext>
            </a:extLst>
          </p:cNvPr>
          <p:cNvSpPr txBox="1">
            <a:spLocks/>
          </p:cNvSpPr>
          <p:nvPr/>
        </p:nvSpPr>
        <p:spPr bwMode="gray">
          <a:xfrm>
            <a:off x="5284451" y="6192261"/>
            <a:ext cx="6411570" cy="319141"/>
          </a:xfrm>
          <a:prstGeom prst="rect">
            <a:avLst/>
          </a:prstGeom>
          <a:solidFill>
            <a:srgbClr val="44388A"/>
          </a:solidFill>
          <a:ln w="12700">
            <a:noFill/>
          </a:ln>
        </p:spPr>
        <p:txBody>
          <a:bodyPr vert="horz" wrap="square" lIns="0" tIns="3810" rIns="0" bIns="0" rtlCol="0" anchor="ctr">
            <a:noAutofit/>
          </a:bodyPr>
          <a:lstStyle>
            <a:defPPr marR="0" lvl="0" algn="l" rtl="0">
              <a:lnSpc>
                <a:spcPct val="100000"/>
              </a:lnSpc>
              <a:spcBef>
                <a:spcPts val="0"/>
              </a:spcBef>
              <a:spcAft>
                <a:spcPts val="0"/>
              </a:spcAft>
            </a:defPPr>
            <a:lvl1pPr algn="ctr">
              <a:defRPr sz="1200" spc="-5">
                <a:solidFill>
                  <a:srgbClr val="FFFFFF"/>
                </a:solidFill>
                <a:latin typeface="+mj-lt"/>
                <a:cs typeface="Verdana"/>
              </a:defRPr>
            </a:lvl1pPr>
            <a:lvl2pPr marL="0" indent="0" algn="l" defTabSz="1072866" rtl="0" eaLnBrk="1" fontAlgn="base" latinLnBrk="0" hangingPunct="1">
              <a:lnSpc>
                <a:spcPct val="100000"/>
              </a:lnSpc>
              <a:spcBef>
                <a:spcPts val="0"/>
              </a:spcBef>
              <a:spcAft>
                <a:spcPct val="0"/>
              </a:spcAft>
              <a:buFont typeface="Arial" pitchFamily="34" charset="0"/>
              <a:buNone/>
              <a:defRPr lang="fr-FR" sz="1400" kern="1200" dirty="0" smtClean="0">
                <a:solidFill>
                  <a:schemeClr val="tx1"/>
                </a:solidFill>
                <a:latin typeface="Avenir LT Std 55 Roman" pitchFamily="34" charset="0"/>
                <a:ea typeface="+mn-ea"/>
                <a:cs typeface="+mn-cs"/>
              </a:defRPr>
            </a:lvl2pPr>
            <a:lvl3pPr marL="168955" indent="-168955" algn="l" defTabSz="1072866" rtl="0" eaLnBrk="1" fontAlgn="base" latinLnBrk="0" hangingPunct="1">
              <a:lnSpc>
                <a:spcPct val="100000"/>
              </a:lnSpc>
              <a:spcBef>
                <a:spcPts val="0"/>
              </a:spcBef>
              <a:spcAft>
                <a:spcPct val="0"/>
              </a:spcAft>
              <a:buClr>
                <a:schemeClr val="accent1"/>
              </a:buClr>
              <a:buSzPct val="100000"/>
              <a:buFont typeface="Avenir LT Std 65 Medium" pitchFamily="34" charset="0"/>
              <a:buChar char="+"/>
              <a:defRPr lang="fr-FR" sz="1400" kern="1200" dirty="0" smtClean="0">
                <a:solidFill>
                  <a:schemeClr val="tx1"/>
                </a:solidFill>
                <a:latin typeface="Avenir LT Std 55 Roman" pitchFamily="34" charset="0"/>
                <a:ea typeface="+mn-ea"/>
                <a:cs typeface="+mn-cs"/>
              </a:defRPr>
            </a:lvl3pPr>
            <a:lvl4pPr marL="253433" indent="-84478" algn="l" defTabSz="1072866" rtl="0" eaLnBrk="1" fontAlgn="base" latinLnBrk="0" hangingPunct="1">
              <a:lnSpc>
                <a:spcPct val="100000"/>
              </a:lnSpc>
              <a:spcBef>
                <a:spcPts val="0"/>
              </a:spcBef>
              <a:spcAft>
                <a:spcPct val="0"/>
              </a:spcAft>
              <a:buClr>
                <a:schemeClr val="tx1"/>
              </a:buClr>
              <a:buSzPct val="75000"/>
              <a:buFont typeface="Arial" pitchFamily="34" charset="0"/>
              <a:buChar char="•"/>
              <a:defRPr lang="fr-FR" sz="1400" kern="1200" dirty="0" smtClean="0">
                <a:solidFill>
                  <a:schemeClr val="tx1"/>
                </a:solidFill>
                <a:latin typeface="Avenir LT Std 55 Roman" pitchFamily="34" charset="0"/>
                <a:ea typeface="+mn-ea"/>
                <a:cs typeface="+mn-cs"/>
              </a:defRPr>
            </a:lvl4pPr>
            <a:lvl5pPr marL="253433" indent="0" algn="l" defTabSz="1072866" rtl="0" eaLnBrk="1" fontAlgn="base" latinLnBrk="0" hangingPunct="1">
              <a:lnSpc>
                <a:spcPct val="100000"/>
              </a:lnSpc>
              <a:spcBef>
                <a:spcPts val="0"/>
              </a:spcBef>
              <a:spcAft>
                <a:spcPct val="0"/>
              </a:spcAft>
              <a:buSzPct val="100000"/>
              <a:buFont typeface="Arial" pitchFamily="34" charset="0"/>
              <a:buNone/>
              <a:defRPr lang="fr-FR" sz="1400" kern="1200" dirty="0">
                <a:solidFill>
                  <a:schemeClr val="tx1"/>
                </a:solidFill>
                <a:latin typeface="Avenir LT Std 55 Roman" pitchFamily="34" charset="0"/>
                <a:ea typeface="+mn-ea"/>
                <a:cs typeface="+mn-cs"/>
              </a:defRPr>
            </a:lvl5pPr>
            <a:lvl6pPr marL="2950380"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6813"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3246"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59678"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fr-FR" sz="1000">
                <a:solidFill>
                  <a:schemeClr val="bg1"/>
                </a:solidFill>
              </a:rPr>
              <a:t>Les </a:t>
            </a:r>
            <a:r>
              <a:rPr lang="fr-FR" sz="1000" b="1">
                <a:solidFill>
                  <a:schemeClr val="bg1"/>
                </a:solidFill>
              </a:rPr>
              <a:t>experts métier SNCF </a:t>
            </a:r>
            <a:r>
              <a:rPr lang="fr-FR" sz="1000">
                <a:solidFill>
                  <a:schemeClr val="bg1"/>
                </a:solidFill>
              </a:rPr>
              <a:t>Transilien, pour la montée en compétence des formateurs seront mobilisés uniquement sur l’activité 3.1 à hauteur de 11 jours</a:t>
            </a:r>
          </a:p>
        </p:txBody>
      </p:sp>
      <p:pic>
        <p:nvPicPr>
          <p:cNvPr id="5" name="Graphique 4" descr="Loupe avec un remplissage uni">
            <a:extLst>
              <a:ext uri="{FF2B5EF4-FFF2-40B4-BE49-F238E27FC236}">
                <a16:creationId xmlns:a16="http://schemas.microsoft.com/office/drawing/2014/main" id="{D8F62F83-9D86-C152-6404-F498DBF4356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5646097">
            <a:off x="4962128" y="5634258"/>
            <a:ext cx="432686" cy="432686"/>
          </a:xfrm>
          <a:prstGeom prst="rect">
            <a:avLst/>
          </a:prstGeom>
        </p:spPr>
      </p:pic>
      <p:sp>
        <p:nvSpPr>
          <p:cNvPr id="6" name="Google Shape;202;g62decd456d_2_291">
            <a:extLst>
              <a:ext uri="{FF2B5EF4-FFF2-40B4-BE49-F238E27FC236}">
                <a16:creationId xmlns:a16="http://schemas.microsoft.com/office/drawing/2014/main" id="{ECA21B38-0A22-CFAD-DC05-40E493657D50}"/>
              </a:ext>
            </a:extLst>
          </p:cNvPr>
          <p:cNvSpPr txBox="1"/>
          <p:nvPr/>
        </p:nvSpPr>
        <p:spPr>
          <a:xfrm>
            <a:off x="2678103" y="5925668"/>
            <a:ext cx="2395547" cy="471021"/>
          </a:xfrm>
          <a:prstGeom prst="rect">
            <a:avLst/>
          </a:prstGeom>
          <a:noFill/>
          <a:ln>
            <a:solidFill>
              <a:schemeClr val="accent3"/>
            </a:solidFill>
          </a:ln>
        </p:spPr>
        <p:txBody>
          <a:bodyPr spcFirstLastPara="1" wrap="square" lIns="91425" tIns="91425" rIns="91425" bIns="91425" anchor="t" anchorCtr="0">
            <a:noAutofit/>
          </a:bodyPr>
          <a:lstStyle/>
          <a:p>
            <a:pPr marL="6350" lvl="0" algn="ctr">
              <a:spcAft>
                <a:spcPts val="300"/>
              </a:spcAft>
              <a:buClr>
                <a:schemeClr val="accent4"/>
              </a:buClr>
              <a:buSzPts val="1100"/>
            </a:pPr>
            <a:r>
              <a:rPr lang="fr-FR" sz="900">
                <a:solidFill>
                  <a:srgbClr val="757070"/>
                </a:solidFill>
                <a:latin typeface="+mj-lt"/>
                <a:ea typeface="Montserrat"/>
                <a:cs typeface="Montserrat"/>
                <a:sym typeface="Montserrat"/>
              </a:rPr>
              <a:t>Focus « Parcours d’apprentissage » dans le chapitre « Dispositif Talan proposé » </a:t>
            </a:r>
          </a:p>
        </p:txBody>
      </p:sp>
    </p:spTree>
    <p:extLst>
      <p:ext uri="{BB962C8B-B14F-4D97-AF65-F5344CB8AC3E}">
        <p14:creationId xmlns:p14="http://schemas.microsoft.com/office/powerpoint/2010/main" val="34752876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 coins arrondis 50">
            <a:extLst>
              <a:ext uri="{FF2B5EF4-FFF2-40B4-BE49-F238E27FC236}">
                <a16:creationId xmlns:a16="http://schemas.microsoft.com/office/drawing/2014/main" id="{E75ED240-FCDC-08B5-DEDD-583498EA288C}"/>
              </a:ext>
            </a:extLst>
          </p:cNvPr>
          <p:cNvSpPr/>
          <p:nvPr/>
        </p:nvSpPr>
        <p:spPr>
          <a:xfrm>
            <a:off x="4064013" y="783377"/>
            <a:ext cx="8015449" cy="5727210"/>
          </a:xfrm>
          <a:prstGeom prst="roundRect">
            <a:avLst>
              <a:gd name="adj" fmla="val 492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r"/>
            <a:r>
              <a:rPr lang="fr-FR" sz="800" i="1" dirty="0">
                <a:solidFill>
                  <a:schemeClr val="tx1"/>
                </a:solidFill>
                <a:latin typeface="+mj-lt"/>
              </a:rPr>
              <a:t>* Phases déjà réalisées pour la formation HASTUS (client lourd) ; </a:t>
            </a:r>
            <a:endParaRPr lang="fr-FR" sz="800" i="1" dirty="0">
              <a:solidFill>
                <a:schemeClr val="tx1"/>
              </a:solidFill>
              <a:latin typeface="+mj-lt"/>
              <a:cs typeface="Arial"/>
            </a:endParaRPr>
          </a:p>
          <a:p>
            <a:pPr algn="r"/>
            <a:r>
              <a:rPr lang="fr-FR" sz="800" i="1" dirty="0">
                <a:solidFill>
                  <a:schemeClr val="tx1"/>
                </a:solidFill>
                <a:latin typeface="+mj-lt"/>
              </a:rPr>
              <a:t>à réaliser pour </a:t>
            </a:r>
            <a:r>
              <a:rPr lang="fr-FR" sz="800" i="1" dirty="0" err="1">
                <a:solidFill>
                  <a:schemeClr val="tx1"/>
                </a:solidFill>
                <a:latin typeface="+mj-lt"/>
              </a:rPr>
              <a:t>SelfService</a:t>
            </a:r>
            <a:r>
              <a:rPr lang="fr-FR" sz="800" i="1" dirty="0">
                <a:solidFill>
                  <a:schemeClr val="tx1"/>
                </a:solidFill>
                <a:latin typeface="+mj-lt"/>
              </a:rPr>
              <a:t>, PALAS et Consu</a:t>
            </a:r>
            <a:r>
              <a:rPr lang="fr-FR" sz="1050" i="1" dirty="0">
                <a:solidFill>
                  <a:schemeClr val="tx1"/>
                </a:solidFill>
                <a:latin typeface="+mj-lt"/>
              </a:rPr>
              <a:t>lt</a:t>
            </a:r>
            <a:endParaRPr lang="fr-FR" sz="1050" i="1" dirty="0">
              <a:solidFill>
                <a:schemeClr val="tx1"/>
              </a:solidFill>
              <a:latin typeface="+mj-lt"/>
              <a:cs typeface="Arial"/>
            </a:endParaRPr>
          </a:p>
        </p:txBody>
      </p:sp>
      <p:graphicFrame>
        <p:nvGraphicFramePr>
          <p:cNvPr id="49" name="Diagramme 48">
            <a:extLst>
              <a:ext uri="{FF2B5EF4-FFF2-40B4-BE49-F238E27FC236}">
                <a16:creationId xmlns:a16="http://schemas.microsoft.com/office/drawing/2014/main" id="{35D71AD9-8FD7-BE74-5FA3-5F309C32FCD6}"/>
              </a:ext>
            </a:extLst>
          </p:cNvPr>
          <p:cNvGraphicFramePr/>
          <p:nvPr>
            <p:extLst>
              <p:ext uri="{D42A27DB-BD31-4B8C-83A1-F6EECF244321}">
                <p14:modId xmlns:p14="http://schemas.microsoft.com/office/powerpoint/2010/main" val="2726531492"/>
              </p:ext>
            </p:extLst>
          </p:nvPr>
        </p:nvGraphicFramePr>
        <p:xfrm>
          <a:off x="2871190" y="903664"/>
          <a:ext cx="8128000" cy="49720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re 1">
            <a:extLst>
              <a:ext uri="{FF2B5EF4-FFF2-40B4-BE49-F238E27FC236}">
                <a16:creationId xmlns:a16="http://schemas.microsoft.com/office/drawing/2014/main" id="{E11BF5BD-75C4-4E77-9598-7225EFF82CC5}"/>
              </a:ext>
            </a:extLst>
          </p:cNvPr>
          <p:cNvSpPr>
            <a:spLocks noGrp="1"/>
          </p:cNvSpPr>
          <p:nvPr>
            <p:ph type="title"/>
          </p:nvPr>
        </p:nvSpPr>
        <p:spPr/>
        <p:txBody>
          <a:bodyPr/>
          <a:lstStyle/>
          <a:p>
            <a:r>
              <a:rPr lang="fr-FR" sz="1600">
                <a:highlight>
                  <a:srgbClr val="FFFF00"/>
                </a:highlight>
              </a:rPr>
              <a:t>2. PRÉPARER ET ANIMER LES FORMATIONS – </a:t>
            </a:r>
            <a:r>
              <a:rPr lang="fr-FR" sz="1400">
                <a:highlight>
                  <a:srgbClr val="FFFF00"/>
                </a:highlight>
              </a:rPr>
              <a:t>« Focus » Déroulé cyclique des formations</a:t>
            </a:r>
            <a:br>
              <a:rPr lang="fr-FR" sz="1600">
                <a:highlight>
                  <a:srgbClr val="FFFF00"/>
                </a:highlight>
              </a:rPr>
            </a:br>
            <a:r>
              <a:rPr lang="fr-FR" sz="1600" b="0">
                <a:solidFill>
                  <a:schemeClr val="bg2">
                    <a:lumMod val="60000"/>
                    <a:lumOff val="40000"/>
                  </a:schemeClr>
                </a:solidFill>
                <a:highlight>
                  <a:srgbClr val="FFFF00"/>
                </a:highlight>
                <a:latin typeface="+mn-lt"/>
                <a:cs typeface="Arial" panose="020B0604020202020204" pitchFamily="34" charset="0"/>
              </a:rPr>
              <a:t>Démarche proposée</a:t>
            </a:r>
          </a:p>
        </p:txBody>
      </p:sp>
      <p:sp>
        <p:nvSpPr>
          <p:cNvPr id="3" name="Triangle isocèle 2">
            <a:extLst>
              <a:ext uri="{FF2B5EF4-FFF2-40B4-BE49-F238E27FC236}">
                <a16:creationId xmlns:a16="http://schemas.microsoft.com/office/drawing/2014/main" id="{D346C06B-E16C-6F24-EEC2-C8BCC622F0C3}"/>
              </a:ext>
            </a:extLst>
          </p:cNvPr>
          <p:cNvSpPr/>
          <p:nvPr/>
        </p:nvSpPr>
        <p:spPr>
          <a:xfrm rot="5400000">
            <a:off x="1615387" y="3440725"/>
            <a:ext cx="4972036" cy="489964"/>
          </a:xfrm>
          <a:prstGeom prst="triangl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7" name="Rectangle 6">
            <a:extLst>
              <a:ext uri="{FF2B5EF4-FFF2-40B4-BE49-F238E27FC236}">
                <a16:creationId xmlns:a16="http://schemas.microsoft.com/office/drawing/2014/main" id="{E0219AF7-485E-09B4-A5B0-BE7399CA6115}"/>
              </a:ext>
            </a:extLst>
          </p:cNvPr>
          <p:cNvSpPr/>
          <p:nvPr/>
        </p:nvSpPr>
        <p:spPr>
          <a:xfrm>
            <a:off x="550311" y="1617540"/>
            <a:ext cx="3097525" cy="407323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algn="ctr"/>
            <a:endParaRPr lang="fr-FR" sz="1200" b="1">
              <a:solidFill>
                <a:schemeClr val="bg2"/>
              </a:solidFill>
            </a:endParaRPr>
          </a:p>
          <a:p>
            <a:pPr algn="ctr"/>
            <a:r>
              <a:rPr lang="fr-FR" sz="1200" b="1">
                <a:solidFill>
                  <a:schemeClr val="bg2"/>
                </a:solidFill>
              </a:rPr>
              <a:t>Déroulé cyclique des formations</a:t>
            </a:r>
          </a:p>
        </p:txBody>
      </p:sp>
      <p:grpSp>
        <p:nvGrpSpPr>
          <p:cNvPr id="8" name="Groupe 7">
            <a:extLst>
              <a:ext uri="{FF2B5EF4-FFF2-40B4-BE49-F238E27FC236}">
                <a16:creationId xmlns:a16="http://schemas.microsoft.com/office/drawing/2014/main" id="{F5A274C5-E874-65EB-6093-E1A5AF1315BC}"/>
              </a:ext>
            </a:extLst>
          </p:cNvPr>
          <p:cNvGrpSpPr/>
          <p:nvPr/>
        </p:nvGrpSpPr>
        <p:grpSpPr>
          <a:xfrm rot="3415149">
            <a:off x="1097785" y="2911480"/>
            <a:ext cx="2000353" cy="2017700"/>
            <a:chOff x="3143711" y="1896225"/>
            <a:chExt cx="2803337" cy="2827649"/>
          </a:xfrm>
        </p:grpSpPr>
        <p:sp>
          <p:nvSpPr>
            <p:cNvPr id="9" name="Google Shape;741;p28">
              <a:extLst>
                <a:ext uri="{FF2B5EF4-FFF2-40B4-BE49-F238E27FC236}">
                  <a16:creationId xmlns:a16="http://schemas.microsoft.com/office/drawing/2014/main" id="{F0D4ECFE-8443-328A-2CC0-E72EB4E64FBE}"/>
                </a:ext>
              </a:extLst>
            </p:cNvPr>
            <p:cNvSpPr/>
            <p:nvPr/>
          </p:nvSpPr>
          <p:spPr>
            <a:xfrm rot="-411518">
              <a:off x="4628351" y="1923190"/>
              <a:ext cx="1318697" cy="1839614"/>
            </a:xfrm>
            <a:custGeom>
              <a:avLst/>
              <a:gdLst/>
              <a:ahLst/>
              <a:cxnLst/>
              <a:rect l="l" t="t" r="r" b="b"/>
              <a:pathLst>
                <a:path w="9645" h="13455" extrusionOk="0">
                  <a:moveTo>
                    <a:pt x="250" y="0"/>
                  </a:moveTo>
                  <a:lnTo>
                    <a:pt x="3024" y="2762"/>
                  </a:lnTo>
                  <a:lnTo>
                    <a:pt x="0" y="5787"/>
                  </a:lnTo>
                  <a:cubicBezTo>
                    <a:pt x="1643" y="6203"/>
                    <a:pt x="2846" y="7692"/>
                    <a:pt x="2846" y="9466"/>
                  </a:cubicBezTo>
                  <a:lnTo>
                    <a:pt x="1667" y="9466"/>
                  </a:lnTo>
                  <a:lnTo>
                    <a:pt x="2691" y="10490"/>
                  </a:lnTo>
                  <a:lnTo>
                    <a:pt x="5656" y="13454"/>
                  </a:lnTo>
                  <a:lnTo>
                    <a:pt x="8501" y="10609"/>
                  </a:lnTo>
                  <a:lnTo>
                    <a:pt x="9644" y="9466"/>
                  </a:lnTo>
                  <a:lnTo>
                    <a:pt x="8573" y="9466"/>
                  </a:lnTo>
                  <a:cubicBezTo>
                    <a:pt x="8573" y="4608"/>
                    <a:pt x="4941" y="607"/>
                    <a:pt x="250" y="0"/>
                  </a:cubicBezTo>
                  <a:close/>
                </a:path>
              </a:pathLst>
            </a:custGeom>
            <a:solidFill>
              <a:schemeClr val="bg2"/>
            </a:solidFill>
            <a:ln w="12700"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742;p28">
              <a:extLst>
                <a:ext uri="{FF2B5EF4-FFF2-40B4-BE49-F238E27FC236}">
                  <a16:creationId xmlns:a16="http://schemas.microsoft.com/office/drawing/2014/main" id="{726A66C4-244F-140F-F335-2833D71DBC67}"/>
                </a:ext>
              </a:extLst>
            </p:cNvPr>
            <p:cNvSpPr/>
            <p:nvPr/>
          </p:nvSpPr>
          <p:spPr>
            <a:xfrm rot="-411518">
              <a:off x="4093039" y="3398614"/>
              <a:ext cx="1842895" cy="1325260"/>
            </a:xfrm>
            <a:custGeom>
              <a:avLst/>
              <a:gdLst/>
              <a:ahLst/>
              <a:cxnLst/>
              <a:rect l="l" t="t" r="r" b="b"/>
              <a:pathLst>
                <a:path w="13479" h="9693" extrusionOk="0">
                  <a:moveTo>
                    <a:pt x="7644" y="1"/>
                  </a:moveTo>
                  <a:cubicBezTo>
                    <a:pt x="7203" y="1608"/>
                    <a:pt x="5727" y="2787"/>
                    <a:pt x="3989" y="2787"/>
                  </a:cubicBezTo>
                  <a:lnTo>
                    <a:pt x="3989" y="1703"/>
                  </a:lnTo>
                  <a:lnTo>
                    <a:pt x="3012" y="2668"/>
                  </a:lnTo>
                  <a:lnTo>
                    <a:pt x="0" y="5692"/>
                  </a:lnTo>
                  <a:lnTo>
                    <a:pt x="2762" y="8454"/>
                  </a:lnTo>
                  <a:lnTo>
                    <a:pt x="4001" y="9692"/>
                  </a:lnTo>
                  <a:lnTo>
                    <a:pt x="4001" y="8537"/>
                  </a:lnTo>
                  <a:cubicBezTo>
                    <a:pt x="8882" y="8537"/>
                    <a:pt x="12918" y="4858"/>
                    <a:pt x="13478" y="120"/>
                  </a:cubicBezTo>
                  <a:lnTo>
                    <a:pt x="13478" y="120"/>
                  </a:lnTo>
                  <a:lnTo>
                    <a:pt x="10609" y="2965"/>
                  </a:lnTo>
                  <a:lnTo>
                    <a:pt x="7644" y="1"/>
                  </a:lnTo>
                  <a:close/>
                </a:path>
              </a:pathLst>
            </a:custGeom>
            <a:solidFill>
              <a:schemeClr val="bg2">
                <a:lumMod val="75000"/>
              </a:schemeClr>
            </a:solidFill>
            <a:ln w="12700"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743;p28">
              <a:extLst>
                <a:ext uri="{FF2B5EF4-FFF2-40B4-BE49-F238E27FC236}">
                  <a16:creationId xmlns:a16="http://schemas.microsoft.com/office/drawing/2014/main" id="{FDEF394E-837E-4AA4-630E-ECCED6E9B7A1}"/>
                </a:ext>
              </a:extLst>
            </p:cNvPr>
            <p:cNvSpPr/>
            <p:nvPr/>
          </p:nvSpPr>
          <p:spPr>
            <a:xfrm rot="-411518">
              <a:off x="3143711" y="2857296"/>
              <a:ext cx="1321979" cy="1839614"/>
            </a:xfrm>
            <a:custGeom>
              <a:avLst/>
              <a:gdLst/>
              <a:ahLst/>
              <a:cxnLst/>
              <a:rect l="l" t="t" r="r" b="b"/>
              <a:pathLst>
                <a:path w="9669" h="13455" extrusionOk="0">
                  <a:moveTo>
                    <a:pt x="3989" y="1"/>
                  </a:moveTo>
                  <a:lnTo>
                    <a:pt x="1132" y="2858"/>
                  </a:lnTo>
                  <a:lnTo>
                    <a:pt x="0" y="3990"/>
                  </a:lnTo>
                  <a:lnTo>
                    <a:pt x="1072" y="3990"/>
                  </a:lnTo>
                  <a:cubicBezTo>
                    <a:pt x="1072" y="8847"/>
                    <a:pt x="4703" y="12848"/>
                    <a:pt x="9394" y="13455"/>
                  </a:cubicBezTo>
                  <a:lnTo>
                    <a:pt x="6632" y="10693"/>
                  </a:lnTo>
                  <a:lnTo>
                    <a:pt x="9668" y="7680"/>
                  </a:lnTo>
                  <a:cubicBezTo>
                    <a:pt x="8025" y="7264"/>
                    <a:pt x="6823" y="5775"/>
                    <a:pt x="6823" y="4001"/>
                  </a:cubicBezTo>
                  <a:lnTo>
                    <a:pt x="8001" y="4001"/>
                  </a:lnTo>
                  <a:lnTo>
                    <a:pt x="6954" y="2966"/>
                  </a:lnTo>
                  <a:lnTo>
                    <a:pt x="3989" y="1"/>
                  </a:lnTo>
                  <a:close/>
                </a:path>
              </a:pathLst>
            </a:custGeom>
            <a:solidFill>
              <a:schemeClr val="bg2">
                <a:lumMod val="40000"/>
                <a:lumOff val="60000"/>
              </a:schemeClr>
            </a:solidFill>
            <a:ln w="12700">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744;p28">
              <a:extLst>
                <a:ext uri="{FF2B5EF4-FFF2-40B4-BE49-F238E27FC236}">
                  <a16:creationId xmlns:a16="http://schemas.microsoft.com/office/drawing/2014/main" id="{C0A3D03E-9E1B-4373-3692-55AD7D233E3D}"/>
                </a:ext>
              </a:extLst>
            </p:cNvPr>
            <p:cNvSpPr/>
            <p:nvPr/>
          </p:nvSpPr>
          <p:spPr>
            <a:xfrm rot="-411518">
              <a:off x="3156365" y="1896225"/>
              <a:ext cx="1842895" cy="1323619"/>
            </a:xfrm>
            <a:custGeom>
              <a:avLst/>
              <a:gdLst/>
              <a:ahLst/>
              <a:cxnLst/>
              <a:rect l="l" t="t" r="r" b="b"/>
              <a:pathLst>
                <a:path w="13479" h="9681" extrusionOk="0">
                  <a:moveTo>
                    <a:pt x="9490" y="1"/>
                  </a:moveTo>
                  <a:lnTo>
                    <a:pt x="9490" y="1168"/>
                  </a:lnTo>
                  <a:cubicBezTo>
                    <a:pt x="4608" y="1168"/>
                    <a:pt x="572" y="4847"/>
                    <a:pt x="0" y="9574"/>
                  </a:cubicBezTo>
                  <a:lnTo>
                    <a:pt x="2870" y="6716"/>
                  </a:lnTo>
                  <a:lnTo>
                    <a:pt x="5823" y="9681"/>
                  </a:lnTo>
                  <a:cubicBezTo>
                    <a:pt x="6275" y="8085"/>
                    <a:pt x="7739" y="6907"/>
                    <a:pt x="9490" y="6907"/>
                  </a:cubicBezTo>
                  <a:lnTo>
                    <a:pt x="9490" y="8002"/>
                  </a:lnTo>
                  <a:lnTo>
                    <a:pt x="10454" y="7026"/>
                  </a:lnTo>
                  <a:lnTo>
                    <a:pt x="13478" y="4013"/>
                  </a:lnTo>
                  <a:lnTo>
                    <a:pt x="10716" y="1239"/>
                  </a:lnTo>
                  <a:lnTo>
                    <a:pt x="9490" y="1"/>
                  </a:lnTo>
                  <a:close/>
                </a:path>
              </a:pathLst>
            </a:custGeom>
            <a:solidFill>
              <a:schemeClr val="bg2">
                <a:lumMod val="60000"/>
                <a:lumOff val="40000"/>
              </a:schemeClr>
            </a:solidFill>
            <a:ln w="12700"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 name="TextBox 59">
            <a:extLst>
              <a:ext uri="{FF2B5EF4-FFF2-40B4-BE49-F238E27FC236}">
                <a16:creationId xmlns:a16="http://schemas.microsoft.com/office/drawing/2014/main" id="{16F8E287-F544-B77C-BAD7-DA33F9C93088}"/>
              </a:ext>
            </a:extLst>
          </p:cNvPr>
          <p:cNvSpPr txBox="1"/>
          <p:nvPr/>
        </p:nvSpPr>
        <p:spPr>
          <a:xfrm>
            <a:off x="2407358" y="4949984"/>
            <a:ext cx="1240477" cy="557451"/>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algn="l"/>
            <a:r>
              <a:rPr lang="fr-FR" sz="1050">
                <a:solidFill>
                  <a:schemeClr val="tx1"/>
                </a:solidFill>
              </a:rPr>
              <a:t>Organisation et animation des formations</a:t>
            </a:r>
          </a:p>
        </p:txBody>
      </p:sp>
      <p:sp>
        <p:nvSpPr>
          <p:cNvPr id="14" name="TextBox 60">
            <a:extLst>
              <a:ext uri="{FF2B5EF4-FFF2-40B4-BE49-F238E27FC236}">
                <a16:creationId xmlns:a16="http://schemas.microsoft.com/office/drawing/2014/main" id="{883FEA16-2A87-A061-7730-83F6775898DF}"/>
              </a:ext>
            </a:extLst>
          </p:cNvPr>
          <p:cNvSpPr txBox="1"/>
          <p:nvPr/>
        </p:nvSpPr>
        <p:spPr>
          <a:xfrm>
            <a:off x="679522" y="4968969"/>
            <a:ext cx="1216351" cy="395869"/>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algn="r"/>
            <a:r>
              <a:rPr lang="fr-FR" sz="1050">
                <a:solidFill>
                  <a:schemeClr val="tx1"/>
                </a:solidFill>
              </a:rPr>
              <a:t>Rendre compte des formations réalisées</a:t>
            </a:r>
          </a:p>
        </p:txBody>
      </p:sp>
      <p:sp>
        <p:nvSpPr>
          <p:cNvPr id="15" name="TextBox 59">
            <a:extLst>
              <a:ext uri="{FF2B5EF4-FFF2-40B4-BE49-F238E27FC236}">
                <a16:creationId xmlns:a16="http://schemas.microsoft.com/office/drawing/2014/main" id="{79BC4F5E-D898-5860-6C7B-78D7E87E47E1}"/>
              </a:ext>
            </a:extLst>
          </p:cNvPr>
          <p:cNvSpPr txBox="1"/>
          <p:nvPr/>
        </p:nvSpPr>
        <p:spPr>
          <a:xfrm>
            <a:off x="2241419" y="2354438"/>
            <a:ext cx="1317060" cy="557451"/>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algn="l"/>
            <a:r>
              <a:rPr lang="fr-FR" sz="1050">
                <a:solidFill>
                  <a:schemeClr val="tx1"/>
                </a:solidFill>
              </a:rPr>
              <a:t>Préparation / Amélioration des supports de formation</a:t>
            </a:r>
          </a:p>
        </p:txBody>
      </p:sp>
      <p:sp>
        <p:nvSpPr>
          <p:cNvPr id="16" name="TextBox 59">
            <a:extLst>
              <a:ext uri="{FF2B5EF4-FFF2-40B4-BE49-F238E27FC236}">
                <a16:creationId xmlns:a16="http://schemas.microsoft.com/office/drawing/2014/main" id="{A2ACE051-848A-6C3C-DE5C-485B880B8072}"/>
              </a:ext>
            </a:extLst>
          </p:cNvPr>
          <p:cNvSpPr txBox="1"/>
          <p:nvPr/>
        </p:nvSpPr>
        <p:spPr>
          <a:xfrm>
            <a:off x="550311" y="2354439"/>
            <a:ext cx="1517208" cy="557451"/>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algn="r"/>
            <a:r>
              <a:rPr lang="fr-FR" sz="1050">
                <a:solidFill>
                  <a:schemeClr val="tx1"/>
                </a:solidFill>
              </a:rPr>
              <a:t>Analyse et prise en compte des retours des formations précédentes</a:t>
            </a:r>
          </a:p>
        </p:txBody>
      </p:sp>
      <p:sp>
        <p:nvSpPr>
          <p:cNvPr id="17" name="Rectangle : coins arrondis 16">
            <a:extLst>
              <a:ext uri="{FF2B5EF4-FFF2-40B4-BE49-F238E27FC236}">
                <a16:creationId xmlns:a16="http://schemas.microsoft.com/office/drawing/2014/main" id="{6D77FAD0-7628-0C82-8616-20D6DA6C59B3}"/>
              </a:ext>
            </a:extLst>
          </p:cNvPr>
          <p:cNvSpPr/>
          <p:nvPr/>
        </p:nvSpPr>
        <p:spPr>
          <a:xfrm>
            <a:off x="1276879" y="1517223"/>
            <a:ext cx="1644387" cy="266117"/>
          </a:xfrm>
          <a:prstGeom prst="roundRect">
            <a:avLst>
              <a:gd name="adj" fmla="val 50000"/>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A partir Août 2023</a:t>
            </a:r>
          </a:p>
        </p:txBody>
      </p:sp>
      <p:pic>
        <p:nvPicPr>
          <p:cNvPr id="18" name="Graphique 17" descr="Calendrier journalier avec un remplissage uni">
            <a:extLst>
              <a:ext uri="{FF2B5EF4-FFF2-40B4-BE49-F238E27FC236}">
                <a16:creationId xmlns:a16="http://schemas.microsoft.com/office/drawing/2014/main" id="{99C9C4D0-CF08-FD6E-EC42-4B1FD3C0406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45554" y="1059596"/>
            <a:ext cx="489964" cy="489964"/>
          </a:xfrm>
          <a:prstGeom prst="rect">
            <a:avLst/>
          </a:prstGeom>
        </p:spPr>
      </p:pic>
      <p:cxnSp>
        <p:nvCxnSpPr>
          <p:cNvPr id="23" name="Connecteur : en angle 22">
            <a:extLst>
              <a:ext uri="{FF2B5EF4-FFF2-40B4-BE49-F238E27FC236}">
                <a16:creationId xmlns:a16="http://schemas.microsoft.com/office/drawing/2014/main" id="{284DB7CB-7FB7-F98B-82FC-CE52E154587D}"/>
              </a:ext>
            </a:extLst>
          </p:cNvPr>
          <p:cNvCxnSpPr>
            <a:cxnSpLocks/>
          </p:cNvCxnSpPr>
          <p:nvPr/>
        </p:nvCxnSpPr>
        <p:spPr>
          <a:xfrm rot="16200000" flipV="1">
            <a:off x="917599" y="3002687"/>
            <a:ext cx="483647" cy="379051"/>
          </a:xfrm>
          <a:prstGeom prst="bentConnector3">
            <a:avLst>
              <a:gd name="adj1" fmla="val 69902"/>
            </a:avLst>
          </a:prstGeom>
          <a:ln w="1905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4" name="Connecteur : en angle 23">
            <a:extLst>
              <a:ext uri="{FF2B5EF4-FFF2-40B4-BE49-F238E27FC236}">
                <a16:creationId xmlns:a16="http://schemas.microsoft.com/office/drawing/2014/main" id="{468B5450-1198-9DBD-97DD-9366856F84AD}"/>
              </a:ext>
            </a:extLst>
          </p:cNvPr>
          <p:cNvCxnSpPr>
            <a:cxnSpLocks/>
          </p:cNvCxnSpPr>
          <p:nvPr/>
        </p:nvCxnSpPr>
        <p:spPr>
          <a:xfrm rot="5400000">
            <a:off x="2619031" y="2964187"/>
            <a:ext cx="483647" cy="379051"/>
          </a:xfrm>
          <a:prstGeom prst="bentConnector3">
            <a:avLst>
              <a:gd name="adj1" fmla="val 32089"/>
            </a:avLst>
          </a:prstGeom>
          <a:ln w="190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5" name="Connecteur : en angle 24">
            <a:extLst>
              <a:ext uri="{FF2B5EF4-FFF2-40B4-BE49-F238E27FC236}">
                <a16:creationId xmlns:a16="http://schemas.microsoft.com/office/drawing/2014/main" id="{DD095C7B-AD2B-9BB6-956D-BA2BE93DECA4}"/>
              </a:ext>
            </a:extLst>
          </p:cNvPr>
          <p:cNvCxnSpPr>
            <a:cxnSpLocks/>
          </p:cNvCxnSpPr>
          <p:nvPr/>
        </p:nvCxnSpPr>
        <p:spPr>
          <a:xfrm rot="5400000" flipH="1" flipV="1">
            <a:off x="1042235" y="4513832"/>
            <a:ext cx="483647" cy="379051"/>
          </a:xfrm>
          <a:prstGeom prst="bentConnector3">
            <a:avLst>
              <a:gd name="adj1" fmla="val 34079"/>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Connecteur : en angle 25">
            <a:extLst>
              <a:ext uri="{FF2B5EF4-FFF2-40B4-BE49-F238E27FC236}">
                <a16:creationId xmlns:a16="http://schemas.microsoft.com/office/drawing/2014/main" id="{C9944B73-9078-B423-DEDB-6689021D0E6E}"/>
              </a:ext>
            </a:extLst>
          </p:cNvPr>
          <p:cNvCxnSpPr>
            <a:cxnSpLocks/>
          </p:cNvCxnSpPr>
          <p:nvPr/>
        </p:nvCxnSpPr>
        <p:spPr>
          <a:xfrm rot="16200000" flipV="1">
            <a:off x="2612532" y="4540103"/>
            <a:ext cx="483647" cy="379051"/>
          </a:xfrm>
          <a:prstGeom prst="bentConnector3">
            <a:avLst>
              <a:gd name="adj1" fmla="val 34079"/>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27" name="Graphique 26" descr="Croissance de l'activité avec un remplissage uni">
            <a:extLst>
              <a:ext uri="{FF2B5EF4-FFF2-40B4-BE49-F238E27FC236}">
                <a16:creationId xmlns:a16="http://schemas.microsoft.com/office/drawing/2014/main" id="{5E656671-9E62-3916-45AF-78EAC2FE77E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3795" y="3127516"/>
            <a:ext cx="421824" cy="421824"/>
          </a:xfrm>
          <a:prstGeom prst="rect">
            <a:avLst/>
          </a:prstGeom>
        </p:spPr>
      </p:pic>
      <p:pic>
        <p:nvPicPr>
          <p:cNvPr id="28" name="Graphique 27" descr="Début avec un remplissage uni">
            <a:extLst>
              <a:ext uri="{FF2B5EF4-FFF2-40B4-BE49-F238E27FC236}">
                <a16:creationId xmlns:a16="http://schemas.microsoft.com/office/drawing/2014/main" id="{F9D45798-D534-C6B6-9EA5-B9746FEDE26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41328" y="3507509"/>
            <a:ext cx="421824" cy="421824"/>
          </a:xfrm>
          <a:prstGeom prst="rect">
            <a:avLst/>
          </a:prstGeom>
        </p:spPr>
      </p:pic>
      <p:pic>
        <p:nvPicPr>
          <p:cNvPr id="29" name="Graphique 28" descr="Classe avec un remplissage uni">
            <a:extLst>
              <a:ext uri="{FF2B5EF4-FFF2-40B4-BE49-F238E27FC236}">
                <a16:creationId xmlns:a16="http://schemas.microsoft.com/office/drawing/2014/main" id="{9BD9577E-A386-C715-B79D-9490ECFEC55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453918" y="3958441"/>
            <a:ext cx="421824" cy="421824"/>
          </a:xfrm>
          <a:prstGeom prst="rect">
            <a:avLst/>
          </a:prstGeom>
        </p:spPr>
      </p:pic>
      <p:pic>
        <p:nvPicPr>
          <p:cNvPr id="30" name="Graphique 29" descr="Commentaire, J’aime avec un remplissage uni">
            <a:extLst>
              <a:ext uri="{FF2B5EF4-FFF2-40B4-BE49-F238E27FC236}">
                <a16:creationId xmlns:a16="http://schemas.microsoft.com/office/drawing/2014/main" id="{2B1AA6EC-F80F-D151-8948-7FEA28679D0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555039" y="4294804"/>
            <a:ext cx="460295" cy="460295"/>
          </a:xfrm>
          <a:prstGeom prst="rect">
            <a:avLst/>
          </a:prstGeom>
        </p:spPr>
      </p:pic>
      <p:sp>
        <p:nvSpPr>
          <p:cNvPr id="4" name="Google Shape;195;g62decd456d_2_291">
            <a:extLst>
              <a:ext uri="{FF2B5EF4-FFF2-40B4-BE49-F238E27FC236}">
                <a16:creationId xmlns:a16="http://schemas.microsoft.com/office/drawing/2014/main" id="{D6DD8018-3588-1364-4BE8-4D6D2C939839}"/>
              </a:ext>
            </a:extLst>
          </p:cNvPr>
          <p:cNvSpPr txBox="1"/>
          <p:nvPr/>
        </p:nvSpPr>
        <p:spPr>
          <a:xfrm>
            <a:off x="4271816" y="5008924"/>
            <a:ext cx="4112731" cy="344148"/>
          </a:xfrm>
          <a:prstGeom prst="rect">
            <a:avLst/>
          </a:prstGeom>
          <a:noFill/>
          <a:ln>
            <a:noFill/>
          </a:ln>
        </p:spPr>
        <p:txBody>
          <a:bodyPr spcFirstLastPara="1" wrap="square" lIns="91425" tIns="91425" rIns="91425" bIns="91425" anchor="ctr" anchorCtr="0">
            <a:noAutofit/>
          </a:bodyPr>
          <a:lstStyle/>
          <a:p>
            <a:pPr>
              <a:buClr>
                <a:srgbClr val="000000"/>
              </a:buClr>
              <a:buFont typeface="Arial"/>
              <a:buNone/>
            </a:pPr>
            <a:r>
              <a:rPr lang="fr-FR" sz="1200" b="1" kern="0">
                <a:solidFill>
                  <a:srgbClr val="767171"/>
                </a:solidFill>
                <a:latin typeface="+mj-lt"/>
                <a:ea typeface="Montserrat"/>
                <a:cs typeface="Montserrat"/>
                <a:sym typeface="Montserrat"/>
              </a:rPr>
              <a:t>Bénéfices pour les stagiaires</a:t>
            </a:r>
            <a:endParaRPr sz="1200" kern="0">
              <a:solidFill>
                <a:srgbClr val="000000"/>
              </a:solidFill>
              <a:latin typeface="+mj-lt"/>
              <a:ea typeface="Montserrat"/>
              <a:cs typeface="Montserrat"/>
              <a:sym typeface="Montserrat"/>
            </a:endParaRPr>
          </a:p>
        </p:txBody>
      </p:sp>
      <p:sp>
        <p:nvSpPr>
          <p:cNvPr id="6" name="Rectangle 5">
            <a:extLst>
              <a:ext uri="{FF2B5EF4-FFF2-40B4-BE49-F238E27FC236}">
                <a16:creationId xmlns:a16="http://schemas.microsoft.com/office/drawing/2014/main" id="{3655B0AE-143E-4B44-090E-E5F2E4F16D55}"/>
              </a:ext>
            </a:extLst>
          </p:cNvPr>
          <p:cNvSpPr/>
          <p:nvPr/>
        </p:nvSpPr>
        <p:spPr>
          <a:xfrm>
            <a:off x="5281895" y="956344"/>
            <a:ext cx="5389885" cy="7113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lgn="just">
              <a:buFont typeface="Arial" panose="020B0604020202020204" pitchFamily="34" charset="0"/>
              <a:buChar char="•"/>
            </a:pPr>
            <a:r>
              <a:rPr lang="fr-FR" sz="800" dirty="0">
                <a:solidFill>
                  <a:srgbClr val="253B49"/>
                </a:solidFill>
                <a:latin typeface="+mj-lt"/>
                <a:cs typeface="Arial"/>
              </a:rPr>
              <a:t>Qualification des perceptions et attentes vis-à-vis de la formation</a:t>
            </a:r>
          </a:p>
          <a:p>
            <a:pPr marL="171450" indent="-171450" algn="just">
              <a:buFont typeface="Arial" panose="020B0604020202020204" pitchFamily="34" charset="0"/>
              <a:buChar char="•"/>
            </a:pPr>
            <a:r>
              <a:rPr lang="fr-FR" sz="800" dirty="0">
                <a:solidFill>
                  <a:srgbClr val="253B49"/>
                </a:solidFill>
                <a:latin typeface="+mj-lt"/>
                <a:cs typeface="Arial"/>
              </a:rPr>
              <a:t>Analyse des gaps de compétences pour identifier les niveaux de maturité digitale et processus</a:t>
            </a:r>
          </a:p>
          <a:p>
            <a:pPr marL="171450" indent="-171450" algn="just">
              <a:buFont typeface="Arial" panose="020B0604020202020204" pitchFamily="34" charset="0"/>
              <a:buChar char="•"/>
            </a:pPr>
            <a:r>
              <a:rPr lang="fr-FR" sz="800" dirty="0">
                <a:solidFill>
                  <a:srgbClr val="253B49"/>
                </a:solidFill>
                <a:latin typeface="+mj-lt"/>
                <a:cs typeface="Arial"/>
              </a:rPr>
              <a:t>Analyse des rythmes de travail existants pour limiter la contrainte et ne pas être invasif </a:t>
            </a:r>
          </a:p>
          <a:p>
            <a:pPr marL="171450" indent="-171450" algn="just">
              <a:buFont typeface="Arial" panose="020B0604020202020204" pitchFamily="34" charset="0"/>
              <a:buChar char="•"/>
            </a:pPr>
            <a:r>
              <a:rPr lang="fr-FR" sz="800" dirty="0">
                <a:solidFill>
                  <a:srgbClr val="253B49"/>
                </a:solidFill>
                <a:latin typeface="+mj-lt"/>
                <a:cs typeface="Arial"/>
              </a:rPr>
              <a:t>Identifier les prérequis pour suivre la formation</a:t>
            </a:r>
          </a:p>
        </p:txBody>
      </p:sp>
      <p:sp>
        <p:nvSpPr>
          <p:cNvPr id="19" name="Rectangle 18">
            <a:extLst>
              <a:ext uri="{FF2B5EF4-FFF2-40B4-BE49-F238E27FC236}">
                <a16:creationId xmlns:a16="http://schemas.microsoft.com/office/drawing/2014/main" id="{06375281-7A39-0C01-D2B6-A0784ABD7EE4}"/>
              </a:ext>
            </a:extLst>
          </p:cNvPr>
          <p:cNvSpPr/>
          <p:nvPr/>
        </p:nvSpPr>
        <p:spPr>
          <a:xfrm>
            <a:off x="6171481" y="1792209"/>
            <a:ext cx="5652688" cy="7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lgn="just">
              <a:buFont typeface="Arial" panose="020B0604020202020204" pitchFamily="34" charset="0"/>
              <a:buChar char="•"/>
            </a:pPr>
            <a:r>
              <a:rPr lang="fr-FR" sz="800" dirty="0">
                <a:solidFill>
                  <a:srgbClr val="253B49"/>
                </a:solidFill>
                <a:latin typeface="+mj-lt"/>
                <a:cs typeface="Arial"/>
              </a:rPr>
              <a:t>Dresser une liste exhaustive des savoir-faire et des connaissances à acquérir </a:t>
            </a:r>
          </a:p>
          <a:p>
            <a:pPr marL="171450" indent="-171450" algn="just">
              <a:buFont typeface="Arial" panose="020B0604020202020204" pitchFamily="34" charset="0"/>
              <a:buChar char="•"/>
            </a:pPr>
            <a:r>
              <a:rPr lang="fr-FR" sz="800" dirty="0">
                <a:solidFill>
                  <a:srgbClr val="253B49"/>
                </a:solidFill>
                <a:latin typeface="+mj-lt"/>
                <a:cs typeface="Arial"/>
              </a:rPr>
              <a:t>Ecrire les objectifs pédagogiques spécifiques aux différents modules</a:t>
            </a:r>
          </a:p>
          <a:p>
            <a:pPr marL="171450" indent="-171450" algn="just">
              <a:buFont typeface="Arial" panose="020B0604020202020204" pitchFamily="34" charset="0"/>
              <a:buChar char="•"/>
            </a:pPr>
            <a:r>
              <a:rPr lang="fr-FR" sz="800" dirty="0">
                <a:solidFill>
                  <a:srgbClr val="253B49"/>
                </a:solidFill>
                <a:latin typeface="+mj-lt"/>
                <a:cs typeface="Arial"/>
              </a:rPr>
              <a:t>Construire la progression pédagogique en tenant  compte des éléments recueillis lors de la phase d'analyse.</a:t>
            </a:r>
          </a:p>
          <a:p>
            <a:pPr marL="171450" indent="-171450" algn="just">
              <a:buFont typeface="Arial" panose="020B0604020202020204" pitchFamily="34" charset="0"/>
              <a:buChar char="•"/>
            </a:pPr>
            <a:r>
              <a:rPr lang="fr-FR" sz="800" dirty="0">
                <a:solidFill>
                  <a:srgbClr val="253B49"/>
                </a:solidFill>
                <a:latin typeface="+mj-lt"/>
                <a:cs typeface="Arial"/>
              </a:rPr>
              <a:t>Mettre en évidence les liens entre les gestes métiers et outils afin de couvrir l'ensemble des besoins fonctionnels</a:t>
            </a:r>
          </a:p>
        </p:txBody>
      </p:sp>
      <p:sp>
        <p:nvSpPr>
          <p:cNvPr id="20" name="Rectangle 19">
            <a:extLst>
              <a:ext uri="{FF2B5EF4-FFF2-40B4-BE49-F238E27FC236}">
                <a16:creationId xmlns:a16="http://schemas.microsoft.com/office/drawing/2014/main" id="{8BD59BBF-AB17-077C-FFE9-B638E6B8F0C3}"/>
              </a:ext>
            </a:extLst>
          </p:cNvPr>
          <p:cNvSpPr/>
          <p:nvPr/>
        </p:nvSpPr>
        <p:spPr>
          <a:xfrm>
            <a:off x="7045469" y="2639472"/>
            <a:ext cx="4967354" cy="6283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lgn="just">
              <a:buFont typeface="Arial" panose="020B0604020202020204" pitchFamily="34" charset="0"/>
              <a:buChar char="•"/>
            </a:pPr>
            <a:r>
              <a:rPr lang="fr-FR" sz="800" dirty="0">
                <a:solidFill>
                  <a:srgbClr val="253B49"/>
                </a:solidFill>
                <a:latin typeface="+mj-lt"/>
                <a:cs typeface="Arial"/>
              </a:rPr>
              <a:t>Construire l'architecture, le rythme, le déroulé des parcours stagiaires en fonction de leur maturité</a:t>
            </a:r>
            <a:endParaRPr lang="fr-FR" sz="800" dirty="0">
              <a:solidFill>
                <a:srgbClr val="FFFFFF"/>
              </a:solidFill>
              <a:latin typeface="+mj-lt"/>
              <a:cs typeface="Arial"/>
            </a:endParaRPr>
          </a:p>
          <a:p>
            <a:pPr marL="171450" indent="-171450" algn="just">
              <a:buFont typeface="Arial" panose="020B0604020202020204" pitchFamily="34" charset="0"/>
              <a:buChar char="•"/>
            </a:pPr>
            <a:r>
              <a:rPr lang="fr-FR" sz="800" dirty="0">
                <a:solidFill>
                  <a:srgbClr val="253B49"/>
                </a:solidFill>
                <a:latin typeface="+mj-lt"/>
                <a:cs typeface="Arial"/>
              </a:rPr>
              <a:t>Choisir les méthodes et techniques pédagogiques en privilégiant l'autonomie des utilisateurs et la prise en compte de leurs contraintes métiers.</a:t>
            </a:r>
            <a:endParaRPr lang="fr-FR" sz="800" dirty="0">
              <a:latin typeface="+mj-lt"/>
              <a:cs typeface="Arial"/>
            </a:endParaRPr>
          </a:p>
          <a:p>
            <a:pPr marL="171450" indent="-171450" algn="just">
              <a:buFont typeface="Arial" panose="020B0604020202020204" pitchFamily="34" charset="0"/>
              <a:buChar char="•"/>
            </a:pPr>
            <a:r>
              <a:rPr lang="fr-FR" sz="800" dirty="0">
                <a:solidFill>
                  <a:srgbClr val="253B49"/>
                </a:solidFill>
                <a:latin typeface="+mj-lt"/>
                <a:cs typeface="Arial"/>
              </a:rPr>
              <a:t>Pour les modules de e-learning, associer les managers pour organiser le bon suivi du programme et remonter d'éventuels ajustements.</a:t>
            </a:r>
          </a:p>
          <a:p>
            <a:pPr marL="171450" indent="-171450" algn="just">
              <a:buFont typeface="Arial" panose="020B0604020202020204" pitchFamily="34" charset="0"/>
              <a:buChar char="•"/>
            </a:pPr>
            <a:r>
              <a:rPr lang="fr-FR" sz="800" dirty="0">
                <a:solidFill>
                  <a:srgbClr val="253B49"/>
                </a:solidFill>
                <a:latin typeface="+mj-lt"/>
                <a:cs typeface="Arial"/>
              </a:rPr>
              <a:t>Définir la stratégie d'annonces, le cadencement des communications et le suivi de la participation aux modules e-learning et présentiels</a:t>
            </a:r>
          </a:p>
        </p:txBody>
      </p:sp>
      <p:sp>
        <p:nvSpPr>
          <p:cNvPr id="21" name="Rectangle 20">
            <a:extLst>
              <a:ext uri="{FF2B5EF4-FFF2-40B4-BE49-F238E27FC236}">
                <a16:creationId xmlns:a16="http://schemas.microsoft.com/office/drawing/2014/main" id="{6BC299F5-985F-827E-0FD3-AEE1F2FFC60A}"/>
              </a:ext>
            </a:extLst>
          </p:cNvPr>
          <p:cNvSpPr/>
          <p:nvPr/>
        </p:nvSpPr>
        <p:spPr>
          <a:xfrm>
            <a:off x="7961197" y="3508972"/>
            <a:ext cx="4001550" cy="613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lgn="just">
              <a:buFont typeface="Arial" panose="020B0604020202020204" pitchFamily="34" charset="0"/>
              <a:buChar char="•"/>
            </a:pPr>
            <a:r>
              <a:rPr lang="fr-FR" sz="800" dirty="0">
                <a:solidFill>
                  <a:srgbClr val="253B49"/>
                </a:solidFill>
                <a:latin typeface="+mj-lt"/>
                <a:cs typeface="Arial"/>
              </a:rPr>
              <a:t>Informer les apprenants et les managers sur le planning des sessions et les étapes clés</a:t>
            </a:r>
            <a:endParaRPr lang="fr-FR" sz="800" dirty="0">
              <a:latin typeface="+mj-lt"/>
            </a:endParaRPr>
          </a:p>
          <a:p>
            <a:pPr marL="171450" indent="-171450" algn="just">
              <a:buFont typeface="Arial" panose="020B0604020202020204" pitchFamily="34" charset="0"/>
              <a:buChar char="•"/>
            </a:pPr>
            <a:r>
              <a:rPr lang="fr-FR" sz="800" dirty="0">
                <a:solidFill>
                  <a:srgbClr val="253B49"/>
                </a:solidFill>
                <a:latin typeface="+mj-lt"/>
                <a:cs typeface="Arial"/>
              </a:rPr>
              <a:t>Réserver les salles </a:t>
            </a:r>
          </a:p>
          <a:p>
            <a:pPr marL="171450" indent="-171450" algn="just">
              <a:buFont typeface="Arial" panose="020B0604020202020204" pitchFamily="34" charset="0"/>
              <a:buChar char="•"/>
            </a:pPr>
            <a:r>
              <a:rPr lang="fr-FR" sz="800" dirty="0">
                <a:solidFill>
                  <a:srgbClr val="253B49"/>
                </a:solidFill>
                <a:latin typeface="+mj-lt"/>
                <a:cs typeface="Arial"/>
              </a:rPr>
              <a:t>Préparer les supports et le matériel d'animation </a:t>
            </a:r>
          </a:p>
          <a:p>
            <a:pPr marL="171450" indent="-171450" algn="just">
              <a:buFont typeface="Arial" panose="020B0604020202020204" pitchFamily="34" charset="0"/>
              <a:buChar char="•"/>
            </a:pPr>
            <a:r>
              <a:rPr lang="fr-FR" sz="800" dirty="0">
                <a:solidFill>
                  <a:srgbClr val="253B49"/>
                </a:solidFill>
                <a:latin typeface="+mj-lt"/>
                <a:cs typeface="Arial"/>
              </a:rPr>
              <a:t>Produire la documentation pour les participants ainsi que questionnaire de satisfaction à chaud</a:t>
            </a:r>
          </a:p>
        </p:txBody>
      </p:sp>
      <p:sp>
        <p:nvSpPr>
          <p:cNvPr id="22" name="Rectangle 21">
            <a:extLst>
              <a:ext uri="{FF2B5EF4-FFF2-40B4-BE49-F238E27FC236}">
                <a16:creationId xmlns:a16="http://schemas.microsoft.com/office/drawing/2014/main" id="{6D192ED4-A945-36F6-14CC-113D632DC07F}"/>
              </a:ext>
            </a:extLst>
          </p:cNvPr>
          <p:cNvSpPr/>
          <p:nvPr/>
        </p:nvSpPr>
        <p:spPr>
          <a:xfrm>
            <a:off x="8751363" y="4270625"/>
            <a:ext cx="3128829" cy="7095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lgn="just">
              <a:buFont typeface="Arial" panose="020B0604020202020204" pitchFamily="34" charset="0"/>
              <a:buChar char="•"/>
            </a:pPr>
            <a:r>
              <a:rPr lang="fr-FR" sz="800" dirty="0">
                <a:solidFill>
                  <a:srgbClr val="253B49"/>
                </a:solidFill>
                <a:latin typeface="+mj-lt"/>
                <a:cs typeface="Arial"/>
              </a:rPr>
              <a:t>Mettre en place des évaluations à froid auprès des stagiaires et des managers</a:t>
            </a:r>
          </a:p>
          <a:p>
            <a:pPr marL="171450" indent="-171450" algn="just">
              <a:buFont typeface="Arial" panose="020B0604020202020204" pitchFamily="34" charset="0"/>
              <a:buChar char="•"/>
            </a:pPr>
            <a:r>
              <a:rPr lang="fr-FR" sz="800" dirty="0">
                <a:solidFill>
                  <a:srgbClr val="253B49"/>
                </a:solidFill>
                <a:latin typeface="+mj-lt"/>
                <a:cs typeface="Arial"/>
              </a:rPr>
              <a:t>Analyser les retours et en faire une restitution éclairée </a:t>
            </a:r>
          </a:p>
        </p:txBody>
      </p:sp>
      <p:sp>
        <p:nvSpPr>
          <p:cNvPr id="31" name="Rectangle 30">
            <a:extLst>
              <a:ext uri="{FF2B5EF4-FFF2-40B4-BE49-F238E27FC236}">
                <a16:creationId xmlns:a16="http://schemas.microsoft.com/office/drawing/2014/main" id="{5BD48A0E-9965-A997-954F-6EA156E23022}"/>
              </a:ext>
            </a:extLst>
          </p:cNvPr>
          <p:cNvSpPr/>
          <p:nvPr/>
        </p:nvSpPr>
        <p:spPr>
          <a:xfrm>
            <a:off x="9689803" y="5103589"/>
            <a:ext cx="2323020" cy="7095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lgn="just">
              <a:buFont typeface="Arial" panose="020B0604020202020204" pitchFamily="34" charset="0"/>
              <a:buChar char="•"/>
            </a:pPr>
            <a:r>
              <a:rPr lang="fr-FR" sz="800" dirty="0">
                <a:solidFill>
                  <a:srgbClr val="253B49"/>
                </a:solidFill>
                <a:latin typeface="+mj-lt"/>
                <a:cs typeface="Arial"/>
              </a:rPr>
              <a:t>Dans une logique Agile, mettre à jour le plan après la session pilote et les premières sessions si nécessaire. </a:t>
            </a:r>
            <a:endParaRPr lang="fr-FR" sz="800" dirty="0">
              <a:solidFill>
                <a:srgbClr val="FFFFFF"/>
              </a:solidFill>
              <a:latin typeface="+mj-lt"/>
              <a:cs typeface="Arial"/>
            </a:endParaRPr>
          </a:p>
          <a:p>
            <a:pPr marL="171450" indent="-171450" algn="just">
              <a:buFont typeface="Arial" panose="020B0604020202020204" pitchFamily="34" charset="0"/>
              <a:buChar char="•"/>
            </a:pPr>
            <a:r>
              <a:rPr lang="fr-FR" sz="800" dirty="0">
                <a:solidFill>
                  <a:srgbClr val="253B49"/>
                </a:solidFill>
                <a:latin typeface="+mj-lt"/>
                <a:cs typeface="Arial"/>
              </a:rPr>
              <a:t>Organiser le suivi régulier de l'acquisition de compétences des stagiaires (connaissances, compétences, capacités)</a:t>
            </a:r>
            <a:endParaRPr lang="fr-FR" sz="800" dirty="0">
              <a:latin typeface="+mj-lt"/>
              <a:cs typeface="Arial"/>
            </a:endParaRPr>
          </a:p>
        </p:txBody>
      </p:sp>
      <p:sp>
        <p:nvSpPr>
          <p:cNvPr id="50" name="Google Shape;201;g62decd456d_2_291">
            <a:extLst>
              <a:ext uri="{FF2B5EF4-FFF2-40B4-BE49-F238E27FC236}">
                <a16:creationId xmlns:a16="http://schemas.microsoft.com/office/drawing/2014/main" id="{0ACB4FB7-B568-B9E3-375F-A2A73E3CDD18}"/>
              </a:ext>
            </a:extLst>
          </p:cNvPr>
          <p:cNvSpPr txBox="1"/>
          <p:nvPr/>
        </p:nvSpPr>
        <p:spPr>
          <a:xfrm>
            <a:off x="4194139" y="5342468"/>
            <a:ext cx="4161968" cy="1108592"/>
          </a:xfrm>
          <a:prstGeom prst="rect">
            <a:avLst/>
          </a:prstGeom>
          <a:noFill/>
          <a:ln>
            <a:noFill/>
          </a:ln>
        </p:spPr>
        <p:txBody>
          <a:bodyPr spcFirstLastPara="1" wrap="square" lIns="91425" tIns="91425" rIns="91425" bIns="91425" anchor="t" anchorCtr="0">
            <a:noAutofit/>
          </a:bodyPr>
          <a:lstStyle/>
          <a:p>
            <a:pPr marL="171450" indent="-165100">
              <a:spcAft>
                <a:spcPts val="300"/>
              </a:spcAft>
              <a:buClr>
                <a:schemeClr val="bg2"/>
              </a:buClr>
              <a:buSzPts val="1100"/>
              <a:buFont typeface="Arial"/>
              <a:buChar char="•"/>
            </a:pPr>
            <a:r>
              <a:rPr lang="fr-FR" sz="900" dirty="0">
                <a:solidFill>
                  <a:srgbClr val="757070"/>
                </a:solidFill>
                <a:latin typeface="+mj-lt"/>
                <a:ea typeface="Montserrat"/>
                <a:cs typeface="Montserrat"/>
              </a:rPr>
              <a:t>Des contenus adaptés à leurs besoins métiers </a:t>
            </a:r>
          </a:p>
          <a:p>
            <a:pPr marL="171450" indent="-165100">
              <a:spcAft>
                <a:spcPts val="300"/>
              </a:spcAft>
              <a:buClr>
                <a:schemeClr val="bg2"/>
              </a:buClr>
              <a:buSzPts val="1100"/>
              <a:buFont typeface="Arial"/>
              <a:buChar char="•"/>
            </a:pPr>
            <a:r>
              <a:rPr lang="fr-FR" sz="900" dirty="0">
                <a:solidFill>
                  <a:srgbClr val="757070"/>
                </a:solidFill>
                <a:latin typeface="+mj-lt"/>
                <a:ea typeface="Montserrat"/>
                <a:cs typeface="Montserrat"/>
                <a:sym typeface="Montserrat"/>
              </a:rPr>
              <a:t>Une valorisation </a:t>
            </a:r>
            <a:r>
              <a:rPr lang="fr-FR" sz="900">
                <a:solidFill>
                  <a:srgbClr val="757070"/>
                </a:solidFill>
                <a:latin typeface="+mj-lt"/>
                <a:ea typeface="Montserrat"/>
                <a:cs typeface="Montserrat"/>
                <a:sym typeface="Montserrat"/>
              </a:rPr>
              <a:t>des compétences</a:t>
            </a:r>
            <a:r>
              <a:rPr lang="fr-FR" sz="900" dirty="0">
                <a:solidFill>
                  <a:srgbClr val="757070"/>
                </a:solidFill>
                <a:latin typeface="+mj-lt"/>
                <a:ea typeface="Montserrat"/>
                <a:cs typeface="Montserrat"/>
                <a:sym typeface="Montserrat"/>
              </a:rPr>
              <a:t> et de l'autonomie individuelle</a:t>
            </a:r>
            <a:endParaRPr lang="fr-FR" sz="900">
              <a:solidFill>
                <a:srgbClr val="757070"/>
              </a:solidFill>
              <a:latin typeface="+mj-lt"/>
              <a:ea typeface="Montserrat"/>
              <a:cs typeface="Montserrat"/>
            </a:endParaRPr>
          </a:p>
          <a:p>
            <a:pPr marL="171450" indent="-165100">
              <a:spcAft>
                <a:spcPts val="300"/>
              </a:spcAft>
              <a:buClr>
                <a:schemeClr val="bg2"/>
              </a:buClr>
              <a:buSzPts val="1100"/>
              <a:buChar char="•"/>
            </a:pPr>
            <a:r>
              <a:rPr lang="fr-FR" sz="900" dirty="0">
                <a:solidFill>
                  <a:srgbClr val="757070"/>
                </a:solidFill>
                <a:latin typeface="+mj-lt"/>
                <a:ea typeface="Montserrat"/>
                <a:cs typeface="Montserrat"/>
              </a:rPr>
              <a:t>Des échanges simples </a:t>
            </a:r>
            <a:r>
              <a:rPr lang="fr-FR" sz="900">
                <a:solidFill>
                  <a:srgbClr val="757070"/>
                </a:solidFill>
                <a:latin typeface="+mj-lt"/>
                <a:ea typeface="Montserrat"/>
                <a:cs typeface="Montserrat"/>
              </a:rPr>
              <a:t>entre les apprenants et les formateurs</a:t>
            </a:r>
          </a:p>
          <a:p>
            <a:pPr marL="171450" indent="-165100">
              <a:spcAft>
                <a:spcPts val="300"/>
              </a:spcAft>
              <a:buClr>
                <a:schemeClr val="bg2"/>
              </a:buClr>
              <a:buSzPts val="1100"/>
              <a:buChar char="•"/>
            </a:pPr>
            <a:r>
              <a:rPr lang="fr-FR" sz="900" dirty="0">
                <a:solidFill>
                  <a:srgbClr val="757070"/>
                </a:solidFill>
                <a:latin typeface="+mj-lt"/>
                <a:ea typeface="Montserrat"/>
                <a:cs typeface="Montserrat"/>
                <a:sym typeface="Montserrat"/>
              </a:rPr>
              <a:t>Une expérimentation </a:t>
            </a:r>
            <a:r>
              <a:rPr lang="fr-FR" sz="900">
                <a:solidFill>
                  <a:srgbClr val="757070"/>
                </a:solidFill>
                <a:latin typeface="+mj-lt"/>
                <a:ea typeface="Montserrat"/>
                <a:cs typeface="Montserrat"/>
                <a:sym typeface="Montserrat"/>
              </a:rPr>
              <a:t>en petits groupes</a:t>
            </a:r>
            <a:endParaRPr lang="fr-FR" sz="900" dirty="0">
              <a:solidFill>
                <a:srgbClr val="757070"/>
              </a:solidFill>
              <a:latin typeface="+mj-lt"/>
              <a:ea typeface="Montserrat"/>
              <a:cs typeface="Montserrat"/>
            </a:endParaRPr>
          </a:p>
          <a:p>
            <a:pPr marL="171450" indent="-165100">
              <a:spcAft>
                <a:spcPts val="300"/>
              </a:spcAft>
              <a:buClr>
                <a:schemeClr val="bg2"/>
              </a:buClr>
              <a:buSzPts val="1100"/>
              <a:buChar char="•"/>
            </a:pPr>
            <a:r>
              <a:rPr lang="fr-FR" sz="900" dirty="0">
                <a:solidFill>
                  <a:srgbClr val="757070"/>
                </a:solidFill>
                <a:latin typeface="+mj-lt"/>
                <a:ea typeface="Montserrat"/>
                <a:cs typeface="Montserrat"/>
                <a:sym typeface="Montserrat"/>
              </a:rPr>
              <a:t>Un contact </a:t>
            </a:r>
            <a:r>
              <a:rPr lang="fr-FR" sz="900">
                <a:solidFill>
                  <a:srgbClr val="757070"/>
                </a:solidFill>
                <a:latin typeface="+mj-lt"/>
                <a:ea typeface="Montserrat"/>
                <a:cs typeface="Montserrat"/>
                <a:sym typeface="Montserrat"/>
              </a:rPr>
              <a:t>humain</a:t>
            </a:r>
            <a:r>
              <a:rPr lang="fr-FR" sz="900" dirty="0">
                <a:solidFill>
                  <a:srgbClr val="757070"/>
                </a:solidFill>
                <a:latin typeface="+mj-lt"/>
                <a:ea typeface="Montserrat"/>
                <a:cs typeface="Montserrat"/>
                <a:sym typeface="Montserrat"/>
              </a:rPr>
              <a:t> privilégié</a:t>
            </a:r>
            <a:r>
              <a:rPr lang="fr-FR" sz="900">
                <a:solidFill>
                  <a:srgbClr val="757070"/>
                </a:solidFill>
                <a:latin typeface="+mj-lt"/>
                <a:ea typeface="Montserrat"/>
                <a:cs typeface="Montserrat"/>
                <a:sym typeface="Montserrat"/>
              </a:rPr>
              <a:t> avec un travail interactif des formateurs</a:t>
            </a:r>
            <a:endParaRPr lang="fr-FR" sz="900" dirty="0">
              <a:solidFill>
                <a:srgbClr val="757070"/>
              </a:solidFill>
              <a:latin typeface="+mj-lt"/>
              <a:ea typeface="Montserrat"/>
              <a:cs typeface="Montserrat"/>
            </a:endParaRPr>
          </a:p>
        </p:txBody>
      </p:sp>
    </p:spTree>
    <p:extLst>
      <p:ext uri="{BB962C8B-B14F-4D97-AF65-F5344CB8AC3E}">
        <p14:creationId xmlns:p14="http://schemas.microsoft.com/office/powerpoint/2010/main" val="31358868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11BF5BD-75C4-4E77-9598-7225EFF82CC5}"/>
              </a:ext>
            </a:extLst>
          </p:cNvPr>
          <p:cNvSpPr>
            <a:spLocks noGrp="1"/>
          </p:cNvSpPr>
          <p:nvPr>
            <p:ph type="title"/>
          </p:nvPr>
        </p:nvSpPr>
        <p:spPr/>
        <p:txBody>
          <a:bodyPr/>
          <a:lstStyle/>
          <a:p>
            <a:r>
              <a:rPr lang="fr-FR" sz="1600"/>
              <a:t>2. PRÉPARER ET ANIMER LES FORMATIONS – </a:t>
            </a:r>
            <a:r>
              <a:rPr lang="fr-FR" sz="1400"/>
              <a:t>« Focus » Concevoir et préparer des tutoriels</a:t>
            </a:r>
            <a:br>
              <a:rPr lang="fr-FR" sz="1600"/>
            </a:br>
            <a:r>
              <a:rPr lang="fr-FR" sz="1600" b="0">
                <a:solidFill>
                  <a:schemeClr val="bg2">
                    <a:lumMod val="60000"/>
                    <a:lumOff val="40000"/>
                  </a:schemeClr>
                </a:solidFill>
                <a:latin typeface="+mn-lt"/>
                <a:cs typeface="Arial" panose="020B0604020202020204" pitchFamily="34" charset="0"/>
              </a:rPr>
              <a:t>Démarche proposée</a:t>
            </a:r>
          </a:p>
        </p:txBody>
      </p:sp>
      <p:sp>
        <p:nvSpPr>
          <p:cNvPr id="4" name="Google Shape;201;g62decd456d_2_291">
            <a:extLst>
              <a:ext uri="{FF2B5EF4-FFF2-40B4-BE49-F238E27FC236}">
                <a16:creationId xmlns:a16="http://schemas.microsoft.com/office/drawing/2014/main" id="{DFE4ECB6-193A-41CD-8C1D-5A9AA8C9E006}"/>
              </a:ext>
            </a:extLst>
          </p:cNvPr>
          <p:cNvSpPr txBox="1"/>
          <p:nvPr/>
        </p:nvSpPr>
        <p:spPr>
          <a:xfrm>
            <a:off x="5530995" y="1745241"/>
            <a:ext cx="3668400" cy="1620714"/>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Char char="•"/>
            </a:pPr>
            <a:endParaRPr lang="fr-FR" sz="1050">
              <a:solidFill>
                <a:srgbClr val="757070"/>
              </a:solidFill>
              <a:latin typeface="+mj-lt"/>
              <a:ea typeface="Montserrat"/>
              <a:cs typeface="Montserrat"/>
              <a:sym typeface="Montserrat"/>
            </a:endParaRPr>
          </a:p>
        </p:txBody>
      </p:sp>
      <p:sp>
        <p:nvSpPr>
          <p:cNvPr id="13" name="Google Shape;202;g62decd456d_2_291">
            <a:extLst>
              <a:ext uri="{FF2B5EF4-FFF2-40B4-BE49-F238E27FC236}">
                <a16:creationId xmlns:a16="http://schemas.microsoft.com/office/drawing/2014/main" id="{E22D3A68-8C63-4250-BAEB-59D55544985D}"/>
              </a:ext>
            </a:extLst>
          </p:cNvPr>
          <p:cNvSpPr txBox="1"/>
          <p:nvPr/>
        </p:nvSpPr>
        <p:spPr>
          <a:xfrm>
            <a:off x="476394" y="4034875"/>
            <a:ext cx="1655534" cy="1185035"/>
          </a:xfrm>
          <a:prstGeom prst="rect">
            <a:avLst/>
          </a:prstGeom>
          <a:noFill/>
          <a:ln>
            <a:noFill/>
          </a:ln>
        </p:spPr>
        <p:txBody>
          <a:bodyPr spcFirstLastPara="1" wrap="square" lIns="36000" tIns="36000" rIns="36000" bIns="36000" anchor="t" anchorCtr="0">
            <a:noAutofit/>
          </a:bodyPr>
          <a:lstStyle/>
          <a:p>
            <a:pPr marL="6350" algn="ctr">
              <a:buClr>
                <a:schemeClr val="accent4"/>
              </a:buClr>
              <a:buSzPts val="1100"/>
            </a:pPr>
            <a:r>
              <a:rPr lang="fr-FR" sz="1100" b="1">
                <a:solidFill>
                  <a:schemeClr val="tx1"/>
                </a:solidFill>
                <a:latin typeface="+mj-lt"/>
              </a:rPr>
              <a:t>Blended </a:t>
            </a:r>
            <a:r>
              <a:rPr lang="en-ZA" sz="1100" b="1">
                <a:solidFill>
                  <a:schemeClr val="tx1"/>
                </a:solidFill>
                <a:latin typeface="+mj-lt"/>
              </a:rPr>
              <a:t>learning</a:t>
            </a:r>
          </a:p>
          <a:p>
            <a:pPr marL="6350" algn="ctr">
              <a:buClr>
                <a:schemeClr val="accent4"/>
              </a:buClr>
              <a:buSzPts val="1100"/>
            </a:pPr>
            <a:r>
              <a:rPr lang="fr-FR" sz="900">
                <a:solidFill>
                  <a:schemeClr val="tx1"/>
                </a:solidFill>
                <a:latin typeface="+mj-lt"/>
              </a:rPr>
              <a:t>Mélanger les formats pour appuyer les messages (vidéos, fiches tuto, questionnaires…)</a:t>
            </a:r>
          </a:p>
        </p:txBody>
      </p:sp>
      <p:sp>
        <p:nvSpPr>
          <p:cNvPr id="39" name="Rectangle 38">
            <a:extLst>
              <a:ext uri="{FF2B5EF4-FFF2-40B4-BE49-F238E27FC236}">
                <a16:creationId xmlns:a16="http://schemas.microsoft.com/office/drawing/2014/main" id="{DFC8BC12-489E-0C0C-5261-E36B1C0DC3E4}"/>
              </a:ext>
            </a:extLst>
          </p:cNvPr>
          <p:cNvSpPr/>
          <p:nvPr/>
        </p:nvSpPr>
        <p:spPr>
          <a:xfrm>
            <a:off x="476395" y="1160464"/>
            <a:ext cx="11236180" cy="8756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350" lvl="0">
              <a:buClr>
                <a:schemeClr val="accent4"/>
              </a:buClr>
              <a:buSzPts val="1100"/>
            </a:pPr>
            <a:r>
              <a:rPr lang="fr-FR" sz="1200" b="1">
                <a:solidFill>
                  <a:schemeClr val="tx1"/>
                </a:solidFill>
                <a:latin typeface="+mj-lt"/>
              </a:rPr>
              <a:t>Les tutoriels sous forme de vidéo ou de mode opératoires sont des supports importants pour </a:t>
            </a:r>
            <a:r>
              <a:rPr lang="fr-FR" sz="1200">
                <a:solidFill>
                  <a:schemeClr val="tx1"/>
                </a:solidFill>
                <a:latin typeface="+mj-lt"/>
              </a:rPr>
              <a:t>: </a:t>
            </a:r>
          </a:p>
          <a:p>
            <a:pPr marL="171450" indent="-165100">
              <a:buClr>
                <a:schemeClr val="bg2"/>
              </a:buClr>
              <a:buSzPts val="1100"/>
              <a:buFont typeface="Arial"/>
              <a:buChar char="•"/>
            </a:pPr>
            <a:r>
              <a:rPr lang="fr-FR" sz="1200">
                <a:solidFill>
                  <a:schemeClr val="tx1"/>
                </a:solidFill>
                <a:latin typeface="+mj-lt"/>
              </a:rPr>
              <a:t>Former une large population sur des modules « simples »</a:t>
            </a:r>
          </a:p>
          <a:p>
            <a:pPr marL="171450" indent="-165100">
              <a:buClr>
                <a:schemeClr val="bg2"/>
              </a:buClr>
              <a:buSzPts val="1100"/>
              <a:buFont typeface="Arial"/>
              <a:buChar char="•"/>
            </a:pPr>
            <a:r>
              <a:rPr lang="fr-FR" sz="1200">
                <a:solidFill>
                  <a:schemeClr val="tx1"/>
                </a:solidFill>
                <a:latin typeface="+mj-lt"/>
              </a:rPr>
              <a:t>Ancrer les connaissances après les formations</a:t>
            </a:r>
          </a:p>
          <a:p>
            <a:pPr marL="171450" indent="-165100">
              <a:buClr>
                <a:schemeClr val="bg2"/>
              </a:buClr>
              <a:buSzPts val="1100"/>
              <a:buFont typeface="Arial"/>
              <a:buChar char="•"/>
            </a:pPr>
            <a:r>
              <a:rPr lang="fr-FR" sz="1200">
                <a:solidFill>
                  <a:schemeClr val="tx1"/>
                </a:solidFill>
                <a:latin typeface="+mj-lt"/>
              </a:rPr>
              <a:t>Embarquer les nouveaux collaborateurs hors période de formations</a:t>
            </a:r>
          </a:p>
          <a:p>
            <a:pPr algn="ctr"/>
            <a:endParaRPr lang="fr-FR" sz="1200">
              <a:solidFill>
                <a:schemeClr val="tx1"/>
              </a:solidFill>
            </a:endParaRPr>
          </a:p>
        </p:txBody>
      </p:sp>
      <p:grpSp>
        <p:nvGrpSpPr>
          <p:cNvPr id="41" name="Groupe 40">
            <a:extLst>
              <a:ext uri="{FF2B5EF4-FFF2-40B4-BE49-F238E27FC236}">
                <a16:creationId xmlns:a16="http://schemas.microsoft.com/office/drawing/2014/main" id="{5EA4025E-E799-D6F8-F018-E4A9A4757C60}"/>
              </a:ext>
            </a:extLst>
          </p:cNvPr>
          <p:cNvGrpSpPr/>
          <p:nvPr/>
        </p:nvGrpSpPr>
        <p:grpSpPr>
          <a:xfrm>
            <a:off x="476395" y="2348363"/>
            <a:ext cx="5054601" cy="504000"/>
            <a:chOff x="476395" y="2348363"/>
            <a:chExt cx="5054601" cy="504000"/>
          </a:xfrm>
        </p:grpSpPr>
        <p:sp>
          <p:nvSpPr>
            <p:cNvPr id="10" name="Google Shape;196;g62decd456d_2_291">
              <a:extLst>
                <a:ext uri="{FF2B5EF4-FFF2-40B4-BE49-F238E27FC236}">
                  <a16:creationId xmlns:a16="http://schemas.microsoft.com/office/drawing/2014/main" id="{2C1BE3D3-AF86-4F00-99E9-C106820D1EEC}"/>
                </a:ext>
              </a:extLst>
            </p:cNvPr>
            <p:cNvSpPr txBox="1"/>
            <p:nvPr/>
          </p:nvSpPr>
          <p:spPr>
            <a:xfrm>
              <a:off x="479426" y="2348363"/>
              <a:ext cx="5051570" cy="504000"/>
            </a:xfrm>
            <a:prstGeom prst="roundRect">
              <a:avLst>
                <a:gd name="adj" fmla="val 50000"/>
              </a:avLst>
            </a:prstGeom>
            <a:solidFill>
              <a:schemeClr val="bg2"/>
            </a:solidFill>
            <a:ln>
              <a:noFill/>
            </a:ln>
          </p:spPr>
          <p:txBody>
            <a:bodyPr spcFirstLastPara="1" wrap="square" lIns="91425" tIns="91425" rIns="91425" bIns="91425" anchor="ctr" anchorCtr="0">
              <a:noAutofit/>
            </a:bodyPr>
            <a:lstStyle/>
            <a:p>
              <a:pPr marL="444500">
                <a:buClr>
                  <a:srgbClr val="000000"/>
                </a:buClr>
                <a:buFont typeface="Arial"/>
                <a:buNone/>
              </a:pPr>
              <a:r>
                <a:rPr lang="fr-FR" sz="1200" b="1">
                  <a:solidFill>
                    <a:schemeClr val="bg1"/>
                  </a:solidFill>
                  <a:latin typeface="+mj-lt"/>
                </a:rPr>
                <a:t>3 leviers pertinents pour la réalisation de tutoriel</a:t>
              </a:r>
              <a:endParaRPr lang="fr-FR" sz="1200" b="1">
                <a:solidFill>
                  <a:schemeClr val="bg1"/>
                </a:solidFill>
                <a:latin typeface="+mj-lt"/>
                <a:sym typeface="Montserrat"/>
              </a:endParaRPr>
            </a:p>
          </p:txBody>
        </p:sp>
        <p:sp>
          <p:nvSpPr>
            <p:cNvPr id="40" name="Ellipse 39">
              <a:extLst>
                <a:ext uri="{FF2B5EF4-FFF2-40B4-BE49-F238E27FC236}">
                  <a16:creationId xmlns:a16="http://schemas.microsoft.com/office/drawing/2014/main" id="{39CCEF3B-D029-FE8E-CE12-D11F9B8C5B60}"/>
                </a:ext>
              </a:extLst>
            </p:cNvPr>
            <p:cNvSpPr/>
            <p:nvPr/>
          </p:nvSpPr>
          <p:spPr>
            <a:xfrm>
              <a:off x="476395" y="2348363"/>
              <a:ext cx="504000" cy="50400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42" name="Groupe 41">
            <a:extLst>
              <a:ext uri="{FF2B5EF4-FFF2-40B4-BE49-F238E27FC236}">
                <a16:creationId xmlns:a16="http://schemas.microsoft.com/office/drawing/2014/main" id="{F912C6BE-F77C-99BE-5D6C-75182B08BC06}"/>
              </a:ext>
            </a:extLst>
          </p:cNvPr>
          <p:cNvGrpSpPr/>
          <p:nvPr/>
        </p:nvGrpSpPr>
        <p:grpSpPr>
          <a:xfrm>
            <a:off x="476394" y="4893436"/>
            <a:ext cx="5054601" cy="504000"/>
            <a:chOff x="476395" y="2348363"/>
            <a:chExt cx="5054601" cy="504000"/>
          </a:xfrm>
        </p:grpSpPr>
        <p:sp>
          <p:nvSpPr>
            <p:cNvPr id="43" name="Google Shape;196;g62decd456d_2_291">
              <a:extLst>
                <a:ext uri="{FF2B5EF4-FFF2-40B4-BE49-F238E27FC236}">
                  <a16:creationId xmlns:a16="http://schemas.microsoft.com/office/drawing/2014/main" id="{D0BDFC32-4178-86A1-22A4-ED35ECE1EAC3}"/>
                </a:ext>
              </a:extLst>
            </p:cNvPr>
            <p:cNvSpPr txBox="1"/>
            <p:nvPr/>
          </p:nvSpPr>
          <p:spPr>
            <a:xfrm>
              <a:off x="479426" y="2348363"/>
              <a:ext cx="5051570" cy="504000"/>
            </a:xfrm>
            <a:prstGeom prst="roundRect">
              <a:avLst>
                <a:gd name="adj" fmla="val 50000"/>
              </a:avLst>
            </a:prstGeom>
            <a:solidFill>
              <a:schemeClr val="bg2"/>
            </a:solidFill>
            <a:ln>
              <a:noFill/>
            </a:ln>
          </p:spPr>
          <p:txBody>
            <a:bodyPr spcFirstLastPara="1" wrap="square" lIns="91425" tIns="91425" rIns="91425" bIns="91425" anchor="ctr" anchorCtr="0">
              <a:noAutofit/>
            </a:bodyPr>
            <a:lstStyle/>
            <a:p>
              <a:pPr marL="444500">
                <a:buClr>
                  <a:srgbClr val="000000"/>
                </a:buClr>
                <a:buFont typeface="Arial"/>
                <a:buNone/>
              </a:pPr>
              <a:r>
                <a:rPr lang="fr-FR" sz="1200" b="1">
                  <a:solidFill>
                    <a:schemeClr val="bg1"/>
                  </a:solidFill>
                  <a:latin typeface="+mj-lt"/>
                </a:rPr>
                <a:t>Formats possibles</a:t>
              </a:r>
              <a:endParaRPr lang="fr-FR" sz="1200" b="1">
                <a:solidFill>
                  <a:schemeClr val="bg1"/>
                </a:solidFill>
                <a:latin typeface="+mj-lt"/>
                <a:sym typeface="Montserrat"/>
              </a:endParaRPr>
            </a:p>
          </p:txBody>
        </p:sp>
        <p:sp>
          <p:nvSpPr>
            <p:cNvPr id="44" name="Ellipse 43">
              <a:extLst>
                <a:ext uri="{FF2B5EF4-FFF2-40B4-BE49-F238E27FC236}">
                  <a16:creationId xmlns:a16="http://schemas.microsoft.com/office/drawing/2014/main" id="{C3D4595F-E313-F111-2D0F-778FF4A6FF10}"/>
                </a:ext>
              </a:extLst>
            </p:cNvPr>
            <p:cNvSpPr/>
            <p:nvPr/>
          </p:nvSpPr>
          <p:spPr>
            <a:xfrm>
              <a:off x="476395" y="2348363"/>
              <a:ext cx="504000" cy="50400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45" name="Groupe 44">
            <a:extLst>
              <a:ext uri="{FF2B5EF4-FFF2-40B4-BE49-F238E27FC236}">
                <a16:creationId xmlns:a16="http://schemas.microsoft.com/office/drawing/2014/main" id="{8FE2F4BA-5AD3-BF10-0C7C-7220CD9FB7AA}"/>
              </a:ext>
            </a:extLst>
          </p:cNvPr>
          <p:cNvGrpSpPr/>
          <p:nvPr/>
        </p:nvGrpSpPr>
        <p:grpSpPr>
          <a:xfrm>
            <a:off x="6096000" y="2348363"/>
            <a:ext cx="5652000" cy="504000"/>
            <a:chOff x="476395" y="2348363"/>
            <a:chExt cx="5652000" cy="504000"/>
          </a:xfrm>
        </p:grpSpPr>
        <p:sp>
          <p:nvSpPr>
            <p:cNvPr id="46" name="Google Shape;196;g62decd456d_2_291">
              <a:extLst>
                <a:ext uri="{FF2B5EF4-FFF2-40B4-BE49-F238E27FC236}">
                  <a16:creationId xmlns:a16="http://schemas.microsoft.com/office/drawing/2014/main" id="{83E3B665-6472-D334-2537-B05FC88552E2}"/>
                </a:ext>
              </a:extLst>
            </p:cNvPr>
            <p:cNvSpPr txBox="1"/>
            <p:nvPr/>
          </p:nvSpPr>
          <p:spPr>
            <a:xfrm>
              <a:off x="476395" y="2348363"/>
              <a:ext cx="5652000" cy="504000"/>
            </a:xfrm>
            <a:prstGeom prst="roundRect">
              <a:avLst>
                <a:gd name="adj" fmla="val 50000"/>
              </a:avLst>
            </a:prstGeom>
            <a:solidFill>
              <a:schemeClr val="accent6"/>
            </a:solidFill>
            <a:ln>
              <a:noFill/>
            </a:ln>
          </p:spPr>
          <p:txBody>
            <a:bodyPr spcFirstLastPara="1" wrap="square" lIns="91425" tIns="91425" rIns="91425" bIns="91425" anchor="ctr" anchorCtr="0">
              <a:noAutofit/>
            </a:bodyPr>
            <a:lstStyle/>
            <a:p>
              <a:pPr marL="444500">
                <a:buClr>
                  <a:srgbClr val="000000"/>
                </a:buClr>
                <a:buFont typeface="Arial"/>
                <a:buNone/>
              </a:pPr>
              <a:r>
                <a:rPr lang="fr-FR" sz="1200" b="1">
                  <a:solidFill>
                    <a:schemeClr val="bg1"/>
                  </a:solidFill>
                  <a:latin typeface="+mj-lt"/>
                </a:rPr>
                <a:t>Exemples de tutoriels réalisés par Talan Consulting</a:t>
              </a:r>
              <a:endParaRPr lang="fr-FR" sz="1200" b="1">
                <a:solidFill>
                  <a:schemeClr val="bg1"/>
                </a:solidFill>
                <a:latin typeface="+mj-lt"/>
                <a:sym typeface="Montserrat"/>
              </a:endParaRPr>
            </a:p>
          </p:txBody>
        </p:sp>
        <p:sp>
          <p:nvSpPr>
            <p:cNvPr id="47" name="Ellipse 46">
              <a:extLst>
                <a:ext uri="{FF2B5EF4-FFF2-40B4-BE49-F238E27FC236}">
                  <a16:creationId xmlns:a16="http://schemas.microsoft.com/office/drawing/2014/main" id="{C42D803F-F5F2-6485-E098-A7FBE8ECDDFF}"/>
                </a:ext>
              </a:extLst>
            </p:cNvPr>
            <p:cNvSpPr/>
            <p:nvPr/>
          </p:nvSpPr>
          <p:spPr>
            <a:xfrm>
              <a:off x="476395" y="2348363"/>
              <a:ext cx="504000" cy="504000"/>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56" name="Groupe 55">
            <a:extLst>
              <a:ext uri="{FF2B5EF4-FFF2-40B4-BE49-F238E27FC236}">
                <a16:creationId xmlns:a16="http://schemas.microsoft.com/office/drawing/2014/main" id="{61100AB2-B127-811E-4D36-B16636C36377}"/>
              </a:ext>
            </a:extLst>
          </p:cNvPr>
          <p:cNvGrpSpPr/>
          <p:nvPr/>
        </p:nvGrpSpPr>
        <p:grpSpPr>
          <a:xfrm>
            <a:off x="826237" y="3021587"/>
            <a:ext cx="972000" cy="972000"/>
            <a:chOff x="826237" y="3021587"/>
            <a:chExt cx="972000" cy="972000"/>
          </a:xfrm>
          <a:solidFill>
            <a:schemeClr val="accent3"/>
          </a:solidFill>
        </p:grpSpPr>
        <p:sp>
          <p:nvSpPr>
            <p:cNvPr id="48" name="Ellipse 47">
              <a:extLst>
                <a:ext uri="{FF2B5EF4-FFF2-40B4-BE49-F238E27FC236}">
                  <a16:creationId xmlns:a16="http://schemas.microsoft.com/office/drawing/2014/main" id="{EEC875D0-8F73-F12C-62ED-C852BE914D9C}"/>
                </a:ext>
              </a:extLst>
            </p:cNvPr>
            <p:cNvSpPr/>
            <p:nvPr/>
          </p:nvSpPr>
          <p:spPr>
            <a:xfrm>
              <a:off x="916910" y="3105304"/>
              <a:ext cx="790654" cy="790654"/>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Arc plein 50">
              <a:extLst>
                <a:ext uri="{FF2B5EF4-FFF2-40B4-BE49-F238E27FC236}">
                  <a16:creationId xmlns:a16="http://schemas.microsoft.com/office/drawing/2014/main" id="{BF5292A7-D33D-84ED-A2A9-ACE414902CC8}"/>
                </a:ext>
              </a:extLst>
            </p:cNvPr>
            <p:cNvSpPr/>
            <p:nvPr/>
          </p:nvSpPr>
          <p:spPr>
            <a:xfrm rot="962271">
              <a:off x="826237" y="3021587"/>
              <a:ext cx="972000" cy="972000"/>
            </a:xfrm>
            <a:prstGeom prst="blockArc">
              <a:avLst>
                <a:gd name="adj1" fmla="val 10800000"/>
                <a:gd name="adj2" fmla="val 169172"/>
                <a:gd name="adj3" fmla="val 593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grpSp>
        <p:nvGrpSpPr>
          <p:cNvPr id="57" name="Groupe 56">
            <a:extLst>
              <a:ext uri="{FF2B5EF4-FFF2-40B4-BE49-F238E27FC236}">
                <a16:creationId xmlns:a16="http://schemas.microsoft.com/office/drawing/2014/main" id="{4F6287E0-02BD-1235-25B8-96F44C8E88D6}"/>
              </a:ext>
            </a:extLst>
          </p:cNvPr>
          <p:cNvGrpSpPr/>
          <p:nvPr/>
        </p:nvGrpSpPr>
        <p:grpSpPr>
          <a:xfrm>
            <a:off x="2555181" y="3021587"/>
            <a:ext cx="972000" cy="972000"/>
            <a:chOff x="2540832" y="3021587"/>
            <a:chExt cx="972000" cy="972000"/>
          </a:xfrm>
          <a:solidFill>
            <a:schemeClr val="accent3"/>
          </a:solidFill>
        </p:grpSpPr>
        <p:sp>
          <p:nvSpPr>
            <p:cNvPr id="52" name="Ellipse 51">
              <a:extLst>
                <a:ext uri="{FF2B5EF4-FFF2-40B4-BE49-F238E27FC236}">
                  <a16:creationId xmlns:a16="http://schemas.microsoft.com/office/drawing/2014/main" id="{E94F6FD6-F9ED-E4E0-E17A-963295D04D35}"/>
                </a:ext>
              </a:extLst>
            </p:cNvPr>
            <p:cNvSpPr/>
            <p:nvPr/>
          </p:nvSpPr>
          <p:spPr>
            <a:xfrm>
              <a:off x="2631505" y="3105304"/>
              <a:ext cx="790654" cy="790654"/>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Arc plein 52">
              <a:extLst>
                <a:ext uri="{FF2B5EF4-FFF2-40B4-BE49-F238E27FC236}">
                  <a16:creationId xmlns:a16="http://schemas.microsoft.com/office/drawing/2014/main" id="{F90788D5-8EC9-8A26-298B-41CB4F736FCA}"/>
                </a:ext>
              </a:extLst>
            </p:cNvPr>
            <p:cNvSpPr/>
            <p:nvPr/>
          </p:nvSpPr>
          <p:spPr>
            <a:xfrm rot="6581275">
              <a:off x="2540832" y="3021587"/>
              <a:ext cx="972000" cy="972000"/>
            </a:xfrm>
            <a:prstGeom prst="blockArc">
              <a:avLst>
                <a:gd name="adj1" fmla="val 10800000"/>
                <a:gd name="adj2" fmla="val 169172"/>
                <a:gd name="adj3" fmla="val 593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grpSp>
        <p:nvGrpSpPr>
          <p:cNvPr id="58" name="Groupe 57">
            <a:extLst>
              <a:ext uri="{FF2B5EF4-FFF2-40B4-BE49-F238E27FC236}">
                <a16:creationId xmlns:a16="http://schemas.microsoft.com/office/drawing/2014/main" id="{25370FE5-3681-2E39-180F-8874AC5CDA0D}"/>
              </a:ext>
            </a:extLst>
          </p:cNvPr>
          <p:cNvGrpSpPr/>
          <p:nvPr/>
        </p:nvGrpSpPr>
        <p:grpSpPr>
          <a:xfrm>
            <a:off x="4284124" y="3021587"/>
            <a:ext cx="972000" cy="972000"/>
            <a:chOff x="4577074" y="3021587"/>
            <a:chExt cx="972000" cy="972000"/>
          </a:xfrm>
          <a:solidFill>
            <a:schemeClr val="accent3"/>
          </a:solidFill>
        </p:grpSpPr>
        <p:sp>
          <p:nvSpPr>
            <p:cNvPr id="54" name="Ellipse 53">
              <a:extLst>
                <a:ext uri="{FF2B5EF4-FFF2-40B4-BE49-F238E27FC236}">
                  <a16:creationId xmlns:a16="http://schemas.microsoft.com/office/drawing/2014/main" id="{E56265AB-76AE-510F-A4B9-B60B018989F6}"/>
                </a:ext>
              </a:extLst>
            </p:cNvPr>
            <p:cNvSpPr/>
            <p:nvPr/>
          </p:nvSpPr>
          <p:spPr>
            <a:xfrm>
              <a:off x="4667747" y="3105304"/>
              <a:ext cx="790654" cy="790654"/>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Arc plein 54">
              <a:extLst>
                <a:ext uri="{FF2B5EF4-FFF2-40B4-BE49-F238E27FC236}">
                  <a16:creationId xmlns:a16="http://schemas.microsoft.com/office/drawing/2014/main" id="{F65B7534-2D03-5B5B-1CCE-8CBBE160425A}"/>
                </a:ext>
              </a:extLst>
            </p:cNvPr>
            <p:cNvSpPr/>
            <p:nvPr/>
          </p:nvSpPr>
          <p:spPr>
            <a:xfrm rot="19010068">
              <a:off x="4577074" y="3021587"/>
              <a:ext cx="972000" cy="972000"/>
            </a:xfrm>
            <a:prstGeom prst="blockArc">
              <a:avLst>
                <a:gd name="adj1" fmla="val 10800000"/>
                <a:gd name="adj2" fmla="val 169172"/>
                <a:gd name="adj3" fmla="val 593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59" name="Google Shape;202;g62decd456d_2_291">
            <a:extLst>
              <a:ext uri="{FF2B5EF4-FFF2-40B4-BE49-F238E27FC236}">
                <a16:creationId xmlns:a16="http://schemas.microsoft.com/office/drawing/2014/main" id="{DEF7FD07-EFE5-ACB5-F382-E7CABE52E7BE}"/>
              </a:ext>
            </a:extLst>
          </p:cNvPr>
          <p:cNvSpPr txBox="1"/>
          <p:nvPr/>
        </p:nvSpPr>
        <p:spPr>
          <a:xfrm>
            <a:off x="2228053" y="4034875"/>
            <a:ext cx="1655534" cy="1185035"/>
          </a:xfrm>
          <a:prstGeom prst="rect">
            <a:avLst/>
          </a:prstGeom>
          <a:noFill/>
          <a:ln>
            <a:noFill/>
          </a:ln>
        </p:spPr>
        <p:txBody>
          <a:bodyPr spcFirstLastPara="1" wrap="square" lIns="36000" tIns="36000" rIns="36000" bIns="36000" anchor="t" anchorCtr="0">
            <a:noAutofit/>
          </a:bodyPr>
          <a:lstStyle/>
          <a:p>
            <a:pPr marL="6350" algn="ctr">
              <a:buClr>
                <a:schemeClr val="accent4"/>
              </a:buClr>
              <a:buSzPts val="1100"/>
            </a:pPr>
            <a:r>
              <a:rPr lang="fr-FR" sz="1100" b="1">
                <a:solidFill>
                  <a:schemeClr val="tx1"/>
                </a:solidFill>
                <a:latin typeface="+mj-lt"/>
              </a:rPr>
              <a:t>Gamification</a:t>
            </a:r>
          </a:p>
          <a:p>
            <a:pPr marL="6350" algn="ctr">
              <a:buClr>
                <a:schemeClr val="accent4"/>
              </a:buClr>
              <a:buSzPts val="1100"/>
            </a:pPr>
            <a:r>
              <a:rPr lang="fr-FR" sz="900">
                <a:solidFill>
                  <a:schemeClr val="tx1"/>
                </a:solidFill>
                <a:latin typeface="+mj-lt"/>
              </a:rPr>
              <a:t>Mettre en place des systèmes de challenges pour inciter à utiliser les tutoriels</a:t>
            </a:r>
          </a:p>
        </p:txBody>
      </p:sp>
      <p:sp>
        <p:nvSpPr>
          <p:cNvPr id="60" name="Google Shape;202;g62decd456d_2_291">
            <a:extLst>
              <a:ext uri="{FF2B5EF4-FFF2-40B4-BE49-F238E27FC236}">
                <a16:creationId xmlns:a16="http://schemas.microsoft.com/office/drawing/2014/main" id="{135BC641-6513-F30F-A4D7-D825E94AD021}"/>
              </a:ext>
            </a:extLst>
          </p:cNvPr>
          <p:cNvSpPr txBox="1"/>
          <p:nvPr/>
        </p:nvSpPr>
        <p:spPr>
          <a:xfrm>
            <a:off x="3939353" y="4034875"/>
            <a:ext cx="1655534" cy="1185035"/>
          </a:xfrm>
          <a:prstGeom prst="rect">
            <a:avLst/>
          </a:prstGeom>
          <a:noFill/>
          <a:ln>
            <a:noFill/>
          </a:ln>
        </p:spPr>
        <p:txBody>
          <a:bodyPr spcFirstLastPara="1" wrap="square" lIns="36000" tIns="36000" rIns="36000" bIns="36000" anchor="t" anchorCtr="0">
            <a:noAutofit/>
          </a:bodyPr>
          <a:lstStyle/>
          <a:p>
            <a:pPr marL="6350" algn="ctr">
              <a:buClr>
                <a:schemeClr val="accent4"/>
              </a:buClr>
              <a:buSzPts val="1100"/>
            </a:pPr>
            <a:r>
              <a:rPr lang="fr-FR" sz="1100" b="1">
                <a:solidFill>
                  <a:schemeClr val="tx1"/>
                </a:solidFill>
                <a:latin typeface="+mj-lt"/>
              </a:rPr>
              <a:t>Digital en self-service</a:t>
            </a:r>
          </a:p>
          <a:p>
            <a:pPr marL="6350" algn="ctr">
              <a:buClr>
                <a:schemeClr val="accent4"/>
              </a:buClr>
              <a:buSzPts val="1100"/>
            </a:pPr>
            <a:r>
              <a:rPr lang="fr-FR" sz="900">
                <a:solidFill>
                  <a:schemeClr val="tx1"/>
                </a:solidFill>
                <a:latin typeface="+mj-lt"/>
              </a:rPr>
              <a:t>Permet de former les nouveaux arrivants et de rafraichir ou ancrer les connaissances</a:t>
            </a:r>
          </a:p>
        </p:txBody>
      </p:sp>
      <p:pic>
        <p:nvPicPr>
          <p:cNvPr id="62" name="Graphique 61" descr="Empreinte digitale avec un remplissage uni">
            <a:extLst>
              <a:ext uri="{FF2B5EF4-FFF2-40B4-BE49-F238E27FC236}">
                <a16:creationId xmlns:a16="http://schemas.microsoft.com/office/drawing/2014/main" id="{A1A5C03F-DE53-D8BB-5044-00D2614A00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90651" y="3237257"/>
            <a:ext cx="559910" cy="559910"/>
          </a:xfrm>
          <a:prstGeom prst="rect">
            <a:avLst/>
          </a:prstGeom>
        </p:spPr>
      </p:pic>
      <p:pic>
        <p:nvPicPr>
          <p:cNvPr id="64" name="Graphique 63" descr="Pièces d’échiquier avec un remplissage uni">
            <a:extLst>
              <a:ext uri="{FF2B5EF4-FFF2-40B4-BE49-F238E27FC236}">
                <a16:creationId xmlns:a16="http://schemas.microsoft.com/office/drawing/2014/main" id="{A6D93366-B66C-5C94-F3CA-A9989C1BF0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82712" y="3230301"/>
            <a:ext cx="559910" cy="559910"/>
          </a:xfrm>
          <a:prstGeom prst="rect">
            <a:avLst/>
          </a:prstGeom>
        </p:spPr>
      </p:pic>
      <p:pic>
        <p:nvPicPr>
          <p:cNvPr id="66" name="Graphique 65" descr="Potion avec un remplissage uni">
            <a:extLst>
              <a:ext uri="{FF2B5EF4-FFF2-40B4-BE49-F238E27FC236}">
                <a16:creationId xmlns:a16="http://schemas.microsoft.com/office/drawing/2014/main" id="{268C6533-071B-7F7C-7ED6-DE4A2093C90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4206" y="3227632"/>
            <a:ext cx="559910" cy="559910"/>
          </a:xfrm>
          <a:prstGeom prst="rect">
            <a:avLst/>
          </a:prstGeom>
        </p:spPr>
      </p:pic>
      <p:sp>
        <p:nvSpPr>
          <p:cNvPr id="67" name="Google Shape;202;g62decd456d_2_291">
            <a:extLst>
              <a:ext uri="{FF2B5EF4-FFF2-40B4-BE49-F238E27FC236}">
                <a16:creationId xmlns:a16="http://schemas.microsoft.com/office/drawing/2014/main" id="{A1C67508-45E6-0A65-586F-AC6ABE7D12B7}"/>
              </a:ext>
            </a:extLst>
          </p:cNvPr>
          <p:cNvSpPr txBox="1"/>
          <p:nvPr/>
        </p:nvSpPr>
        <p:spPr>
          <a:xfrm>
            <a:off x="476395" y="5431529"/>
            <a:ext cx="4980685" cy="914601"/>
          </a:xfrm>
          <a:prstGeom prst="rect">
            <a:avLst/>
          </a:prstGeom>
          <a:noFill/>
          <a:ln>
            <a:noFill/>
          </a:ln>
        </p:spPr>
        <p:txBody>
          <a:bodyPr spcFirstLastPara="1" wrap="square" lIns="91425" tIns="91425" rIns="91425" bIns="91425" anchor="t" anchorCtr="0">
            <a:noAutofit/>
          </a:bodyPr>
          <a:lstStyle/>
          <a:p>
            <a:pPr marL="171450" indent="-165100">
              <a:spcAft>
                <a:spcPts val="300"/>
              </a:spcAft>
              <a:buClrTx/>
              <a:buSzPts val="1100"/>
              <a:buFont typeface="Arial"/>
              <a:buChar char="•"/>
            </a:pPr>
            <a:r>
              <a:rPr lang="fr-FR" sz="1100">
                <a:solidFill>
                  <a:schemeClr val="tx1"/>
                </a:solidFill>
                <a:latin typeface="+mj-lt"/>
                <a:sym typeface="Montserrat"/>
              </a:rPr>
              <a:t>MODOP  /  PDF interactifs</a:t>
            </a:r>
          </a:p>
          <a:p>
            <a:pPr marL="171450" indent="-165100">
              <a:spcAft>
                <a:spcPts val="300"/>
              </a:spcAft>
              <a:buClrTx/>
              <a:buSzPts val="1100"/>
              <a:buFont typeface="Arial"/>
              <a:buChar char="•"/>
            </a:pPr>
            <a:r>
              <a:rPr lang="fr-FR" sz="1100">
                <a:solidFill>
                  <a:schemeClr val="tx1"/>
                </a:solidFill>
                <a:latin typeface="+mj-lt"/>
                <a:sym typeface="Montserrat"/>
              </a:rPr>
              <a:t>E-learning : souplesse et flexibilité pour se former au meilleur moment</a:t>
            </a:r>
          </a:p>
          <a:p>
            <a:pPr marL="171450" indent="-165100">
              <a:spcAft>
                <a:spcPts val="300"/>
              </a:spcAft>
              <a:buClrTx/>
              <a:buSzPts val="1100"/>
              <a:buFont typeface="Arial"/>
              <a:buChar char="•"/>
            </a:pPr>
            <a:r>
              <a:rPr lang="fr-FR" sz="1100">
                <a:solidFill>
                  <a:schemeClr val="tx1"/>
                </a:solidFill>
                <a:latin typeface="+mj-lt"/>
                <a:sym typeface="Montserrat"/>
              </a:rPr>
              <a:t>Micro Learning : séquencer les formations en modules très courts </a:t>
            </a:r>
            <a:r>
              <a:rPr kumimoji="0" lang="fr-FR" sz="1100" b="0" i="0" u="none" strike="noStrike" kern="0" cap="none" spc="0" normalizeH="0" baseline="0" noProof="0">
                <a:ln>
                  <a:noFill/>
                </a:ln>
                <a:solidFill>
                  <a:schemeClr val="tx1"/>
                </a:solidFill>
                <a:effectLst/>
                <a:uLnTx/>
                <a:uFillTx/>
                <a:latin typeface="+mj-lt"/>
                <a:ea typeface="Montserrat"/>
                <a:cs typeface="Montserrat"/>
                <a:sym typeface="Montserrat"/>
              </a:rPr>
              <a:t>par l’entreprise</a:t>
            </a:r>
          </a:p>
        </p:txBody>
      </p:sp>
      <p:sp>
        <p:nvSpPr>
          <p:cNvPr id="68" name="ZoneTexte 67">
            <a:extLst>
              <a:ext uri="{FF2B5EF4-FFF2-40B4-BE49-F238E27FC236}">
                <a16:creationId xmlns:a16="http://schemas.microsoft.com/office/drawing/2014/main" id="{4BDDF257-9726-DDAA-E84E-30A1AA0200AB}"/>
              </a:ext>
            </a:extLst>
          </p:cNvPr>
          <p:cNvSpPr txBox="1"/>
          <p:nvPr/>
        </p:nvSpPr>
        <p:spPr>
          <a:xfrm>
            <a:off x="6079617" y="2982375"/>
            <a:ext cx="2264805" cy="2616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u="none" strike="noStrike" kern="0" cap="none" spc="0" normalizeH="0" baseline="0" noProof="0">
                <a:ln>
                  <a:noFill/>
                </a:ln>
                <a:solidFill>
                  <a:srgbClr val="7F7F7F">
                    <a:lumMod val="75000"/>
                  </a:srgbClr>
                </a:solidFill>
                <a:effectLst/>
                <a:uLnTx/>
                <a:uFillTx/>
                <a:latin typeface="Arial"/>
                <a:ea typeface="+mn-ea"/>
                <a:cs typeface="Arial"/>
                <a:sym typeface="Arial"/>
              </a:rPr>
              <a:t>Des modules de e-learning</a:t>
            </a:r>
          </a:p>
        </p:txBody>
      </p:sp>
      <p:pic>
        <p:nvPicPr>
          <p:cNvPr id="69" name="Image 68">
            <a:extLst>
              <a:ext uri="{FF2B5EF4-FFF2-40B4-BE49-F238E27FC236}">
                <a16:creationId xmlns:a16="http://schemas.microsoft.com/office/drawing/2014/main" id="{A139205D-7417-6A15-F92C-DE6DE164EA81}"/>
              </a:ext>
            </a:extLst>
          </p:cNvPr>
          <p:cNvPicPr>
            <a:picLocks noChangeAspect="1"/>
          </p:cNvPicPr>
          <p:nvPr/>
        </p:nvPicPr>
        <p:blipFill>
          <a:blip r:embed="rId9"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652714" y="3107281"/>
            <a:ext cx="1996538" cy="1121774"/>
          </a:xfrm>
          <a:prstGeom prst="rect">
            <a:avLst/>
          </a:prstGeom>
          <a:ln>
            <a:noFill/>
          </a:ln>
          <a:effectLst>
            <a:outerShdw blurRad="292100" dist="139700" dir="2700000" algn="tl" rotWithShape="0">
              <a:srgbClr val="333333">
                <a:alpha val="65000"/>
              </a:srgbClr>
            </a:outerShdw>
          </a:effectLst>
        </p:spPr>
      </p:pic>
      <p:pic>
        <p:nvPicPr>
          <p:cNvPr id="71" name="Image 70">
            <a:extLst>
              <a:ext uri="{FF2B5EF4-FFF2-40B4-BE49-F238E27FC236}">
                <a16:creationId xmlns:a16="http://schemas.microsoft.com/office/drawing/2014/main" id="{8CD288F7-8E4F-B076-FBBE-75C33C441006}"/>
              </a:ext>
            </a:extLst>
          </p:cNvPr>
          <p:cNvPicPr>
            <a:picLocks noChangeAspect="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173887" y="3234338"/>
            <a:ext cx="1986831" cy="1116040"/>
          </a:xfrm>
          <a:prstGeom prst="rect">
            <a:avLst/>
          </a:prstGeom>
        </p:spPr>
      </p:pic>
      <p:sp>
        <p:nvSpPr>
          <p:cNvPr id="72" name="ZoneTexte 71">
            <a:extLst>
              <a:ext uri="{FF2B5EF4-FFF2-40B4-BE49-F238E27FC236}">
                <a16:creationId xmlns:a16="http://schemas.microsoft.com/office/drawing/2014/main" id="{34A1FE82-FD2A-EE36-A034-E71AEB4C3AC3}"/>
              </a:ext>
            </a:extLst>
          </p:cNvPr>
          <p:cNvSpPr txBox="1"/>
          <p:nvPr/>
        </p:nvSpPr>
        <p:spPr>
          <a:xfrm>
            <a:off x="6079617" y="4595094"/>
            <a:ext cx="2264805" cy="2616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u="none" strike="noStrike" kern="0" cap="none" spc="0" normalizeH="0" baseline="0" noProof="0">
                <a:ln>
                  <a:noFill/>
                </a:ln>
                <a:solidFill>
                  <a:srgbClr val="7F7F7F">
                    <a:lumMod val="75000"/>
                  </a:srgbClr>
                </a:solidFill>
                <a:effectLst/>
                <a:uLnTx/>
                <a:uFillTx/>
                <a:latin typeface="Arial"/>
                <a:cs typeface="Arial"/>
                <a:sym typeface="Arial"/>
              </a:rPr>
              <a:t>Des tutoriels vidéos</a:t>
            </a:r>
          </a:p>
        </p:txBody>
      </p:sp>
      <p:pic>
        <p:nvPicPr>
          <p:cNvPr id="74" name="Google Shape;1237;g5e5b5b7993_2_457">
            <a:extLst>
              <a:ext uri="{FF2B5EF4-FFF2-40B4-BE49-F238E27FC236}">
                <a16:creationId xmlns:a16="http://schemas.microsoft.com/office/drawing/2014/main" id="{A7CC0F86-3563-A439-253B-0D8410AA670C}"/>
              </a:ext>
            </a:extLst>
          </p:cNvPr>
          <p:cNvPicPr preferRelativeResize="0"/>
          <p:nvPr/>
        </p:nvPicPr>
        <p:blipFill>
          <a:blip r:embed="rId11">
            <a:alphaModFix/>
            <a:duotone>
              <a:schemeClr val="accent2">
                <a:shade val="45000"/>
                <a:satMod val="135000"/>
              </a:schemeClr>
              <a:prstClr val="white"/>
            </a:duotone>
          </a:blip>
          <a:stretch>
            <a:fillRect/>
          </a:stretch>
        </p:blipFill>
        <p:spPr>
          <a:xfrm>
            <a:off x="6173888" y="4886910"/>
            <a:ext cx="1655534" cy="914601"/>
          </a:xfrm>
          <a:prstGeom prst="rect">
            <a:avLst/>
          </a:prstGeom>
          <a:noFill/>
          <a:ln>
            <a:noFill/>
          </a:ln>
          <a:effectLst>
            <a:outerShdw blurRad="292100" dist="139700" dir="2700000" algn="tl" rotWithShape="0">
              <a:srgbClr val="333333">
                <a:alpha val="64709"/>
              </a:srgbClr>
            </a:outerShdw>
          </a:effectLst>
        </p:spPr>
      </p:pic>
      <p:pic>
        <p:nvPicPr>
          <p:cNvPr id="75" name="Image 74">
            <a:extLst>
              <a:ext uri="{FF2B5EF4-FFF2-40B4-BE49-F238E27FC236}">
                <a16:creationId xmlns:a16="http://schemas.microsoft.com/office/drawing/2014/main" id="{2DF4A661-A41A-7147-DC62-BC74DF95EA07}"/>
              </a:ext>
            </a:extLst>
          </p:cNvPr>
          <p:cNvPicPr>
            <a:picLocks noChangeAspect="1"/>
          </p:cNvPicPr>
          <p:nvPr/>
        </p:nvPicPr>
        <p:blipFill>
          <a:blip r:embed="rId12">
            <a:duotone>
              <a:schemeClr val="accent2">
                <a:shade val="45000"/>
                <a:satMod val="135000"/>
              </a:schemeClr>
              <a:prstClr val="white"/>
            </a:duotone>
          </a:blip>
          <a:stretch>
            <a:fillRect/>
          </a:stretch>
        </p:blipFill>
        <p:spPr>
          <a:xfrm>
            <a:off x="9245830" y="4893404"/>
            <a:ext cx="1067570" cy="1488346"/>
          </a:xfrm>
          <a:prstGeom prst="rect">
            <a:avLst/>
          </a:prstGeom>
          <a:ln>
            <a:noFill/>
          </a:ln>
          <a:effectLst>
            <a:outerShdw blurRad="292100" dist="139700" dir="2700000" algn="tl" rotWithShape="0">
              <a:srgbClr val="333333">
                <a:alpha val="65000"/>
              </a:srgbClr>
            </a:outerShdw>
          </a:effectLst>
        </p:spPr>
      </p:pic>
      <p:pic>
        <p:nvPicPr>
          <p:cNvPr id="76" name="Image 75">
            <a:extLst>
              <a:ext uri="{FF2B5EF4-FFF2-40B4-BE49-F238E27FC236}">
                <a16:creationId xmlns:a16="http://schemas.microsoft.com/office/drawing/2014/main" id="{6B9D1652-F110-8C72-6F52-D930B5B6945E}"/>
              </a:ext>
            </a:extLst>
          </p:cNvPr>
          <p:cNvPicPr>
            <a:picLocks noChangeAspect="1"/>
          </p:cNvPicPr>
          <p:nvPr/>
        </p:nvPicPr>
        <p:blipFill>
          <a:blip r:embed="rId1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0244853" y="4940886"/>
            <a:ext cx="1467722" cy="1359923"/>
          </a:xfrm>
          <a:prstGeom prst="rect">
            <a:avLst/>
          </a:prstGeom>
          <a:ln>
            <a:noFill/>
          </a:ln>
          <a:effectLst>
            <a:outerShdw blurRad="292100" dist="139700" dir="2700000" algn="tl" rotWithShape="0">
              <a:srgbClr val="333333">
                <a:alpha val="65000"/>
              </a:srgbClr>
            </a:outerShdw>
          </a:effectLst>
        </p:spPr>
      </p:pic>
      <p:sp>
        <p:nvSpPr>
          <p:cNvPr id="77" name="ZoneTexte 76">
            <a:extLst>
              <a:ext uri="{FF2B5EF4-FFF2-40B4-BE49-F238E27FC236}">
                <a16:creationId xmlns:a16="http://schemas.microsoft.com/office/drawing/2014/main" id="{DFB21450-1385-6FAE-E162-3111DABD8770}"/>
              </a:ext>
            </a:extLst>
          </p:cNvPr>
          <p:cNvSpPr txBox="1"/>
          <p:nvPr/>
        </p:nvSpPr>
        <p:spPr>
          <a:xfrm>
            <a:off x="9043778" y="4631794"/>
            <a:ext cx="2264805" cy="2616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u="none" strike="noStrike" kern="0" cap="none" spc="0" normalizeH="0" baseline="0" noProof="0">
                <a:ln>
                  <a:noFill/>
                </a:ln>
                <a:solidFill>
                  <a:srgbClr val="7F7F7F">
                    <a:lumMod val="75000"/>
                  </a:srgbClr>
                </a:solidFill>
                <a:effectLst/>
                <a:uLnTx/>
                <a:uFillTx/>
                <a:latin typeface="Arial"/>
                <a:cs typeface="Arial"/>
                <a:sym typeface="Arial"/>
              </a:rPr>
              <a:t>Des modes opératoires</a:t>
            </a:r>
          </a:p>
        </p:txBody>
      </p:sp>
      <p:pic>
        <p:nvPicPr>
          <p:cNvPr id="78" name="Image 77">
            <a:extLst>
              <a:ext uri="{FF2B5EF4-FFF2-40B4-BE49-F238E27FC236}">
                <a16:creationId xmlns:a16="http://schemas.microsoft.com/office/drawing/2014/main" id="{A7A1BAF5-8C33-1F11-5DFF-D1125FC180C4}"/>
              </a:ext>
            </a:extLst>
          </p:cNvPr>
          <p:cNvPicPr>
            <a:picLocks noChangeAspect="1"/>
          </p:cNvPicPr>
          <p:nvPr/>
        </p:nvPicPr>
        <p:blipFill>
          <a:blip r:embed="rId14">
            <a:duotone>
              <a:schemeClr val="accent2">
                <a:shade val="45000"/>
                <a:satMod val="135000"/>
              </a:schemeClr>
              <a:prstClr val="white"/>
            </a:duotone>
          </a:blip>
          <a:stretch>
            <a:fillRect/>
          </a:stretch>
        </p:blipFill>
        <p:spPr>
          <a:xfrm>
            <a:off x="7279451" y="5416575"/>
            <a:ext cx="1685132" cy="944508"/>
          </a:xfrm>
          <a:prstGeom prst="rect">
            <a:avLst/>
          </a:prstGeom>
          <a:effectLst>
            <a:outerShdw blurRad="50800" dist="38100" dir="2700000" algn="tl" rotWithShape="0">
              <a:prstClr val="black">
                <a:alpha val="40000"/>
              </a:prstClr>
            </a:outerShdw>
          </a:effectLst>
        </p:spPr>
      </p:pic>
      <p:sp>
        <p:nvSpPr>
          <p:cNvPr id="79" name="Google Shape;201;g62decd456d_2_291">
            <a:extLst>
              <a:ext uri="{FF2B5EF4-FFF2-40B4-BE49-F238E27FC236}">
                <a16:creationId xmlns:a16="http://schemas.microsoft.com/office/drawing/2014/main" id="{D94751AB-14EB-5E48-C5F4-CB57A9A4A8E2}"/>
              </a:ext>
            </a:extLst>
          </p:cNvPr>
          <p:cNvSpPr txBox="1"/>
          <p:nvPr/>
        </p:nvSpPr>
        <p:spPr>
          <a:xfrm>
            <a:off x="9359878" y="1228040"/>
            <a:ext cx="2314197" cy="743888"/>
          </a:xfrm>
          <a:prstGeom prst="rect">
            <a:avLst/>
          </a:prstGeom>
          <a:noFill/>
          <a:ln>
            <a:noFill/>
          </a:ln>
        </p:spPr>
        <p:txBody>
          <a:bodyPr spcFirstLastPara="1" wrap="square" lIns="91425" tIns="91425" rIns="91425" bIns="91425" anchor="ctr" anchorCtr="0">
            <a:noAutofit/>
          </a:bodyPr>
          <a:lstStyle/>
          <a:p>
            <a:pPr marL="6350" lvl="0">
              <a:buClr>
                <a:schemeClr val="bg2"/>
              </a:buClr>
              <a:buSzPts val="1100"/>
            </a:pPr>
            <a:r>
              <a:rPr lang="fr-FR" sz="1050" b="1">
                <a:solidFill>
                  <a:schemeClr val="tx1"/>
                </a:solidFill>
                <a:latin typeface="+mj-lt"/>
              </a:rPr>
              <a:t>Objectifs des tutoriels </a:t>
            </a:r>
            <a:r>
              <a:rPr lang="fr-FR" sz="1050">
                <a:solidFill>
                  <a:schemeClr val="tx1"/>
                </a:solidFill>
                <a:latin typeface="+mj-lt"/>
              </a:rPr>
              <a:t>: </a:t>
            </a:r>
          </a:p>
          <a:p>
            <a:pPr marL="177800" indent="-171450">
              <a:buClr>
                <a:schemeClr val="bg2"/>
              </a:buClr>
              <a:buSzPts val="1100"/>
              <a:buFont typeface="Wingdings" panose="05000000000000000000" pitchFamily="2" charset="2"/>
              <a:buChar char="v"/>
            </a:pPr>
            <a:r>
              <a:rPr lang="fr-FR" sz="1050">
                <a:solidFill>
                  <a:schemeClr val="tx1"/>
                </a:solidFill>
                <a:latin typeface="+mj-lt"/>
              </a:rPr>
              <a:t>L’utilisation de Self- service</a:t>
            </a:r>
          </a:p>
          <a:p>
            <a:pPr marL="177800" indent="-171450">
              <a:buClr>
                <a:schemeClr val="bg2"/>
              </a:buClr>
              <a:buSzPts val="1100"/>
              <a:buFont typeface="Wingdings" panose="05000000000000000000" pitchFamily="2" charset="2"/>
              <a:buChar char="v"/>
            </a:pPr>
            <a:r>
              <a:rPr lang="fr-FR" sz="1050">
                <a:solidFill>
                  <a:schemeClr val="tx1"/>
                </a:solidFill>
                <a:latin typeface="+mj-lt"/>
              </a:rPr>
              <a:t>L’utilisation de PALAS</a:t>
            </a:r>
          </a:p>
          <a:p>
            <a:pPr marL="177800" indent="-171450">
              <a:buClr>
                <a:schemeClr val="bg2"/>
              </a:buClr>
              <a:buSzPts val="1100"/>
              <a:buFont typeface="Wingdings" panose="05000000000000000000" pitchFamily="2" charset="2"/>
              <a:buChar char="v"/>
            </a:pPr>
            <a:r>
              <a:rPr lang="fr-FR" sz="1050">
                <a:solidFill>
                  <a:schemeClr val="tx1"/>
                </a:solidFill>
                <a:latin typeface="+mj-lt"/>
              </a:rPr>
              <a:t>La consultation d’ORION</a:t>
            </a:r>
          </a:p>
        </p:txBody>
      </p:sp>
      <p:pic>
        <p:nvPicPr>
          <p:cNvPr id="81" name="Graphique 80" descr="Loupe avec un remplissage uni">
            <a:extLst>
              <a:ext uri="{FF2B5EF4-FFF2-40B4-BE49-F238E27FC236}">
                <a16:creationId xmlns:a16="http://schemas.microsoft.com/office/drawing/2014/main" id="{0A3F7DB4-6BD2-DFFB-A3AD-6063BA60E6A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153895" y="2408510"/>
            <a:ext cx="370622" cy="370622"/>
          </a:xfrm>
          <a:prstGeom prst="rect">
            <a:avLst/>
          </a:prstGeom>
        </p:spPr>
      </p:pic>
      <p:pic>
        <p:nvPicPr>
          <p:cNvPr id="83" name="Graphique 82" descr="Règle triangulaire avec un remplissage uni">
            <a:extLst>
              <a:ext uri="{FF2B5EF4-FFF2-40B4-BE49-F238E27FC236}">
                <a16:creationId xmlns:a16="http://schemas.microsoft.com/office/drawing/2014/main" id="{524260D9-A7D9-E9B2-1EB8-585B8D791ED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86184" y="4978772"/>
            <a:ext cx="329901" cy="329901"/>
          </a:xfrm>
          <a:prstGeom prst="rect">
            <a:avLst/>
          </a:prstGeom>
        </p:spPr>
      </p:pic>
      <p:pic>
        <p:nvPicPr>
          <p:cNvPr id="85" name="Graphique 84" descr="Fusée avec un remplissage uni">
            <a:extLst>
              <a:ext uri="{FF2B5EF4-FFF2-40B4-BE49-F238E27FC236}">
                <a16:creationId xmlns:a16="http://schemas.microsoft.com/office/drawing/2014/main" id="{B4FD5642-AADE-A539-3D43-A346AD4E66A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55558" y="2448207"/>
            <a:ext cx="329901" cy="329901"/>
          </a:xfrm>
          <a:prstGeom prst="rect">
            <a:avLst/>
          </a:prstGeom>
        </p:spPr>
      </p:pic>
      <p:pic>
        <p:nvPicPr>
          <p:cNvPr id="73" name="Google Shape;1236;g5e5b5b7993_2_457">
            <a:extLst>
              <a:ext uri="{FF2B5EF4-FFF2-40B4-BE49-F238E27FC236}">
                <a16:creationId xmlns:a16="http://schemas.microsoft.com/office/drawing/2014/main" id="{85B0C3FD-C03A-5887-61E5-6D8B0B08A2E9}"/>
              </a:ext>
            </a:extLst>
          </p:cNvPr>
          <p:cNvPicPr preferRelativeResize="0"/>
          <p:nvPr/>
        </p:nvPicPr>
        <p:blipFill>
          <a:blip r:embed="rId21">
            <a:alphaModFix/>
            <a:duotone>
              <a:schemeClr val="accent2">
                <a:shade val="45000"/>
                <a:satMod val="135000"/>
              </a:schemeClr>
              <a:prstClr val="white"/>
            </a:duotone>
          </a:blip>
          <a:stretch>
            <a:fillRect/>
          </a:stretch>
        </p:blipFill>
        <p:spPr>
          <a:xfrm>
            <a:off x="6302684" y="5726308"/>
            <a:ext cx="847971" cy="603153"/>
          </a:xfrm>
          <a:prstGeom prst="rect">
            <a:avLst/>
          </a:prstGeom>
          <a:noFill/>
          <a:ln>
            <a:noFill/>
          </a:ln>
          <a:effectLst>
            <a:outerShdw blurRad="292100" dist="139700" dir="2700000" algn="tl" rotWithShape="0">
              <a:srgbClr val="333333">
                <a:alpha val="64709"/>
              </a:srgbClr>
            </a:outerShdw>
          </a:effectLst>
        </p:spPr>
      </p:pic>
      <p:pic>
        <p:nvPicPr>
          <p:cNvPr id="70" name="Image 69">
            <a:extLst>
              <a:ext uri="{FF2B5EF4-FFF2-40B4-BE49-F238E27FC236}">
                <a16:creationId xmlns:a16="http://schemas.microsoft.com/office/drawing/2014/main" id="{93219DF0-A037-36D4-174B-1DD0C537DCBF}"/>
              </a:ext>
            </a:extLst>
          </p:cNvPr>
          <p:cNvPicPr>
            <a:picLocks noChangeAspect="1"/>
          </p:cNvPicPr>
          <p:nvPr/>
        </p:nvPicPr>
        <p:blipFill>
          <a:blip r:embed="rId2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989773" y="3321666"/>
            <a:ext cx="1949619" cy="10885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392174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11BF5BD-75C4-4E77-9598-7225EFF82CC5}"/>
              </a:ext>
            </a:extLst>
          </p:cNvPr>
          <p:cNvSpPr>
            <a:spLocks noGrp="1"/>
          </p:cNvSpPr>
          <p:nvPr>
            <p:ph type="title"/>
          </p:nvPr>
        </p:nvSpPr>
        <p:spPr/>
        <p:txBody>
          <a:bodyPr/>
          <a:lstStyle/>
          <a:p>
            <a:r>
              <a:rPr lang="fr-FR" sz="1600"/>
              <a:t>3. ÉVALUER ET AMÉLIORER LE DISPOSITIF</a:t>
            </a:r>
            <a:br>
              <a:rPr lang="fr-FR" sz="1600"/>
            </a:br>
            <a:r>
              <a:rPr lang="fr-FR" sz="1600" b="0">
                <a:solidFill>
                  <a:schemeClr val="bg2">
                    <a:lumMod val="60000"/>
                    <a:lumOff val="40000"/>
                  </a:schemeClr>
                </a:solidFill>
                <a:latin typeface="+mn-lt"/>
                <a:cs typeface="Arial" panose="020B0604020202020204" pitchFamily="34" charset="0"/>
              </a:rPr>
              <a:t>Démarche proposée </a:t>
            </a:r>
          </a:p>
        </p:txBody>
      </p:sp>
      <p:sp>
        <p:nvSpPr>
          <p:cNvPr id="4" name="Google Shape;201;g62decd456d_2_291">
            <a:extLst>
              <a:ext uri="{FF2B5EF4-FFF2-40B4-BE49-F238E27FC236}">
                <a16:creationId xmlns:a16="http://schemas.microsoft.com/office/drawing/2014/main" id="{DFE4ECB6-193A-41CD-8C1D-5A9AA8C9E006}"/>
              </a:ext>
            </a:extLst>
          </p:cNvPr>
          <p:cNvSpPr txBox="1"/>
          <p:nvPr/>
        </p:nvSpPr>
        <p:spPr>
          <a:xfrm>
            <a:off x="476395" y="1521101"/>
            <a:ext cx="3668400" cy="1620714"/>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Char char="•"/>
            </a:pPr>
            <a:endParaRPr lang="fr-FR" sz="1050">
              <a:solidFill>
                <a:srgbClr val="757070"/>
              </a:solidFill>
              <a:latin typeface="+mj-lt"/>
              <a:ea typeface="Montserrat"/>
              <a:cs typeface="Montserrat"/>
              <a:sym typeface="Montserrat"/>
            </a:endParaRPr>
          </a:p>
        </p:txBody>
      </p:sp>
      <p:pic>
        <p:nvPicPr>
          <p:cNvPr id="5" name="Google Shape;189;g62decd456d_2_291">
            <a:extLst>
              <a:ext uri="{FF2B5EF4-FFF2-40B4-BE49-F238E27FC236}">
                <a16:creationId xmlns:a16="http://schemas.microsoft.com/office/drawing/2014/main" id="{8D4A21DA-4CA0-49B7-AD78-0F9B8A7532E6}"/>
              </a:ext>
            </a:extLst>
          </p:cNvPr>
          <p:cNvPicPr preferRelativeResize="0"/>
          <p:nvPr/>
        </p:nvPicPr>
        <p:blipFill>
          <a:blip r:embed="rId3">
            <a:alphaModFix/>
          </a:blip>
          <a:stretch>
            <a:fillRect/>
          </a:stretch>
        </p:blipFill>
        <p:spPr>
          <a:xfrm>
            <a:off x="476397" y="1116859"/>
            <a:ext cx="383635" cy="383634"/>
          </a:xfrm>
          <a:prstGeom prst="rect">
            <a:avLst/>
          </a:prstGeom>
          <a:noFill/>
          <a:ln>
            <a:noFill/>
          </a:ln>
        </p:spPr>
      </p:pic>
      <p:pic>
        <p:nvPicPr>
          <p:cNvPr id="6" name="Google Shape;190;g62decd456d_2_291">
            <a:extLst>
              <a:ext uri="{FF2B5EF4-FFF2-40B4-BE49-F238E27FC236}">
                <a16:creationId xmlns:a16="http://schemas.microsoft.com/office/drawing/2014/main" id="{CCA51F63-3D45-49D1-A294-FEE7069F69F3}"/>
              </a:ext>
            </a:extLst>
          </p:cNvPr>
          <p:cNvPicPr preferRelativeResize="0"/>
          <p:nvPr/>
        </p:nvPicPr>
        <p:blipFill>
          <a:blip r:embed="rId4">
            <a:alphaModFix/>
          </a:blip>
          <a:stretch>
            <a:fillRect/>
          </a:stretch>
        </p:blipFill>
        <p:spPr>
          <a:xfrm>
            <a:off x="476395" y="2849299"/>
            <a:ext cx="368880" cy="368879"/>
          </a:xfrm>
          <a:prstGeom prst="rect">
            <a:avLst/>
          </a:prstGeom>
          <a:noFill/>
          <a:ln>
            <a:noFill/>
          </a:ln>
        </p:spPr>
      </p:pic>
      <p:pic>
        <p:nvPicPr>
          <p:cNvPr id="7" name="Google Shape;192;g62decd456d_2_291">
            <a:extLst>
              <a:ext uri="{FF2B5EF4-FFF2-40B4-BE49-F238E27FC236}">
                <a16:creationId xmlns:a16="http://schemas.microsoft.com/office/drawing/2014/main" id="{917A7A55-7496-4AA5-B913-66B9922A7AB0}"/>
              </a:ext>
            </a:extLst>
          </p:cNvPr>
          <p:cNvPicPr preferRelativeResize="0"/>
          <p:nvPr/>
        </p:nvPicPr>
        <p:blipFill>
          <a:blip r:embed="rId5">
            <a:alphaModFix/>
          </a:blip>
          <a:stretch>
            <a:fillRect/>
          </a:stretch>
        </p:blipFill>
        <p:spPr>
          <a:xfrm>
            <a:off x="4465994" y="1124237"/>
            <a:ext cx="354125" cy="368879"/>
          </a:xfrm>
          <a:prstGeom prst="rect">
            <a:avLst/>
          </a:prstGeom>
          <a:noFill/>
          <a:ln>
            <a:noFill/>
          </a:ln>
        </p:spPr>
      </p:pic>
      <p:cxnSp>
        <p:nvCxnSpPr>
          <p:cNvPr id="8" name="Google Shape;194;g62decd456d_2_291">
            <a:extLst>
              <a:ext uri="{FF2B5EF4-FFF2-40B4-BE49-F238E27FC236}">
                <a16:creationId xmlns:a16="http://schemas.microsoft.com/office/drawing/2014/main" id="{9B35EB87-18EF-4C68-8104-C08FBB737A15}"/>
              </a:ext>
            </a:extLst>
          </p:cNvPr>
          <p:cNvCxnSpPr>
            <a:cxnSpLocks/>
          </p:cNvCxnSpPr>
          <p:nvPr/>
        </p:nvCxnSpPr>
        <p:spPr>
          <a:xfrm>
            <a:off x="476395" y="1563842"/>
            <a:ext cx="3668400" cy="0"/>
          </a:xfrm>
          <a:prstGeom prst="straightConnector1">
            <a:avLst/>
          </a:prstGeom>
          <a:noFill/>
          <a:ln w="9525" cap="flat" cmpd="sng">
            <a:solidFill>
              <a:srgbClr val="7F7F7F"/>
            </a:solidFill>
            <a:prstDash val="solid"/>
            <a:round/>
            <a:headEnd type="none" w="med" len="med"/>
            <a:tailEnd type="none" w="med" len="med"/>
          </a:ln>
        </p:spPr>
      </p:cxnSp>
      <p:sp>
        <p:nvSpPr>
          <p:cNvPr id="9" name="Google Shape;195;g62decd456d_2_291">
            <a:extLst>
              <a:ext uri="{FF2B5EF4-FFF2-40B4-BE49-F238E27FC236}">
                <a16:creationId xmlns:a16="http://schemas.microsoft.com/office/drawing/2014/main" id="{B9D16533-3C4E-49F8-8625-77A29914D708}"/>
              </a:ext>
            </a:extLst>
          </p:cNvPr>
          <p:cNvSpPr txBox="1"/>
          <p:nvPr/>
        </p:nvSpPr>
        <p:spPr>
          <a:xfrm>
            <a:off x="843950" y="1141426"/>
            <a:ext cx="1827000" cy="334500"/>
          </a:xfrm>
          <a:prstGeom prst="rect">
            <a:avLst/>
          </a:prstGeom>
          <a:noFill/>
          <a:ln>
            <a:noFill/>
          </a:ln>
        </p:spPr>
        <p:txBody>
          <a:bodyPr spcFirstLastPara="1" wrap="square" lIns="91425" tIns="91425" rIns="91425" bIns="91425" anchor="ctr" anchorCtr="0">
            <a:noAutofit/>
          </a:bodyPr>
          <a:lstStyle/>
          <a:p>
            <a:pPr>
              <a:buClr>
                <a:srgbClr val="000000"/>
              </a:buClr>
              <a:buFont typeface="Arial"/>
              <a:buNone/>
            </a:pPr>
            <a:r>
              <a:rPr lang="fr-FR" sz="1200" b="1" kern="0">
                <a:solidFill>
                  <a:srgbClr val="767171"/>
                </a:solidFill>
                <a:latin typeface="+mj-lt"/>
                <a:ea typeface="Montserrat"/>
                <a:cs typeface="Montserrat"/>
                <a:sym typeface="Montserrat"/>
              </a:rPr>
              <a:t>OBJECTIFS</a:t>
            </a:r>
            <a:r>
              <a:rPr lang="fr-FR" sz="1200" kern="0">
                <a:solidFill>
                  <a:srgbClr val="000000"/>
                </a:solidFill>
                <a:latin typeface="+mj-lt"/>
                <a:ea typeface="Montserrat"/>
                <a:cs typeface="Montserrat"/>
                <a:sym typeface="Montserrat"/>
              </a:rPr>
              <a:t> </a:t>
            </a:r>
            <a:endParaRPr sz="1200" kern="0">
              <a:solidFill>
                <a:srgbClr val="000000"/>
              </a:solidFill>
              <a:latin typeface="+mj-lt"/>
              <a:ea typeface="Montserrat"/>
              <a:cs typeface="Montserrat"/>
              <a:sym typeface="Montserrat"/>
            </a:endParaRPr>
          </a:p>
        </p:txBody>
      </p:sp>
      <p:sp>
        <p:nvSpPr>
          <p:cNvPr id="10" name="Google Shape;196;g62decd456d_2_291">
            <a:extLst>
              <a:ext uri="{FF2B5EF4-FFF2-40B4-BE49-F238E27FC236}">
                <a16:creationId xmlns:a16="http://schemas.microsoft.com/office/drawing/2014/main" id="{2C1BE3D3-AF86-4F00-99E9-C106820D1EEC}"/>
              </a:ext>
            </a:extLst>
          </p:cNvPr>
          <p:cNvSpPr txBox="1"/>
          <p:nvPr/>
        </p:nvSpPr>
        <p:spPr>
          <a:xfrm>
            <a:off x="843950" y="2873855"/>
            <a:ext cx="2556205" cy="334500"/>
          </a:xfrm>
          <a:prstGeom prst="rect">
            <a:avLst/>
          </a:prstGeom>
          <a:noFill/>
          <a:ln>
            <a:noFill/>
          </a:ln>
        </p:spPr>
        <p:txBody>
          <a:bodyPr spcFirstLastPara="1" wrap="square" lIns="91425" tIns="91425" rIns="91425" bIns="91425" anchor="ctr" anchorCtr="0">
            <a:noAutofit/>
          </a:bodyPr>
          <a:lstStyle/>
          <a:p>
            <a:pPr>
              <a:buClr>
                <a:srgbClr val="000000"/>
              </a:buClr>
              <a:buFont typeface="Arial"/>
              <a:buNone/>
            </a:pPr>
            <a:r>
              <a:rPr lang="fr-FR" sz="1200" b="1" kern="0">
                <a:solidFill>
                  <a:srgbClr val="767171"/>
                </a:solidFill>
                <a:latin typeface="+mj-lt"/>
                <a:ea typeface="Montserrat"/>
                <a:cs typeface="Montserrat"/>
                <a:sym typeface="Montserrat"/>
              </a:rPr>
              <a:t>FACTEURS CLES DE SUCCES</a:t>
            </a:r>
            <a:endParaRPr sz="1200" kern="0">
              <a:solidFill>
                <a:srgbClr val="000000"/>
              </a:solidFill>
              <a:latin typeface="+mj-lt"/>
              <a:ea typeface="Montserrat"/>
              <a:cs typeface="Montserrat"/>
              <a:sym typeface="Montserrat"/>
            </a:endParaRPr>
          </a:p>
        </p:txBody>
      </p:sp>
      <p:sp>
        <p:nvSpPr>
          <p:cNvPr id="11" name="Google Shape;198;g62decd456d_2_291">
            <a:extLst>
              <a:ext uri="{FF2B5EF4-FFF2-40B4-BE49-F238E27FC236}">
                <a16:creationId xmlns:a16="http://schemas.microsoft.com/office/drawing/2014/main" id="{C292AB15-E768-45D5-AD2A-5C819B23BD9F}"/>
              </a:ext>
            </a:extLst>
          </p:cNvPr>
          <p:cNvSpPr txBox="1"/>
          <p:nvPr/>
        </p:nvSpPr>
        <p:spPr>
          <a:xfrm>
            <a:off x="4818794" y="1141426"/>
            <a:ext cx="3600000" cy="334500"/>
          </a:xfrm>
          <a:prstGeom prst="rect">
            <a:avLst/>
          </a:prstGeom>
          <a:noFill/>
          <a:ln>
            <a:noFill/>
          </a:ln>
        </p:spPr>
        <p:txBody>
          <a:bodyPr spcFirstLastPara="1" wrap="square" lIns="91425" tIns="91425" rIns="91425" bIns="91425" anchor="ctr" anchorCtr="0">
            <a:noAutofit/>
          </a:bodyPr>
          <a:lstStyle/>
          <a:p>
            <a:r>
              <a:rPr lang="fr-FR" sz="1200" b="1">
                <a:solidFill>
                  <a:srgbClr val="767171"/>
                </a:solidFill>
                <a:latin typeface="+mj-lt"/>
                <a:ea typeface="Montserrat"/>
                <a:cs typeface="Montserrat"/>
                <a:sym typeface="Montserrat"/>
              </a:rPr>
              <a:t>DÉMARCHE</a:t>
            </a:r>
            <a:endParaRPr lang="fr-FR" sz="1200" b="1">
              <a:solidFill>
                <a:srgbClr val="767171"/>
              </a:solidFill>
              <a:latin typeface="+mj-lt"/>
              <a:cs typeface="Montserrat"/>
              <a:sym typeface="Montserrat"/>
            </a:endParaRPr>
          </a:p>
        </p:txBody>
      </p:sp>
      <p:cxnSp>
        <p:nvCxnSpPr>
          <p:cNvPr id="12" name="Google Shape;199;g62decd456d_2_291">
            <a:extLst>
              <a:ext uri="{FF2B5EF4-FFF2-40B4-BE49-F238E27FC236}">
                <a16:creationId xmlns:a16="http://schemas.microsoft.com/office/drawing/2014/main" id="{5FBBD91D-8660-43E8-AAAC-8ECF816A7DB7}"/>
              </a:ext>
            </a:extLst>
          </p:cNvPr>
          <p:cNvCxnSpPr>
            <a:cxnSpLocks/>
          </p:cNvCxnSpPr>
          <p:nvPr/>
        </p:nvCxnSpPr>
        <p:spPr>
          <a:xfrm>
            <a:off x="4465994" y="1563834"/>
            <a:ext cx="7246581" cy="0"/>
          </a:xfrm>
          <a:prstGeom prst="straightConnector1">
            <a:avLst/>
          </a:prstGeom>
          <a:noFill/>
          <a:ln w="9525" cap="flat" cmpd="sng">
            <a:solidFill>
              <a:srgbClr val="7F7F7F"/>
            </a:solidFill>
            <a:prstDash val="solid"/>
            <a:round/>
            <a:headEnd type="none" w="med" len="med"/>
            <a:tailEnd type="none" w="med" len="med"/>
          </a:ln>
        </p:spPr>
      </p:cxnSp>
      <p:sp>
        <p:nvSpPr>
          <p:cNvPr id="13" name="Google Shape;202;g62decd456d_2_291">
            <a:extLst>
              <a:ext uri="{FF2B5EF4-FFF2-40B4-BE49-F238E27FC236}">
                <a16:creationId xmlns:a16="http://schemas.microsoft.com/office/drawing/2014/main" id="{E22D3A68-8C63-4250-BAEB-59D55544985D}"/>
              </a:ext>
            </a:extLst>
          </p:cNvPr>
          <p:cNvSpPr txBox="1"/>
          <p:nvPr/>
        </p:nvSpPr>
        <p:spPr>
          <a:xfrm>
            <a:off x="476395" y="3260505"/>
            <a:ext cx="3668400" cy="1007263"/>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Char char="•"/>
            </a:pPr>
            <a:endParaRPr lang="fr-FR" sz="1050">
              <a:solidFill>
                <a:srgbClr val="757070"/>
              </a:solidFill>
              <a:latin typeface="+mj-lt"/>
              <a:ea typeface="Montserrat"/>
              <a:cs typeface="Montserrat"/>
              <a:sym typeface="Montserrat"/>
            </a:endParaRPr>
          </a:p>
        </p:txBody>
      </p:sp>
      <p:cxnSp>
        <p:nvCxnSpPr>
          <p:cNvPr id="14" name="Google Shape;206;g62decd456d_2_291">
            <a:extLst>
              <a:ext uri="{FF2B5EF4-FFF2-40B4-BE49-F238E27FC236}">
                <a16:creationId xmlns:a16="http://schemas.microsoft.com/office/drawing/2014/main" id="{CA362DFC-94B7-4CD5-8459-C95A5EA44217}"/>
              </a:ext>
            </a:extLst>
          </p:cNvPr>
          <p:cNvCxnSpPr>
            <a:cxnSpLocks/>
          </p:cNvCxnSpPr>
          <p:nvPr/>
        </p:nvCxnSpPr>
        <p:spPr>
          <a:xfrm>
            <a:off x="476395" y="3291009"/>
            <a:ext cx="3668400" cy="0"/>
          </a:xfrm>
          <a:prstGeom prst="straightConnector1">
            <a:avLst/>
          </a:prstGeom>
          <a:noFill/>
          <a:ln w="9525" cap="flat" cmpd="sng">
            <a:solidFill>
              <a:srgbClr val="7F7F7F"/>
            </a:solidFill>
            <a:prstDash val="solid"/>
            <a:round/>
            <a:headEnd type="none" w="med" len="med"/>
            <a:tailEnd type="none" w="med" len="med"/>
          </a:ln>
        </p:spPr>
      </p:cxnSp>
      <p:sp>
        <p:nvSpPr>
          <p:cNvPr id="15" name="Google Shape;198;g62decd456d_2_291">
            <a:extLst>
              <a:ext uri="{FF2B5EF4-FFF2-40B4-BE49-F238E27FC236}">
                <a16:creationId xmlns:a16="http://schemas.microsoft.com/office/drawing/2014/main" id="{864E3EB6-63A0-4187-87C2-15847F11EF55}"/>
              </a:ext>
            </a:extLst>
          </p:cNvPr>
          <p:cNvSpPr txBox="1"/>
          <p:nvPr/>
        </p:nvSpPr>
        <p:spPr>
          <a:xfrm>
            <a:off x="843950" y="4863550"/>
            <a:ext cx="1827000" cy="334500"/>
          </a:xfrm>
          <a:prstGeom prst="rect">
            <a:avLst/>
          </a:prstGeom>
          <a:noFill/>
          <a:ln>
            <a:noFill/>
          </a:ln>
        </p:spPr>
        <p:txBody>
          <a:bodyPr spcFirstLastPara="1" wrap="square" lIns="91425" tIns="91425" rIns="91425" bIns="91425" anchor="ctr" anchorCtr="0">
            <a:noAutofit/>
          </a:bodyPr>
          <a:lstStyle/>
          <a:p>
            <a:pPr>
              <a:buClr>
                <a:srgbClr val="000000"/>
              </a:buClr>
              <a:buFont typeface="Arial"/>
              <a:buNone/>
            </a:pPr>
            <a:r>
              <a:rPr lang="fr-FR" sz="1200" b="1">
                <a:solidFill>
                  <a:srgbClr val="767171"/>
                </a:solidFill>
                <a:latin typeface="+mj-lt"/>
                <a:ea typeface="Montserrat"/>
                <a:cs typeface="Montserrat"/>
                <a:sym typeface="Montserrat"/>
              </a:rPr>
              <a:t>LIVRABLES</a:t>
            </a:r>
            <a:endParaRPr sz="1200" kern="0">
              <a:solidFill>
                <a:srgbClr val="000000"/>
              </a:solidFill>
              <a:latin typeface="+mj-lt"/>
              <a:ea typeface="Montserrat"/>
              <a:cs typeface="Montserrat"/>
              <a:sym typeface="Montserrat"/>
            </a:endParaRPr>
          </a:p>
        </p:txBody>
      </p:sp>
      <p:cxnSp>
        <p:nvCxnSpPr>
          <p:cNvPr id="16" name="Google Shape;199;g62decd456d_2_291">
            <a:extLst>
              <a:ext uri="{FF2B5EF4-FFF2-40B4-BE49-F238E27FC236}">
                <a16:creationId xmlns:a16="http://schemas.microsoft.com/office/drawing/2014/main" id="{B8AE57C4-69CE-4608-8DDB-7E6E3218F160}"/>
              </a:ext>
            </a:extLst>
          </p:cNvPr>
          <p:cNvCxnSpPr>
            <a:cxnSpLocks/>
          </p:cNvCxnSpPr>
          <p:nvPr/>
        </p:nvCxnSpPr>
        <p:spPr>
          <a:xfrm>
            <a:off x="476395" y="5211008"/>
            <a:ext cx="3668400" cy="0"/>
          </a:xfrm>
          <a:prstGeom prst="straightConnector1">
            <a:avLst/>
          </a:prstGeom>
          <a:noFill/>
          <a:ln w="9525" cap="flat" cmpd="sng">
            <a:solidFill>
              <a:srgbClr val="7F7F7F"/>
            </a:solidFill>
            <a:prstDash val="solid"/>
            <a:round/>
            <a:headEnd type="none" w="med" len="med"/>
            <a:tailEnd type="none" w="med" len="med"/>
          </a:ln>
        </p:spPr>
      </p:cxnSp>
      <p:sp>
        <p:nvSpPr>
          <p:cNvPr id="17" name="Google Shape;202;g62decd456d_2_291">
            <a:extLst>
              <a:ext uri="{FF2B5EF4-FFF2-40B4-BE49-F238E27FC236}">
                <a16:creationId xmlns:a16="http://schemas.microsoft.com/office/drawing/2014/main" id="{081C14F2-F0CF-453C-B5E6-3AB28B427042}"/>
              </a:ext>
            </a:extLst>
          </p:cNvPr>
          <p:cNvSpPr txBox="1"/>
          <p:nvPr/>
        </p:nvSpPr>
        <p:spPr>
          <a:xfrm>
            <a:off x="476395" y="5225003"/>
            <a:ext cx="3628607" cy="1308477"/>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Char char="•"/>
            </a:pPr>
            <a:endParaRPr lang="fr-FR" sz="1050">
              <a:solidFill>
                <a:srgbClr val="757070"/>
              </a:solidFill>
              <a:latin typeface="+mj-lt"/>
              <a:sym typeface="Montserrat"/>
            </a:endParaRPr>
          </a:p>
        </p:txBody>
      </p:sp>
      <p:pic>
        <p:nvPicPr>
          <p:cNvPr id="24" name="Google Shape;193;g62decd456d_2_291">
            <a:extLst>
              <a:ext uri="{FF2B5EF4-FFF2-40B4-BE49-F238E27FC236}">
                <a16:creationId xmlns:a16="http://schemas.microsoft.com/office/drawing/2014/main" id="{07A552B2-1363-45E7-BB1D-2B6DAE61A8ED}"/>
              </a:ext>
            </a:extLst>
          </p:cNvPr>
          <p:cNvPicPr preferRelativeResize="0"/>
          <p:nvPr/>
        </p:nvPicPr>
        <p:blipFill>
          <a:blip r:embed="rId6">
            <a:alphaModFix/>
          </a:blip>
          <a:stretch>
            <a:fillRect/>
          </a:stretch>
        </p:blipFill>
        <p:spPr>
          <a:xfrm>
            <a:off x="476395" y="4814611"/>
            <a:ext cx="368880" cy="368879"/>
          </a:xfrm>
          <a:prstGeom prst="rect">
            <a:avLst/>
          </a:prstGeom>
          <a:noFill/>
          <a:ln>
            <a:noFill/>
          </a:ln>
        </p:spPr>
      </p:pic>
      <p:graphicFrame>
        <p:nvGraphicFramePr>
          <p:cNvPr id="25" name="Tableau 4">
            <a:extLst>
              <a:ext uri="{FF2B5EF4-FFF2-40B4-BE49-F238E27FC236}">
                <a16:creationId xmlns:a16="http://schemas.microsoft.com/office/drawing/2014/main" id="{81300CDA-423A-7C98-ED73-0AB23A4F94FE}"/>
              </a:ext>
            </a:extLst>
          </p:cNvPr>
          <p:cNvGraphicFramePr>
            <a:graphicFrameLocks noGrp="1"/>
          </p:cNvGraphicFramePr>
          <p:nvPr>
            <p:extLst>
              <p:ext uri="{D42A27DB-BD31-4B8C-83A1-F6EECF244321}">
                <p14:modId xmlns:p14="http://schemas.microsoft.com/office/powerpoint/2010/main" val="1555283729"/>
              </p:ext>
            </p:extLst>
          </p:nvPr>
        </p:nvGraphicFramePr>
        <p:xfrm>
          <a:off x="4818794" y="1733351"/>
          <a:ext cx="7181589" cy="3142976"/>
        </p:xfrm>
        <a:graphic>
          <a:graphicData uri="http://schemas.openxmlformats.org/drawingml/2006/table">
            <a:tbl>
              <a:tblPr bandRow="1">
                <a:tableStyleId>{5C22544A-7EE6-4342-B048-85BDC9FD1C3A}</a:tableStyleId>
              </a:tblPr>
              <a:tblGrid>
                <a:gridCol w="2139791">
                  <a:extLst>
                    <a:ext uri="{9D8B030D-6E8A-4147-A177-3AD203B41FA5}">
                      <a16:colId xmlns:a16="http://schemas.microsoft.com/office/drawing/2014/main" val="3835464732"/>
                    </a:ext>
                  </a:extLst>
                </a:gridCol>
                <a:gridCol w="5041798">
                  <a:extLst>
                    <a:ext uri="{9D8B030D-6E8A-4147-A177-3AD203B41FA5}">
                      <a16:colId xmlns:a16="http://schemas.microsoft.com/office/drawing/2014/main" val="2107302021"/>
                    </a:ext>
                  </a:extLst>
                </a:gridCol>
              </a:tblGrid>
              <a:tr h="823165">
                <a:tc>
                  <a:txBody>
                    <a:bodyPr/>
                    <a:lstStyle/>
                    <a:p>
                      <a:r>
                        <a:rPr lang="fr-FR" sz="1100" b="1">
                          <a:solidFill>
                            <a:schemeClr val="bg1"/>
                          </a:solidFill>
                          <a:latin typeface="Montserrat" panose="00000500000000000000" pitchFamily="2" charset="0"/>
                        </a:rPr>
                        <a:t>Amélioration continue de la formation </a:t>
                      </a:r>
                      <a:r>
                        <a:rPr lang="fr-FR" sz="1100" b="0">
                          <a:solidFill>
                            <a:schemeClr val="bg1"/>
                          </a:solidFill>
                          <a:latin typeface="Montserrat" panose="00000500000000000000" pitchFamily="2" charset="0"/>
                        </a:rPr>
                        <a:t>(animation et fond)</a:t>
                      </a:r>
                    </a:p>
                  </a:txBody>
                  <a:tcPr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100">
                          <a:solidFill>
                            <a:schemeClr val="tx1">
                              <a:lumMod val="85000"/>
                              <a:lumOff val="15000"/>
                            </a:schemeClr>
                          </a:solidFill>
                          <a:latin typeface="Montserrat" panose="00000500000000000000" pitchFamily="2" charset="0"/>
                          <a:sym typeface="Wingdings" panose="05000000000000000000" pitchFamily="2" charset="2"/>
                        </a:rPr>
                        <a:t>Réalisation de </a:t>
                      </a:r>
                      <a:r>
                        <a:rPr lang="fr-FR" sz="1100" b="1">
                          <a:solidFill>
                            <a:schemeClr val="tx1">
                              <a:lumMod val="85000"/>
                              <a:lumOff val="15000"/>
                            </a:schemeClr>
                          </a:solidFill>
                          <a:latin typeface="Montserrat" panose="00000500000000000000" pitchFamily="2" charset="0"/>
                          <a:sym typeface="Wingdings" panose="05000000000000000000" pitchFamily="2" charset="2"/>
                        </a:rPr>
                        <a:t>CODEV </a:t>
                      </a:r>
                      <a:r>
                        <a:rPr lang="fr-FR" sz="1100">
                          <a:solidFill>
                            <a:schemeClr val="tx1">
                              <a:lumMod val="85000"/>
                              <a:lumOff val="15000"/>
                            </a:schemeClr>
                          </a:solidFill>
                          <a:latin typeface="Montserrat" panose="00000500000000000000" pitchFamily="2" charset="0"/>
                          <a:sym typeface="Wingdings" panose="05000000000000000000" pitchFamily="2" charset="2"/>
                        </a:rPr>
                        <a:t>pour les formateu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100">
                          <a:solidFill>
                            <a:schemeClr val="tx1">
                              <a:lumMod val="85000"/>
                              <a:lumOff val="15000"/>
                            </a:schemeClr>
                          </a:solidFill>
                          <a:latin typeface="Montserrat" panose="00000500000000000000" pitchFamily="2" charset="0"/>
                          <a:sym typeface="Wingdings" panose="05000000000000000000" pitchFamily="2" charset="2"/>
                        </a:rPr>
                        <a:t>Mise à jour des supports de formations</a:t>
                      </a: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62416897"/>
                  </a:ext>
                </a:extLst>
              </a:tr>
              <a:tr h="1200672">
                <a:tc>
                  <a:txBody>
                    <a:bodyPr/>
                    <a:lstStyle/>
                    <a:p>
                      <a:r>
                        <a:rPr lang="fr-FR" sz="1100" b="1">
                          <a:solidFill>
                            <a:schemeClr val="bg1"/>
                          </a:solidFill>
                          <a:latin typeface="Montserrat" panose="00000500000000000000" pitchFamily="2" charset="0"/>
                        </a:rPr>
                        <a:t>Evolution continue de l’outil à travers des REX</a:t>
                      </a:r>
                    </a:p>
                  </a:txBody>
                  <a:tcPr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180975" indent="-171450">
                        <a:buFont typeface="Arial" panose="020B0604020202020204" pitchFamily="34" charset="0"/>
                        <a:buChar char="•"/>
                      </a:pPr>
                      <a:r>
                        <a:rPr lang="fr-FR" sz="1100" b="1">
                          <a:solidFill>
                            <a:schemeClr val="tx1"/>
                          </a:solidFill>
                          <a:latin typeface="Montserrat" panose="00000500000000000000" pitchFamily="2" charset="0"/>
                        </a:rPr>
                        <a:t>Cadrage</a:t>
                      </a:r>
                      <a:r>
                        <a:rPr lang="fr-FR" sz="1100">
                          <a:solidFill>
                            <a:schemeClr val="tx1"/>
                          </a:solidFill>
                          <a:latin typeface="Montserrat" panose="00000500000000000000" pitchFamily="2" charset="0"/>
                        </a:rPr>
                        <a:t> (recueil vision et objectifs du REX, identification des personnes à interviewer, rédaction des grilles d’entretiens)</a:t>
                      </a:r>
                    </a:p>
                    <a:p>
                      <a:pPr marL="180975" indent="-171450">
                        <a:buFont typeface="Arial" panose="020B0604020202020204" pitchFamily="34" charset="0"/>
                        <a:buChar char="•"/>
                      </a:pPr>
                      <a:r>
                        <a:rPr lang="fr-FR" sz="1100">
                          <a:solidFill>
                            <a:schemeClr val="tx1"/>
                          </a:solidFill>
                          <a:latin typeface="Montserrat" panose="00000500000000000000" pitchFamily="2" charset="0"/>
                        </a:rPr>
                        <a:t>Conduite, restitution et synthèse des </a:t>
                      </a:r>
                      <a:r>
                        <a:rPr lang="fr-FR" sz="1100" b="1">
                          <a:solidFill>
                            <a:schemeClr val="tx1"/>
                          </a:solidFill>
                          <a:latin typeface="Montserrat" panose="00000500000000000000" pitchFamily="2" charset="0"/>
                        </a:rPr>
                        <a:t>entretiens et des ateliers d’expression</a:t>
                      </a:r>
                      <a:endParaRPr lang="fr-FR" sz="1100">
                        <a:solidFill>
                          <a:schemeClr val="tx1"/>
                        </a:solidFill>
                        <a:latin typeface="Montserrat" panose="00000500000000000000" pitchFamily="2" charset="0"/>
                      </a:endParaRPr>
                    </a:p>
                    <a:p>
                      <a:pPr marL="180975" indent="-171450">
                        <a:buFont typeface="Arial" panose="020B0604020202020204" pitchFamily="34" charset="0"/>
                        <a:buChar char="•"/>
                      </a:pPr>
                      <a:r>
                        <a:rPr lang="fr-FR" sz="1100" b="0">
                          <a:solidFill>
                            <a:schemeClr val="tx1"/>
                          </a:solidFill>
                          <a:latin typeface="Montserrat" panose="00000500000000000000" pitchFamily="2" charset="0"/>
                        </a:rPr>
                        <a:t>Propositions de </a:t>
                      </a:r>
                      <a:r>
                        <a:rPr lang="fr-FR" sz="1100" b="1">
                          <a:solidFill>
                            <a:schemeClr val="tx1"/>
                          </a:solidFill>
                          <a:latin typeface="Montserrat" panose="00000500000000000000" pitchFamily="2" charset="0"/>
                        </a:rPr>
                        <a:t>plan d’évolution</a:t>
                      </a: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01884082"/>
                  </a:ext>
                </a:extLst>
              </a:tr>
              <a:tr h="1119139">
                <a:tc>
                  <a:txBody>
                    <a:bodyPr/>
                    <a:lstStyle/>
                    <a:p>
                      <a:r>
                        <a:rPr lang="fr-FR" sz="1100" b="1">
                          <a:solidFill>
                            <a:schemeClr val="bg1"/>
                          </a:solidFill>
                          <a:latin typeface="Montserrat" panose="00000500000000000000" pitchFamily="2" charset="0"/>
                        </a:rPr>
                        <a:t>Evaluations</a:t>
                      </a:r>
                    </a:p>
                  </a:txBody>
                  <a:tcPr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b="1">
                          <a:solidFill>
                            <a:schemeClr val="tx1"/>
                          </a:solidFill>
                          <a:latin typeface="Montserrat" panose="00000500000000000000" pitchFamily="2" charset="0"/>
                          <a:sym typeface="Wingdings" panose="05000000000000000000" pitchFamily="2" charset="2"/>
                        </a:rPr>
                        <a:t>Niveau 1 </a:t>
                      </a:r>
                      <a:r>
                        <a:rPr lang="fr-FR" sz="1100">
                          <a:solidFill>
                            <a:schemeClr val="tx1"/>
                          </a:solidFill>
                          <a:latin typeface="Montserrat" panose="00000500000000000000" pitchFamily="2" charset="0"/>
                          <a:sym typeface="Wingdings" panose="05000000000000000000" pitchFamily="2" charset="2"/>
                        </a:rPr>
                        <a:t>: questionnaire de satisfaction à la fin de chaque modul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100" b="1">
                          <a:solidFill>
                            <a:schemeClr val="tx1"/>
                          </a:solidFill>
                          <a:latin typeface="Montserrat" panose="00000500000000000000" pitchFamily="2" charset="0"/>
                          <a:sym typeface="Wingdings" panose="05000000000000000000" pitchFamily="2" charset="2"/>
                        </a:rPr>
                        <a:t>Niveau 2 </a:t>
                      </a:r>
                      <a:r>
                        <a:rPr lang="fr-FR" sz="1100">
                          <a:solidFill>
                            <a:schemeClr val="tx1"/>
                          </a:solidFill>
                          <a:latin typeface="Montserrat" panose="00000500000000000000" pitchFamily="2" charset="0"/>
                          <a:sym typeface="Wingdings" panose="05000000000000000000" pitchFamily="2" charset="2"/>
                        </a:rPr>
                        <a:t>: évaluation à froid des connaissances et remontée à l’équipe projet des personnes en difficulté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100" b="1">
                          <a:solidFill>
                            <a:schemeClr val="tx1"/>
                          </a:solidFill>
                          <a:latin typeface="Montserrat" panose="00000500000000000000" pitchFamily="2" charset="0"/>
                          <a:sym typeface="Wingdings" panose="05000000000000000000" pitchFamily="2" charset="2"/>
                        </a:rPr>
                        <a:t>Niveaux 3 et 4 </a:t>
                      </a:r>
                      <a:r>
                        <a:rPr lang="fr-FR" sz="1100">
                          <a:solidFill>
                            <a:schemeClr val="tx1"/>
                          </a:solidFill>
                          <a:latin typeface="Montserrat" panose="00000500000000000000" pitchFamily="2" charset="0"/>
                          <a:sym typeface="Wingdings" panose="05000000000000000000" pitchFamily="2" charset="2"/>
                        </a:rPr>
                        <a:t>: (hors scopes) évaluation des résultats de la formation et des effets de celle-ci</a:t>
                      </a: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12115173"/>
                  </a:ext>
                </a:extLst>
              </a:tr>
            </a:tbl>
          </a:graphicData>
        </a:graphic>
      </p:graphicFrame>
      <p:sp>
        <p:nvSpPr>
          <p:cNvPr id="26" name="Google Shape;201;g62decd456d_2_291">
            <a:extLst>
              <a:ext uri="{FF2B5EF4-FFF2-40B4-BE49-F238E27FC236}">
                <a16:creationId xmlns:a16="http://schemas.microsoft.com/office/drawing/2014/main" id="{FCBE5C3B-60E5-0414-1723-592FF4F5A1C6}"/>
              </a:ext>
            </a:extLst>
          </p:cNvPr>
          <p:cNvSpPr txBox="1"/>
          <p:nvPr/>
        </p:nvSpPr>
        <p:spPr>
          <a:xfrm>
            <a:off x="547218" y="1673501"/>
            <a:ext cx="3668400" cy="1620714"/>
          </a:xfrm>
          <a:prstGeom prst="rect">
            <a:avLst/>
          </a:prstGeom>
          <a:noFill/>
          <a:ln>
            <a:noFill/>
          </a:ln>
        </p:spPr>
        <p:txBody>
          <a:bodyPr spcFirstLastPara="1" wrap="square" lIns="91425" tIns="91425" rIns="91425" bIns="91425" anchor="t" anchorCtr="0">
            <a:noAutofit/>
          </a:bodyPr>
          <a:lstStyle/>
          <a:p>
            <a:pPr marL="171450" indent="-165100">
              <a:spcAft>
                <a:spcPts val="300"/>
              </a:spcAft>
              <a:buClr>
                <a:schemeClr val="accent4"/>
              </a:buClr>
              <a:buSzPts val="1100"/>
              <a:buFont typeface="Arial"/>
              <a:buChar char="•"/>
            </a:pPr>
            <a:r>
              <a:rPr lang="fr-FR" sz="1050">
                <a:solidFill>
                  <a:srgbClr val="757070"/>
                </a:solidFill>
                <a:latin typeface="+mj-lt"/>
                <a:ea typeface="Montserrat"/>
                <a:cs typeface="Montserrat"/>
                <a:sym typeface="Montserrat"/>
              </a:rPr>
              <a:t>Suivre les ressentis et l’acquisition des compétences</a:t>
            </a:r>
          </a:p>
          <a:p>
            <a:pPr marL="171450" indent="-165100">
              <a:spcAft>
                <a:spcPts val="300"/>
              </a:spcAft>
              <a:buClr>
                <a:schemeClr val="accent4"/>
              </a:buClr>
              <a:buSzPts val="1100"/>
              <a:buFont typeface="Arial"/>
              <a:buChar char="•"/>
            </a:pPr>
            <a:r>
              <a:rPr lang="fr-FR" sz="1050">
                <a:solidFill>
                  <a:srgbClr val="757070"/>
                </a:solidFill>
                <a:latin typeface="+mj-lt"/>
                <a:ea typeface="Montserrat"/>
                <a:cs typeface="Montserrat"/>
                <a:sym typeface="Montserrat"/>
              </a:rPr>
              <a:t>Faire évoluer le programme en tenant compte des remontées terrains et de la réalité des métiers</a:t>
            </a:r>
          </a:p>
          <a:p>
            <a:pPr marL="171450" indent="-165100">
              <a:spcAft>
                <a:spcPts val="300"/>
              </a:spcAft>
              <a:buClr>
                <a:schemeClr val="accent4"/>
              </a:buClr>
              <a:buSzPts val="1100"/>
              <a:buFont typeface="Arial"/>
              <a:buChar char="•"/>
            </a:pPr>
            <a:r>
              <a:rPr lang="fr-FR" sz="1050">
                <a:solidFill>
                  <a:srgbClr val="757070"/>
                </a:solidFill>
                <a:latin typeface="+mj-lt"/>
                <a:ea typeface="Montserrat"/>
                <a:cs typeface="Montserrat"/>
                <a:sym typeface="Montserrat"/>
              </a:rPr>
              <a:t>Ancrer l’accompagnement </a:t>
            </a:r>
          </a:p>
          <a:p>
            <a:pPr marL="171450" indent="-165100">
              <a:spcAft>
                <a:spcPts val="300"/>
              </a:spcAft>
              <a:buClr>
                <a:schemeClr val="accent4"/>
              </a:buClr>
              <a:buSzPts val="1100"/>
              <a:buFont typeface="Arial"/>
              <a:buChar char="•"/>
            </a:pPr>
            <a:endParaRPr lang="fr-FR" sz="1050">
              <a:solidFill>
                <a:srgbClr val="757070"/>
              </a:solidFill>
              <a:latin typeface="+mj-lt"/>
              <a:ea typeface="Montserrat"/>
              <a:cs typeface="Montserrat"/>
              <a:sym typeface="Montserrat"/>
            </a:endParaRPr>
          </a:p>
        </p:txBody>
      </p:sp>
      <p:sp>
        <p:nvSpPr>
          <p:cNvPr id="61" name="Google Shape;201;g62decd456d_2_291">
            <a:extLst>
              <a:ext uri="{FF2B5EF4-FFF2-40B4-BE49-F238E27FC236}">
                <a16:creationId xmlns:a16="http://schemas.microsoft.com/office/drawing/2014/main" id="{7352CFF2-FBA9-70C9-3F62-89C7962BEDEF}"/>
              </a:ext>
            </a:extLst>
          </p:cNvPr>
          <p:cNvSpPr txBox="1"/>
          <p:nvPr/>
        </p:nvSpPr>
        <p:spPr>
          <a:xfrm>
            <a:off x="547218" y="3412905"/>
            <a:ext cx="3668400" cy="1620714"/>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Char char="•"/>
            </a:pPr>
            <a:r>
              <a:rPr lang="fr-FR" sz="1050">
                <a:solidFill>
                  <a:srgbClr val="757070"/>
                </a:solidFill>
                <a:latin typeface="+mj-lt"/>
                <a:ea typeface="Montserrat"/>
                <a:cs typeface="Montserrat"/>
                <a:sym typeface="Montserrat"/>
              </a:rPr>
              <a:t>Temps disponible pour la mise à jour des supports en lien avec les besoins métiers</a:t>
            </a:r>
          </a:p>
          <a:p>
            <a:pPr marL="171450" lvl="0" indent="-165100">
              <a:spcAft>
                <a:spcPts val="300"/>
              </a:spcAft>
              <a:buClr>
                <a:schemeClr val="accent4"/>
              </a:buClr>
              <a:buSzPts val="1100"/>
              <a:buChar char="•"/>
            </a:pPr>
            <a:r>
              <a:rPr lang="fr-FR" sz="1050">
                <a:solidFill>
                  <a:srgbClr val="757070"/>
                </a:solidFill>
                <a:latin typeface="+mj-lt"/>
                <a:ea typeface="Montserrat"/>
                <a:cs typeface="Montserrat"/>
                <a:sym typeface="Montserrat"/>
              </a:rPr>
              <a:t>Disponibilité des interlocuteurs pour les REX et mise en place d’un processus de traitement des données</a:t>
            </a:r>
          </a:p>
          <a:p>
            <a:pPr marL="171450" lvl="0" indent="-165100">
              <a:spcAft>
                <a:spcPts val="300"/>
              </a:spcAft>
              <a:buClr>
                <a:schemeClr val="accent4"/>
              </a:buClr>
              <a:buSzPts val="1100"/>
              <a:buChar char="•"/>
            </a:pPr>
            <a:r>
              <a:rPr lang="fr-FR" sz="1050">
                <a:solidFill>
                  <a:srgbClr val="757070"/>
                </a:solidFill>
                <a:latin typeface="+mj-lt"/>
                <a:ea typeface="Montserrat"/>
                <a:cs typeface="Montserrat"/>
                <a:sym typeface="Montserrat"/>
              </a:rPr>
              <a:t>Utilisation de l’outil </a:t>
            </a:r>
            <a:r>
              <a:rPr lang="fr-FR" sz="1050" err="1">
                <a:solidFill>
                  <a:srgbClr val="757070"/>
                </a:solidFill>
                <a:latin typeface="+mj-lt"/>
                <a:ea typeface="Montserrat"/>
                <a:cs typeface="Montserrat"/>
                <a:sym typeface="Montserrat"/>
              </a:rPr>
              <a:t>Digiforma</a:t>
            </a:r>
            <a:r>
              <a:rPr lang="fr-FR" sz="1050">
                <a:solidFill>
                  <a:srgbClr val="757070"/>
                </a:solidFill>
                <a:latin typeface="+mj-lt"/>
                <a:ea typeface="Montserrat"/>
                <a:cs typeface="Montserrat"/>
                <a:sym typeface="Montserrat"/>
              </a:rPr>
              <a:t> pour les évaluations </a:t>
            </a:r>
            <a:r>
              <a:rPr lang="fr-FR" sz="1050">
                <a:solidFill>
                  <a:srgbClr val="757070"/>
                </a:solidFill>
                <a:latin typeface="+mj-lt"/>
                <a:ea typeface="Montserrat"/>
                <a:cs typeface="Montserrat"/>
                <a:sym typeface="Montserrat"/>
                <a:hlinkClick r:id="rId7" action="ppaction://hlinksldjump"/>
              </a:rPr>
              <a:t>(</a:t>
            </a:r>
            <a:r>
              <a:rPr lang="fr-FR" sz="1050" err="1">
                <a:solidFill>
                  <a:srgbClr val="757070"/>
                </a:solidFill>
                <a:latin typeface="+mj-lt"/>
                <a:ea typeface="Montserrat"/>
                <a:cs typeface="Montserrat"/>
                <a:sym typeface="Montserrat"/>
                <a:hlinkClick r:id="rId7" action="ppaction://hlinksldjump"/>
              </a:rPr>
              <a:t>cf</a:t>
            </a:r>
            <a:r>
              <a:rPr lang="fr-FR" sz="1050">
                <a:solidFill>
                  <a:srgbClr val="757070"/>
                </a:solidFill>
                <a:latin typeface="+mj-lt"/>
                <a:ea typeface="Montserrat"/>
                <a:cs typeface="Montserrat"/>
                <a:sym typeface="Montserrat"/>
                <a:hlinkClick r:id="rId7" action="ppaction://hlinksldjump"/>
              </a:rPr>
              <a:t> focus plus loin dans ce document) </a:t>
            </a:r>
            <a:endParaRPr lang="fr-FR" sz="1050">
              <a:solidFill>
                <a:srgbClr val="757070"/>
              </a:solidFill>
              <a:latin typeface="+mj-lt"/>
              <a:ea typeface="Montserrat"/>
              <a:cs typeface="Montserrat"/>
              <a:sym typeface="Montserrat"/>
            </a:endParaRPr>
          </a:p>
        </p:txBody>
      </p:sp>
      <p:sp>
        <p:nvSpPr>
          <p:cNvPr id="63" name="Google Shape;201;g62decd456d_2_291">
            <a:extLst>
              <a:ext uri="{FF2B5EF4-FFF2-40B4-BE49-F238E27FC236}">
                <a16:creationId xmlns:a16="http://schemas.microsoft.com/office/drawing/2014/main" id="{74D56A87-5FA0-2D7D-BF12-4A8BDE2126AF}"/>
              </a:ext>
            </a:extLst>
          </p:cNvPr>
          <p:cNvSpPr txBox="1"/>
          <p:nvPr/>
        </p:nvSpPr>
        <p:spPr>
          <a:xfrm>
            <a:off x="547218" y="5232429"/>
            <a:ext cx="3668400" cy="1007262"/>
          </a:xfrm>
          <a:prstGeom prst="rect">
            <a:avLst/>
          </a:prstGeom>
          <a:noFill/>
          <a:ln>
            <a:noFill/>
          </a:ln>
        </p:spPr>
        <p:txBody>
          <a:bodyPr spcFirstLastPara="1" wrap="square" lIns="91425" tIns="91425" rIns="91425" bIns="91425" anchor="t" anchorCtr="0">
            <a:noAutofit/>
          </a:bodyPr>
          <a:lstStyle/>
          <a:p>
            <a:pPr marL="171450" lvl="0" indent="-165100">
              <a:spcAft>
                <a:spcPts val="300"/>
              </a:spcAft>
              <a:buClr>
                <a:schemeClr val="accent4"/>
              </a:buClr>
              <a:buSzPts val="1100"/>
              <a:buChar char="•"/>
            </a:pPr>
            <a:r>
              <a:rPr lang="fr-FR" sz="1050">
                <a:solidFill>
                  <a:srgbClr val="757070"/>
                </a:solidFill>
                <a:latin typeface="+mj-lt"/>
                <a:ea typeface="Montserrat"/>
                <a:cs typeface="Montserrat"/>
                <a:sym typeface="Montserrat"/>
              </a:rPr>
              <a:t>Synthèse des </a:t>
            </a:r>
            <a:r>
              <a:rPr lang="fr-FR" sz="1050" err="1">
                <a:solidFill>
                  <a:srgbClr val="757070"/>
                </a:solidFill>
                <a:latin typeface="+mj-lt"/>
                <a:ea typeface="Montserrat"/>
                <a:cs typeface="Montserrat"/>
                <a:sym typeface="Montserrat"/>
              </a:rPr>
              <a:t>codev</a:t>
            </a:r>
            <a:endParaRPr lang="fr-FR" sz="1050">
              <a:solidFill>
                <a:srgbClr val="757070"/>
              </a:solidFill>
              <a:latin typeface="+mj-lt"/>
              <a:ea typeface="Montserrat"/>
              <a:cs typeface="Montserrat"/>
              <a:sym typeface="Montserrat"/>
            </a:endParaRPr>
          </a:p>
          <a:p>
            <a:pPr marL="171450" lvl="0" indent="-165100">
              <a:spcAft>
                <a:spcPts val="300"/>
              </a:spcAft>
              <a:buClr>
                <a:schemeClr val="accent4"/>
              </a:buClr>
              <a:buSzPts val="1100"/>
              <a:buChar char="•"/>
            </a:pPr>
            <a:r>
              <a:rPr lang="fr-FR" sz="1050">
                <a:solidFill>
                  <a:srgbClr val="757070"/>
                </a:solidFill>
                <a:latin typeface="+mj-lt"/>
                <a:ea typeface="Montserrat"/>
                <a:cs typeface="Montserrat"/>
                <a:sym typeface="Montserrat"/>
              </a:rPr>
              <a:t>Mise à jour des supports de formation</a:t>
            </a:r>
          </a:p>
          <a:p>
            <a:pPr marL="171450" lvl="0" indent="-165100">
              <a:spcAft>
                <a:spcPts val="300"/>
              </a:spcAft>
              <a:buClr>
                <a:schemeClr val="accent4"/>
              </a:buClr>
              <a:buSzPts val="1100"/>
              <a:buChar char="•"/>
            </a:pPr>
            <a:r>
              <a:rPr lang="fr-FR" sz="1050">
                <a:solidFill>
                  <a:srgbClr val="757070"/>
                </a:solidFill>
                <a:latin typeface="+mj-lt"/>
                <a:ea typeface="Montserrat"/>
                <a:cs typeface="Montserrat"/>
                <a:sym typeface="Montserrat"/>
              </a:rPr>
              <a:t>Synthèse des REX (format à définir)</a:t>
            </a:r>
          </a:p>
          <a:p>
            <a:pPr marL="171450" lvl="0" indent="-165100">
              <a:spcAft>
                <a:spcPts val="300"/>
              </a:spcAft>
              <a:buClr>
                <a:schemeClr val="accent4"/>
              </a:buClr>
              <a:buSzPts val="1100"/>
              <a:buChar char="•"/>
            </a:pPr>
            <a:r>
              <a:rPr lang="fr-FR" sz="1050">
                <a:solidFill>
                  <a:srgbClr val="757070"/>
                </a:solidFill>
                <a:latin typeface="+mj-lt"/>
                <a:ea typeface="Montserrat"/>
                <a:cs typeface="Montserrat"/>
                <a:sym typeface="Montserrat"/>
              </a:rPr>
              <a:t>Questionnaires d’évaluation et synthèses des rapports </a:t>
            </a:r>
          </a:p>
          <a:p>
            <a:pPr marL="171450" lvl="0" indent="-165100">
              <a:spcAft>
                <a:spcPts val="300"/>
              </a:spcAft>
              <a:buClr>
                <a:schemeClr val="accent4"/>
              </a:buClr>
              <a:buSzPts val="1100"/>
              <a:buChar char="•"/>
            </a:pPr>
            <a:r>
              <a:rPr lang="fr-FR" sz="1050">
                <a:solidFill>
                  <a:srgbClr val="757070"/>
                </a:solidFill>
                <a:latin typeface="+mj-lt"/>
                <a:ea typeface="Montserrat"/>
                <a:cs typeface="Montserrat"/>
                <a:sym typeface="Montserrat"/>
              </a:rPr>
              <a:t>Propositions de plans d’évolution</a:t>
            </a:r>
          </a:p>
        </p:txBody>
      </p:sp>
      <p:pic>
        <p:nvPicPr>
          <p:cNvPr id="72" name="Image 71">
            <a:extLst>
              <a:ext uri="{FF2B5EF4-FFF2-40B4-BE49-F238E27FC236}">
                <a16:creationId xmlns:a16="http://schemas.microsoft.com/office/drawing/2014/main" id="{79670090-A8CB-9AD4-9B23-174AF10752C8}"/>
              </a:ext>
            </a:extLst>
          </p:cNvPr>
          <p:cNvPicPr>
            <a:picLocks noChangeAspect="1"/>
          </p:cNvPicPr>
          <p:nvPr/>
        </p:nvPicPr>
        <p:blipFill>
          <a:blip r:embed="rId8"/>
          <a:stretch>
            <a:fillRect/>
          </a:stretch>
        </p:blipFill>
        <p:spPr>
          <a:xfrm>
            <a:off x="4971137" y="4934061"/>
            <a:ext cx="6876901" cy="1565025"/>
          </a:xfrm>
          <a:prstGeom prst="rect">
            <a:avLst/>
          </a:prstGeom>
        </p:spPr>
      </p:pic>
    </p:spTree>
    <p:extLst>
      <p:ext uri="{BB962C8B-B14F-4D97-AF65-F5344CB8AC3E}">
        <p14:creationId xmlns:p14="http://schemas.microsoft.com/office/powerpoint/2010/main" val="31597313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2">
            <a:extLst>
              <a:ext uri="{FF2B5EF4-FFF2-40B4-BE49-F238E27FC236}">
                <a16:creationId xmlns:a16="http://schemas.microsoft.com/office/drawing/2014/main" id="{39B5CE5E-3F27-4216-ACBB-AE6D154B86FE}"/>
              </a:ext>
            </a:extLst>
          </p:cNvPr>
          <p:cNvSpPr>
            <a:spLocks noGrp="1"/>
          </p:cNvSpPr>
          <p:nvPr>
            <p:ph type="title"/>
          </p:nvPr>
        </p:nvSpPr>
        <p:spPr>
          <a:xfrm>
            <a:off x="396655" y="292153"/>
            <a:ext cx="7547995" cy="407795"/>
          </a:xfrm>
        </p:spPr>
        <p:txBody>
          <a:bodyPr/>
          <a:lstStyle/>
          <a:p>
            <a:r>
              <a:rPr lang="fr-FR"/>
              <a:t>PRÉAMBULE</a:t>
            </a:r>
          </a:p>
        </p:txBody>
      </p:sp>
      <p:sp>
        <p:nvSpPr>
          <p:cNvPr id="5" name="Espace réservé du texte 9">
            <a:extLst>
              <a:ext uri="{FF2B5EF4-FFF2-40B4-BE49-F238E27FC236}">
                <a16:creationId xmlns:a16="http://schemas.microsoft.com/office/drawing/2014/main" id="{F42F9A6C-578C-477B-8E16-1AA32ACD65D9}"/>
              </a:ext>
            </a:extLst>
          </p:cNvPr>
          <p:cNvSpPr>
            <a:spLocks noGrp="1"/>
          </p:cNvSpPr>
          <p:nvPr>
            <p:ph type="body" idx="1"/>
          </p:nvPr>
        </p:nvSpPr>
        <p:spPr>
          <a:xfrm>
            <a:off x="396655" y="1447098"/>
            <a:ext cx="11574945" cy="4763244"/>
          </a:xfrm>
        </p:spPr>
        <p:txBody>
          <a:bodyPr/>
          <a:lstStyle/>
          <a:p>
            <a:pPr algn="just"/>
            <a:r>
              <a:rPr lang="fr-FR">
                <a:solidFill>
                  <a:srgbClr val="20408E"/>
                </a:solidFill>
                <a:latin typeface="+mj-lt"/>
              </a:rPr>
              <a:t>Ce document constitue la proposition technique de Talan Consulting à la sollicitation de SNCF Transilien pour les formations à l’outil ORION, dans le cadre du programme POGS TRANSILIEN. </a:t>
            </a:r>
          </a:p>
          <a:p>
            <a:pPr algn="just"/>
            <a:endParaRPr lang="fr-FR">
              <a:solidFill>
                <a:srgbClr val="20408E"/>
              </a:solidFill>
              <a:latin typeface="+mj-lt"/>
            </a:endParaRPr>
          </a:p>
          <a:p>
            <a:pPr algn="just"/>
            <a:r>
              <a:rPr lang="fr-FR">
                <a:solidFill>
                  <a:srgbClr val="20408E"/>
                </a:solidFill>
                <a:latin typeface="+mj-lt"/>
              </a:rPr>
              <a:t>Pour tout contact ou toute demande d'information, vos interlocuteurs sont Jean GRANDEMANGE et Simone NERI, respectivement Directeur &amp; Senior Manager Transports et Mobilités.</a:t>
            </a:r>
          </a:p>
          <a:p>
            <a:pPr algn="just"/>
            <a:endParaRPr kumimoji="0" lang="fr-FR" sz="1800" b="1" i="0" u="none" strike="noStrike" kern="0" cap="none" spc="0" normalizeH="0" baseline="0" noProof="0">
              <a:ln>
                <a:noFill/>
              </a:ln>
              <a:solidFill>
                <a:srgbClr val="20408E"/>
              </a:solidFill>
              <a:effectLst/>
              <a:uLnTx/>
              <a:uFillTx/>
              <a:latin typeface="+mj-lt"/>
              <a:cs typeface="Montserrat"/>
              <a:sym typeface="Montserrat"/>
            </a:endParaRPr>
          </a:p>
          <a:p>
            <a:pPr algn="ctr"/>
            <a:endParaRPr lang="fr-FR" sz="1400" b="1">
              <a:solidFill>
                <a:srgbClr val="0091FF"/>
              </a:solidFill>
              <a:latin typeface="Montserrat"/>
              <a:cs typeface="Montserrat"/>
            </a:endParaRPr>
          </a:p>
          <a:p>
            <a:pPr algn="just"/>
            <a:endParaRPr lang="fr-FR" sz="1800">
              <a:solidFill>
                <a:srgbClr val="20408E"/>
              </a:solidFill>
              <a:latin typeface="+mj-lt"/>
            </a:endParaRPr>
          </a:p>
        </p:txBody>
      </p:sp>
      <p:grpSp>
        <p:nvGrpSpPr>
          <p:cNvPr id="6" name="Groupe 5">
            <a:extLst>
              <a:ext uri="{FF2B5EF4-FFF2-40B4-BE49-F238E27FC236}">
                <a16:creationId xmlns:a16="http://schemas.microsoft.com/office/drawing/2014/main" id="{37121A69-DB8B-4D1A-956B-36554A0CC471}"/>
              </a:ext>
            </a:extLst>
          </p:cNvPr>
          <p:cNvGrpSpPr/>
          <p:nvPr/>
        </p:nvGrpSpPr>
        <p:grpSpPr>
          <a:xfrm>
            <a:off x="6423890" y="3409665"/>
            <a:ext cx="3572972" cy="2281575"/>
            <a:chOff x="415243" y="1249023"/>
            <a:chExt cx="3060418" cy="1980594"/>
          </a:xfrm>
        </p:grpSpPr>
        <p:sp>
          <p:nvSpPr>
            <p:cNvPr id="7" name="Rectangle 6">
              <a:extLst>
                <a:ext uri="{FF2B5EF4-FFF2-40B4-BE49-F238E27FC236}">
                  <a16:creationId xmlns:a16="http://schemas.microsoft.com/office/drawing/2014/main" id="{829428E0-3D50-4438-8E2D-C53527CDE217}"/>
                </a:ext>
              </a:extLst>
            </p:cNvPr>
            <p:cNvSpPr/>
            <p:nvPr/>
          </p:nvSpPr>
          <p:spPr>
            <a:xfrm>
              <a:off x="415243" y="1249023"/>
              <a:ext cx="3060418" cy="1980594"/>
            </a:xfrm>
            <a:prstGeom prst="rect">
              <a:avLst/>
            </a:prstGeom>
            <a:solidFill>
              <a:srgbClr val="FFFFFF"/>
            </a:solidFill>
            <a:ln w="3175" cap="flat">
              <a:solidFill>
                <a:srgbClr val="595959"/>
              </a:solidFill>
              <a:prstDash val="solid"/>
              <a:miter lim="800000"/>
            </a:ln>
            <a:effectLst>
              <a:outerShdw blurRad="50800" dist="38100" dir="2700000" rotWithShape="0">
                <a:srgbClr val="000000">
                  <a:alpha val="40000"/>
                </a:srgbClr>
              </a:outerShdw>
            </a:effectLst>
          </p:spPr>
          <p:txBody>
            <a:bodyPr wrap="square" lIns="36000" tIns="36000" rIns="36000" bIns="36000" numCol="1"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defRPr>
                  <a:solidFill>
                    <a:srgbClr val="FFFFFF"/>
                  </a:solidFill>
                </a:defRPr>
              </a:pPr>
              <a:endParaRPr lang="fr-FR" sz="1200">
                <a:latin typeface="+mj-lt"/>
              </a:endParaRPr>
            </a:p>
          </p:txBody>
        </p:sp>
        <p:sp>
          <p:nvSpPr>
            <p:cNvPr id="8" name="bk object 16">
              <a:extLst>
                <a:ext uri="{FF2B5EF4-FFF2-40B4-BE49-F238E27FC236}">
                  <a16:creationId xmlns:a16="http://schemas.microsoft.com/office/drawing/2014/main" id="{56BEEF1A-DF61-4C87-B1D9-6CBEF3021703}"/>
                </a:ext>
              </a:extLst>
            </p:cNvPr>
            <p:cNvSpPr/>
            <p:nvPr/>
          </p:nvSpPr>
          <p:spPr>
            <a:xfrm>
              <a:off x="2398701" y="1249023"/>
              <a:ext cx="1076960" cy="1322705"/>
            </a:xfrm>
            <a:custGeom>
              <a:avLst/>
              <a:gdLst/>
              <a:ahLst/>
              <a:cxnLst/>
              <a:rect l="l" t="t" r="r" b="b"/>
              <a:pathLst>
                <a:path w="1076960" h="1322705">
                  <a:moveTo>
                    <a:pt x="1076543" y="0"/>
                  </a:moveTo>
                  <a:lnTo>
                    <a:pt x="91328" y="0"/>
                  </a:lnTo>
                  <a:lnTo>
                    <a:pt x="97959" y="30857"/>
                  </a:lnTo>
                  <a:lnTo>
                    <a:pt x="107778" y="82011"/>
                  </a:lnTo>
                  <a:lnTo>
                    <a:pt x="116496" y="133548"/>
                  </a:lnTo>
                  <a:lnTo>
                    <a:pt x="124097" y="185456"/>
                  </a:lnTo>
                  <a:lnTo>
                    <a:pt x="130567" y="237723"/>
                  </a:lnTo>
                  <a:lnTo>
                    <a:pt x="135893" y="290336"/>
                  </a:lnTo>
                  <a:lnTo>
                    <a:pt x="140060" y="343283"/>
                  </a:lnTo>
                  <a:lnTo>
                    <a:pt x="143053" y="396551"/>
                  </a:lnTo>
                  <a:lnTo>
                    <a:pt x="144860" y="450128"/>
                  </a:lnTo>
                  <a:lnTo>
                    <a:pt x="145465" y="504003"/>
                  </a:lnTo>
                  <a:lnTo>
                    <a:pt x="144933" y="554628"/>
                  </a:lnTo>
                  <a:lnTo>
                    <a:pt x="143344" y="604993"/>
                  </a:lnTo>
                  <a:lnTo>
                    <a:pt x="140710" y="655087"/>
                  </a:lnTo>
                  <a:lnTo>
                    <a:pt x="137039" y="704901"/>
                  </a:lnTo>
                  <a:lnTo>
                    <a:pt x="132344" y="754422"/>
                  </a:lnTo>
                  <a:lnTo>
                    <a:pt x="126636" y="803642"/>
                  </a:lnTo>
                  <a:lnTo>
                    <a:pt x="119924" y="852549"/>
                  </a:lnTo>
                  <a:lnTo>
                    <a:pt x="112220" y="901133"/>
                  </a:lnTo>
                  <a:lnTo>
                    <a:pt x="103534" y="949382"/>
                  </a:lnTo>
                  <a:lnTo>
                    <a:pt x="93877" y="997288"/>
                  </a:lnTo>
                  <a:lnTo>
                    <a:pt x="83260" y="1044839"/>
                  </a:lnTo>
                  <a:lnTo>
                    <a:pt x="71694" y="1092024"/>
                  </a:lnTo>
                  <a:lnTo>
                    <a:pt x="59190" y="1138833"/>
                  </a:lnTo>
                  <a:lnTo>
                    <a:pt x="45757" y="1185256"/>
                  </a:lnTo>
                  <a:lnTo>
                    <a:pt x="31407" y="1231281"/>
                  </a:lnTo>
                  <a:lnTo>
                    <a:pt x="16151" y="1276899"/>
                  </a:lnTo>
                  <a:lnTo>
                    <a:pt x="0" y="1322099"/>
                  </a:lnTo>
                  <a:lnTo>
                    <a:pt x="1076543" y="1322099"/>
                  </a:lnTo>
                  <a:lnTo>
                    <a:pt x="1076543" y="0"/>
                  </a:lnTo>
                  <a:close/>
                </a:path>
              </a:pathLst>
            </a:custGeom>
            <a:solidFill>
              <a:srgbClr val="20408E"/>
            </a:solidFill>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fr-FR" sz="1200">
                <a:latin typeface="+mj-lt"/>
              </a:endParaRPr>
            </a:p>
          </p:txBody>
        </p:sp>
        <p:sp>
          <p:nvSpPr>
            <p:cNvPr id="9" name="bk object 17">
              <a:extLst>
                <a:ext uri="{FF2B5EF4-FFF2-40B4-BE49-F238E27FC236}">
                  <a16:creationId xmlns:a16="http://schemas.microsoft.com/office/drawing/2014/main" id="{9A14E51C-8468-4052-BFEF-EAF403839BCE}"/>
                </a:ext>
              </a:extLst>
            </p:cNvPr>
            <p:cNvSpPr/>
            <p:nvPr/>
          </p:nvSpPr>
          <p:spPr>
            <a:xfrm>
              <a:off x="415243" y="2571122"/>
              <a:ext cx="1983739" cy="658495"/>
            </a:xfrm>
            <a:custGeom>
              <a:avLst/>
              <a:gdLst/>
              <a:ahLst/>
              <a:cxnLst/>
              <a:rect l="l" t="t" r="r" b="b"/>
              <a:pathLst>
                <a:path w="1983739" h="658494">
                  <a:moveTo>
                    <a:pt x="1983461" y="0"/>
                  </a:moveTo>
                  <a:lnTo>
                    <a:pt x="0" y="0"/>
                  </a:lnTo>
                  <a:lnTo>
                    <a:pt x="0" y="657906"/>
                  </a:lnTo>
                  <a:lnTo>
                    <a:pt x="1611516" y="657906"/>
                  </a:lnTo>
                  <a:lnTo>
                    <a:pt x="1639545" y="622219"/>
                  </a:lnTo>
                  <a:lnTo>
                    <a:pt x="1667989" y="584481"/>
                  </a:lnTo>
                  <a:lnTo>
                    <a:pt x="1695691" y="546162"/>
                  </a:lnTo>
                  <a:lnTo>
                    <a:pt x="1722641" y="507272"/>
                  </a:lnTo>
                  <a:lnTo>
                    <a:pt x="1748827" y="467823"/>
                  </a:lnTo>
                  <a:lnTo>
                    <a:pt x="1774240" y="427825"/>
                  </a:lnTo>
                  <a:lnTo>
                    <a:pt x="1798868" y="387289"/>
                  </a:lnTo>
                  <a:lnTo>
                    <a:pt x="1822701" y="346225"/>
                  </a:lnTo>
                  <a:lnTo>
                    <a:pt x="1845729" y="304644"/>
                  </a:lnTo>
                  <a:lnTo>
                    <a:pt x="1867940" y="262556"/>
                  </a:lnTo>
                  <a:lnTo>
                    <a:pt x="1889324" y="219974"/>
                  </a:lnTo>
                  <a:lnTo>
                    <a:pt x="1909870" y="176906"/>
                  </a:lnTo>
                  <a:lnTo>
                    <a:pt x="1929567" y="133364"/>
                  </a:lnTo>
                  <a:lnTo>
                    <a:pt x="1948405" y="89358"/>
                  </a:lnTo>
                  <a:lnTo>
                    <a:pt x="1966374" y="44900"/>
                  </a:lnTo>
                  <a:lnTo>
                    <a:pt x="1983461" y="0"/>
                  </a:lnTo>
                  <a:close/>
                </a:path>
              </a:pathLst>
            </a:custGeom>
            <a:solidFill>
              <a:srgbClr val="DEE3EE"/>
            </a:solidFill>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fr-FR" sz="1200">
                <a:latin typeface="+mj-lt"/>
              </a:endParaRPr>
            </a:p>
          </p:txBody>
        </p:sp>
        <p:sp>
          <p:nvSpPr>
            <p:cNvPr id="10" name="object 3">
              <a:extLst>
                <a:ext uri="{FF2B5EF4-FFF2-40B4-BE49-F238E27FC236}">
                  <a16:creationId xmlns:a16="http://schemas.microsoft.com/office/drawing/2014/main" id="{72047739-5F28-41C2-BEB9-B4F378C4F927}"/>
                </a:ext>
              </a:extLst>
            </p:cNvPr>
            <p:cNvSpPr txBox="1"/>
            <p:nvPr/>
          </p:nvSpPr>
          <p:spPr>
            <a:xfrm>
              <a:off x="582542" y="1349670"/>
              <a:ext cx="139700" cy="135935"/>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2700">
                <a:lnSpc>
                  <a:spcPct val="100000"/>
                </a:lnSpc>
                <a:spcBef>
                  <a:spcPts val="100"/>
                </a:spcBef>
              </a:pPr>
              <a:r>
                <a:rPr lang="fr-FR" sz="800" b="1">
                  <a:solidFill>
                    <a:srgbClr val="3F4098"/>
                  </a:solidFill>
                  <a:latin typeface="+mj-lt"/>
                  <a:cs typeface="Tahoma"/>
                </a:rPr>
                <a:t>—</a:t>
              </a:r>
              <a:endParaRPr lang="fr-FR" sz="800">
                <a:latin typeface="+mj-lt"/>
                <a:cs typeface="Tahoma"/>
              </a:endParaRPr>
            </a:p>
          </p:txBody>
        </p:sp>
        <p:sp>
          <p:nvSpPr>
            <p:cNvPr id="11" name="object 5">
              <a:extLst>
                <a:ext uri="{FF2B5EF4-FFF2-40B4-BE49-F238E27FC236}">
                  <a16:creationId xmlns:a16="http://schemas.microsoft.com/office/drawing/2014/main" id="{3A236E1F-8FDB-4C57-9571-5A1A8872F69F}"/>
                </a:ext>
              </a:extLst>
            </p:cNvPr>
            <p:cNvSpPr txBox="1"/>
            <p:nvPr/>
          </p:nvSpPr>
          <p:spPr>
            <a:xfrm>
              <a:off x="530142" y="2024616"/>
              <a:ext cx="1868559" cy="371819"/>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2700">
                <a:lnSpc>
                  <a:spcPct val="100000"/>
                </a:lnSpc>
                <a:spcBef>
                  <a:spcPts val="100"/>
                </a:spcBef>
              </a:pPr>
              <a:r>
                <a:rPr lang="fr-FR" sz="900">
                  <a:solidFill>
                    <a:srgbClr val="20408E"/>
                  </a:solidFill>
                  <a:latin typeface="+mj-lt"/>
                  <a:cs typeface="Calibri"/>
                </a:rPr>
                <a:t>—</a:t>
              </a:r>
              <a:br>
                <a:rPr lang="fr-FR" sz="900">
                  <a:solidFill>
                    <a:srgbClr val="20408E"/>
                  </a:solidFill>
                  <a:latin typeface="+mj-lt"/>
                  <a:cs typeface="Calibri"/>
                </a:rPr>
              </a:br>
              <a:r>
                <a:rPr lang="fr-FR" sz="900">
                  <a:solidFill>
                    <a:srgbClr val="20408E"/>
                  </a:solidFill>
                  <a:latin typeface="+mj-lt"/>
                  <a:cs typeface="Calibri"/>
                </a:rPr>
                <a:t>simone.neri@talan.com</a:t>
              </a:r>
              <a:br>
                <a:rPr lang="fr-FR" sz="900">
                  <a:solidFill>
                    <a:srgbClr val="20408E"/>
                  </a:solidFill>
                  <a:latin typeface="+mj-lt"/>
                  <a:cs typeface="Calibri"/>
                </a:rPr>
              </a:br>
              <a:r>
                <a:rPr lang="fr-FR" sz="900">
                  <a:solidFill>
                    <a:srgbClr val="20408E"/>
                  </a:solidFill>
                  <a:latin typeface="+mj-lt"/>
                  <a:cs typeface="Calibri"/>
                </a:rPr>
                <a:t>+33 7 70 12 68 11</a:t>
              </a:r>
            </a:p>
          </p:txBody>
        </p:sp>
        <p:sp>
          <p:nvSpPr>
            <p:cNvPr id="12" name="object 6">
              <a:extLst>
                <a:ext uri="{FF2B5EF4-FFF2-40B4-BE49-F238E27FC236}">
                  <a16:creationId xmlns:a16="http://schemas.microsoft.com/office/drawing/2014/main" id="{B9E505B0-9E31-49F5-8E92-495A60986533}"/>
                </a:ext>
              </a:extLst>
            </p:cNvPr>
            <p:cNvSpPr txBox="1"/>
            <p:nvPr/>
          </p:nvSpPr>
          <p:spPr>
            <a:xfrm>
              <a:off x="546445" y="2648151"/>
              <a:ext cx="1715837" cy="371819"/>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2700" marR="5080">
                <a:lnSpc>
                  <a:spcPct val="100000"/>
                </a:lnSpc>
                <a:spcBef>
                  <a:spcPts val="100"/>
                </a:spcBef>
              </a:pPr>
              <a:r>
                <a:rPr lang="fr-FR" sz="900">
                  <a:solidFill>
                    <a:srgbClr val="20408E"/>
                  </a:solidFill>
                  <a:latin typeface="+mj-lt"/>
                  <a:cs typeface="Calibri"/>
                </a:rPr>
                <a:t>14 rue Pergolèse, 75016</a:t>
              </a:r>
              <a:br>
                <a:rPr lang="fr-FR" sz="900">
                  <a:solidFill>
                    <a:srgbClr val="20408E"/>
                  </a:solidFill>
                  <a:latin typeface="+mj-lt"/>
                  <a:cs typeface="Calibri"/>
                </a:rPr>
              </a:br>
              <a:r>
                <a:rPr lang="fr-FR" sz="900">
                  <a:solidFill>
                    <a:srgbClr val="20408E"/>
                  </a:solidFill>
                  <a:latin typeface="+mj-lt"/>
                  <a:cs typeface="Calibri"/>
                </a:rPr>
                <a:t>Paris • France</a:t>
              </a:r>
            </a:p>
            <a:p>
              <a:pPr marL="12700">
                <a:lnSpc>
                  <a:spcPct val="100000"/>
                </a:lnSpc>
              </a:pPr>
              <a:r>
                <a:rPr lang="fr-FR" sz="900">
                  <a:solidFill>
                    <a:srgbClr val="20408E"/>
                  </a:solidFill>
                  <a:latin typeface="+mj-lt"/>
                  <a:cs typeface="Calibri"/>
                </a:rPr>
                <a:t>01 53 34 05 72</a:t>
              </a:r>
            </a:p>
          </p:txBody>
        </p:sp>
        <p:sp>
          <p:nvSpPr>
            <p:cNvPr id="13" name="object 5">
              <a:extLst>
                <a:ext uri="{FF2B5EF4-FFF2-40B4-BE49-F238E27FC236}">
                  <a16:creationId xmlns:a16="http://schemas.microsoft.com/office/drawing/2014/main" id="{2EE1ABDB-642D-4BA6-AF56-7ED187998F26}"/>
                </a:ext>
              </a:extLst>
            </p:cNvPr>
            <p:cNvSpPr txBox="1"/>
            <p:nvPr/>
          </p:nvSpPr>
          <p:spPr>
            <a:xfrm>
              <a:off x="582542" y="1486830"/>
              <a:ext cx="1935356" cy="492048"/>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2700">
                <a:lnSpc>
                  <a:spcPct val="100000"/>
                </a:lnSpc>
              </a:pPr>
              <a:r>
                <a:rPr lang="fr-FR" sz="1200" b="1">
                  <a:solidFill>
                    <a:srgbClr val="20408E"/>
                  </a:solidFill>
                  <a:latin typeface="+mj-lt"/>
                  <a:cs typeface="Calibri"/>
                </a:rPr>
                <a:t>Simone NERI</a:t>
              </a:r>
            </a:p>
            <a:p>
              <a:pPr marL="12700">
                <a:lnSpc>
                  <a:spcPct val="100000"/>
                </a:lnSpc>
              </a:pPr>
              <a:r>
                <a:rPr lang="fr-FR" sz="1200">
                  <a:solidFill>
                    <a:srgbClr val="20408E"/>
                  </a:solidFill>
                  <a:latin typeface="+mj-lt"/>
                  <a:cs typeface="Calibri"/>
                </a:rPr>
                <a:t>Senior Manager Transports et Mobilités</a:t>
              </a:r>
            </a:p>
          </p:txBody>
        </p:sp>
      </p:grpSp>
      <p:grpSp>
        <p:nvGrpSpPr>
          <p:cNvPr id="14" name="Groupe 13">
            <a:extLst>
              <a:ext uri="{FF2B5EF4-FFF2-40B4-BE49-F238E27FC236}">
                <a16:creationId xmlns:a16="http://schemas.microsoft.com/office/drawing/2014/main" id="{1FB16E3E-2719-4CAB-B625-54CB6E37EA4F}"/>
              </a:ext>
            </a:extLst>
          </p:cNvPr>
          <p:cNvGrpSpPr/>
          <p:nvPr/>
        </p:nvGrpSpPr>
        <p:grpSpPr>
          <a:xfrm>
            <a:off x="2195140" y="3409665"/>
            <a:ext cx="3572972" cy="2281575"/>
            <a:chOff x="415243" y="1249023"/>
            <a:chExt cx="3060418" cy="1980594"/>
          </a:xfrm>
        </p:grpSpPr>
        <p:sp>
          <p:nvSpPr>
            <p:cNvPr id="15" name="Rectangle 14">
              <a:extLst>
                <a:ext uri="{FF2B5EF4-FFF2-40B4-BE49-F238E27FC236}">
                  <a16:creationId xmlns:a16="http://schemas.microsoft.com/office/drawing/2014/main" id="{F06F2B5B-5B9E-4F99-B54E-F8063F0836C1}"/>
                </a:ext>
              </a:extLst>
            </p:cNvPr>
            <p:cNvSpPr/>
            <p:nvPr/>
          </p:nvSpPr>
          <p:spPr>
            <a:xfrm>
              <a:off x="415243" y="1249023"/>
              <a:ext cx="3060418" cy="1980594"/>
            </a:xfrm>
            <a:prstGeom prst="rect">
              <a:avLst/>
            </a:prstGeom>
            <a:solidFill>
              <a:srgbClr val="FFFFFF"/>
            </a:solidFill>
            <a:ln w="3175" cap="flat">
              <a:solidFill>
                <a:srgbClr val="595959"/>
              </a:solidFill>
              <a:prstDash val="solid"/>
              <a:miter lim="800000"/>
            </a:ln>
            <a:effectLst>
              <a:outerShdw blurRad="50800" dist="38100" dir="2700000" rotWithShape="0">
                <a:srgbClr val="000000">
                  <a:alpha val="40000"/>
                </a:srgbClr>
              </a:outerShdw>
            </a:effectLst>
          </p:spPr>
          <p:txBody>
            <a:bodyPr wrap="square" lIns="36000" tIns="36000" rIns="36000" bIns="36000" numCol="1"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defRPr>
                  <a:solidFill>
                    <a:srgbClr val="FFFFFF"/>
                  </a:solidFill>
                </a:defRPr>
              </a:pPr>
              <a:endParaRPr lang="fr-FR" sz="1200">
                <a:latin typeface="+mj-lt"/>
              </a:endParaRPr>
            </a:p>
          </p:txBody>
        </p:sp>
        <p:sp>
          <p:nvSpPr>
            <p:cNvPr id="16" name="bk object 16">
              <a:extLst>
                <a:ext uri="{FF2B5EF4-FFF2-40B4-BE49-F238E27FC236}">
                  <a16:creationId xmlns:a16="http://schemas.microsoft.com/office/drawing/2014/main" id="{232EB3AC-1968-4EFB-8BE1-B20D94E4009C}"/>
                </a:ext>
              </a:extLst>
            </p:cNvPr>
            <p:cNvSpPr/>
            <p:nvPr/>
          </p:nvSpPr>
          <p:spPr>
            <a:xfrm>
              <a:off x="2398701" y="1249023"/>
              <a:ext cx="1076960" cy="1322705"/>
            </a:xfrm>
            <a:custGeom>
              <a:avLst/>
              <a:gdLst/>
              <a:ahLst/>
              <a:cxnLst/>
              <a:rect l="l" t="t" r="r" b="b"/>
              <a:pathLst>
                <a:path w="1076960" h="1322705">
                  <a:moveTo>
                    <a:pt x="1076543" y="0"/>
                  </a:moveTo>
                  <a:lnTo>
                    <a:pt x="91328" y="0"/>
                  </a:lnTo>
                  <a:lnTo>
                    <a:pt x="97959" y="30857"/>
                  </a:lnTo>
                  <a:lnTo>
                    <a:pt x="107778" y="82011"/>
                  </a:lnTo>
                  <a:lnTo>
                    <a:pt x="116496" y="133548"/>
                  </a:lnTo>
                  <a:lnTo>
                    <a:pt x="124097" y="185456"/>
                  </a:lnTo>
                  <a:lnTo>
                    <a:pt x="130567" y="237723"/>
                  </a:lnTo>
                  <a:lnTo>
                    <a:pt x="135893" y="290336"/>
                  </a:lnTo>
                  <a:lnTo>
                    <a:pt x="140060" y="343283"/>
                  </a:lnTo>
                  <a:lnTo>
                    <a:pt x="143053" y="396551"/>
                  </a:lnTo>
                  <a:lnTo>
                    <a:pt x="144860" y="450128"/>
                  </a:lnTo>
                  <a:lnTo>
                    <a:pt x="145465" y="504003"/>
                  </a:lnTo>
                  <a:lnTo>
                    <a:pt x="144933" y="554628"/>
                  </a:lnTo>
                  <a:lnTo>
                    <a:pt x="143344" y="604993"/>
                  </a:lnTo>
                  <a:lnTo>
                    <a:pt x="140710" y="655087"/>
                  </a:lnTo>
                  <a:lnTo>
                    <a:pt x="137039" y="704901"/>
                  </a:lnTo>
                  <a:lnTo>
                    <a:pt x="132344" y="754422"/>
                  </a:lnTo>
                  <a:lnTo>
                    <a:pt x="126636" y="803642"/>
                  </a:lnTo>
                  <a:lnTo>
                    <a:pt x="119924" y="852549"/>
                  </a:lnTo>
                  <a:lnTo>
                    <a:pt x="112220" y="901133"/>
                  </a:lnTo>
                  <a:lnTo>
                    <a:pt x="103534" y="949382"/>
                  </a:lnTo>
                  <a:lnTo>
                    <a:pt x="93877" y="997288"/>
                  </a:lnTo>
                  <a:lnTo>
                    <a:pt x="83260" y="1044839"/>
                  </a:lnTo>
                  <a:lnTo>
                    <a:pt x="71694" y="1092024"/>
                  </a:lnTo>
                  <a:lnTo>
                    <a:pt x="59190" y="1138833"/>
                  </a:lnTo>
                  <a:lnTo>
                    <a:pt x="45757" y="1185256"/>
                  </a:lnTo>
                  <a:lnTo>
                    <a:pt x="31407" y="1231281"/>
                  </a:lnTo>
                  <a:lnTo>
                    <a:pt x="16151" y="1276899"/>
                  </a:lnTo>
                  <a:lnTo>
                    <a:pt x="0" y="1322099"/>
                  </a:lnTo>
                  <a:lnTo>
                    <a:pt x="1076543" y="1322099"/>
                  </a:lnTo>
                  <a:lnTo>
                    <a:pt x="1076543" y="0"/>
                  </a:lnTo>
                  <a:close/>
                </a:path>
              </a:pathLst>
            </a:custGeom>
            <a:solidFill>
              <a:srgbClr val="20408E"/>
            </a:solidFill>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fr-FR" sz="1200">
                <a:latin typeface="+mj-lt"/>
              </a:endParaRPr>
            </a:p>
          </p:txBody>
        </p:sp>
        <p:sp>
          <p:nvSpPr>
            <p:cNvPr id="17" name="bk object 17">
              <a:extLst>
                <a:ext uri="{FF2B5EF4-FFF2-40B4-BE49-F238E27FC236}">
                  <a16:creationId xmlns:a16="http://schemas.microsoft.com/office/drawing/2014/main" id="{E872F06C-73B2-440E-BD0F-6D74802E8A06}"/>
                </a:ext>
              </a:extLst>
            </p:cNvPr>
            <p:cNvSpPr/>
            <p:nvPr/>
          </p:nvSpPr>
          <p:spPr>
            <a:xfrm>
              <a:off x="415243" y="2571122"/>
              <a:ext cx="1983739" cy="658495"/>
            </a:xfrm>
            <a:custGeom>
              <a:avLst/>
              <a:gdLst/>
              <a:ahLst/>
              <a:cxnLst/>
              <a:rect l="l" t="t" r="r" b="b"/>
              <a:pathLst>
                <a:path w="1983739" h="658494">
                  <a:moveTo>
                    <a:pt x="1983461" y="0"/>
                  </a:moveTo>
                  <a:lnTo>
                    <a:pt x="0" y="0"/>
                  </a:lnTo>
                  <a:lnTo>
                    <a:pt x="0" y="657906"/>
                  </a:lnTo>
                  <a:lnTo>
                    <a:pt x="1611516" y="657906"/>
                  </a:lnTo>
                  <a:lnTo>
                    <a:pt x="1639545" y="622219"/>
                  </a:lnTo>
                  <a:lnTo>
                    <a:pt x="1667989" y="584481"/>
                  </a:lnTo>
                  <a:lnTo>
                    <a:pt x="1695691" y="546162"/>
                  </a:lnTo>
                  <a:lnTo>
                    <a:pt x="1722641" y="507272"/>
                  </a:lnTo>
                  <a:lnTo>
                    <a:pt x="1748827" y="467823"/>
                  </a:lnTo>
                  <a:lnTo>
                    <a:pt x="1774240" y="427825"/>
                  </a:lnTo>
                  <a:lnTo>
                    <a:pt x="1798868" y="387289"/>
                  </a:lnTo>
                  <a:lnTo>
                    <a:pt x="1822701" y="346225"/>
                  </a:lnTo>
                  <a:lnTo>
                    <a:pt x="1845729" y="304644"/>
                  </a:lnTo>
                  <a:lnTo>
                    <a:pt x="1867940" y="262556"/>
                  </a:lnTo>
                  <a:lnTo>
                    <a:pt x="1889324" y="219974"/>
                  </a:lnTo>
                  <a:lnTo>
                    <a:pt x="1909870" y="176906"/>
                  </a:lnTo>
                  <a:lnTo>
                    <a:pt x="1929567" y="133364"/>
                  </a:lnTo>
                  <a:lnTo>
                    <a:pt x="1948405" y="89358"/>
                  </a:lnTo>
                  <a:lnTo>
                    <a:pt x="1966374" y="44900"/>
                  </a:lnTo>
                  <a:lnTo>
                    <a:pt x="1983461" y="0"/>
                  </a:lnTo>
                  <a:close/>
                </a:path>
              </a:pathLst>
            </a:custGeom>
            <a:solidFill>
              <a:srgbClr val="DEE3EE"/>
            </a:solidFill>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fr-FR" sz="1200">
                <a:latin typeface="+mj-lt"/>
              </a:endParaRPr>
            </a:p>
          </p:txBody>
        </p:sp>
        <p:sp>
          <p:nvSpPr>
            <p:cNvPr id="18" name="object 3">
              <a:extLst>
                <a:ext uri="{FF2B5EF4-FFF2-40B4-BE49-F238E27FC236}">
                  <a16:creationId xmlns:a16="http://schemas.microsoft.com/office/drawing/2014/main" id="{4210AA0A-86F3-42C9-8848-D34C4CF6112B}"/>
                </a:ext>
              </a:extLst>
            </p:cNvPr>
            <p:cNvSpPr txBox="1"/>
            <p:nvPr/>
          </p:nvSpPr>
          <p:spPr>
            <a:xfrm>
              <a:off x="582542" y="1349670"/>
              <a:ext cx="139700" cy="135935"/>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2700">
                <a:lnSpc>
                  <a:spcPct val="100000"/>
                </a:lnSpc>
                <a:spcBef>
                  <a:spcPts val="100"/>
                </a:spcBef>
              </a:pPr>
              <a:r>
                <a:rPr lang="fr-FR" sz="800" b="1">
                  <a:solidFill>
                    <a:srgbClr val="3F4098"/>
                  </a:solidFill>
                  <a:latin typeface="+mj-lt"/>
                  <a:cs typeface="Tahoma"/>
                </a:rPr>
                <a:t>—</a:t>
              </a:r>
              <a:endParaRPr lang="fr-FR" sz="800">
                <a:latin typeface="+mj-lt"/>
                <a:cs typeface="Tahoma"/>
              </a:endParaRPr>
            </a:p>
          </p:txBody>
        </p:sp>
        <p:sp>
          <p:nvSpPr>
            <p:cNvPr id="19" name="object 5">
              <a:extLst>
                <a:ext uri="{FF2B5EF4-FFF2-40B4-BE49-F238E27FC236}">
                  <a16:creationId xmlns:a16="http://schemas.microsoft.com/office/drawing/2014/main" id="{69AAA0CB-12BD-458F-A537-5F3BD7C8B574}"/>
                </a:ext>
              </a:extLst>
            </p:cNvPr>
            <p:cNvSpPr txBox="1"/>
            <p:nvPr/>
          </p:nvSpPr>
          <p:spPr>
            <a:xfrm>
              <a:off x="530142" y="2024616"/>
              <a:ext cx="2130906" cy="371819"/>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2700">
                <a:lnSpc>
                  <a:spcPct val="100000"/>
                </a:lnSpc>
                <a:spcBef>
                  <a:spcPts val="100"/>
                </a:spcBef>
              </a:pPr>
              <a:r>
                <a:rPr lang="fr-FR" sz="900">
                  <a:solidFill>
                    <a:srgbClr val="20408E"/>
                  </a:solidFill>
                  <a:latin typeface="+mj-lt"/>
                  <a:cs typeface="Calibri"/>
                </a:rPr>
                <a:t>—</a:t>
              </a:r>
            </a:p>
            <a:p>
              <a:pPr marL="12700"/>
              <a:r>
                <a:rPr lang="fr-FR" sz="900">
                  <a:solidFill>
                    <a:srgbClr val="20408E"/>
                  </a:solidFill>
                  <a:latin typeface="+mj-lt"/>
                  <a:cs typeface="Calibri"/>
                </a:rPr>
                <a:t>jean.grandemange@talan.com</a:t>
              </a:r>
            </a:p>
            <a:p>
              <a:pPr marL="12700"/>
              <a:r>
                <a:rPr lang="fr-FR" sz="900">
                  <a:solidFill>
                    <a:srgbClr val="20408E"/>
                  </a:solidFill>
                  <a:latin typeface="+mj-lt"/>
                  <a:cs typeface="Calibri"/>
                </a:rPr>
                <a:t>+33 6 88 15 23 63</a:t>
              </a:r>
            </a:p>
          </p:txBody>
        </p:sp>
        <p:sp>
          <p:nvSpPr>
            <p:cNvPr id="20" name="object 6">
              <a:extLst>
                <a:ext uri="{FF2B5EF4-FFF2-40B4-BE49-F238E27FC236}">
                  <a16:creationId xmlns:a16="http://schemas.microsoft.com/office/drawing/2014/main" id="{961A0785-D238-4CAD-AB5E-B47F28087ECE}"/>
                </a:ext>
              </a:extLst>
            </p:cNvPr>
            <p:cNvSpPr txBox="1"/>
            <p:nvPr/>
          </p:nvSpPr>
          <p:spPr>
            <a:xfrm>
              <a:off x="546445" y="2648151"/>
              <a:ext cx="1715837" cy="371819"/>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2700" marR="5080">
                <a:lnSpc>
                  <a:spcPct val="100000"/>
                </a:lnSpc>
                <a:spcBef>
                  <a:spcPts val="100"/>
                </a:spcBef>
              </a:pPr>
              <a:r>
                <a:rPr lang="fr-FR" sz="900">
                  <a:solidFill>
                    <a:srgbClr val="20408E"/>
                  </a:solidFill>
                  <a:latin typeface="+mj-lt"/>
                  <a:cs typeface="Calibri"/>
                </a:rPr>
                <a:t>14 rue Pergolèse, 75016</a:t>
              </a:r>
              <a:br>
                <a:rPr lang="fr-FR" sz="900">
                  <a:solidFill>
                    <a:srgbClr val="20408E"/>
                  </a:solidFill>
                  <a:latin typeface="+mj-lt"/>
                  <a:cs typeface="Calibri"/>
                </a:rPr>
              </a:br>
              <a:r>
                <a:rPr lang="fr-FR" sz="900">
                  <a:solidFill>
                    <a:srgbClr val="20408E"/>
                  </a:solidFill>
                  <a:latin typeface="+mj-lt"/>
                  <a:cs typeface="Calibri"/>
                </a:rPr>
                <a:t>Paris • France</a:t>
              </a:r>
            </a:p>
            <a:p>
              <a:pPr marL="12700">
                <a:lnSpc>
                  <a:spcPct val="100000"/>
                </a:lnSpc>
              </a:pPr>
              <a:r>
                <a:rPr lang="fr-FR" sz="900">
                  <a:solidFill>
                    <a:srgbClr val="20408E"/>
                  </a:solidFill>
                  <a:latin typeface="+mj-lt"/>
                  <a:cs typeface="Calibri"/>
                </a:rPr>
                <a:t>01 53 34 05 72</a:t>
              </a:r>
            </a:p>
          </p:txBody>
        </p:sp>
        <p:sp>
          <p:nvSpPr>
            <p:cNvPr id="21" name="object 5">
              <a:extLst>
                <a:ext uri="{FF2B5EF4-FFF2-40B4-BE49-F238E27FC236}">
                  <a16:creationId xmlns:a16="http://schemas.microsoft.com/office/drawing/2014/main" id="{63D4EFA2-F8DD-4212-AA53-6ECF36B63D3E}"/>
                </a:ext>
              </a:extLst>
            </p:cNvPr>
            <p:cNvSpPr txBox="1"/>
            <p:nvPr/>
          </p:nvSpPr>
          <p:spPr>
            <a:xfrm>
              <a:off x="582542" y="1486830"/>
              <a:ext cx="1935356" cy="331743"/>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2700">
                <a:lnSpc>
                  <a:spcPct val="100000"/>
                </a:lnSpc>
              </a:pPr>
              <a:r>
                <a:rPr lang="fr-FR" sz="1200" b="1">
                  <a:solidFill>
                    <a:srgbClr val="20408E"/>
                  </a:solidFill>
                  <a:latin typeface="+mj-lt"/>
                  <a:cs typeface="Calibri"/>
                </a:rPr>
                <a:t>Jean GRANDEMANGE</a:t>
              </a:r>
            </a:p>
            <a:p>
              <a:pPr marL="12700">
                <a:lnSpc>
                  <a:spcPct val="100000"/>
                </a:lnSpc>
              </a:pPr>
              <a:r>
                <a:rPr lang="fr-FR" sz="1200">
                  <a:solidFill>
                    <a:srgbClr val="20408E"/>
                  </a:solidFill>
                  <a:latin typeface="+mj-lt"/>
                  <a:cs typeface="Calibri"/>
                </a:rPr>
                <a:t>Directeur Transports &amp; Mobilités</a:t>
              </a:r>
            </a:p>
          </p:txBody>
        </p:sp>
      </p:grpSp>
    </p:spTree>
    <p:extLst>
      <p:ext uri="{BB962C8B-B14F-4D97-AF65-F5344CB8AC3E}">
        <p14:creationId xmlns:p14="http://schemas.microsoft.com/office/powerpoint/2010/main" val="42895271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495"/>
        <p:cNvGrpSpPr/>
        <p:nvPr/>
      </p:nvGrpSpPr>
      <p:grpSpPr>
        <a:xfrm>
          <a:off x="0" y="0"/>
          <a:ext cx="0" cy="0"/>
          <a:chOff x="0" y="0"/>
          <a:chExt cx="0" cy="0"/>
        </a:xfrm>
      </p:grpSpPr>
      <p:sp>
        <p:nvSpPr>
          <p:cNvPr id="17" name="Titre 1">
            <a:extLst>
              <a:ext uri="{FF2B5EF4-FFF2-40B4-BE49-F238E27FC236}">
                <a16:creationId xmlns:a16="http://schemas.microsoft.com/office/drawing/2014/main" id="{EEF56FE3-E971-BDE5-FE44-30170D5D643C}"/>
              </a:ext>
            </a:extLst>
          </p:cNvPr>
          <p:cNvSpPr txBox="1">
            <a:spLocks/>
          </p:cNvSpPr>
          <p:nvPr/>
        </p:nvSpPr>
        <p:spPr>
          <a:xfrm>
            <a:off x="467412" y="240446"/>
            <a:ext cx="9907072" cy="40779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sz="1600">
                <a:highlight>
                  <a:srgbClr val="FFFF00"/>
                </a:highlight>
              </a:rPr>
              <a:t>1 à 3. DIGIFORMA : l’outil couvrant le processus de formation de A à Z</a:t>
            </a:r>
            <a:br>
              <a:rPr lang="fr-FR" sz="1600">
                <a:highlight>
                  <a:srgbClr val="FFFF00"/>
                </a:highlight>
              </a:rPr>
            </a:br>
            <a:r>
              <a:rPr lang="fr-FR" sz="1600" b="0">
                <a:solidFill>
                  <a:schemeClr val="bg2">
                    <a:lumMod val="60000"/>
                    <a:lumOff val="40000"/>
                  </a:schemeClr>
                </a:solidFill>
                <a:highlight>
                  <a:srgbClr val="FFFF00"/>
                </a:highlight>
                <a:latin typeface="+mn-lt"/>
                <a:cs typeface="Arial" panose="020B0604020202020204" pitchFamily="34" charset="0"/>
              </a:rPr>
              <a:t>Démarche proposée</a:t>
            </a:r>
            <a:endParaRPr lang="fr-FR" sz="1600">
              <a:solidFill>
                <a:schemeClr val="bg2">
                  <a:lumMod val="60000"/>
                  <a:lumOff val="40000"/>
                </a:schemeClr>
              </a:solidFill>
              <a:latin typeface="+mj-lt"/>
              <a:cs typeface="Arial"/>
            </a:endParaRPr>
          </a:p>
        </p:txBody>
      </p:sp>
      <p:graphicFrame>
        <p:nvGraphicFramePr>
          <p:cNvPr id="3310" name="Diagram 3310">
            <a:extLst>
              <a:ext uri="{FF2B5EF4-FFF2-40B4-BE49-F238E27FC236}">
                <a16:creationId xmlns:a16="http://schemas.microsoft.com/office/drawing/2014/main" id="{09C0683D-98AC-1F47-3599-080A574C7937}"/>
              </a:ext>
            </a:extLst>
          </p:cNvPr>
          <p:cNvGraphicFramePr/>
          <p:nvPr>
            <p:extLst>
              <p:ext uri="{D42A27DB-BD31-4B8C-83A1-F6EECF244321}">
                <p14:modId xmlns:p14="http://schemas.microsoft.com/office/powerpoint/2010/main" val="1204847914"/>
              </p:ext>
            </p:extLst>
          </p:nvPr>
        </p:nvGraphicFramePr>
        <p:xfrm>
          <a:off x="5653314" y="1597231"/>
          <a:ext cx="5681436" cy="41772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989" name="Google Shape;198;g62decd456d_2_291">
            <a:extLst>
              <a:ext uri="{FF2B5EF4-FFF2-40B4-BE49-F238E27FC236}">
                <a16:creationId xmlns:a16="http://schemas.microsoft.com/office/drawing/2014/main" id="{69120E86-3C4C-2FAD-F95A-DC3E0EA4D655}"/>
              </a:ext>
            </a:extLst>
          </p:cNvPr>
          <p:cNvSpPr txBox="1"/>
          <p:nvPr/>
        </p:nvSpPr>
        <p:spPr>
          <a:xfrm>
            <a:off x="921881" y="1851358"/>
            <a:ext cx="2371285" cy="361714"/>
          </a:xfrm>
          <a:prstGeom prst="rect">
            <a:avLst/>
          </a:prstGeom>
          <a:noFill/>
          <a:ln>
            <a:noFill/>
          </a:ln>
        </p:spPr>
        <p:txBody>
          <a:bodyPr spcFirstLastPara="1" wrap="square" lIns="91425" tIns="91425" rIns="91425" bIns="91425" anchor="ctr" anchorCtr="0">
            <a:noAutofit/>
          </a:bodyPr>
          <a:lstStyle/>
          <a:p>
            <a:r>
              <a:rPr lang="fr-FR" sz="1200" b="1">
                <a:solidFill>
                  <a:srgbClr val="767171"/>
                </a:solidFill>
                <a:latin typeface="+mj-lt"/>
                <a:ea typeface="Montserrat"/>
                <a:cs typeface="Montserrat"/>
              </a:rPr>
              <a:t>PROPRIETES DE L'OUTIL</a:t>
            </a:r>
            <a:endParaRPr lang="fr-FR" sz="1200" b="1" kern="0">
              <a:solidFill>
                <a:srgbClr val="767171"/>
              </a:solidFill>
              <a:latin typeface="+mj-lt"/>
              <a:ea typeface="Montserrat"/>
              <a:cs typeface="Montserrat"/>
            </a:endParaRPr>
          </a:p>
        </p:txBody>
      </p:sp>
      <p:cxnSp>
        <p:nvCxnSpPr>
          <p:cNvPr id="3991" name="Google Shape;199;g62decd456d_2_291">
            <a:extLst>
              <a:ext uri="{FF2B5EF4-FFF2-40B4-BE49-F238E27FC236}">
                <a16:creationId xmlns:a16="http://schemas.microsoft.com/office/drawing/2014/main" id="{23C23B9B-0ADE-B2FE-B726-BF9D809B914E}"/>
              </a:ext>
            </a:extLst>
          </p:cNvPr>
          <p:cNvCxnSpPr>
            <a:cxnSpLocks/>
          </p:cNvCxnSpPr>
          <p:nvPr/>
        </p:nvCxnSpPr>
        <p:spPr>
          <a:xfrm>
            <a:off x="540719" y="2226030"/>
            <a:ext cx="3668400" cy="0"/>
          </a:xfrm>
          <a:prstGeom prst="straightConnector1">
            <a:avLst/>
          </a:prstGeom>
          <a:noFill/>
          <a:ln w="9525" cap="flat" cmpd="sng">
            <a:solidFill>
              <a:srgbClr val="7F7F7F"/>
            </a:solidFill>
            <a:prstDash val="solid"/>
            <a:round/>
            <a:headEnd type="none" w="med" len="med"/>
            <a:tailEnd type="none" w="med" len="med"/>
          </a:ln>
        </p:spPr>
      </p:cxnSp>
      <p:sp>
        <p:nvSpPr>
          <p:cNvPr id="3993" name="Google Shape;202;g62decd456d_2_291">
            <a:extLst>
              <a:ext uri="{FF2B5EF4-FFF2-40B4-BE49-F238E27FC236}">
                <a16:creationId xmlns:a16="http://schemas.microsoft.com/office/drawing/2014/main" id="{8853F7B2-45E5-AEB3-1450-AA27EE128996}"/>
              </a:ext>
            </a:extLst>
          </p:cNvPr>
          <p:cNvSpPr txBox="1"/>
          <p:nvPr/>
        </p:nvSpPr>
        <p:spPr>
          <a:xfrm>
            <a:off x="540719" y="2230619"/>
            <a:ext cx="4983781" cy="2910468"/>
          </a:xfrm>
          <a:prstGeom prst="rect">
            <a:avLst/>
          </a:prstGeom>
          <a:noFill/>
          <a:ln>
            <a:noFill/>
          </a:ln>
        </p:spPr>
        <p:txBody>
          <a:bodyPr spcFirstLastPara="1" wrap="square" lIns="91425" tIns="91425" rIns="91425" bIns="91425" anchor="t" anchorCtr="0">
            <a:noAutofit/>
          </a:bodyPr>
          <a:lstStyle/>
          <a:p>
            <a:pPr marL="171450" indent="-165100" algn="just">
              <a:spcAft>
                <a:spcPts val="300"/>
              </a:spcAft>
              <a:buClr>
                <a:schemeClr val="bg2"/>
              </a:buClr>
              <a:buSzPts val="1100"/>
              <a:buChar char="•"/>
            </a:pPr>
            <a:r>
              <a:rPr lang="fr-FR">
                <a:solidFill>
                  <a:srgbClr val="757070"/>
                </a:solidFill>
                <a:latin typeface="+mj-lt"/>
              </a:rPr>
              <a:t>Accessible sur </a:t>
            </a:r>
            <a:r>
              <a:rPr lang="fr-FR" b="1">
                <a:solidFill>
                  <a:srgbClr val="757070"/>
                </a:solidFill>
                <a:latin typeface="+mj-lt"/>
              </a:rPr>
              <a:t>ordinateur</a:t>
            </a:r>
            <a:r>
              <a:rPr lang="fr-FR">
                <a:solidFill>
                  <a:srgbClr val="757070"/>
                </a:solidFill>
                <a:latin typeface="+mj-lt"/>
              </a:rPr>
              <a:t>, </a:t>
            </a:r>
            <a:r>
              <a:rPr lang="fr-FR" b="1">
                <a:solidFill>
                  <a:srgbClr val="757070"/>
                </a:solidFill>
                <a:latin typeface="+mj-lt"/>
              </a:rPr>
              <a:t>tablette</a:t>
            </a:r>
            <a:r>
              <a:rPr lang="fr-FR">
                <a:solidFill>
                  <a:srgbClr val="757070"/>
                </a:solidFill>
                <a:latin typeface="+mj-lt"/>
              </a:rPr>
              <a:t> et </a:t>
            </a:r>
            <a:r>
              <a:rPr lang="fr-FR" b="1">
                <a:solidFill>
                  <a:srgbClr val="757070"/>
                </a:solidFill>
                <a:latin typeface="+mj-lt"/>
              </a:rPr>
              <a:t>mobile</a:t>
            </a:r>
            <a:r>
              <a:rPr lang="fr-FR">
                <a:solidFill>
                  <a:srgbClr val="757070"/>
                </a:solidFill>
                <a:latin typeface="+mj-lt"/>
              </a:rPr>
              <a:t> via le Web</a:t>
            </a:r>
            <a:endParaRPr lang="fr-FR">
              <a:latin typeface="+mj-lt"/>
            </a:endParaRPr>
          </a:p>
          <a:p>
            <a:pPr marL="171450" indent="-165100" algn="just">
              <a:spcAft>
                <a:spcPts val="300"/>
              </a:spcAft>
              <a:buClr>
                <a:schemeClr val="bg2"/>
              </a:buClr>
              <a:buSzPts val="1100"/>
              <a:buChar char="•"/>
            </a:pPr>
            <a:r>
              <a:rPr lang="fr-FR">
                <a:solidFill>
                  <a:srgbClr val="757070"/>
                </a:solidFill>
                <a:latin typeface="+mj-lt"/>
              </a:rPr>
              <a:t>Parcours complet de </a:t>
            </a:r>
            <a:r>
              <a:rPr lang="fr-FR" b="1">
                <a:solidFill>
                  <a:srgbClr val="757070"/>
                </a:solidFill>
                <a:latin typeface="+mj-lt"/>
              </a:rPr>
              <a:t>l'évaluation</a:t>
            </a:r>
            <a:r>
              <a:rPr lang="fr-FR">
                <a:solidFill>
                  <a:srgbClr val="757070"/>
                </a:solidFill>
                <a:latin typeface="+mj-lt"/>
              </a:rPr>
              <a:t> avant formation à la remise du </a:t>
            </a:r>
            <a:r>
              <a:rPr lang="fr-FR" b="1">
                <a:solidFill>
                  <a:srgbClr val="757070"/>
                </a:solidFill>
                <a:latin typeface="+mj-lt"/>
              </a:rPr>
              <a:t>certificat</a:t>
            </a:r>
            <a:r>
              <a:rPr lang="fr-FR">
                <a:solidFill>
                  <a:srgbClr val="757070"/>
                </a:solidFill>
                <a:latin typeface="+mj-lt"/>
              </a:rPr>
              <a:t> de fin de formation</a:t>
            </a:r>
          </a:p>
          <a:p>
            <a:pPr marL="171450" indent="-165100" algn="just">
              <a:spcAft>
                <a:spcPts val="300"/>
              </a:spcAft>
              <a:buClr>
                <a:schemeClr val="bg2"/>
              </a:buClr>
              <a:buSzPts val="1100"/>
              <a:buChar char="•"/>
            </a:pPr>
            <a:r>
              <a:rPr lang="fr-FR">
                <a:solidFill>
                  <a:srgbClr val="757070"/>
                </a:solidFill>
                <a:latin typeface="+mj-lt"/>
              </a:rPr>
              <a:t>Possibilité de voir qui n'a pas répondu aux questionnaires ou n’a pas </a:t>
            </a:r>
            <a:r>
              <a:rPr lang="fr-FR" b="1">
                <a:solidFill>
                  <a:srgbClr val="757070"/>
                </a:solidFill>
                <a:latin typeface="+mj-lt"/>
              </a:rPr>
              <a:t>participé</a:t>
            </a:r>
            <a:r>
              <a:rPr lang="fr-FR">
                <a:solidFill>
                  <a:srgbClr val="757070"/>
                </a:solidFill>
                <a:latin typeface="+mj-lt"/>
              </a:rPr>
              <a:t> à la formation et le </a:t>
            </a:r>
            <a:r>
              <a:rPr lang="fr-FR" b="1">
                <a:solidFill>
                  <a:srgbClr val="757070"/>
                </a:solidFill>
                <a:latin typeface="+mj-lt"/>
              </a:rPr>
              <a:t>relancer</a:t>
            </a:r>
          </a:p>
          <a:p>
            <a:pPr marL="171450" indent="-165100" algn="just">
              <a:spcAft>
                <a:spcPts val="300"/>
              </a:spcAft>
              <a:buClr>
                <a:schemeClr val="bg2"/>
              </a:buClr>
              <a:buSzPts val="1100"/>
              <a:buChar char="•"/>
            </a:pPr>
            <a:r>
              <a:rPr lang="fr-FR" b="1">
                <a:solidFill>
                  <a:srgbClr val="757070"/>
                </a:solidFill>
                <a:latin typeface="+mj-lt"/>
              </a:rPr>
              <a:t>Interaction</a:t>
            </a:r>
            <a:r>
              <a:rPr lang="fr-FR">
                <a:solidFill>
                  <a:srgbClr val="757070"/>
                </a:solidFill>
                <a:latin typeface="+mj-lt"/>
              </a:rPr>
              <a:t> à l'aide de quiz, de questionnaires, d'évaluation, …</a:t>
            </a:r>
          </a:p>
          <a:p>
            <a:pPr marL="171450" indent="-165100" algn="just">
              <a:spcAft>
                <a:spcPts val="300"/>
              </a:spcAft>
              <a:buClr>
                <a:schemeClr val="bg2"/>
              </a:buClr>
              <a:buSzPts val="1100"/>
              <a:buChar char="•"/>
            </a:pPr>
            <a:r>
              <a:rPr lang="fr-FR">
                <a:solidFill>
                  <a:srgbClr val="757070"/>
                </a:solidFill>
                <a:latin typeface="+mj-lt"/>
              </a:rPr>
              <a:t>Possibilité de faire des </a:t>
            </a:r>
            <a:r>
              <a:rPr lang="fr-FR" b="1">
                <a:solidFill>
                  <a:srgbClr val="757070"/>
                </a:solidFill>
                <a:latin typeface="+mj-lt"/>
              </a:rPr>
              <a:t>exports</a:t>
            </a:r>
            <a:r>
              <a:rPr lang="fr-FR">
                <a:solidFill>
                  <a:srgbClr val="757070"/>
                </a:solidFill>
                <a:latin typeface="+mj-lt"/>
              </a:rPr>
              <a:t> </a:t>
            </a:r>
          </a:p>
          <a:p>
            <a:pPr marL="171450" indent="-165100" algn="just">
              <a:spcAft>
                <a:spcPts val="300"/>
              </a:spcAft>
              <a:buClr>
                <a:schemeClr val="bg2"/>
              </a:buClr>
              <a:buSzPts val="1100"/>
              <a:buChar char="•"/>
            </a:pPr>
            <a:r>
              <a:rPr lang="fr-FR">
                <a:solidFill>
                  <a:srgbClr val="757070"/>
                </a:solidFill>
                <a:latin typeface="+mj-lt"/>
              </a:rPr>
              <a:t>En fin de mission, possibilité de charger les modules </a:t>
            </a:r>
            <a:r>
              <a:rPr lang="fr-FR" b="1">
                <a:solidFill>
                  <a:srgbClr val="757070"/>
                </a:solidFill>
                <a:latin typeface="+mj-lt"/>
              </a:rPr>
              <a:t>SCORM</a:t>
            </a:r>
            <a:r>
              <a:rPr lang="fr-FR">
                <a:solidFill>
                  <a:srgbClr val="757070"/>
                </a:solidFill>
                <a:latin typeface="+mj-lt"/>
              </a:rPr>
              <a:t> sur la plateforme de la SNCF Mon Académie</a:t>
            </a:r>
            <a:endParaRPr lang="fr-FR" sz="1100">
              <a:solidFill>
                <a:srgbClr val="757070"/>
              </a:solidFill>
              <a:latin typeface="+mj-lt"/>
            </a:endParaRPr>
          </a:p>
        </p:txBody>
      </p:sp>
      <p:pic>
        <p:nvPicPr>
          <p:cNvPr id="3995" name="Google Shape;193;g62decd456d_2_291">
            <a:extLst>
              <a:ext uri="{FF2B5EF4-FFF2-40B4-BE49-F238E27FC236}">
                <a16:creationId xmlns:a16="http://schemas.microsoft.com/office/drawing/2014/main" id="{B02622AA-2F08-0BB9-B37A-D024577312BF}"/>
              </a:ext>
            </a:extLst>
          </p:cNvPr>
          <p:cNvPicPr preferRelativeResize="0"/>
          <p:nvPr/>
        </p:nvPicPr>
        <p:blipFill>
          <a:blip r:embed="rId8">
            <a:alphaModFix/>
          </a:blip>
          <a:stretch>
            <a:fillRect/>
          </a:stretch>
        </p:blipFill>
        <p:spPr>
          <a:xfrm>
            <a:off x="540719" y="1829633"/>
            <a:ext cx="368880" cy="368879"/>
          </a:xfrm>
          <a:prstGeom prst="rect">
            <a:avLst/>
          </a:prstGeom>
          <a:noFill/>
          <a:ln>
            <a:noFill/>
          </a:ln>
        </p:spPr>
      </p:pic>
      <p:sp>
        <p:nvSpPr>
          <p:cNvPr id="12" name="TextBox 1">
            <a:extLst>
              <a:ext uri="{FF2B5EF4-FFF2-40B4-BE49-F238E27FC236}">
                <a16:creationId xmlns:a16="http://schemas.microsoft.com/office/drawing/2014/main" id="{F6FA3F40-789E-9E80-EB7D-40996691B8DF}"/>
              </a:ext>
            </a:extLst>
          </p:cNvPr>
          <p:cNvSpPr txBox="1"/>
          <p:nvPr/>
        </p:nvSpPr>
        <p:spPr>
          <a:xfrm>
            <a:off x="494804" y="989609"/>
            <a:ext cx="11360727" cy="52322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fr-FR" err="1">
                <a:solidFill>
                  <a:srgbClr val="757070"/>
                </a:solidFill>
                <a:latin typeface="+mj-lt"/>
              </a:rPr>
              <a:t>Digiforma</a:t>
            </a:r>
            <a:r>
              <a:rPr lang="fr-FR">
                <a:solidFill>
                  <a:srgbClr val="757070"/>
                </a:solidFill>
                <a:latin typeface="+mj-lt"/>
              </a:rPr>
              <a:t> propose toutes les étapes d'une formation en automatique. </a:t>
            </a:r>
            <a:r>
              <a:rPr lang="fr-FR" b="1">
                <a:solidFill>
                  <a:srgbClr val="757070"/>
                </a:solidFill>
                <a:latin typeface="+mj-lt"/>
              </a:rPr>
              <a:t>Les apprenants doivent tous avoir une adresse mail </a:t>
            </a:r>
            <a:r>
              <a:rPr lang="fr-FR">
                <a:solidFill>
                  <a:srgbClr val="757070"/>
                </a:solidFill>
                <a:latin typeface="+mj-lt"/>
              </a:rPr>
              <a:t>pour recevoir les différentes notifications. A la fin des formations il sera possible d'extraire les KPIs si besoin.</a:t>
            </a:r>
          </a:p>
        </p:txBody>
      </p:sp>
    </p:spTree>
    <p:extLst>
      <p:ext uri="{BB962C8B-B14F-4D97-AF65-F5344CB8AC3E}">
        <p14:creationId xmlns:p14="http://schemas.microsoft.com/office/powerpoint/2010/main" val="32889503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2495"/>
        <p:cNvGrpSpPr/>
        <p:nvPr/>
      </p:nvGrpSpPr>
      <p:grpSpPr>
        <a:xfrm>
          <a:off x="0" y="0"/>
          <a:ext cx="0" cy="0"/>
          <a:chOff x="0" y="0"/>
          <a:chExt cx="0" cy="0"/>
        </a:xfrm>
      </p:grpSpPr>
      <p:sp>
        <p:nvSpPr>
          <p:cNvPr id="17" name="Titre 1">
            <a:extLst>
              <a:ext uri="{FF2B5EF4-FFF2-40B4-BE49-F238E27FC236}">
                <a16:creationId xmlns:a16="http://schemas.microsoft.com/office/drawing/2014/main" id="{EEF56FE3-E971-BDE5-FE44-30170D5D643C}"/>
              </a:ext>
            </a:extLst>
          </p:cNvPr>
          <p:cNvSpPr txBox="1">
            <a:spLocks/>
          </p:cNvSpPr>
          <p:nvPr/>
        </p:nvSpPr>
        <p:spPr>
          <a:xfrm>
            <a:off x="467412" y="240446"/>
            <a:ext cx="9907072" cy="40779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sz="1600">
                <a:highlight>
                  <a:srgbClr val="FFFF00"/>
                </a:highlight>
              </a:rPr>
              <a:t>1 à 3. DIGIFORMA : illustrations (1/2)</a:t>
            </a:r>
          </a:p>
          <a:p>
            <a:r>
              <a:rPr lang="fr-FR" sz="1600" b="0">
                <a:solidFill>
                  <a:schemeClr val="bg2">
                    <a:lumMod val="60000"/>
                    <a:lumOff val="40000"/>
                  </a:schemeClr>
                </a:solidFill>
                <a:highlight>
                  <a:srgbClr val="FFFF00"/>
                </a:highlight>
                <a:latin typeface="+mn-lt"/>
                <a:cs typeface="Arial" panose="020B0604020202020204" pitchFamily="34" charset="0"/>
              </a:rPr>
              <a:t>Démarche proposée</a:t>
            </a:r>
            <a:endParaRPr lang="fr-FR" sz="1600">
              <a:solidFill>
                <a:schemeClr val="bg2">
                  <a:lumMod val="60000"/>
                  <a:lumOff val="40000"/>
                </a:schemeClr>
              </a:solidFill>
              <a:latin typeface="+mj-lt"/>
              <a:cs typeface="Arial"/>
            </a:endParaRPr>
          </a:p>
        </p:txBody>
      </p:sp>
      <p:grpSp>
        <p:nvGrpSpPr>
          <p:cNvPr id="2" name="Group 24">
            <a:extLst>
              <a:ext uri="{FF2B5EF4-FFF2-40B4-BE49-F238E27FC236}">
                <a16:creationId xmlns:a16="http://schemas.microsoft.com/office/drawing/2014/main" id="{81289972-155A-1E53-A1F0-A959C092B118}"/>
              </a:ext>
            </a:extLst>
          </p:cNvPr>
          <p:cNvGrpSpPr/>
          <p:nvPr/>
        </p:nvGrpSpPr>
        <p:grpSpPr>
          <a:xfrm>
            <a:off x="511703" y="1376513"/>
            <a:ext cx="4867896" cy="2847081"/>
            <a:chOff x="511703" y="1366617"/>
            <a:chExt cx="4867896" cy="2847081"/>
          </a:xfrm>
        </p:grpSpPr>
        <p:grpSp>
          <p:nvGrpSpPr>
            <p:cNvPr id="3" name="Group 16">
              <a:extLst>
                <a:ext uri="{FF2B5EF4-FFF2-40B4-BE49-F238E27FC236}">
                  <a16:creationId xmlns:a16="http://schemas.microsoft.com/office/drawing/2014/main" id="{265164BB-053E-DFBF-8C49-F67D69236B8A}"/>
                </a:ext>
              </a:extLst>
            </p:cNvPr>
            <p:cNvGrpSpPr/>
            <p:nvPr/>
          </p:nvGrpSpPr>
          <p:grpSpPr>
            <a:xfrm>
              <a:off x="511703" y="1366617"/>
              <a:ext cx="4867896" cy="2847081"/>
              <a:chOff x="392950" y="1000462"/>
              <a:chExt cx="5943458" cy="3301401"/>
            </a:xfrm>
          </p:grpSpPr>
          <p:sp>
            <p:nvSpPr>
              <p:cNvPr id="6" name="TextBox 4">
                <a:extLst>
                  <a:ext uri="{FF2B5EF4-FFF2-40B4-BE49-F238E27FC236}">
                    <a16:creationId xmlns:a16="http://schemas.microsoft.com/office/drawing/2014/main" id="{F5D4DEF4-39F4-D407-80A4-0B9A93A04562}"/>
                  </a:ext>
                </a:extLst>
              </p:cNvPr>
              <p:cNvSpPr txBox="1"/>
              <p:nvPr/>
            </p:nvSpPr>
            <p:spPr>
              <a:xfrm>
                <a:off x="506185" y="1077686"/>
                <a:ext cx="1507672" cy="3483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grpSp>
            <p:nvGrpSpPr>
              <p:cNvPr id="7" name="Group 11">
                <a:extLst>
                  <a:ext uri="{FF2B5EF4-FFF2-40B4-BE49-F238E27FC236}">
                    <a16:creationId xmlns:a16="http://schemas.microsoft.com/office/drawing/2014/main" id="{619187E7-88F7-3849-EE56-FE9754355DB3}"/>
                  </a:ext>
                </a:extLst>
              </p:cNvPr>
              <p:cNvGrpSpPr/>
              <p:nvPr/>
            </p:nvGrpSpPr>
            <p:grpSpPr>
              <a:xfrm>
                <a:off x="392950" y="1000462"/>
                <a:ext cx="5943458" cy="3301401"/>
                <a:chOff x="778897" y="1970281"/>
                <a:chExt cx="5943458" cy="3301401"/>
              </a:xfrm>
            </p:grpSpPr>
            <p:pic>
              <p:nvPicPr>
                <p:cNvPr id="8" name="Picture 3">
                  <a:extLst>
                    <a:ext uri="{FF2B5EF4-FFF2-40B4-BE49-F238E27FC236}">
                      <a16:creationId xmlns:a16="http://schemas.microsoft.com/office/drawing/2014/main" id="{F6165DA0-30F2-E2A5-0B7E-99C52CB04212}"/>
                    </a:ext>
                  </a:extLst>
                </p:cNvPr>
                <p:cNvPicPr>
                  <a:picLocks noChangeAspect="1"/>
                </p:cNvPicPr>
                <p:nvPr/>
              </p:nvPicPr>
              <p:blipFill>
                <a:blip r:embed="rId3"/>
                <a:stretch>
                  <a:fillRect/>
                </a:stretch>
              </p:blipFill>
              <p:spPr>
                <a:xfrm>
                  <a:off x="778897" y="1970281"/>
                  <a:ext cx="5943458" cy="3301401"/>
                </a:xfrm>
                <a:prstGeom prst="rect">
                  <a:avLst/>
                </a:prstGeom>
                <a:ln>
                  <a:noFill/>
                </a:ln>
                <a:effectLst>
                  <a:outerShdw blurRad="190500" algn="tl" rotWithShape="0">
                    <a:srgbClr val="000000">
                      <a:alpha val="70000"/>
                    </a:srgbClr>
                  </a:outerShdw>
                </a:effectLst>
              </p:spPr>
            </p:pic>
            <p:sp>
              <p:nvSpPr>
                <p:cNvPr id="9" name="Rectangle 8">
                  <a:extLst>
                    <a:ext uri="{FF2B5EF4-FFF2-40B4-BE49-F238E27FC236}">
                      <a16:creationId xmlns:a16="http://schemas.microsoft.com/office/drawing/2014/main" id="{7A028791-D3E4-153B-9AC6-8C3FDD99AE05}"/>
                    </a:ext>
                  </a:extLst>
                </p:cNvPr>
                <p:cNvSpPr/>
                <p:nvPr/>
              </p:nvSpPr>
              <p:spPr>
                <a:xfrm>
                  <a:off x="1819960" y="4364707"/>
                  <a:ext cx="821376" cy="753368"/>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4" name="Picture 4">
              <a:extLst>
                <a:ext uri="{FF2B5EF4-FFF2-40B4-BE49-F238E27FC236}">
                  <a16:creationId xmlns:a16="http://schemas.microsoft.com/office/drawing/2014/main" id="{E94AC4A6-8AB3-6B11-FA35-B9EE4E4FA0C8}"/>
                </a:ext>
              </a:extLst>
            </p:cNvPr>
            <p:cNvPicPr>
              <a:picLocks noChangeAspect="1"/>
            </p:cNvPicPr>
            <p:nvPr/>
          </p:nvPicPr>
          <p:blipFill rotWithShape="1">
            <a:blip r:embed="rId4"/>
            <a:srcRect t="89" r="518" b="3039"/>
            <a:stretch/>
          </p:blipFill>
          <p:spPr>
            <a:xfrm>
              <a:off x="2547735" y="2213337"/>
              <a:ext cx="993843" cy="1810663"/>
            </a:xfrm>
            <a:prstGeom prst="rect">
              <a:avLst/>
            </a:prstGeom>
            <a:ln>
              <a:noFill/>
            </a:ln>
            <a:effectLst>
              <a:outerShdw blurRad="190500" algn="tl" rotWithShape="0">
                <a:srgbClr val="000000">
                  <a:alpha val="70000"/>
                </a:srgbClr>
              </a:outerShdw>
            </a:effectLst>
          </p:spPr>
        </p:pic>
        <p:cxnSp>
          <p:nvCxnSpPr>
            <p:cNvPr id="5" name="Straight Arrow Connector 17">
              <a:extLst>
                <a:ext uri="{FF2B5EF4-FFF2-40B4-BE49-F238E27FC236}">
                  <a16:creationId xmlns:a16="http://schemas.microsoft.com/office/drawing/2014/main" id="{493459F0-AFE9-5245-BE58-0EEEE410C0B2}"/>
                </a:ext>
              </a:extLst>
            </p:cNvPr>
            <p:cNvCxnSpPr/>
            <p:nvPr/>
          </p:nvCxnSpPr>
          <p:spPr>
            <a:xfrm>
              <a:off x="1037112" y="2912422"/>
              <a:ext cx="1270660" cy="30084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grpSp>
      <p:sp>
        <p:nvSpPr>
          <p:cNvPr id="10" name="TextBox 18">
            <a:extLst>
              <a:ext uri="{FF2B5EF4-FFF2-40B4-BE49-F238E27FC236}">
                <a16:creationId xmlns:a16="http://schemas.microsoft.com/office/drawing/2014/main" id="{F0CC91F2-10E0-92F2-2F6A-58CE36134D5A}"/>
              </a:ext>
            </a:extLst>
          </p:cNvPr>
          <p:cNvSpPr txBox="1"/>
          <p:nvPr/>
        </p:nvSpPr>
        <p:spPr>
          <a:xfrm>
            <a:off x="514596" y="989610"/>
            <a:ext cx="483919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1200" kern="1200">
                <a:solidFill>
                  <a:srgbClr val="757070"/>
                </a:solidFill>
              </a:rPr>
              <a:t>Différentes</a:t>
            </a:r>
            <a:r>
              <a:rPr lang="en-US" sz="1200" kern="1200">
                <a:solidFill>
                  <a:srgbClr val="757070"/>
                </a:solidFill>
              </a:rPr>
              <a:t> actions possibles</a:t>
            </a:r>
            <a:r>
              <a:rPr lang="en-US"/>
              <a:t> </a:t>
            </a:r>
          </a:p>
        </p:txBody>
      </p:sp>
      <p:grpSp>
        <p:nvGrpSpPr>
          <p:cNvPr id="11" name="Group 23">
            <a:extLst>
              <a:ext uri="{FF2B5EF4-FFF2-40B4-BE49-F238E27FC236}">
                <a16:creationId xmlns:a16="http://schemas.microsoft.com/office/drawing/2014/main" id="{463679B1-D9D8-1DA3-426F-2E59215692DA}"/>
              </a:ext>
            </a:extLst>
          </p:cNvPr>
          <p:cNvGrpSpPr/>
          <p:nvPr/>
        </p:nvGrpSpPr>
        <p:grpSpPr>
          <a:xfrm>
            <a:off x="5862453" y="900544"/>
            <a:ext cx="5662551" cy="3337354"/>
            <a:chOff x="5862453" y="900544"/>
            <a:chExt cx="5662551" cy="3337354"/>
          </a:xfrm>
        </p:grpSpPr>
        <p:pic>
          <p:nvPicPr>
            <p:cNvPr id="13" name="Picture 26">
              <a:extLst>
                <a:ext uri="{FF2B5EF4-FFF2-40B4-BE49-F238E27FC236}">
                  <a16:creationId xmlns:a16="http://schemas.microsoft.com/office/drawing/2014/main" id="{86604955-2EC4-FA1A-7D00-81608CE1ECA8}"/>
                </a:ext>
              </a:extLst>
            </p:cNvPr>
            <p:cNvPicPr>
              <a:picLocks noChangeAspect="1"/>
            </p:cNvPicPr>
            <p:nvPr/>
          </p:nvPicPr>
          <p:blipFill>
            <a:blip r:embed="rId5"/>
            <a:stretch>
              <a:fillRect/>
            </a:stretch>
          </p:blipFill>
          <p:spPr>
            <a:xfrm>
              <a:off x="5862453" y="1373197"/>
              <a:ext cx="5662551" cy="2864701"/>
            </a:xfrm>
            <a:prstGeom prst="rect">
              <a:avLst/>
            </a:prstGeom>
            <a:ln>
              <a:noFill/>
            </a:ln>
            <a:effectLst>
              <a:outerShdw blurRad="190500" algn="tl" rotWithShape="0">
                <a:srgbClr val="000000">
                  <a:alpha val="70000"/>
                </a:srgbClr>
              </a:outerShdw>
            </a:effectLst>
          </p:spPr>
        </p:pic>
        <p:sp>
          <p:nvSpPr>
            <p:cNvPr id="14" name="TextBox 26">
              <a:extLst>
                <a:ext uri="{FF2B5EF4-FFF2-40B4-BE49-F238E27FC236}">
                  <a16:creationId xmlns:a16="http://schemas.microsoft.com/office/drawing/2014/main" id="{6303CB7F-6D9B-8EC0-2D2F-BEAE9376DB6B}"/>
                </a:ext>
              </a:extLst>
            </p:cNvPr>
            <p:cNvSpPr txBox="1"/>
            <p:nvPr/>
          </p:nvSpPr>
          <p:spPr>
            <a:xfrm>
              <a:off x="5888180" y="900544"/>
              <a:ext cx="5502234"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kern="1200" err="1">
                  <a:solidFill>
                    <a:srgbClr val="757070"/>
                  </a:solidFill>
                </a:rPr>
                <a:t>Exemple</a:t>
              </a:r>
              <a:r>
                <a:rPr lang="en-US" sz="1200" kern="1200">
                  <a:solidFill>
                    <a:srgbClr val="757070"/>
                  </a:solidFill>
                </a:rPr>
                <a:t> </a:t>
              </a:r>
              <a:r>
                <a:rPr lang="en-US" sz="1200" b="1" kern="1200">
                  <a:solidFill>
                    <a:srgbClr val="757070"/>
                  </a:solidFill>
                </a:rPr>
                <a:t>des convocations </a:t>
              </a:r>
              <a:r>
                <a:rPr lang="en-US" sz="1200" b="1" kern="1200" err="1">
                  <a:solidFill>
                    <a:srgbClr val="757070"/>
                  </a:solidFill>
                </a:rPr>
                <a:t>envoyées</a:t>
              </a:r>
              <a:r>
                <a:rPr lang="en-US" sz="1200" b="1" kern="1200">
                  <a:solidFill>
                    <a:srgbClr val="757070"/>
                  </a:solidFill>
                </a:rPr>
                <a:t> </a:t>
              </a:r>
              <a:r>
                <a:rPr lang="en-US" sz="1200" kern="1200">
                  <a:solidFill>
                    <a:srgbClr val="757070"/>
                  </a:solidFill>
                </a:rPr>
                <a:t>par mail aux </a:t>
              </a:r>
              <a:r>
                <a:rPr lang="en-US" sz="1200" kern="1200" err="1">
                  <a:solidFill>
                    <a:srgbClr val="757070"/>
                  </a:solidFill>
                </a:rPr>
                <a:t>apprenants</a:t>
              </a:r>
              <a:r>
                <a:rPr lang="en-US" sz="1200" kern="1200">
                  <a:solidFill>
                    <a:srgbClr val="757070"/>
                  </a:solidFill>
                </a:rPr>
                <a:t> .</a:t>
              </a:r>
              <a:endParaRPr lang="en-US"/>
            </a:p>
            <a:p>
              <a:r>
                <a:rPr lang="en-US" sz="1200" kern="1200">
                  <a:solidFill>
                    <a:srgbClr val="757070"/>
                  </a:solidFill>
                </a:rPr>
                <a:t>Je </a:t>
              </a:r>
              <a:r>
                <a:rPr lang="en-US" sz="1200" kern="1200" err="1">
                  <a:solidFill>
                    <a:srgbClr val="757070"/>
                  </a:solidFill>
                </a:rPr>
                <a:t>peux</a:t>
              </a:r>
              <a:r>
                <a:rPr lang="en-US" sz="1200" kern="1200">
                  <a:solidFill>
                    <a:srgbClr val="757070"/>
                  </a:solidFill>
                </a:rPr>
                <a:t> </a:t>
              </a:r>
              <a:r>
                <a:rPr lang="en-US" sz="1200" kern="1200" err="1">
                  <a:solidFill>
                    <a:srgbClr val="757070"/>
                  </a:solidFill>
                </a:rPr>
                <a:t>voir</a:t>
              </a:r>
              <a:r>
                <a:rPr lang="en-US" sz="1200" kern="1200">
                  <a:solidFill>
                    <a:srgbClr val="757070"/>
                  </a:solidFill>
                </a:rPr>
                <a:t> </a:t>
              </a:r>
              <a:r>
                <a:rPr lang="en-US" sz="1200" kern="1200" err="1">
                  <a:solidFill>
                    <a:srgbClr val="757070"/>
                  </a:solidFill>
                </a:rPr>
                <a:t>si</a:t>
              </a:r>
              <a:r>
                <a:rPr lang="en-US" sz="1200" kern="1200">
                  <a:solidFill>
                    <a:srgbClr val="757070"/>
                  </a:solidFill>
                </a:rPr>
                <a:t> les convocations et </a:t>
              </a:r>
              <a:r>
                <a:rPr lang="en-US" sz="1200" kern="1200" err="1">
                  <a:solidFill>
                    <a:srgbClr val="757070"/>
                  </a:solidFill>
                </a:rPr>
                <a:t>relancer</a:t>
              </a:r>
              <a:r>
                <a:rPr lang="en-US" sz="1200" kern="1200">
                  <a:solidFill>
                    <a:srgbClr val="757070"/>
                  </a:solidFill>
                </a:rPr>
                <a:t> </a:t>
              </a:r>
              <a:r>
                <a:rPr lang="en-US" sz="1200" kern="1200" err="1">
                  <a:solidFill>
                    <a:srgbClr val="757070"/>
                  </a:solidFill>
                </a:rPr>
                <a:t>ceux</a:t>
              </a:r>
              <a:r>
                <a:rPr lang="en-US" sz="1200" kern="1200">
                  <a:solidFill>
                    <a:srgbClr val="757070"/>
                  </a:solidFill>
                </a:rPr>
                <a:t> qui ne </a:t>
              </a:r>
              <a:r>
                <a:rPr lang="en-US" sz="1200" kern="1200" err="1">
                  <a:solidFill>
                    <a:srgbClr val="757070"/>
                  </a:solidFill>
                </a:rPr>
                <a:t>l'ont</a:t>
              </a:r>
              <a:r>
                <a:rPr lang="en-US" sz="1200" kern="1200">
                  <a:solidFill>
                    <a:srgbClr val="757070"/>
                  </a:solidFill>
                </a:rPr>
                <a:t> pas </a:t>
              </a:r>
              <a:r>
                <a:rPr lang="en-US" sz="1200" kern="1200" err="1">
                  <a:solidFill>
                    <a:srgbClr val="757070"/>
                  </a:solidFill>
                </a:rPr>
                <a:t>reçu</a:t>
              </a:r>
              <a:endParaRPr lang="en-US"/>
            </a:p>
          </p:txBody>
        </p:sp>
        <p:sp>
          <p:nvSpPr>
            <p:cNvPr id="15" name="Rectangle 14">
              <a:extLst>
                <a:ext uri="{FF2B5EF4-FFF2-40B4-BE49-F238E27FC236}">
                  <a16:creationId xmlns:a16="http://schemas.microsoft.com/office/drawing/2014/main" id="{686C81B2-D99A-E98F-664F-A92A66CE6EA9}"/>
                </a:ext>
              </a:extLst>
            </p:cNvPr>
            <p:cNvSpPr/>
            <p:nvPr/>
          </p:nvSpPr>
          <p:spPr>
            <a:xfrm>
              <a:off x="8938847" y="1713576"/>
              <a:ext cx="2176942" cy="92678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6" name="Picture 22">
            <a:extLst>
              <a:ext uri="{FF2B5EF4-FFF2-40B4-BE49-F238E27FC236}">
                <a16:creationId xmlns:a16="http://schemas.microsoft.com/office/drawing/2014/main" id="{F1C2C41F-AC0F-B043-E2DD-478AD5E7F17B}"/>
              </a:ext>
            </a:extLst>
          </p:cNvPr>
          <p:cNvPicPr>
            <a:picLocks noChangeAspect="1"/>
          </p:cNvPicPr>
          <p:nvPr/>
        </p:nvPicPr>
        <p:blipFill>
          <a:blip r:embed="rId6"/>
          <a:stretch>
            <a:fillRect/>
          </a:stretch>
        </p:blipFill>
        <p:spPr>
          <a:xfrm>
            <a:off x="5318166" y="4606224"/>
            <a:ext cx="6206836" cy="1801914"/>
          </a:xfrm>
          <a:prstGeom prst="rect">
            <a:avLst/>
          </a:prstGeom>
          <a:ln>
            <a:noFill/>
          </a:ln>
          <a:effectLst>
            <a:outerShdw blurRad="190500" algn="tl" rotWithShape="0">
              <a:srgbClr val="000000">
                <a:alpha val="70000"/>
              </a:srgbClr>
            </a:outerShdw>
          </a:effectLst>
        </p:spPr>
      </p:pic>
      <p:sp>
        <p:nvSpPr>
          <p:cNvPr id="18" name="TextBox 22">
            <a:extLst>
              <a:ext uri="{FF2B5EF4-FFF2-40B4-BE49-F238E27FC236}">
                <a16:creationId xmlns:a16="http://schemas.microsoft.com/office/drawing/2014/main" id="{81771090-950E-0F12-08C9-3F8E4FE81722}"/>
              </a:ext>
            </a:extLst>
          </p:cNvPr>
          <p:cNvSpPr txBox="1"/>
          <p:nvPr/>
        </p:nvSpPr>
        <p:spPr>
          <a:xfrm>
            <a:off x="2413000" y="5160969"/>
            <a:ext cx="2901207"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1200" b="1" kern="1200" err="1">
                <a:solidFill>
                  <a:srgbClr val="757070"/>
                </a:solidFill>
              </a:rPr>
              <a:t>Mes</a:t>
            </a:r>
            <a:r>
              <a:rPr lang="en-US" sz="1200" b="1" kern="1200">
                <a:solidFill>
                  <a:srgbClr val="757070"/>
                </a:solidFill>
              </a:rPr>
              <a:t> </a:t>
            </a:r>
            <a:r>
              <a:rPr lang="en-US" sz="1200" b="1" kern="1200" err="1">
                <a:solidFill>
                  <a:srgbClr val="757070"/>
                </a:solidFill>
              </a:rPr>
              <a:t>évaluations</a:t>
            </a:r>
            <a:r>
              <a:rPr lang="en-US" sz="1200" b="1" kern="1200">
                <a:solidFill>
                  <a:srgbClr val="757070"/>
                </a:solidFill>
              </a:rPr>
              <a:t> à </a:t>
            </a:r>
            <a:r>
              <a:rPr lang="en-US" sz="1200" b="1" kern="1200" err="1">
                <a:solidFill>
                  <a:srgbClr val="757070"/>
                </a:solidFill>
              </a:rPr>
              <a:t>chaud</a:t>
            </a:r>
            <a:r>
              <a:rPr lang="en-US" sz="1200" b="1" kern="1200">
                <a:solidFill>
                  <a:srgbClr val="757070"/>
                </a:solidFill>
              </a:rPr>
              <a:t> et à </a:t>
            </a:r>
            <a:r>
              <a:rPr lang="en-US" sz="1200" b="1" kern="1200" err="1">
                <a:solidFill>
                  <a:srgbClr val="757070"/>
                </a:solidFill>
              </a:rPr>
              <a:t>froid</a:t>
            </a:r>
            <a:r>
              <a:rPr lang="en-US" sz="1200" kern="1200">
                <a:solidFill>
                  <a:srgbClr val="757070"/>
                </a:solidFill>
              </a:rPr>
              <a:t> se </a:t>
            </a:r>
            <a:r>
              <a:rPr lang="en-US" sz="1200" kern="1200" err="1">
                <a:solidFill>
                  <a:srgbClr val="757070"/>
                </a:solidFill>
              </a:rPr>
              <a:t>lancent</a:t>
            </a:r>
            <a:r>
              <a:rPr lang="en-US" sz="1200" kern="1200">
                <a:solidFill>
                  <a:srgbClr val="757070"/>
                </a:solidFill>
              </a:rPr>
              <a:t> </a:t>
            </a:r>
            <a:r>
              <a:rPr lang="en-US" sz="1200" kern="1200" err="1">
                <a:solidFill>
                  <a:srgbClr val="757070"/>
                </a:solidFill>
              </a:rPr>
              <a:t>automatiquement</a:t>
            </a:r>
            <a:r>
              <a:rPr lang="en-US" sz="1200" kern="1200">
                <a:solidFill>
                  <a:srgbClr val="757070"/>
                </a:solidFill>
              </a:rPr>
              <a:t> au moment </a:t>
            </a:r>
            <a:r>
              <a:rPr lang="en-US" sz="1200" kern="1200" err="1">
                <a:solidFill>
                  <a:srgbClr val="757070"/>
                </a:solidFill>
              </a:rPr>
              <a:t>choisi</a:t>
            </a:r>
            <a:r>
              <a:rPr lang="en-US"/>
              <a:t> </a:t>
            </a:r>
          </a:p>
        </p:txBody>
      </p:sp>
    </p:spTree>
    <p:extLst>
      <p:ext uri="{BB962C8B-B14F-4D97-AF65-F5344CB8AC3E}">
        <p14:creationId xmlns:p14="http://schemas.microsoft.com/office/powerpoint/2010/main" val="39412809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2495"/>
        <p:cNvGrpSpPr/>
        <p:nvPr/>
      </p:nvGrpSpPr>
      <p:grpSpPr>
        <a:xfrm>
          <a:off x="0" y="0"/>
          <a:ext cx="0" cy="0"/>
          <a:chOff x="0" y="0"/>
          <a:chExt cx="0" cy="0"/>
        </a:xfrm>
      </p:grpSpPr>
      <p:sp>
        <p:nvSpPr>
          <p:cNvPr id="17" name="Titre 1">
            <a:extLst>
              <a:ext uri="{FF2B5EF4-FFF2-40B4-BE49-F238E27FC236}">
                <a16:creationId xmlns:a16="http://schemas.microsoft.com/office/drawing/2014/main" id="{EEF56FE3-E971-BDE5-FE44-30170D5D643C}"/>
              </a:ext>
            </a:extLst>
          </p:cNvPr>
          <p:cNvSpPr txBox="1">
            <a:spLocks/>
          </p:cNvSpPr>
          <p:nvPr/>
        </p:nvSpPr>
        <p:spPr>
          <a:xfrm>
            <a:off x="467412" y="240446"/>
            <a:ext cx="9907072" cy="40779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sz="1600">
                <a:highlight>
                  <a:srgbClr val="FFFF00"/>
                </a:highlight>
              </a:rPr>
              <a:t>1 à 3. DIGIFORMA : illustrations (2/2)</a:t>
            </a:r>
          </a:p>
          <a:p>
            <a:r>
              <a:rPr lang="fr-FR" sz="1600" b="0">
                <a:solidFill>
                  <a:schemeClr val="bg2">
                    <a:lumMod val="60000"/>
                    <a:lumOff val="40000"/>
                  </a:schemeClr>
                </a:solidFill>
                <a:highlight>
                  <a:srgbClr val="FFFF00"/>
                </a:highlight>
                <a:latin typeface="+mn-lt"/>
                <a:cs typeface="Arial" panose="020B0604020202020204" pitchFamily="34" charset="0"/>
              </a:rPr>
              <a:t>Démarche proposée</a:t>
            </a:r>
            <a:endParaRPr lang="fr-FR" sz="1600">
              <a:solidFill>
                <a:schemeClr val="bg2">
                  <a:lumMod val="60000"/>
                  <a:lumOff val="40000"/>
                </a:schemeClr>
              </a:solidFill>
              <a:latin typeface="+mj-lt"/>
              <a:cs typeface="Arial"/>
            </a:endParaRPr>
          </a:p>
        </p:txBody>
      </p:sp>
      <p:grpSp>
        <p:nvGrpSpPr>
          <p:cNvPr id="12" name="Group 15">
            <a:extLst>
              <a:ext uri="{FF2B5EF4-FFF2-40B4-BE49-F238E27FC236}">
                <a16:creationId xmlns:a16="http://schemas.microsoft.com/office/drawing/2014/main" id="{114C7209-4437-D0B4-CE75-B4E76EA545D4}"/>
              </a:ext>
            </a:extLst>
          </p:cNvPr>
          <p:cNvGrpSpPr/>
          <p:nvPr/>
        </p:nvGrpSpPr>
        <p:grpSpPr>
          <a:xfrm>
            <a:off x="982023" y="1523999"/>
            <a:ext cx="9503888" cy="3558588"/>
            <a:chOff x="982023" y="1523999"/>
            <a:chExt cx="9503888" cy="3558588"/>
          </a:xfrm>
        </p:grpSpPr>
        <p:grpSp>
          <p:nvGrpSpPr>
            <p:cNvPr id="19" name="Group 13">
              <a:extLst>
                <a:ext uri="{FF2B5EF4-FFF2-40B4-BE49-F238E27FC236}">
                  <a16:creationId xmlns:a16="http://schemas.microsoft.com/office/drawing/2014/main" id="{EE6AFB1C-732C-DC57-7CA6-63B0BABC12F6}"/>
                </a:ext>
              </a:extLst>
            </p:cNvPr>
            <p:cNvGrpSpPr/>
            <p:nvPr/>
          </p:nvGrpSpPr>
          <p:grpSpPr>
            <a:xfrm>
              <a:off x="982023" y="1523999"/>
              <a:ext cx="9503888" cy="3558588"/>
              <a:chOff x="140854" y="1167739"/>
              <a:chExt cx="9503888" cy="3558588"/>
            </a:xfrm>
          </p:grpSpPr>
          <p:sp>
            <p:nvSpPr>
              <p:cNvPr id="21" name="TextBox 18">
                <a:extLst>
                  <a:ext uri="{FF2B5EF4-FFF2-40B4-BE49-F238E27FC236}">
                    <a16:creationId xmlns:a16="http://schemas.microsoft.com/office/drawing/2014/main" id="{8B89C02B-2DD5-A348-B966-DE191F79A614}"/>
                  </a:ext>
                </a:extLst>
              </p:cNvPr>
              <p:cNvSpPr txBox="1"/>
              <p:nvPr/>
            </p:nvSpPr>
            <p:spPr>
              <a:xfrm>
                <a:off x="140854" y="1167739"/>
                <a:ext cx="4839195"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kern="1200" err="1">
                    <a:solidFill>
                      <a:srgbClr val="757070"/>
                    </a:solidFill>
                  </a:rPr>
                  <a:t>Exemple</a:t>
                </a:r>
                <a:r>
                  <a:rPr lang="en-US" sz="1200" kern="1200">
                    <a:solidFill>
                      <a:srgbClr val="757070"/>
                    </a:solidFill>
                  </a:rPr>
                  <a:t> de </a:t>
                </a:r>
                <a:r>
                  <a:rPr lang="en-US" sz="1200" b="1" kern="1200" err="1">
                    <a:solidFill>
                      <a:srgbClr val="757070"/>
                    </a:solidFill>
                  </a:rPr>
                  <a:t>suivi</a:t>
                </a:r>
                <a:r>
                  <a:rPr lang="en-US" sz="1200" b="1" kern="1200">
                    <a:solidFill>
                      <a:srgbClr val="757070"/>
                    </a:solidFill>
                  </a:rPr>
                  <a:t> des </a:t>
                </a:r>
                <a:r>
                  <a:rPr lang="en-US" sz="1200" b="1" kern="1200" err="1">
                    <a:solidFill>
                      <a:srgbClr val="757070"/>
                    </a:solidFill>
                  </a:rPr>
                  <a:t>émargements</a:t>
                </a:r>
                <a:endParaRPr lang="en-US" sz="1200" b="1" kern="1200">
                  <a:solidFill>
                    <a:srgbClr val="757070"/>
                  </a:solidFill>
                </a:endParaRPr>
              </a:p>
            </p:txBody>
          </p:sp>
          <p:pic>
            <p:nvPicPr>
              <p:cNvPr id="22" name="Picture 8">
                <a:extLst>
                  <a:ext uri="{FF2B5EF4-FFF2-40B4-BE49-F238E27FC236}">
                    <a16:creationId xmlns:a16="http://schemas.microsoft.com/office/drawing/2014/main" id="{457978CA-A61E-BF71-247C-F3694C9CA583}"/>
                  </a:ext>
                </a:extLst>
              </p:cNvPr>
              <p:cNvPicPr>
                <a:picLocks noChangeAspect="1"/>
              </p:cNvPicPr>
              <p:nvPr/>
            </p:nvPicPr>
            <p:blipFill>
              <a:blip r:embed="rId3"/>
              <a:stretch>
                <a:fillRect/>
              </a:stretch>
            </p:blipFill>
            <p:spPr>
              <a:xfrm>
                <a:off x="271153" y="1626224"/>
                <a:ext cx="5335977" cy="2813864"/>
              </a:xfrm>
              <a:prstGeom prst="rect">
                <a:avLst/>
              </a:prstGeom>
              <a:ln>
                <a:noFill/>
              </a:ln>
              <a:effectLst>
                <a:outerShdw blurRad="190500" algn="tl" rotWithShape="0">
                  <a:srgbClr val="000000">
                    <a:alpha val="70000"/>
                  </a:srgbClr>
                </a:outerShdw>
              </a:effectLst>
            </p:spPr>
          </p:pic>
          <p:pic>
            <p:nvPicPr>
              <p:cNvPr id="23" name="Picture 9">
                <a:extLst>
                  <a:ext uri="{FF2B5EF4-FFF2-40B4-BE49-F238E27FC236}">
                    <a16:creationId xmlns:a16="http://schemas.microsoft.com/office/drawing/2014/main" id="{21514E3E-DD2E-B461-DAD9-F68595EF4D99}"/>
                  </a:ext>
                </a:extLst>
              </p:cNvPr>
              <p:cNvPicPr>
                <a:picLocks noChangeAspect="1"/>
              </p:cNvPicPr>
              <p:nvPr/>
            </p:nvPicPr>
            <p:blipFill>
              <a:blip r:embed="rId4"/>
              <a:stretch>
                <a:fillRect/>
              </a:stretch>
            </p:blipFill>
            <p:spPr>
              <a:xfrm>
                <a:off x="6287984" y="1626970"/>
                <a:ext cx="3356758" cy="3099357"/>
              </a:xfrm>
              <a:prstGeom prst="rect">
                <a:avLst/>
              </a:prstGeom>
              <a:ln>
                <a:noFill/>
              </a:ln>
              <a:effectLst>
                <a:outerShdw blurRad="190500" algn="tl" rotWithShape="0">
                  <a:srgbClr val="000000">
                    <a:alpha val="70000"/>
                  </a:srgbClr>
                </a:outerShdw>
              </a:effectLst>
            </p:spPr>
          </p:pic>
          <p:sp>
            <p:nvSpPr>
              <p:cNvPr id="24" name="Rectangle 23">
                <a:extLst>
                  <a:ext uri="{FF2B5EF4-FFF2-40B4-BE49-F238E27FC236}">
                    <a16:creationId xmlns:a16="http://schemas.microsoft.com/office/drawing/2014/main" id="{CF69E2F0-D965-AC9D-9A74-DFA53660805B}"/>
                  </a:ext>
                </a:extLst>
              </p:cNvPr>
              <p:cNvSpPr/>
              <p:nvPr/>
            </p:nvSpPr>
            <p:spPr>
              <a:xfrm>
                <a:off x="6432466" y="3572492"/>
                <a:ext cx="1177636" cy="267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77A200B-7FF9-30FE-49C6-DEDC82238176}"/>
                  </a:ext>
                </a:extLst>
              </p:cNvPr>
              <p:cNvSpPr/>
              <p:nvPr/>
            </p:nvSpPr>
            <p:spPr>
              <a:xfrm>
                <a:off x="6432467" y="4106880"/>
                <a:ext cx="1078675" cy="257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B6E25579-6720-70D8-E01A-0207DDA9C0C7}"/>
                  </a:ext>
                </a:extLst>
              </p:cNvPr>
              <p:cNvSpPr/>
              <p:nvPr/>
            </p:nvSpPr>
            <p:spPr>
              <a:xfrm>
                <a:off x="6412675" y="2751117"/>
                <a:ext cx="435428" cy="1088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Rectangle 19">
              <a:extLst>
                <a:ext uri="{FF2B5EF4-FFF2-40B4-BE49-F238E27FC236}">
                  <a16:creationId xmlns:a16="http://schemas.microsoft.com/office/drawing/2014/main" id="{597F31F7-D13E-3747-B353-3AE941139172}"/>
                </a:ext>
              </a:extLst>
            </p:cNvPr>
            <p:cNvSpPr/>
            <p:nvPr/>
          </p:nvSpPr>
          <p:spPr>
            <a:xfrm>
              <a:off x="7293428" y="3404260"/>
              <a:ext cx="573974" cy="692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2042384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42B1088-688A-452F-94B2-20EF983708AC}"/>
              </a:ext>
            </a:extLst>
          </p:cNvPr>
          <p:cNvSpPr>
            <a:spLocks noGrp="1"/>
          </p:cNvSpPr>
          <p:nvPr>
            <p:ph type="title"/>
          </p:nvPr>
        </p:nvSpPr>
        <p:spPr/>
        <p:txBody>
          <a:bodyPr/>
          <a:lstStyle/>
          <a:p>
            <a:r>
              <a:rPr lang="fr-FR"/>
              <a:t>DISPOSITIF TALAN PROPOSÉ</a:t>
            </a:r>
          </a:p>
        </p:txBody>
      </p:sp>
    </p:spTree>
    <p:extLst>
      <p:ext uri="{BB962C8B-B14F-4D97-AF65-F5344CB8AC3E}">
        <p14:creationId xmlns:p14="http://schemas.microsoft.com/office/powerpoint/2010/main" val="32857576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5C57AF-169F-4314-AC66-D8269E11F446}"/>
              </a:ext>
            </a:extLst>
          </p:cNvPr>
          <p:cNvSpPr>
            <a:spLocks noGrp="1"/>
          </p:cNvSpPr>
          <p:nvPr>
            <p:ph type="title"/>
          </p:nvPr>
        </p:nvSpPr>
        <p:spPr/>
        <p:txBody>
          <a:bodyPr/>
          <a:lstStyle/>
          <a:p>
            <a:r>
              <a:rPr lang="fr-FR">
                <a:latin typeface="Arial Black"/>
              </a:rPr>
              <a:t>NOS ATOUTS POUR VOUS ACCOMPAGNER</a:t>
            </a:r>
            <a:endParaRPr lang="fr-FR">
              <a:highlight>
                <a:srgbClr val="FFFF00"/>
              </a:highlight>
            </a:endParaRPr>
          </a:p>
        </p:txBody>
      </p:sp>
      <p:sp>
        <p:nvSpPr>
          <p:cNvPr id="217" name="ZoneTexte 111">
            <a:extLst>
              <a:ext uri="{FF2B5EF4-FFF2-40B4-BE49-F238E27FC236}">
                <a16:creationId xmlns:a16="http://schemas.microsoft.com/office/drawing/2014/main" id="{ACBEB19E-2E70-897B-2656-D08F301B74D3}"/>
              </a:ext>
            </a:extLst>
          </p:cNvPr>
          <p:cNvSpPr txBox="1"/>
          <p:nvPr/>
        </p:nvSpPr>
        <p:spPr>
          <a:xfrm>
            <a:off x="395060" y="697596"/>
            <a:ext cx="2444900" cy="338554"/>
          </a:xfrm>
          <a:prstGeom prst="rect">
            <a:avLst/>
          </a:prstGeom>
          <a:noFill/>
        </p:spPr>
        <p:txBody>
          <a:bodyPr wrap="non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fr-FR" sz="1600">
                <a:solidFill>
                  <a:schemeClr val="accent2"/>
                </a:solidFill>
                <a:latin typeface="Montserrat" panose="00000500000000000000" pitchFamily="2" charset="0"/>
              </a:rPr>
              <a:t>4 leviers déterminants</a:t>
            </a:r>
          </a:p>
        </p:txBody>
      </p:sp>
      <p:sp>
        <p:nvSpPr>
          <p:cNvPr id="4" name="Pie 10">
            <a:extLst>
              <a:ext uri="{FF2B5EF4-FFF2-40B4-BE49-F238E27FC236}">
                <a16:creationId xmlns:a16="http://schemas.microsoft.com/office/drawing/2014/main" id="{7C03152C-0D5E-999C-4945-017934906984}"/>
              </a:ext>
            </a:extLst>
          </p:cNvPr>
          <p:cNvSpPr/>
          <p:nvPr/>
        </p:nvSpPr>
        <p:spPr>
          <a:xfrm rot="2564835" flipH="1">
            <a:off x="3868563" y="1041723"/>
            <a:ext cx="4750334" cy="5256000"/>
          </a:xfrm>
          <a:prstGeom prst="pie">
            <a:avLst>
              <a:gd name="adj1" fmla="val 20379763"/>
              <a:gd name="adj2" fmla="val 1304946"/>
            </a:avLst>
          </a:prstGeom>
          <a:solidFill>
            <a:srgbClr val="45B384">
              <a:alpha val="78000"/>
            </a:srgbClr>
          </a:solidFill>
          <a:ln w="9525" cap="flat" cmpd="sng" algn="ctr">
            <a:no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219140" rtl="0" eaLnBrk="1" fontAlgn="auto" latinLnBrk="0" hangingPunct="1">
              <a:lnSpc>
                <a:spcPct val="100000"/>
              </a:lnSpc>
              <a:spcBef>
                <a:spcPts val="0"/>
              </a:spcBef>
              <a:spcAft>
                <a:spcPts val="0"/>
              </a:spcAft>
              <a:buClrTx/>
              <a:buSzTx/>
              <a:buFont typeface="Arial"/>
              <a:buNone/>
              <a:tabLst/>
              <a:defRPr/>
            </a:pPr>
            <a:endParaRPr kumimoji="0" lang="en-US" sz="3200" b="0" i="0" u="none" strike="noStrike" kern="1200" cap="none" spc="0" normalizeH="0" baseline="0" noProof="0">
              <a:ln>
                <a:noFill/>
              </a:ln>
              <a:solidFill>
                <a:srgbClr val="57565A"/>
              </a:solidFill>
              <a:effectLst/>
              <a:uLnTx/>
              <a:uFillTx/>
              <a:latin typeface="Open Sans Light"/>
              <a:ea typeface="+mn-ea"/>
              <a:cs typeface="Arial"/>
              <a:sym typeface="Arial"/>
            </a:endParaRPr>
          </a:p>
        </p:txBody>
      </p:sp>
      <p:sp>
        <p:nvSpPr>
          <p:cNvPr id="7" name="Oval 6">
            <a:extLst>
              <a:ext uri="{FF2B5EF4-FFF2-40B4-BE49-F238E27FC236}">
                <a16:creationId xmlns:a16="http://schemas.microsoft.com/office/drawing/2014/main" id="{AA2B4B02-07FB-7640-73DF-B4B0B58A620A}"/>
              </a:ext>
            </a:extLst>
          </p:cNvPr>
          <p:cNvSpPr/>
          <p:nvPr/>
        </p:nvSpPr>
        <p:spPr>
          <a:xfrm>
            <a:off x="4337416" y="1892235"/>
            <a:ext cx="3408379" cy="3408379"/>
          </a:xfrm>
          <a:prstGeom prst="ellipse">
            <a:avLst/>
          </a:prstGeom>
          <a:solidFill>
            <a:sysClr val="window" lastClr="FFFFFF">
              <a:lumMod val="50000"/>
              <a:alpha val="50000"/>
            </a:sysClr>
          </a:solidFill>
          <a:ln w="9525" cap="flat" cmpd="sng" algn="ctr">
            <a:no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219140" rtl="0" eaLnBrk="1" fontAlgn="auto" latinLnBrk="0" hangingPunct="1">
              <a:lnSpc>
                <a:spcPct val="100000"/>
              </a:lnSpc>
              <a:spcBef>
                <a:spcPts val="0"/>
              </a:spcBef>
              <a:spcAft>
                <a:spcPts val="0"/>
              </a:spcAft>
              <a:buClrTx/>
              <a:buSzTx/>
              <a:buFont typeface="Arial"/>
              <a:buNone/>
              <a:tabLst/>
              <a:defRPr/>
            </a:pPr>
            <a:endParaRPr kumimoji="0" lang="en-US" sz="3200" b="0" i="0" u="none" strike="noStrike" kern="1200" cap="none" spc="0" normalizeH="0" baseline="0" noProof="0">
              <a:ln>
                <a:noFill/>
              </a:ln>
              <a:solidFill>
                <a:prstClr val="white"/>
              </a:solidFill>
              <a:effectLst/>
              <a:uLnTx/>
              <a:uFillTx/>
              <a:latin typeface="Open Sans Light"/>
              <a:ea typeface="+mn-ea"/>
              <a:cs typeface="Arial"/>
              <a:sym typeface="Arial"/>
            </a:endParaRPr>
          </a:p>
        </p:txBody>
      </p:sp>
      <p:sp>
        <p:nvSpPr>
          <p:cNvPr id="8" name="Pie 9">
            <a:extLst>
              <a:ext uri="{FF2B5EF4-FFF2-40B4-BE49-F238E27FC236}">
                <a16:creationId xmlns:a16="http://schemas.microsoft.com/office/drawing/2014/main" id="{6ACD68C6-1ABC-FA7F-17D5-86EBD19A9E65}"/>
              </a:ext>
            </a:extLst>
          </p:cNvPr>
          <p:cNvSpPr/>
          <p:nvPr/>
        </p:nvSpPr>
        <p:spPr>
          <a:xfrm rot="21377273" flipH="1">
            <a:off x="3765516" y="1385770"/>
            <a:ext cx="4464496" cy="4464496"/>
          </a:xfrm>
          <a:prstGeom prst="pie">
            <a:avLst>
              <a:gd name="adj1" fmla="val 7003323"/>
              <a:gd name="adj2" fmla="val 9616028"/>
            </a:avLst>
          </a:prstGeom>
          <a:solidFill>
            <a:srgbClr val="4276AA">
              <a:alpha val="78000"/>
            </a:srgbClr>
          </a:solidFill>
          <a:ln w="9525" cap="flat" cmpd="sng" algn="ctr">
            <a:no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219140" rtl="0" eaLnBrk="1" fontAlgn="auto" latinLnBrk="0" hangingPunct="1">
              <a:lnSpc>
                <a:spcPct val="100000"/>
              </a:lnSpc>
              <a:spcBef>
                <a:spcPts val="0"/>
              </a:spcBef>
              <a:spcAft>
                <a:spcPts val="0"/>
              </a:spcAft>
              <a:buClrTx/>
              <a:buSzTx/>
              <a:buFont typeface="Arial"/>
              <a:buNone/>
              <a:tabLst/>
              <a:defRPr/>
            </a:pPr>
            <a:endParaRPr kumimoji="0" lang="en-US" sz="3200" b="0" i="0" u="none" strike="noStrike" kern="1200" cap="none" spc="0" normalizeH="0" baseline="0" noProof="0">
              <a:ln>
                <a:noFill/>
              </a:ln>
              <a:solidFill>
                <a:srgbClr val="57565A"/>
              </a:solidFill>
              <a:effectLst/>
              <a:uLnTx/>
              <a:uFillTx/>
              <a:latin typeface="Open Sans Light"/>
              <a:ea typeface="+mn-ea"/>
              <a:cs typeface="Arial"/>
              <a:sym typeface="Arial"/>
            </a:endParaRPr>
          </a:p>
        </p:txBody>
      </p:sp>
      <p:sp>
        <p:nvSpPr>
          <p:cNvPr id="9" name="Pie 8">
            <a:extLst>
              <a:ext uri="{FF2B5EF4-FFF2-40B4-BE49-F238E27FC236}">
                <a16:creationId xmlns:a16="http://schemas.microsoft.com/office/drawing/2014/main" id="{5E79137C-896B-AEBF-925D-8A17714571A3}"/>
              </a:ext>
            </a:extLst>
          </p:cNvPr>
          <p:cNvSpPr/>
          <p:nvPr/>
        </p:nvSpPr>
        <p:spPr>
          <a:xfrm flipH="1">
            <a:off x="3729322" y="1245930"/>
            <a:ext cx="4464496" cy="4644000"/>
          </a:xfrm>
          <a:prstGeom prst="pie">
            <a:avLst>
              <a:gd name="adj1" fmla="val 12147609"/>
              <a:gd name="adj2" fmla="val 14705398"/>
            </a:avLst>
          </a:prstGeom>
          <a:solidFill>
            <a:srgbClr val="6651A1">
              <a:alpha val="78000"/>
            </a:srgbClr>
          </a:solidFill>
          <a:ln w="9525" cap="flat" cmpd="sng" algn="ctr">
            <a:no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219140" rtl="0" eaLnBrk="1" fontAlgn="auto" latinLnBrk="0" hangingPunct="1">
              <a:lnSpc>
                <a:spcPct val="100000"/>
              </a:lnSpc>
              <a:spcBef>
                <a:spcPts val="0"/>
              </a:spcBef>
              <a:spcAft>
                <a:spcPts val="0"/>
              </a:spcAft>
              <a:buClrTx/>
              <a:buSzTx/>
              <a:buFont typeface="Arial"/>
              <a:buNone/>
              <a:tabLst/>
              <a:defRPr/>
            </a:pPr>
            <a:endParaRPr kumimoji="0" lang="en-US" sz="3200" b="0" i="0" u="none" strike="noStrike" kern="1200" cap="none" spc="0" normalizeH="0" baseline="0" noProof="0">
              <a:ln>
                <a:noFill/>
              </a:ln>
              <a:solidFill>
                <a:srgbClr val="57565A"/>
              </a:solidFill>
              <a:effectLst/>
              <a:uLnTx/>
              <a:uFillTx/>
              <a:latin typeface="Open Sans Light"/>
              <a:ea typeface="+mn-ea"/>
              <a:cs typeface="Arial"/>
              <a:sym typeface="Arial"/>
            </a:endParaRPr>
          </a:p>
        </p:txBody>
      </p:sp>
      <p:sp>
        <p:nvSpPr>
          <p:cNvPr id="10" name="Pie 42">
            <a:extLst>
              <a:ext uri="{FF2B5EF4-FFF2-40B4-BE49-F238E27FC236}">
                <a16:creationId xmlns:a16="http://schemas.microsoft.com/office/drawing/2014/main" id="{4C38344B-8792-F937-8AB9-791EF7F860D0}"/>
              </a:ext>
            </a:extLst>
          </p:cNvPr>
          <p:cNvSpPr/>
          <p:nvPr/>
        </p:nvSpPr>
        <p:spPr>
          <a:xfrm rot="922351" flipH="1">
            <a:off x="3920547" y="1819840"/>
            <a:ext cx="3932459" cy="3932459"/>
          </a:xfrm>
          <a:prstGeom prst="pie">
            <a:avLst>
              <a:gd name="adj1" fmla="val 1652294"/>
              <a:gd name="adj2" fmla="val 4893246"/>
            </a:avLst>
          </a:prstGeom>
          <a:solidFill>
            <a:srgbClr val="1891AB">
              <a:alpha val="78000"/>
            </a:srgbClr>
          </a:solidFill>
          <a:ln w="9525" cap="flat" cmpd="sng" algn="ctr">
            <a:no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219140" rtl="0" eaLnBrk="1" fontAlgn="auto" latinLnBrk="0" hangingPunct="1">
              <a:lnSpc>
                <a:spcPct val="100000"/>
              </a:lnSpc>
              <a:spcBef>
                <a:spcPts val="0"/>
              </a:spcBef>
              <a:spcAft>
                <a:spcPts val="0"/>
              </a:spcAft>
              <a:buClrTx/>
              <a:buSzTx/>
              <a:buFont typeface="Arial"/>
              <a:buNone/>
              <a:tabLst/>
              <a:defRPr/>
            </a:pPr>
            <a:endParaRPr kumimoji="0" lang="en-US" sz="3200" b="0" i="0" u="none" strike="noStrike" kern="1200" cap="none" spc="0" normalizeH="0" baseline="0" noProof="0">
              <a:ln>
                <a:noFill/>
              </a:ln>
              <a:solidFill>
                <a:srgbClr val="57565A"/>
              </a:solidFill>
              <a:effectLst/>
              <a:uLnTx/>
              <a:uFillTx/>
              <a:latin typeface="Open Sans Light"/>
              <a:ea typeface="+mn-ea"/>
              <a:cs typeface="Arial"/>
              <a:sym typeface="Arial"/>
            </a:endParaRPr>
          </a:p>
        </p:txBody>
      </p:sp>
      <p:cxnSp>
        <p:nvCxnSpPr>
          <p:cNvPr id="11" name="Straight Connector 10">
            <a:extLst>
              <a:ext uri="{FF2B5EF4-FFF2-40B4-BE49-F238E27FC236}">
                <a16:creationId xmlns:a16="http://schemas.microsoft.com/office/drawing/2014/main" id="{762012A7-FCA6-9A08-1A77-D16D4F1FC073}"/>
              </a:ext>
            </a:extLst>
          </p:cNvPr>
          <p:cNvCxnSpPr>
            <a:cxnSpLocks/>
          </p:cNvCxnSpPr>
          <p:nvPr/>
        </p:nvCxnSpPr>
        <p:spPr>
          <a:xfrm flipH="1">
            <a:off x="6041606" y="1892236"/>
            <a:ext cx="0" cy="3408379"/>
          </a:xfrm>
          <a:prstGeom prst="line">
            <a:avLst/>
          </a:prstGeom>
          <a:noFill/>
          <a:ln w="6350" cap="flat" cmpd="sng" algn="ctr">
            <a:solidFill>
              <a:sysClr val="window" lastClr="FFFFFF">
                <a:lumMod val="50000"/>
                <a:alpha val="50000"/>
              </a:sysClr>
            </a:solidFill>
            <a:prstDash val="solid"/>
          </a:ln>
          <a:effectLst/>
        </p:spPr>
      </p:cxnSp>
      <p:sp>
        <p:nvSpPr>
          <p:cNvPr id="12" name="Oval 11">
            <a:extLst>
              <a:ext uri="{FF2B5EF4-FFF2-40B4-BE49-F238E27FC236}">
                <a16:creationId xmlns:a16="http://schemas.microsoft.com/office/drawing/2014/main" id="{85E640DB-C949-1ABB-622A-F153A64A0F5E}"/>
              </a:ext>
            </a:extLst>
          </p:cNvPr>
          <p:cNvSpPr/>
          <p:nvPr/>
        </p:nvSpPr>
        <p:spPr>
          <a:xfrm>
            <a:off x="5131968" y="2686787"/>
            <a:ext cx="1819275" cy="1819275"/>
          </a:xfrm>
          <a:prstGeom prst="ellipse">
            <a:avLst/>
          </a:prstGeom>
          <a:solidFill>
            <a:schemeClr val="lt1"/>
          </a:solidFill>
          <a:ln w="9525" cap="flat" cmpd="sng" algn="ctr">
            <a:no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219140" rtl="0" eaLnBrk="1" fontAlgn="auto" latinLnBrk="0" hangingPunct="1">
              <a:lnSpc>
                <a:spcPct val="100000"/>
              </a:lnSpc>
              <a:spcBef>
                <a:spcPts val="0"/>
              </a:spcBef>
              <a:spcAft>
                <a:spcPts val="0"/>
              </a:spcAft>
              <a:buClrTx/>
              <a:buSzTx/>
              <a:buFont typeface="Arial"/>
              <a:buNone/>
              <a:tabLst/>
              <a:defRPr/>
            </a:pPr>
            <a:r>
              <a:rPr kumimoji="0" lang="en-US" sz="1600" b="0" i="0" u="none" strike="noStrike" kern="1200" cap="none" spc="0" normalizeH="0" baseline="0" noProof="0">
                <a:ln>
                  <a:noFill/>
                </a:ln>
                <a:solidFill>
                  <a:srgbClr val="1D3D91"/>
                </a:solidFill>
                <a:effectLst/>
                <a:uLnTx/>
                <a:uFillTx/>
                <a:latin typeface="Montserrat"/>
                <a:ea typeface="+mn-ea"/>
                <a:cs typeface="Arial"/>
                <a:sym typeface="Arial"/>
              </a:rPr>
              <a:t>Talan consulting</a:t>
            </a:r>
          </a:p>
        </p:txBody>
      </p:sp>
      <p:sp>
        <p:nvSpPr>
          <p:cNvPr id="13" name="Freeform 73">
            <a:extLst>
              <a:ext uri="{FF2B5EF4-FFF2-40B4-BE49-F238E27FC236}">
                <a16:creationId xmlns:a16="http://schemas.microsoft.com/office/drawing/2014/main" id="{740CD8FB-2C56-C88E-E5C4-F8EDE0AEE242}"/>
              </a:ext>
            </a:extLst>
          </p:cNvPr>
          <p:cNvSpPr/>
          <p:nvPr/>
        </p:nvSpPr>
        <p:spPr>
          <a:xfrm>
            <a:off x="7672809" y="1862248"/>
            <a:ext cx="567267" cy="190500"/>
          </a:xfrm>
          <a:custGeom>
            <a:avLst/>
            <a:gdLst>
              <a:gd name="connsiteX0" fmla="*/ 0 w 425450"/>
              <a:gd name="connsiteY0" fmla="*/ 142875 h 142875"/>
              <a:gd name="connsiteX1" fmla="*/ 168275 w 425450"/>
              <a:gd name="connsiteY1" fmla="*/ 0 h 142875"/>
              <a:gd name="connsiteX2" fmla="*/ 425450 w 425450"/>
              <a:gd name="connsiteY2" fmla="*/ 0 h 142875"/>
            </a:gdLst>
            <a:ahLst/>
            <a:cxnLst>
              <a:cxn ang="0">
                <a:pos x="connsiteX0" y="connsiteY0"/>
              </a:cxn>
              <a:cxn ang="0">
                <a:pos x="connsiteX1" y="connsiteY1"/>
              </a:cxn>
              <a:cxn ang="0">
                <a:pos x="connsiteX2" y="connsiteY2"/>
              </a:cxn>
            </a:cxnLst>
            <a:rect l="l" t="t" r="r" b="b"/>
            <a:pathLst>
              <a:path w="425450" h="142875">
                <a:moveTo>
                  <a:pt x="0" y="142875"/>
                </a:moveTo>
                <a:lnTo>
                  <a:pt x="168275" y="0"/>
                </a:lnTo>
                <a:lnTo>
                  <a:pt x="425450" y="0"/>
                </a:lnTo>
              </a:path>
            </a:pathLst>
          </a:custGeom>
          <a:noFill/>
          <a:ln w="9525" cap="flat" cmpd="sng" algn="ctr">
            <a:solidFill>
              <a:sysClr val="window" lastClr="FFFFFF">
                <a:lumMod val="50000"/>
              </a:sysClr>
            </a:solid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219140" rtl="0" eaLnBrk="1" fontAlgn="auto" latinLnBrk="0" hangingPunct="1">
              <a:lnSpc>
                <a:spcPct val="100000"/>
              </a:lnSpc>
              <a:spcBef>
                <a:spcPts val="0"/>
              </a:spcBef>
              <a:spcAft>
                <a:spcPts val="0"/>
              </a:spcAft>
              <a:buClrTx/>
              <a:buSzTx/>
              <a:buFont typeface="Arial"/>
              <a:buNone/>
              <a:tabLst/>
              <a:defRPr/>
            </a:pPr>
            <a:endParaRPr kumimoji="0" lang="en-US" sz="3200" b="0" i="0" u="none" strike="noStrike" kern="1200" cap="none" spc="0" normalizeH="0" baseline="0" noProof="0">
              <a:ln>
                <a:noFill/>
              </a:ln>
              <a:solidFill>
                <a:prstClr val="white"/>
              </a:solidFill>
              <a:effectLst/>
              <a:uLnTx/>
              <a:uFillTx/>
              <a:latin typeface="Open Sans Light"/>
              <a:ea typeface="+mn-ea"/>
              <a:cs typeface="Arial"/>
              <a:sym typeface="Arial"/>
            </a:endParaRPr>
          </a:p>
        </p:txBody>
      </p:sp>
      <p:sp>
        <p:nvSpPr>
          <p:cNvPr id="14" name="Freeform 74">
            <a:extLst>
              <a:ext uri="{FF2B5EF4-FFF2-40B4-BE49-F238E27FC236}">
                <a16:creationId xmlns:a16="http://schemas.microsoft.com/office/drawing/2014/main" id="{14A989CE-E809-5D6E-A7DD-3833942BDD4E}"/>
              </a:ext>
            </a:extLst>
          </p:cNvPr>
          <p:cNvSpPr/>
          <p:nvPr/>
        </p:nvSpPr>
        <p:spPr>
          <a:xfrm flipV="1">
            <a:off x="7788691" y="4971127"/>
            <a:ext cx="612000" cy="360000"/>
          </a:xfrm>
          <a:custGeom>
            <a:avLst/>
            <a:gdLst>
              <a:gd name="connsiteX0" fmla="*/ 0 w 425450"/>
              <a:gd name="connsiteY0" fmla="*/ 142875 h 142875"/>
              <a:gd name="connsiteX1" fmla="*/ 168275 w 425450"/>
              <a:gd name="connsiteY1" fmla="*/ 0 h 142875"/>
              <a:gd name="connsiteX2" fmla="*/ 425450 w 425450"/>
              <a:gd name="connsiteY2" fmla="*/ 0 h 142875"/>
            </a:gdLst>
            <a:ahLst/>
            <a:cxnLst>
              <a:cxn ang="0">
                <a:pos x="connsiteX0" y="connsiteY0"/>
              </a:cxn>
              <a:cxn ang="0">
                <a:pos x="connsiteX1" y="connsiteY1"/>
              </a:cxn>
              <a:cxn ang="0">
                <a:pos x="connsiteX2" y="connsiteY2"/>
              </a:cxn>
            </a:cxnLst>
            <a:rect l="l" t="t" r="r" b="b"/>
            <a:pathLst>
              <a:path w="425450" h="142875">
                <a:moveTo>
                  <a:pt x="0" y="142875"/>
                </a:moveTo>
                <a:lnTo>
                  <a:pt x="168275" y="0"/>
                </a:lnTo>
                <a:lnTo>
                  <a:pt x="425450" y="0"/>
                </a:lnTo>
              </a:path>
            </a:pathLst>
          </a:custGeom>
          <a:noFill/>
          <a:ln w="9525" cap="flat" cmpd="sng" algn="ctr">
            <a:solidFill>
              <a:sysClr val="window" lastClr="FFFFFF">
                <a:lumMod val="50000"/>
              </a:sysClr>
            </a:solid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219140" rtl="0" eaLnBrk="1" fontAlgn="auto" latinLnBrk="0" hangingPunct="1">
              <a:lnSpc>
                <a:spcPct val="100000"/>
              </a:lnSpc>
              <a:spcBef>
                <a:spcPts val="0"/>
              </a:spcBef>
              <a:spcAft>
                <a:spcPts val="0"/>
              </a:spcAft>
              <a:buClrTx/>
              <a:buSzTx/>
              <a:buFont typeface="Arial"/>
              <a:buNone/>
              <a:tabLst/>
              <a:defRPr/>
            </a:pPr>
            <a:endParaRPr kumimoji="0" lang="en-US" sz="3200" b="0" i="0" u="none" strike="noStrike" kern="1200" cap="none" spc="0" normalizeH="0" baseline="0" noProof="0">
              <a:ln>
                <a:noFill/>
              </a:ln>
              <a:solidFill>
                <a:prstClr val="white"/>
              </a:solidFill>
              <a:effectLst/>
              <a:uLnTx/>
              <a:uFillTx/>
              <a:latin typeface="Open Sans Light"/>
              <a:ea typeface="+mn-ea"/>
              <a:cs typeface="Arial"/>
              <a:sym typeface="Arial"/>
            </a:endParaRPr>
          </a:p>
        </p:txBody>
      </p:sp>
      <p:sp>
        <p:nvSpPr>
          <p:cNvPr id="16" name="TextBox 84">
            <a:extLst>
              <a:ext uri="{FF2B5EF4-FFF2-40B4-BE49-F238E27FC236}">
                <a16:creationId xmlns:a16="http://schemas.microsoft.com/office/drawing/2014/main" id="{E2EF156F-EAE0-A6C1-2709-C464046BD994}"/>
              </a:ext>
            </a:extLst>
          </p:cNvPr>
          <p:cNvSpPr txBox="1"/>
          <p:nvPr/>
        </p:nvSpPr>
        <p:spPr>
          <a:xfrm>
            <a:off x="822036" y="1135691"/>
            <a:ext cx="2818269" cy="646331"/>
          </a:xfrm>
          <a:prstGeom prst="rect">
            <a:avLst/>
          </a:prstGeom>
          <a:noFill/>
        </p:spPr>
        <p:txBody>
          <a:bodyPr wrap="square" lIns="0" rIns="0" rtlCol="0" anchor="b">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1" i="0" u="none" strike="noStrike" kern="0" cap="all" spc="0" normalizeH="0" baseline="0" noProof="1">
                <a:ln>
                  <a:noFill/>
                </a:ln>
                <a:solidFill>
                  <a:srgbClr val="48B285"/>
                </a:solidFill>
                <a:effectLst/>
                <a:uLnTx/>
                <a:uFillTx/>
                <a:latin typeface="Montserrat"/>
                <a:cs typeface="Arial"/>
                <a:sym typeface="Arial"/>
              </a:rPr>
              <a:t>La connaissance de votre contexte, de vos enjeux et des interlocuteurs clés </a:t>
            </a:r>
          </a:p>
        </p:txBody>
      </p:sp>
      <p:sp>
        <p:nvSpPr>
          <p:cNvPr id="17" name="TextBox 85">
            <a:extLst>
              <a:ext uri="{FF2B5EF4-FFF2-40B4-BE49-F238E27FC236}">
                <a16:creationId xmlns:a16="http://schemas.microsoft.com/office/drawing/2014/main" id="{DF5BC537-5909-81E7-1776-95A1488B62AB}"/>
              </a:ext>
            </a:extLst>
          </p:cNvPr>
          <p:cNvSpPr txBox="1"/>
          <p:nvPr/>
        </p:nvSpPr>
        <p:spPr>
          <a:xfrm>
            <a:off x="352580" y="1808246"/>
            <a:ext cx="3321113" cy="2239074"/>
          </a:xfrm>
          <a:prstGeom prst="rect">
            <a:avLst/>
          </a:prstGeom>
          <a:noFill/>
        </p:spPr>
        <p:txBody>
          <a:bodyPr wrap="square" lIns="0" tIns="45720" rIns="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71450" indent="-171450" algn="just">
              <a:spcAft>
                <a:spcPts val="300"/>
              </a:spcAft>
              <a:buSzPct val="100000"/>
              <a:buFont typeface="Noto Sans Symbols,Sans-Serif" panose="020B0604020202020204" pitchFamily="34" charset="0"/>
              <a:buChar char="▪"/>
              <a:defRPr/>
            </a:pPr>
            <a:r>
              <a:rPr lang="fr-FR" sz="1100">
                <a:solidFill>
                  <a:schemeClr val="accent5"/>
                </a:solidFill>
                <a:latin typeface="Montserrat"/>
              </a:rPr>
              <a:t>Depuis 15 ans, nous accompagnons nos clients ferroviaires dans leurs transformations Métier et SI, et plus particulièrement dans le déploiement de solution de gestion de production et planification : FRET SNCF, Transilien, TGV, TER, Thalys, Eurostar, PME Ferroviaires européennes </a:t>
            </a:r>
            <a:endParaRPr lang="en-US"/>
          </a:p>
          <a:p>
            <a:pPr marL="171450" indent="-171450" algn="just">
              <a:buFont typeface="Noto Sans Symbols,Sans-Serif" panose="020B0604020202020204" pitchFamily="34" charset="0"/>
              <a:buChar char="▪"/>
              <a:defRPr/>
            </a:pPr>
            <a:r>
              <a:rPr lang="fr-FR" sz="1100">
                <a:solidFill>
                  <a:schemeClr val="accent5"/>
                </a:solidFill>
                <a:latin typeface="Montserrat"/>
              </a:rPr>
              <a:t>Nos consultants expérimentés disposent d’une double expertise des Métiers du ferroviaire et des projets de transformation.</a:t>
            </a:r>
            <a:endParaRPr lang="en-US" sz="1100">
              <a:solidFill>
                <a:schemeClr val="accent5"/>
              </a:solidFill>
              <a:latin typeface="Montserrat"/>
            </a:endParaRPr>
          </a:p>
          <a:p>
            <a:pPr marL="174625" marR="0" lvl="1" indent="-174625" algn="just" defTabSz="914400">
              <a:lnSpc>
                <a:spcPct val="100000"/>
              </a:lnSpc>
              <a:spcBef>
                <a:spcPts val="600"/>
              </a:spcBef>
              <a:spcAft>
                <a:spcPts val="0"/>
              </a:spcAft>
              <a:buClr>
                <a:srgbClr val="9C94D0"/>
              </a:buClr>
              <a:buSzPct val="100000"/>
              <a:buFont typeface="Arial" panose="020B0604020202020204" pitchFamily="34" charset="0"/>
              <a:buChar char="•"/>
              <a:tabLst/>
              <a:defRPr/>
            </a:pPr>
            <a:endParaRPr lang="fr-FR" sz="1100">
              <a:solidFill>
                <a:schemeClr val="accent5"/>
              </a:solidFill>
              <a:latin typeface="Montserrat"/>
            </a:endParaRPr>
          </a:p>
        </p:txBody>
      </p:sp>
      <p:sp>
        <p:nvSpPr>
          <p:cNvPr id="18" name="TextBox 45">
            <a:extLst>
              <a:ext uri="{FF2B5EF4-FFF2-40B4-BE49-F238E27FC236}">
                <a16:creationId xmlns:a16="http://schemas.microsoft.com/office/drawing/2014/main" id="{A1E8DA8D-DDA9-9516-4600-D91AAD8CD040}"/>
              </a:ext>
            </a:extLst>
          </p:cNvPr>
          <p:cNvSpPr txBox="1"/>
          <p:nvPr/>
        </p:nvSpPr>
        <p:spPr>
          <a:xfrm>
            <a:off x="9144258" y="3991185"/>
            <a:ext cx="2618568" cy="646331"/>
          </a:xfrm>
          <a:prstGeom prst="rect">
            <a:avLst/>
          </a:prstGeom>
          <a:noFill/>
        </p:spPr>
        <p:txBody>
          <a:bodyPr wrap="square" lIns="0" tIns="45720" rIns="0" bIns="45720" rtlCol="0" anchor="b">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defRPr/>
            </a:pPr>
            <a:r>
              <a:rPr lang="fr-FR" sz="1200" b="1" cap="all" noProof="1">
                <a:solidFill>
                  <a:srgbClr val="4875A2"/>
                </a:solidFill>
                <a:latin typeface="Montserrat"/>
              </a:rPr>
              <a:t>P&amp;C, une équipe dédiée à l’accompagnement humain des transformations</a:t>
            </a:r>
            <a:endParaRPr lang="fr-FR" sz="1200" b="1" i="0" u="none" strike="noStrike" kern="0" cap="all" spc="0" normalizeH="0" baseline="0" noProof="1">
              <a:ln>
                <a:noFill/>
              </a:ln>
              <a:solidFill>
                <a:srgbClr val="4875A2"/>
              </a:solidFill>
              <a:effectLst/>
              <a:uLnTx/>
              <a:uFillTx/>
              <a:latin typeface="Montserrat"/>
              <a:cs typeface="Arial"/>
            </a:endParaRPr>
          </a:p>
        </p:txBody>
      </p:sp>
      <p:sp>
        <p:nvSpPr>
          <p:cNvPr id="21" name="Freeform 75">
            <a:extLst>
              <a:ext uri="{FF2B5EF4-FFF2-40B4-BE49-F238E27FC236}">
                <a16:creationId xmlns:a16="http://schemas.microsoft.com/office/drawing/2014/main" id="{CE7191A5-2FC4-3492-A6B8-BA3E8C65D576}"/>
              </a:ext>
            </a:extLst>
          </p:cNvPr>
          <p:cNvSpPr/>
          <p:nvPr/>
        </p:nvSpPr>
        <p:spPr>
          <a:xfrm flipH="1">
            <a:off x="3830792" y="1647878"/>
            <a:ext cx="612000" cy="360000"/>
          </a:xfrm>
          <a:custGeom>
            <a:avLst/>
            <a:gdLst>
              <a:gd name="connsiteX0" fmla="*/ 0 w 425450"/>
              <a:gd name="connsiteY0" fmla="*/ 142875 h 142875"/>
              <a:gd name="connsiteX1" fmla="*/ 168275 w 425450"/>
              <a:gd name="connsiteY1" fmla="*/ 0 h 142875"/>
              <a:gd name="connsiteX2" fmla="*/ 425450 w 425450"/>
              <a:gd name="connsiteY2" fmla="*/ 0 h 142875"/>
            </a:gdLst>
            <a:ahLst/>
            <a:cxnLst>
              <a:cxn ang="0">
                <a:pos x="connsiteX0" y="connsiteY0"/>
              </a:cxn>
              <a:cxn ang="0">
                <a:pos x="connsiteX1" y="connsiteY1"/>
              </a:cxn>
              <a:cxn ang="0">
                <a:pos x="connsiteX2" y="connsiteY2"/>
              </a:cxn>
            </a:cxnLst>
            <a:rect l="l" t="t" r="r" b="b"/>
            <a:pathLst>
              <a:path w="425450" h="142875">
                <a:moveTo>
                  <a:pt x="0" y="142875"/>
                </a:moveTo>
                <a:lnTo>
                  <a:pt x="168275" y="0"/>
                </a:lnTo>
                <a:lnTo>
                  <a:pt x="425450" y="0"/>
                </a:lnTo>
              </a:path>
            </a:pathLst>
          </a:custGeom>
          <a:noFill/>
          <a:ln w="9525" cap="flat" cmpd="sng" algn="ctr">
            <a:solidFill>
              <a:sysClr val="window" lastClr="FFFFFF">
                <a:lumMod val="50000"/>
              </a:sysClr>
            </a:solid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378" rtl="0" eaLnBrk="1" fontAlgn="auto" latinLnBrk="0" hangingPunct="1">
              <a:lnSpc>
                <a:spcPct val="100000"/>
              </a:lnSpc>
              <a:spcBef>
                <a:spcPts val="0"/>
              </a:spcBef>
              <a:spcAft>
                <a:spcPts val="0"/>
              </a:spcAft>
              <a:buClrTx/>
              <a:buSzTx/>
              <a:buFont typeface="Arial"/>
              <a:buNone/>
              <a:tabLst/>
              <a:defRPr/>
            </a:pPr>
            <a:endParaRPr kumimoji="0" lang="en-US" sz="2400" b="0" i="0" u="none" strike="noStrike" kern="1200" cap="none" spc="0" normalizeH="0" baseline="0" noProof="0">
              <a:ln>
                <a:noFill/>
              </a:ln>
              <a:solidFill>
                <a:prstClr val="white"/>
              </a:solidFill>
              <a:effectLst/>
              <a:uLnTx/>
              <a:uFillTx/>
              <a:latin typeface="Open Sans Light"/>
              <a:ea typeface="+mn-ea"/>
              <a:cs typeface="Arial"/>
              <a:sym typeface="Arial"/>
            </a:endParaRPr>
          </a:p>
        </p:txBody>
      </p:sp>
      <p:sp>
        <p:nvSpPr>
          <p:cNvPr id="23" name="TextBox 64">
            <a:extLst>
              <a:ext uri="{FF2B5EF4-FFF2-40B4-BE49-F238E27FC236}">
                <a16:creationId xmlns:a16="http://schemas.microsoft.com/office/drawing/2014/main" id="{DB6C3D9F-349A-844B-ED6B-5E26B0117BB7}"/>
              </a:ext>
            </a:extLst>
          </p:cNvPr>
          <p:cNvSpPr txBox="1"/>
          <p:nvPr/>
        </p:nvSpPr>
        <p:spPr>
          <a:xfrm>
            <a:off x="979054" y="3991185"/>
            <a:ext cx="2530800" cy="646331"/>
          </a:xfrm>
          <a:prstGeom prst="rect">
            <a:avLst/>
          </a:prstGeom>
          <a:noFill/>
        </p:spPr>
        <p:txBody>
          <a:bodyPr wrap="square" lIns="0" tIns="45720" rIns="0" bIns="45720" rtlCol="0" anchor="b">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defRPr/>
            </a:pPr>
            <a:r>
              <a:rPr lang="fr-FR" sz="1200" b="1" cap="all" noProof="1">
                <a:solidFill>
                  <a:schemeClr val="accent6"/>
                </a:solidFill>
                <a:latin typeface="Montserrat"/>
              </a:rPr>
              <a:t>LA MISE EN ŒUVRE DE FORMATIONS DANS LE CADRE D’UN ORGANISME CERTIFIé</a:t>
            </a:r>
            <a:endParaRPr lang="en-US" sz="1200" b="1" cap="all">
              <a:solidFill>
                <a:schemeClr val="accent6"/>
              </a:solidFill>
              <a:latin typeface="Montserrat"/>
            </a:endParaRPr>
          </a:p>
        </p:txBody>
      </p:sp>
      <p:sp>
        <p:nvSpPr>
          <p:cNvPr id="25" name="TextBox 65">
            <a:extLst>
              <a:ext uri="{FF2B5EF4-FFF2-40B4-BE49-F238E27FC236}">
                <a16:creationId xmlns:a16="http://schemas.microsoft.com/office/drawing/2014/main" id="{ED42A14E-AA65-2244-0FAC-744C00CCE5DB}"/>
              </a:ext>
            </a:extLst>
          </p:cNvPr>
          <p:cNvSpPr txBox="1"/>
          <p:nvPr/>
        </p:nvSpPr>
        <p:spPr>
          <a:xfrm>
            <a:off x="361404" y="4707068"/>
            <a:ext cx="3312000" cy="1862048"/>
          </a:xfrm>
          <a:prstGeom prst="rect">
            <a:avLst/>
          </a:prstGeom>
          <a:noFill/>
        </p:spPr>
        <p:txBody>
          <a:bodyPr wrap="square" lIns="0" tIns="45720" rIns="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71450" lvl="1" indent="-171450" algn="just">
              <a:spcBef>
                <a:spcPts val="600"/>
              </a:spcBef>
              <a:buClr>
                <a:srgbClr val="E8E6F4">
                  <a:lumMod val="75000"/>
                </a:srgbClr>
              </a:buClr>
              <a:buSzPct val="100000"/>
              <a:buFont typeface="Arial" panose="020B0604020202020204" pitchFamily="34" charset="0"/>
              <a:buChar char="•"/>
              <a:defRPr/>
            </a:pPr>
            <a:r>
              <a:rPr lang="fr-FR" sz="1100">
                <a:solidFill>
                  <a:srgbClr val="3D94A5"/>
                </a:solidFill>
                <a:latin typeface="Montserrat"/>
              </a:rPr>
              <a:t>L’ensemble des formations (présentiel et e-learning) proposées est dispensé via Talan Institute, notre organisme de formation certifié </a:t>
            </a:r>
            <a:r>
              <a:rPr lang="fr-FR" sz="1100" err="1">
                <a:solidFill>
                  <a:srgbClr val="3D94A5"/>
                </a:solidFill>
                <a:latin typeface="Montserrat"/>
              </a:rPr>
              <a:t>Qualiopi</a:t>
            </a:r>
            <a:r>
              <a:rPr lang="fr-FR" sz="1100">
                <a:solidFill>
                  <a:srgbClr val="3D94A5"/>
                </a:solidFill>
                <a:latin typeface="Montserrat"/>
              </a:rPr>
              <a:t>.</a:t>
            </a:r>
          </a:p>
          <a:p>
            <a:pPr marL="171450" marR="0" lvl="1" indent="-171450" algn="just" defTabSz="914400" rtl="0" eaLnBrk="1" fontAlgn="auto" latinLnBrk="0" hangingPunct="1">
              <a:lnSpc>
                <a:spcPct val="100000"/>
              </a:lnSpc>
              <a:spcBef>
                <a:spcPts val="600"/>
              </a:spcBef>
              <a:spcAft>
                <a:spcPts val="0"/>
              </a:spcAft>
              <a:buClr>
                <a:srgbClr val="E8E6F4">
                  <a:lumMod val="75000"/>
                </a:srgbClr>
              </a:buClr>
              <a:buSzPct val="100000"/>
              <a:buFont typeface="Arial" panose="020B0604020202020204" pitchFamily="34" charset="0"/>
              <a:buChar char="•"/>
              <a:tabLst/>
              <a:defRPr/>
            </a:pPr>
            <a:r>
              <a:rPr lang="en-US" sz="1100" kern="0" noProof="1">
                <a:solidFill>
                  <a:srgbClr val="3D94A5"/>
                </a:solidFill>
                <a:latin typeface="Montserrat"/>
                <a:cs typeface="Arial"/>
                <a:sym typeface="Arial"/>
              </a:rPr>
              <a:t>Chaque formation bénéficie </a:t>
            </a:r>
            <a:r>
              <a:rPr kumimoji="0" lang="en-US" sz="1100" b="0" i="0" u="none" strike="noStrike" kern="0" cap="none" spc="0" normalizeH="0" baseline="0" noProof="1">
                <a:ln>
                  <a:noFill/>
                </a:ln>
                <a:solidFill>
                  <a:srgbClr val="3D94A5"/>
                </a:solidFill>
                <a:effectLst/>
                <a:uLnTx/>
                <a:uFillTx/>
                <a:latin typeface="Montserrat"/>
                <a:cs typeface="Arial"/>
                <a:sym typeface="Arial"/>
              </a:rPr>
              <a:t>d’un suivi pédagogique comprenant des infographies </a:t>
            </a:r>
            <a:r>
              <a:rPr lang="fr-FR" sz="1100" kern="0">
                <a:solidFill>
                  <a:srgbClr val="3D94A5"/>
                </a:solidFill>
                <a:latin typeface="Montserrat"/>
                <a:cs typeface="Arial"/>
              </a:rPr>
              <a:t>de la formation et du transfert des acquis ; des évaluations numériques ainsi que la fourniture d’indicateurs de performances dans l’outil DIGIFORMA</a:t>
            </a:r>
            <a:r>
              <a:rPr lang="en-US" sz="1100" kern="0" noProof="1">
                <a:solidFill>
                  <a:srgbClr val="3D94A5"/>
                </a:solidFill>
                <a:latin typeface="Montserrat"/>
                <a:cs typeface="Arial"/>
                <a:sym typeface="Arial"/>
              </a:rPr>
              <a:t>.</a:t>
            </a:r>
            <a:endParaRPr lang="fr-FR" sz="1100" kern="0">
              <a:solidFill>
                <a:srgbClr val="3D94A5"/>
              </a:solidFill>
              <a:latin typeface="Montserrat"/>
              <a:cs typeface="Arial"/>
            </a:endParaRPr>
          </a:p>
        </p:txBody>
      </p:sp>
      <p:sp>
        <p:nvSpPr>
          <p:cNvPr id="27" name="TextBox 87">
            <a:extLst>
              <a:ext uri="{FF2B5EF4-FFF2-40B4-BE49-F238E27FC236}">
                <a16:creationId xmlns:a16="http://schemas.microsoft.com/office/drawing/2014/main" id="{0BEF3F4B-E618-1494-3421-260AB0EC87CF}"/>
              </a:ext>
            </a:extLst>
          </p:cNvPr>
          <p:cNvSpPr txBox="1"/>
          <p:nvPr/>
        </p:nvSpPr>
        <p:spPr>
          <a:xfrm>
            <a:off x="9104562" y="1024892"/>
            <a:ext cx="2607574" cy="757130"/>
          </a:xfrm>
          <a:prstGeom prst="rect">
            <a:avLst/>
          </a:prstGeom>
          <a:noFill/>
        </p:spPr>
        <p:txBody>
          <a:bodyPr wrap="square" lIns="0" tIns="45720" rIns="0" bIns="45720" rtlCol="0" anchor="b">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defRPr/>
            </a:pPr>
            <a:r>
              <a:rPr lang="fr-FR" sz="1200" b="1" cap="all" noProof="1">
                <a:solidFill>
                  <a:schemeClr val="bg2"/>
                </a:solidFill>
                <a:latin typeface="Montserrat"/>
              </a:rPr>
              <a:t>Une capitalisation forte de nos expériences sur les projets APS (Advanced Planning System)</a:t>
            </a:r>
            <a:endParaRPr lang="en-US" sz="1200" b="1" cap="all" noProof="1">
              <a:solidFill>
                <a:schemeClr val="bg2"/>
              </a:solidFill>
              <a:latin typeface="Montserrat"/>
            </a:endParaRPr>
          </a:p>
        </p:txBody>
      </p:sp>
      <p:sp>
        <p:nvSpPr>
          <p:cNvPr id="29" name="TextBox 88">
            <a:extLst>
              <a:ext uri="{FF2B5EF4-FFF2-40B4-BE49-F238E27FC236}">
                <a16:creationId xmlns:a16="http://schemas.microsoft.com/office/drawing/2014/main" id="{B54F31AE-AFB7-514D-4F49-9EB53C412810}"/>
              </a:ext>
            </a:extLst>
          </p:cNvPr>
          <p:cNvSpPr txBox="1"/>
          <p:nvPr/>
        </p:nvSpPr>
        <p:spPr>
          <a:xfrm>
            <a:off x="8435208" y="1808246"/>
            <a:ext cx="3312000" cy="2069797"/>
          </a:xfrm>
          <a:prstGeom prst="rect">
            <a:avLst/>
          </a:prstGeom>
          <a:noFill/>
        </p:spPr>
        <p:txBody>
          <a:bodyPr wrap="square" lIns="0" tIns="45720" rIns="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indent="-285750" algn="just">
              <a:spcAft>
                <a:spcPts val="300"/>
              </a:spcAft>
              <a:buClr>
                <a:srgbClr val="E8E6F4">
                  <a:lumMod val="75000"/>
                </a:srgbClr>
              </a:buClr>
              <a:buSzPct val="100000"/>
              <a:buFont typeface="Arial" panose="020B0604020202020204" pitchFamily="34" charset="0"/>
              <a:buChar char="•"/>
              <a:defRPr/>
            </a:pPr>
            <a:r>
              <a:rPr lang="fr-FR" sz="1100">
                <a:solidFill>
                  <a:srgbClr val="4875A2"/>
                </a:solidFill>
                <a:latin typeface="Montserrat"/>
              </a:rPr>
              <a:t>Le Club APS est une communauté de d’environ 50 consultants qui partagent et capitalisent leurs expériences sur les projets progiciel de planification ferroviaire et urbain (en respectant la confidentialité de chaque projet qui reste indépendant).</a:t>
            </a:r>
            <a:endParaRPr lang="en-US" sz="1100">
              <a:solidFill>
                <a:srgbClr val="4875A2"/>
              </a:solidFill>
              <a:latin typeface="Montserrat"/>
            </a:endParaRPr>
          </a:p>
          <a:p>
            <a:pPr marL="285750" lvl="1" indent="-285750" algn="just">
              <a:buClr>
                <a:srgbClr val="9C94D0"/>
              </a:buClr>
              <a:buSzPct val="100000"/>
              <a:buFont typeface="Arial" panose="020B0604020202020204" pitchFamily="34" charset="0"/>
              <a:buChar char="•"/>
              <a:defRPr/>
            </a:pPr>
            <a:r>
              <a:rPr lang="fr-FR" sz="1100">
                <a:solidFill>
                  <a:srgbClr val="4875A2"/>
                </a:solidFill>
                <a:latin typeface="Montserrat"/>
              </a:rPr>
              <a:t>Cette communauté est notamment présente sur les projets APS SNCF : intégration HASTUS chez les 3 activités Voyageurs. </a:t>
            </a:r>
            <a:endParaRPr lang="en-US" sz="1100">
              <a:solidFill>
                <a:srgbClr val="4875A2"/>
              </a:solidFill>
              <a:latin typeface="Montserrat"/>
            </a:endParaRPr>
          </a:p>
          <a:p>
            <a:pPr marL="174625" marR="0" lvl="1" indent="-174625" algn="just" defTabSz="914400">
              <a:lnSpc>
                <a:spcPct val="100000"/>
              </a:lnSpc>
              <a:spcBef>
                <a:spcPts val="600"/>
              </a:spcBef>
              <a:spcAft>
                <a:spcPts val="0"/>
              </a:spcAft>
              <a:buClr>
                <a:srgbClr val="9C94D0"/>
              </a:buClr>
              <a:buSzPct val="100000"/>
              <a:buFont typeface="Arial" panose="020B0604020202020204" pitchFamily="34" charset="0"/>
              <a:buChar char="•"/>
              <a:tabLst/>
              <a:defRPr/>
            </a:pPr>
            <a:endParaRPr lang="fr-FR" sz="1100" b="0" i="0" u="none" strike="noStrike" kern="0" cap="none" spc="0" normalizeH="0" baseline="0" noProof="0">
              <a:ln>
                <a:noFill/>
              </a:ln>
              <a:solidFill>
                <a:srgbClr val="645298"/>
              </a:solidFill>
              <a:effectLst/>
              <a:uLnTx/>
              <a:uFillTx/>
              <a:latin typeface="Montserrat"/>
              <a:cs typeface="Arial"/>
            </a:endParaRPr>
          </a:p>
        </p:txBody>
      </p:sp>
      <p:sp>
        <p:nvSpPr>
          <p:cNvPr id="31" name="Freeform 75">
            <a:extLst>
              <a:ext uri="{FF2B5EF4-FFF2-40B4-BE49-F238E27FC236}">
                <a16:creationId xmlns:a16="http://schemas.microsoft.com/office/drawing/2014/main" id="{7D855857-B854-9CE9-D239-CF3F02B1F8FF}"/>
              </a:ext>
            </a:extLst>
          </p:cNvPr>
          <p:cNvSpPr/>
          <p:nvPr/>
        </p:nvSpPr>
        <p:spPr>
          <a:xfrm rot="7428614" flipH="1">
            <a:off x="3842088" y="5076194"/>
            <a:ext cx="612000" cy="360000"/>
          </a:xfrm>
          <a:custGeom>
            <a:avLst/>
            <a:gdLst>
              <a:gd name="connsiteX0" fmla="*/ 0 w 425450"/>
              <a:gd name="connsiteY0" fmla="*/ 142875 h 142875"/>
              <a:gd name="connsiteX1" fmla="*/ 168275 w 425450"/>
              <a:gd name="connsiteY1" fmla="*/ 0 h 142875"/>
              <a:gd name="connsiteX2" fmla="*/ 425450 w 425450"/>
              <a:gd name="connsiteY2" fmla="*/ 0 h 142875"/>
            </a:gdLst>
            <a:ahLst/>
            <a:cxnLst>
              <a:cxn ang="0">
                <a:pos x="connsiteX0" y="connsiteY0"/>
              </a:cxn>
              <a:cxn ang="0">
                <a:pos x="connsiteX1" y="connsiteY1"/>
              </a:cxn>
              <a:cxn ang="0">
                <a:pos x="connsiteX2" y="connsiteY2"/>
              </a:cxn>
            </a:cxnLst>
            <a:rect l="l" t="t" r="r" b="b"/>
            <a:pathLst>
              <a:path w="425450" h="142875">
                <a:moveTo>
                  <a:pt x="0" y="142875"/>
                </a:moveTo>
                <a:lnTo>
                  <a:pt x="168275" y="0"/>
                </a:lnTo>
                <a:lnTo>
                  <a:pt x="425450" y="0"/>
                </a:lnTo>
              </a:path>
            </a:pathLst>
          </a:custGeom>
          <a:noFill/>
          <a:ln w="9525" cap="flat" cmpd="sng" algn="ctr">
            <a:solidFill>
              <a:sysClr val="window" lastClr="FFFFFF">
                <a:lumMod val="50000"/>
              </a:sysClr>
            </a:solid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378" rtl="0" eaLnBrk="1" fontAlgn="auto" latinLnBrk="0" hangingPunct="1">
              <a:lnSpc>
                <a:spcPct val="100000"/>
              </a:lnSpc>
              <a:spcBef>
                <a:spcPts val="0"/>
              </a:spcBef>
              <a:spcAft>
                <a:spcPts val="0"/>
              </a:spcAft>
              <a:buClrTx/>
              <a:buSzTx/>
              <a:buFont typeface="Arial"/>
              <a:buNone/>
              <a:tabLst/>
              <a:defRPr/>
            </a:pPr>
            <a:endParaRPr kumimoji="0" lang="en-US" sz="2400" b="0" i="0" u="none" strike="noStrike" kern="1200" cap="none" spc="0" normalizeH="0" baseline="0" noProof="0">
              <a:ln>
                <a:noFill/>
              </a:ln>
              <a:solidFill>
                <a:prstClr val="white"/>
              </a:solidFill>
              <a:effectLst/>
              <a:uLnTx/>
              <a:uFillTx/>
              <a:latin typeface="Open Sans Light"/>
              <a:ea typeface="+mn-ea"/>
              <a:cs typeface="Arial"/>
              <a:sym typeface="Arial"/>
            </a:endParaRPr>
          </a:p>
        </p:txBody>
      </p:sp>
      <p:sp>
        <p:nvSpPr>
          <p:cNvPr id="33" name="Freeform 5">
            <a:extLst>
              <a:ext uri="{FF2B5EF4-FFF2-40B4-BE49-F238E27FC236}">
                <a16:creationId xmlns:a16="http://schemas.microsoft.com/office/drawing/2014/main" id="{528BEFE3-04F8-F05B-0218-E36BA59F9C53}"/>
              </a:ext>
            </a:extLst>
          </p:cNvPr>
          <p:cNvSpPr>
            <a:spLocks noChangeAspect="1" noEditPoints="1"/>
          </p:cNvSpPr>
          <p:nvPr/>
        </p:nvSpPr>
        <p:spPr bwMode="auto">
          <a:xfrm>
            <a:off x="4465224" y="2018884"/>
            <a:ext cx="614480" cy="576000"/>
          </a:xfrm>
          <a:custGeom>
            <a:avLst/>
            <a:gdLst>
              <a:gd name="T0" fmla="*/ 796 w 1231"/>
              <a:gd name="T1" fmla="*/ 737 h 1152"/>
              <a:gd name="T2" fmla="*/ 777 w 1231"/>
              <a:gd name="T3" fmla="*/ 665 h 1152"/>
              <a:gd name="T4" fmla="*/ 749 w 1231"/>
              <a:gd name="T5" fmla="*/ 628 h 1152"/>
              <a:gd name="T6" fmla="*/ 709 w 1231"/>
              <a:gd name="T7" fmla="*/ 605 h 1152"/>
              <a:gd name="T8" fmla="*/ 676 w 1231"/>
              <a:gd name="T9" fmla="*/ 582 h 1152"/>
              <a:gd name="T10" fmla="*/ 630 w 1231"/>
              <a:gd name="T11" fmla="*/ 580 h 1152"/>
              <a:gd name="T12" fmla="*/ 591 w 1231"/>
              <a:gd name="T13" fmla="*/ 573 h 1152"/>
              <a:gd name="T14" fmla="*/ 549 w 1231"/>
              <a:gd name="T15" fmla="*/ 591 h 1152"/>
              <a:gd name="T16" fmla="*/ 511 w 1231"/>
              <a:gd name="T17" fmla="*/ 603 h 1152"/>
              <a:gd name="T18" fmla="*/ 481 w 1231"/>
              <a:gd name="T19" fmla="*/ 637 h 1152"/>
              <a:gd name="T20" fmla="*/ 436 w 1231"/>
              <a:gd name="T21" fmla="*/ 698 h 1152"/>
              <a:gd name="T22" fmla="*/ 429 w 1231"/>
              <a:gd name="T23" fmla="*/ 743 h 1152"/>
              <a:gd name="T24" fmla="*/ 442 w 1231"/>
              <a:gd name="T25" fmla="*/ 817 h 1152"/>
              <a:gd name="T26" fmla="*/ 465 w 1231"/>
              <a:gd name="T27" fmla="*/ 865 h 1152"/>
              <a:gd name="T28" fmla="*/ 508 w 1231"/>
              <a:gd name="T29" fmla="*/ 923 h 1152"/>
              <a:gd name="T30" fmla="*/ 528 w 1231"/>
              <a:gd name="T31" fmla="*/ 922 h 1152"/>
              <a:gd name="T32" fmla="*/ 578 w 1231"/>
              <a:gd name="T33" fmla="*/ 958 h 1152"/>
              <a:gd name="T34" fmla="*/ 617 w 1231"/>
              <a:gd name="T35" fmla="*/ 942 h 1152"/>
              <a:gd name="T36" fmla="*/ 656 w 1231"/>
              <a:gd name="T37" fmla="*/ 958 h 1152"/>
              <a:gd name="T38" fmla="*/ 706 w 1231"/>
              <a:gd name="T39" fmla="*/ 922 h 1152"/>
              <a:gd name="T40" fmla="*/ 726 w 1231"/>
              <a:gd name="T41" fmla="*/ 923 h 1152"/>
              <a:gd name="T42" fmla="*/ 770 w 1231"/>
              <a:gd name="T43" fmla="*/ 866 h 1152"/>
              <a:gd name="T44" fmla="*/ 792 w 1231"/>
              <a:gd name="T45" fmla="*/ 819 h 1152"/>
              <a:gd name="T46" fmla="*/ 626 w 1231"/>
              <a:gd name="T47" fmla="*/ 798 h 1152"/>
              <a:gd name="T48" fmla="*/ 534 w 1231"/>
              <a:gd name="T49" fmla="*/ 768 h 1152"/>
              <a:gd name="T50" fmla="*/ 666 w 1231"/>
              <a:gd name="T51" fmla="*/ 696 h 1152"/>
              <a:gd name="T52" fmla="*/ 832 w 1231"/>
              <a:gd name="T53" fmla="*/ 457 h 1152"/>
              <a:gd name="T54" fmla="*/ 401 w 1231"/>
              <a:gd name="T55" fmla="*/ 457 h 1152"/>
              <a:gd name="T56" fmla="*/ 542 w 1231"/>
              <a:gd name="T57" fmla="*/ 282 h 1152"/>
              <a:gd name="T58" fmla="*/ 532 w 1231"/>
              <a:gd name="T59" fmla="*/ 202 h 1152"/>
              <a:gd name="T60" fmla="*/ 520 w 1231"/>
              <a:gd name="T61" fmla="*/ 122 h 1152"/>
              <a:gd name="T62" fmla="*/ 545 w 1231"/>
              <a:gd name="T63" fmla="*/ 36 h 1152"/>
              <a:gd name="T64" fmla="*/ 590 w 1231"/>
              <a:gd name="T65" fmla="*/ 6 h 1152"/>
              <a:gd name="T66" fmla="*/ 686 w 1231"/>
              <a:gd name="T67" fmla="*/ 36 h 1152"/>
              <a:gd name="T68" fmla="*/ 719 w 1231"/>
              <a:gd name="T69" fmla="*/ 172 h 1152"/>
              <a:gd name="T70" fmla="*/ 689 w 1231"/>
              <a:gd name="T71" fmla="*/ 278 h 1152"/>
              <a:gd name="T72" fmla="*/ 832 w 1231"/>
              <a:gd name="T73" fmla="*/ 396 h 1152"/>
              <a:gd name="T74" fmla="*/ 1231 w 1231"/>
              <a:gd name="T75" fmla="*/ 1091 h 1152"/>
              <a:gd name="T76" fmla="*/ 987 w 1231"/>
              <a:gd name="T77" fmla="*/ 1152 h 1152"/>
              <a:gd name="T78" fmla="*/ 815 w 1231"/>
              <a:gd name="T79" fmla="*/ 1058 h 1152"/>
              <a:gd name="T80" fmla="*/ 944 w 1231"/>
              <a:gd name="T81" fmla="*/ 931 h 1152"/>
              <a:gd name="T82" fmla="*/ 922 w 1231"/>
              <a:gd name="T83" fmla="*/ 831 h 1152"/>
              <a:gd name="T84" fmla="*/ 919 w 1231"/>
              <a:gd name="T85" fmla="*/ 774 h 1152"/>
              <a:gd name="T86" fmla="*/ 989 w 1231"/>
              <a:gd name="T87" fmla="*/ 701 h 1152"/>
              <a:gd name="T88" fmla="*/ 1060 w 1231"/>
              <a:gd name="T89" fmla="*/ 708 h 1152"/>
              <a:gd name="T90" fmla="*/ 1109 w 1231"/>
              <a:gd name="T91" fmla="*/ 831 h 1152"/>
              <a:gd name="T92" fmla="*/ 1087 w 1231"/>
              <a:gd name="T93" fmla="*/ 931 h 1152"/>
              <a:gd name="T94" fmla="*/ 1216 w 1231"/>
              <a:gd name="T95" fmla="*/ 1058 h 1152"/>
              <a:gd name="T96" fmla="*/ 0 w 1231"/>
              <a:gd name="T97" fmla="*/ 1091 h 1152"/>
              <a:gd name="T98" fmla="*/ 143 w 1231"/>
              <a:gd name="T99" fmla="*/ 973 h 1152"/>
              <a:gd name="T100" fmla="*/ 113 w 1231"/>
              <a:gd name="T101" fmla="*/ 867 h 1152"/>
              <a:gd name="T102" fmla="*/ 118 w 1231"/>
              <a:gd name="T103" fmla="*/ 817 h 1152"/>
              <a:gd name="T104" fmla="*/ 166 w 1231"/>
              <a:gd name="T105" fmla="*/ 712 h 1152"/>
              <a:gd name="T106" fmla="*/ 208 w 1231"/>
              <a:gd name="T107" fmla="*/ 697 h 1152"/>
              <a:gd name="T108" fmla="*/ 312 w 1231"/>
              <a:gd name="T109" fmla="*/ 817 h 1152"/>
              <a:gd name="T110" fmla="*/ 300 w 1231"/>
              <a:gd name="T111" fmla="*/ 897 h 1152"/>
              <a:gd name="T112" fmla="*/ 290 w 1231"/>
              <a:gd name="T113" fmla="*/ 977 h 1152"/>
              <a:gd name="T114" fmla="*/ 431 w 1231"/>
              <a:gd name="T115" fmla="*/ 1152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31" h="1152">
                <a:moveTo>
                  <a:pt x="804" y="782"/>
                </a:moveTo>
                <a:cubicBezTo>
                  <a:pt x="815" y="772"/>
                  <a:pt x="815" y="753"/>
                  <a:pt x="804" y="743"/>
                </a:cubicBezTo>
                <a:lnTo>
                  <a:pt x="796" y="737"/>
                </a:lnTo>
                <a:cubicBezTo>
                  <a:pt x="787" y="730"/>
                  <a:pt x="785" y="718"/>
                  <a:pt x="790" y="708"/>
                </a:cubicBezTo>
                <a:lnTo>
                  <a:pt x="794" y="700"/>
                </a:lnTo>
                <a:cubicBezTo>
                  <a:pt x="800" y="686"/>
                  <a:pt x="792" y="670"/>
                  <a:pt x="777" y="665"/>
                </a:cubicBezTo>
                <a:lnTo>
                  <a:pt x="767" y="662"/>
                </a:lnTo>
                <a:cubicBezTo>
                  <a:pt x="757" y="660"/>
                  <a:pt x="750" y="650"/>
                  <a:pt x="749" y="638"/>
                </a:cubicBezTo>
                <a:lnTo>
                  <a:pt x="749" y="628"/>
                </a:lnTo>
                <a:cubicBezTo>
                  <a:pt x="747" y="615"/>
                  <a:pt x="736" y="603"/>
                  <a:pt x="724" y="603"/>
                </a:cubicBezTo>
                <a:lnTo>
                  <a:pt x="719" y="603"/>
                </a:lnTo>
                <a:lnTo>
                  <a:pt x="709" y="605"/>
                </a:lnTo>
                <a:lnTo>
                  <a:pt x="704" y="605"/>
                </a:lnTo>
                <a:cubicBezTo>
                  <a:pt x="695" y="605"/>
                  <a:pt x="686" y="600"/>
                  <a:pt x="681" y="591"/>
                </a:cubicBezTo>
                <a:lnTo>
                  <a:pt x="676" y="582"/>
                </a:lnTo>
                <a:cubicBezTo>
                  <a:pt x="671" y="573"/>
                  <a:pt x="662" y="568"/>
                  <a:pt x="654" y="568"/>
                </a:cubicBezTo>
                <a:cubicBezTo>
                  <a:pt x="649" y="568"/>
                  <a:pt x="644" y="570"/>
                  <a:pt x="639" y="573"/>
                </a:cubicBezTo>
                <a:lnTo>
                  <a:pt x="630" y="580"/>
                </a:lnTo>
                <a:cubicBezTo>
                  <a:pt x="625" y="583"/>
                  <a:pt x="620" y="585"/>
                  <a:pt x="615" y="585"/>
                </a:cubicBezTo>
                <a:cubicBezTo>
                  <a:pt x="610" y="585"/>
                  <a:pt x="605" y="583"/>
                  <a:pt x="600" y="580"/>
                </a:cubicBezTo>
                <a:lnTo>
                  <a:pt x="591" y="573"/>
                </a:lnTo>
                <a:cubicBezTo>
                  <a:pt x="586" y="570"/>
                  <a:pt x="581" y="568"/>
                  <a:pt x="576" y="568"/>
                </a:cubicBezTo>
                <a:cubicBezTo>
                  <a:pt x="567" y="568"/>
                  <a:pt x="559" y="573"/>
                  <a:pt x="554" y="582"/>
                </a:cubicBezTo>
                <a:lnTo>
                  <a:pt x="549" y="591"/>
                </a:lnTo>
                <a:cubicBezTo>
                  <a:pt x="544" y="600"/>
                  <a:pt x="535" y="605"/>
                  <a:pt x="526" y="605"/>
                </a:cubicBezTo>
                <a:lnTo>
                  <a:pt x="521" y="605"/>
                </a:lnTo>
                <a:lnTo>
                  <a:pt x="511" y="603"/>
                </a:lnTo>
                <a:lnTo>
                  <a:pt x="506" y="603"/>
                </a:lnTo>
                <a:cubicBezTo>
                  <a:pt x="492" y="603"/>
                  <a:pt x="481" y="613"/>
                  <a:pt x="481" y="627"/>
                </a:cubicBezTo>
                <a:lnTo>
                  <a:pt x="481" y="637"/>
                </a:lnTo>
                <a:cubicBezTo>
                  <a:pt x="481" y="648"/>
                  <a:pt x="474" y="657"/>
                  <a:pt x="462" y="661"/>
                </a:cubicBezTo>
                <a:lnTo>
                  <a:pt x="452" y="663"/>
                </a:lnTo>
                <a:cubicBezTo>
                  <a:pt x="437" y="667"/>
                  <a:pt x="430" y="683"/>
                  <a:pt x="436" y="698"/>
                </a:cubicBezTo>
                <a:lnTo>
                  <a:pt x="440" y="707"/>
                </a:lnTo>
                <a:cubicBezTo>
                  <a:pt x="444" y="717"/>
                  <a:pt x="441" y="730"/>
                  <a:pt x="434" y="736"/>
                </a:cubicBezTo>
                <a:lnTo>
                  <a:pt x="429" y="743"/>
                </a:lnTo>
                <a:cubicBezTo>
                  <a:pt x="417" y="753"/>
                  <a:pt x="417" y="772"/>
                  <a:pt x="429" y="782"/>
                </a:cubicBezTo>
                <a:lnTo>
                  <a:pt x="436" y="788"/>
                </a:lnTo>
                <a:cubicBezTo>
                  <a:pt x="445" y="796"/>
                  <a:pt x="447" y="807"/>
                  <a:pt x="442" y="817"/>
                </a:cubicBezTo>
                <a:lnTo>
                  <a:pt x="438" y="827"/>
                </a:lnTo>
                <a:cubicBezTo>
                  <a:pt x="432" y="841"/>
                  <a:pt x="440" y="857"/>
                  <a:pt x="455" y="862"/>
                </a:cubicBezTo>
                <a:lnTo>
                  <a:pt x="465" y="865"/>
                </a:lnTo>
                <a:cubicBezTo>
                  <a:pt x="475" y="867"/>
                  <a:pt x="482" y="877"/>
                  <a:pt x="483" y="888"/>
                </a:cubicBezTo>
                <a:lnTo>
                  <a:pt x="483" y="898"/>
                </a:lnTo>
                <a:cubicBezTo>
                  <a:pt x="485" y="912"/>
                  <a:pt x="496" y="923"/>
                  <a:pt x="508" y="923"/>
                </a:cubicBezTo>
                <a:lnTo>
                  <a:pt x="513" y="923"/>
                </a:lnTo>
                <a:lnTo>
                  <a:pt x="523" y="922"/>
                </a:lnTo>
                <a:lnTo>
                  <a:pt x="528" y="922"/>
                </a:lnTo>
                <a:cubicBezTo>
                  <a:pt x="537" y="922"/>
                  <a:pt x="546" y="927"/>
                  <a:pt x="551" y="936"/>
                </a:cubicBezTo>
                <a:lnTo>
                  <a:pt x="556" y="945"/>
                </a:lnTo>
                <a:cubicBezTo>
                  <a:pt x="561" y="953"/>
                  <a:pt x="570" y="958"/>
                  <a:pt x="578" y="958"/>
                </a:cubicBezTo>
                <a:cubicBezTo>
                  <a:pt x="583" y="958"/>
                  <a:pt x="588" y="957"/>
                  <a:pt x="593" y="953"/>
                </a:cubicBezTo>
                <a:lnTo>
                  <a:pt x="602" y="947"/>
                </a:lnTo>
                <a:cubicBezTo>
                  <a:pt x="607" y="943"/>
                  <a:pt x="612" y="942"/>
                  <a:pt x="617" y="942"/>
                </a:cubicBezTo>
                <a:cubicBezTo>
                  <a:pt x="622" y="942"/>
                  <a:pt x="627" y="943"/>
                  <a:pt x="632" y="947"/>
                </a:cubicBezTo>
                <a:lnTo>
                  <a:pt x="641" y="953"/>
                </a:lnTo>
                <a:cubicBezTo>
                  <a:pt x="646" y="957"/>
                  <a:pt x="651" y="958"/>
                  <a:pt x="656" y="958"/>
                </a:cubicBezTo>
                <a:cubicBezTo>
                  <a:pt x="665" y="958"/>
                  <a:pt x="673" y="953"/>
                  <a:pt x="678" y="945"/>
                </a:cubicBezTo>
                <a:lnTo>
                  <a:pt x="683" y="936"/>
                </a:lnTo>
                <a:cubicBezTo>
                  <a:pt x="688" y="927"/>
                  <a:pt x="697" y="922"/>
                  <a:pt x="706" y="922"/>
                </a:cubicBezTo>
                <a:lnTo>
                  <a:pt x="711" y="922"/>
                </a:lnTo>
                <a:lnTo>
                  <a:pt x="721" y="923"/>
                </a:lnTo>
                <a:lnTo>
                  <a:pt x="726" y="923"/>
                </a:lnTo>
                <a:cubicBezTo>
                  <a:pt x="740" y="923"/>
                  <a:pt x="751" y="913"/>
                  <a:pt x="751" y="900"/>
                </a:cubicBezTo>
                <a:lnTo>
                  <a:pt x="751" y="890"/>
                </a:lnTo>
                <a:cubicBezTo>
                  <a:pt x="751" y="878"/>
                  <a:pt x="758" y="870"/>
                  <a:pt x="770" y="866"/>
                </a:cubicBezTo>
                <a:lnTo>
                  <a:pt x="780" y="863"/>
                </a:lnTo>
                <a:cubicBezTo>
                  <a:pt x="795" y="859"/>
                  <a:pt x="802" y="843"/>
                  <a:pt x="796" y="828"/>
                </a:cubicBezTo>
                <a:lnTo>
                  <a:pt x="792" y="819"/>
                </a:lnTo>
                <a:cubicBezTo>
                  <a:pt x="788" y="809"/>
                  <a:pt x="791" y="797"/>
                  <a:pt x="798" y="791"/>
                </a:cubicBezTo>
                <a:lnTo>
                  <a:pt x="804" y="782"/>
                </a:lnTo>
                <a:close/>
                <a:moveTo>
                  <a:pt x="626" y="798"/>
                </a:moveTo>
                <a:lnTo>
                  <a:pt x="595" y="830"/>
                </a:lnTo>
                <a:lnTo>
                  <a:pt x="564" y="798"/>
                </a:lnTo>
                <a:lnTo>
                  <a:pt x="534" y="768"/>
                </a:lnTo>
                <a:lnTo>
                  <a:pt x="565" y="737"/>
                </a:lnTo>
                <a:lnTo>
                  <a:pt x="595" y="767"/>
                </a:lnTo>
                <a:lnTo>
                  <a:pt x="666" y="696"/>
                </a:lnTo>
                <a:lnTo>
                  <a:pt x="697" y="727"/>
                </a:lnTo>
                <a:lnTo>
                  <a:pt x="626" y="798"/>
                </a:lnTo>
                <a:close/>
                <a:moveTo>
                  <a:pt x="832" y="457"/>
                </a:moveTo>
                <a:lnTo>
                  <a:pt x="645" y="457"/>
                </a:lnTo>
                <a:lnTo>
                  <a:pt x="589" y="457"/>
                </a:lnTo>
                <a:lnTo>
                  <a:pt x="401" y="457"/>
                </a:lnTo>
                <a:lnTo>
                  <a:pt x="401" y="396"/>
                </a:lnTo>
                <a:cubicBezTo>
                  <a:pt x="401" y="383"/>
                  <a:pt x="406" y="371"/>
                  <a:pt x="416" y="363"/>
                </a:cubicBezTo>
                <a:cubicBezTo>
                  <a:pt x="471" y="318"/>
                  <a:pt x="531" y="288"/>
                  <a:pt x="542" y="282"/>
                </a:cubicBezTo>
                <a:cubicBezTo>
                  <a:pt x="544" y="281"/>
                  <a:pt x="545" y="280"/>
                  <a:pt x="545" y="278"/>
                </a:cubicBezTo>
                <a:lnTo>
                  <a:pt x="545" y="236"/>
                </a:lnTo>
                <a:cubicBezTo>
                  <a:pt x="539" y="225"/>
                  <a:pt x="534" y="213"/>
                  <a:pt x="532" y="202"/>
                </a:cubicBezTo>
                <a:cubicBezTo>
                  <a:pt x="527" y="202"/>
                  <a:pt x="521" y="194"/>
                  <a:pt x="515" y="172"/>
                </a:cubicBezTo>
                <a:cubicBezTo>
                  <a:pt x="506" y="140"/>
                  <a:pt x="515" y="135"/>
                  <a:pt x="524" y="136"/>
                </a:cubicBezTo>
                <a:cubicBezTo>
                  <a:pt x="522" y="131"/>
                  <a:pt x="521" y="127"/>
                  <a:pt x="520" y="122"/>
                </a:cubicBezTo>
                <a:lnTo>
                  <a:pt x="520" y="122"/>
                </a:lnTo>
                <a:cubicBezTo>
                  <a:pt x="517" y="107"/>
                  <a:pt x="516" y="93"/>
                  <a:pt x="520" y="80"/>
                </a:cubicBezTo>
                <a:cubicBezTo>
                  <a:pt x="524" y="62"/>
                  <a:pt x="534" y="47"/>
                  <a:pt x="545" y="36"/>
                </a:cubicBezTo>
                <a:cubicBezTo>
                  <a:pt x="551" y="28"/>
                  <a:pt x="560" y="22"/>
                  <a:pt x="567" y="17"/>
                </a:cubicBezTo>
                <a:cubicBezTo>
                  <a:pt x="574" y="12"/>
                  <a:pt x="581" y="8"/>
                  <a:pt x="590" y="6"/>
                </a:cubicBezTo>
                <a:lnTo>
                  <a:pt x="590" y="6"/>
                </a:lnTo>
                <a:cubicBezTo>
                  <a:pt x="596" y="3"/>
                  <a:pt x="602" y="2"/>
                  <a:pt x="610" y="2"/>
                </a:cubicBezTo>
                <a:cubicBezTo>
                  <a:pt x="632" y="0"/>
                  <a:pt x="649" y="6"/>
                  <a:pt x="661" y="13"/>
                </a:cubicBezTo>
                <a:cubicBezTo>
                  <a:pt x="679" y="23"/>
                  <a:pt x="686" y="36"/>
                  <a:pt x="686" y="36"/>
                </a:cubicBezTo>
                <a:cubicBezTo>
                  <a:pt x="686" y="36"/>
                  <a:pt x="727" y="38"/>
                  <a:pt x="714" y="122"/>
                </a:cubicBezTo>
                <a:cubicBezTo>
                  <a:pt x="712" y="127"/>
                  <a:pt x="711" y="131"/>
                  <a:pt x="710" y="136"/>
                </a:cubicBezTo>
                <a:cubicBezTo>
                  <a:pt x="719" y="135"/>
                  <a:pt x="727" y="140"/>
                  <a:pt x="719" y="172"/>
                </a:cubicBezTo>
                <a:cubicBezTo>
                  <a:pt x="712" y="196"/>
                  <a:pt x="706" y="202"/>
                  <a:pt x="701" y="202"/>
                </a:cubicBezTo>
                <a:cubicBezTo>
                  <a:pt x="700" y="212"/>
                  <a:pt x="695" y="225"/>
                  <a:pt x="689" y="236"/>
                </a:cubicBezTo>
                <a:lnTo>
                  <a:pt x="689" y="278"/>
                </a:lnTo>
                <a:cubicBezTo>
                  <a:pt x="689" y="280"/>
                  <a:pt x="690" y="281"/>
                  <a:pt x="691" y="282"/>
                </a:cubicBezTo>
                <a:cubicBezTo>
                  <a:pt x="704" y="288"/>
                  <a:pt x="762" y="318"/>
                  <a:pt x="817" y="363"/>
                </a:cubicBezTo>
                <a:cubicBezTo>
                  <a:pt x="827" y="371"/>
                  <a:pt x="832" y="383"/>
                  <a:pt x="832" y="396"/>
                </a:cubicBezTo>
                <a:lnTo>
                  <a:pt x="832" y="457"/>
                </a:lnTo>
                <a:close/>
                <a:moveTo>
                  <a:pt x="1216" y="1058"/>
                </a:moveTo>
                <a:cubicBezTo>
                  <a:pt x="1226" y="1066"/>
                  <a:pt x="1231" y="1078"/>
                  <a:pt x="1231" y="1091"/>
                </a:cubicBezTo>
                <a:lnTo>
                  <a:pt x="1231" y="1152"/>
                </a:lnTo>
                <a:lnTo>
                  <a:pt x="1044" y="1152"/>
                </a:lnTo>
                <a:lnTo>
                  <a:pt x="987" y="1152"/>
                </a:lnTo>
                <a:lnTo>
                  <a:pt x="800" y="1152"/>
                </a:lnTo>
                <a:lnTo>
                  <a:pt x="800" y="1091"/>
                </a:lnTo>
                <a:cubicBezTo>
                  <a:pt x="800" y="1078"/>
                  <a:pt x="805" y="1066"/>
                  <a:pt x="815" y="1058"/>
                </a:cubicBezTo>
                <a:cubicBezTo>
                  <a:pt x="870" y="1013"/>
                  <a:pt x="930" y="983"/>
                  <a:pt x="941" y="977"/>
                </a:cubicBezTo>
                <a:cubicBezTo>
                  <a:pt x="942" y="976"/>
                  <a:pt x="944" y="975"/>
                  <a:pt x="944" y="973"/>
                </a:cubicBezTo>
                <a:lnTo>
                  <a:pt x="944" y="931"/>
                </a:lnTo>
                <a:cubicBezTo>
                  <a:pt x="937" y="919"/>
                  <a:pt x="932" y="908"/>
                  <a:pt x="931" y="897"/>
                </a:cubicBezTo>
                <a:cubicBezTo>
                  <a:pt x="926" y="897"/>
                  <a:pt x="920" y="890"/>
                  <a:pt x="914" y="867"/>
                </a:cubicBezTo>
                <a:cubicBezTo>
                  <a:pt x="905" y="834"/>
                  <a:pt x="914" y="829"/>
                  <a:pt x="922" y="831"/>
                </a:cubicBezTo>
                <a:cubicBezTo>
                  <a:pt x="921" y="826"/>
                  <a:pt x="920" y="822"/>
                  <a:pt x="919" y="817"/>
                </a:cubicBezTo>
                <a:lnTo>
                  <a:pt x="919" y="817"/>
                </a:lnTo>
                <a:cubicBezTo>
                  <a:pt x="916" y="802"/>
                  <a:pt x="915" y="788"/>
                  <a:pt x="919" y="774"/>
                </a:cubicBezTo>
                <a:cubicBezTo>
                  <a:pt x="922" y="757"/>
                  <a:pt x="932" y="742"/>
                  <a:pt x="944" y="731"/>
                </a:cubicBezTo>
                <a:cubicBezTo>
                  <a:pt x="950" y="723"/>
                  <a:pt x="959" y="717"/>
                  <a:pt x="966" y="712"/>
                </a:cubicBezTo>
                <a:cubicBezTo>
                  <a:pt x="972" y="707"/>
                  <a:pt x="980" y="703"/>
                  <a:pt x="989" y="701"/>
                </a:cubicBezTo>
                <a:lnTo>
                  <a:pt x="989" y="701"/>
                </a:lnTo>
                <a:cubicBezTo>
                  <a:pt x="995" y="698"/>
                  <a:pt x="1001" y="697"/>
                  <a:pt x="1008" y="697"/>
                </a:cubicBezTo>
                <a:cubicBezTo>
                  <a:pt x="1031" y="694"/>
                  <a:pt x="1047" y="701"/>
                  <a:pt x="1060" y="708"/>
                </a:cubicBezTo>
                <a:cubicBezTo>
                  <a:pt x="1077" y="718"/>
                  <a:pt x="1085" y="731"/>
                  <a:pt x="1085" y="731"/>
                </a:cubicBezTo>
                <a:cubicBezTo>
                  <a:pt x="1085" y="731"/>
                  <a:pt x="1126" y="733"/>
                  <a:pt x="1112" y="817"/>
                </a:cubicBezTo>
                <a:cubicBezTo>
                  <a:pt x="1111" y="822"/>
                  <a:pt x="1110" y="826"/>
                  <a:pt x="1109" y="831"/>
                </a:cubicBezTo>
                <a:cubicBezTo>
                  <a:pt x="1117" y="829"/>
                  <a:pt x="1126" y="834"/>
                  <a:pt x="1117" y="867"/>
                </a:cubicBezTo>
                <a:cubicBezTo>
                  <a:pt x="1111" y="891"/>
                  <a:pt x="1105" y="897"/>
                  <a:pt x="1100" y="897"/>
                </a:cubicBezTo>
                <a:cubicBezTo>
                  <a:pt x="1099" y="907"/>
                  <a:pt x="1093" y="919"/>
                  <a:pt x="1087" y="931"/>
                </a:cubicBezTo>
                <a:lnTo>
                  <a:pt x="1087" y="973"/>
                </a:lnTo>
                <a:cubicBezTo>
                  <a:pt x="1087" y="975"/>
                  <a:pt x="1088" y="976"/>
                  <a:pt x="1090" y="977"/>
                </a:cubicBezTo>
                <a:cubicBezTo>
                  <a:pt x="1102" y="983"/>
                  <a:pt x="1161" y="1013"/>
                  <a:pt x="1216" y="1058"/>
                </a:cubicBezTo>
                <a:close/>
                <a:moveTo>
                  <a:pt x="187" y="1152"/>
                </a:moveTo>
                <a:lnTo>
                  <a:pt x="0" y="1152"/>
                </a:lnTo>
                <a:lnTo>
                  <a:pt x="0" y="1091"/>
                </a:lnTo>
                <a:cubicBezTo>
                  <a:pt x="0" y="1078"/>
                  <a:pt x="5" y="1066"/>
                  <a:pt x="15" y="1058"/>
                </a:cubicBezTo>
                <a:cubicBezTo>
                  <a:pt x="70" y="1013"/>
                  <a:pt x="130" y="983"/>
                  <a:pt x="141" y="977"/>
                </a:cubicBezTo>
                <a:cubicBezTo>
                  <a:pt x="142" y="976"/>
                  <a:pt x="143" y="975"/>
                  <a:pt x="143" y="973"/>
                </a:cubicBezTo>
                <a:lnTo>
                  <a:pt x="143" y="931"/>
                </a:lnTo>
                <a:cubicBezTo>
                  <a:pt x="137" y="919"/>
                  <a:pt x="132" y="908"/>
                  <a:pt x="131" y="897"/>
                </a:cubicBezTo>
                <a:cubicBezTo>
                  <a:pt x="126" y="897"/>
                  <a:pt x="120" y="890"/>
                  <a:pt x="113" y="867"/>
                </a:cubicBezTo>
                <a:cubicBezTo>
                  <a:pt x="105" y="834"/>
                  <a:pt x="113" y="829"/>
                  <a:pt x="122" y="831"/>
                </a:cubicBezTo>
                <a:cubicBezTo>
                  <a:pt x="121" y="826"/>
                  <a:pt x="120" y="822"/>
                  <a:pt x="118" y="817"/>
                </a:cubicBezTo>
                <a:lnTo>
                  <a:pt x="118" y="817"/>
                </a:lnTo>
                <a:cubicBezTo>
                  <a:pt x="116" y="802"/>
                  <a:pt x="115" y="788"/>
                  <a:pt x="118" y="774"/>
                </a:cubicBezTo>
                <a:cubicBezTo>
                  <a:pt x="122" y="757"/>
                  <a:pt x="132" y="742"/>
                  <a:pt x="143" y="731"/>
                </a:cubicBezTo>
                <a:cubicBezTo>
                  <a:pt x="150" y="723"/>
                  <a:pt x="158" y="717"/>
                  <a:pt x="166" y="712"/>
                </a:cubicBezTo>
                <a:cubicBezTo>
                  <a:pt x="172" y="707"/>
                  <a:pt x="180" y="703"/>
                  <a:pt x="188" y="701"/>
                </a:cubicBezTo>
                <a:lnTo>
                  <a:pt x="188" y="701"/>
                </a:lnTo>
                <a:cubicBezTo>
                  <a:pt x="195" y="698"/>
                  <a:pt x="201" y="697"/>
                  <a:pt x="208" y="697"/>
                </a:cubicBezTo>
                <a:cubicBezTo>
                  <a:pt x="231" y="694"/>
                  <a:pt x="247" y="701"/>
                  <a:pt x="260" y="708"/>
                </a:cubicBezTo>
                <a:cubicBezTo>
                  <a:pt x="277" y="718"/>
                  <a:pt x="285" y="731"/>
                  <a:pt x="285" y="731"/>
                </a:cubicBezTo>
                <a:cubicBezTo>
                  <a:pt x="285" y="731"/>
                  <a:pt x="326" y="733"/>
                  <a:pt x="312" y="817"/>
                </a:cubicBezTo>
                <a:cubicBezTo>
                  <a:pt x="311" y="822"/>
                  <a:pt x="310" y="826"/>
                  <a:pt x="309" y="831"/>
                </a:cubicBezTo>
                <a:cubicBezTo>
                  <a:pt x="317" y="829"/>
                  <a:pt x="326" y="834"/>
                  <a:pt x="317" y="867"/>
                </a:cubicBezTo>
                <a:cubicBezTo>
                  <a:pt x="311" y="891"/>
                  <a:pt x="305" y="897"/>
                  <a:pt x="300" y="897"/>
                </a:cubicBezTo>
                <a:cubicBezTo>
                  <a:pt x="299" y="907"/>
                  <a:pt x="294" y="919"/>
                  <a:pt x="287" y="931"/>
                </a:cubicBezTo>
                <a:lnTo>
                  <a:pt x="287" y="973"/>
                </a:lnTo>
                <a:cubicBezTo>
                  <a:pt x="287" y="975"/>
                  <a:pt x="289" y="976"/>
                  <a:pt x="290" y="977"/>
                </a:cubicBezTo>
                <a:cubicBezTo>
                  <a:pt x="302" y="983"/>
                  <a:pt x="361" y="1013"/>
                  <a:pt x="416" y="1058"/>
                </a:cubicBezTo>
                <a:cubicBezTo>
                  <a:pt x="426" y="1066"/>
                  <a:pt x="431" y="1078"/>
                  <a:pt x="431" y="1091"/>
                </a:cubicBezTo>
                <a:lnTo>
                  <a:pt x="431" y="1152"/>
                </a:lnTo>
                <a:lnTo>
                  <a:pt x="244" y="1152"/>
                </a:lnTo>
                <a:lnTo>
                  <a:pt x="187" y="1152"/>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35" name="Groupe 82">
            <a:extLst>
              <a:ext uri="{FF2B5EF4-FFF2-40B4-BE49-F238E27FC236}">
                <a16:creationId xmlns:a16="http://schemas.microsoft.com/office/drawing/2014/main" id="{3303A056-8AD0-3799-CE11-75F7348B4975}"/>
              </a:ext>
            </a:extLst>
          </p:cNvPr>
          <p:cNvGrpSpPr>
            <a:grpSpLocks noChangeAspect="1"/>
          </p:cNvGrpSpPr>
          <p:nvPr/>
        </p:nvGrpSpPr>
        <p:grpSpPr>
          <a:xfrm>
            <a:off x="6813694" y="2024422"/>
            <a:ext cx="684228" cy="683999"/>
            <a:chOff x="7090786" y="4255000"/>
            <a:chExt cx="4802188" cy="4800600"/>
          </a:xfrm>
          <a:solidFill>
            <a:schemeClr val="bg1"/>
          </a:solidFill>
        </p:grpSpPr>
        <p:sp>
          <p:nvSpPr>
            <p:cNvPr id="119" name="Freeform 538">
              <a:extLst>
                <a:ext uri="{FF2B5EF4-FFF2-40B4-BE49-F238E27FC236}">
                  <a16:creationId xmlns:a16="http://schemas.microsoft.com/office/drawing/2014/main" id="{85556EDA-6D3E-F741-0342-7374350F521C}"/>
                </a:ext>
              </a:extLst>
            </p:cNvPr>
            <p:cNvSpPr>
              <a:spLocks/>
            </p:cNvSpPr>
            <p:nvPr/>
          </p:nvSpPr>
          <p:spPr bwMode="auto">
            <a:xfrm>
              <a:off x="9149773" y="4636000"/>
              <a:ext cx="682625" cy="1144588"/>
            </a:xfrm>
            <a:custGeom>
              <a:avLst/>
              <a:gdLst>
                <a:gd name="T0" fmla="*/ 35 w 160"/>
                <a:gd name="T1" fmla="*/ 239 h 268"/>
                <a:gd name="T2" fmla="*/ 63 w 160"/>
                <a:gd name="T3" fmla="*/ 268 h 268"/>
                <a:gd name="T4" fmla="*/ 95 w 160"/>
                <a:gd name="T5" fmla="*/ 268 h 268"/>
                <a:gd name="T6" fmla="*/ 123 w 160"/>
                <a:gd name="T7" fmla="*/ 239 h 268"/>
                <a:gd name="T8" fmla="*/ 133 w 160"/>
                <a:gd name="T9" fmla="*/ 160 h 268"/>
                <a:gd name="T10" fmla="*/ 160 w 160"/>
                <a:gd name="T11" fmla="*/ 160 h 268"/>
                <a:gd name="T12" fmla="*/ 160 w 160"/>
                <a:gd name="T13" fmla="*/ 80 h 268"/>
                <a:gd name="T14" fmla="*/ 80 w 160"/>
                <a:gd name="T15" fmla="*/ 0 h 268"/>
                <a:gd name="T16" fmla="*/ 0 w 160"/>
                <a:gd name="T17" fmla="*/ 80 h 268"/>
                <a:gd name="T18" fmla="*/ 0 w 160"/>
                <a:gd name="T19" fmla="*/ 160 h 268"/>
                <a:gd name="T20" fmla="*/ 26 w 160"/>
                <a:gd name="T21" fmla="*/ 160 h 268"/>
                <a:gd name="T22" fmla="*/ 35 w 160"/>
                <a:gd name="T23" fmla="*/ 239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268">
                  <a:moveTo>
                    <a:pt x="35" y="239"/>
                  </a:moveTo>
                  <a:cubicBezTo>
                    <a:pt x="35" y="255"/>
                    <a:pt x="48" y="268"/>
                    <a:pt x="63" y="268"/>
                  </a:cubicBezTo>
                  <a:lnTo>
                    <a:pt x="95" y="268"/>
                  </a:lnTo>
                  <a:cubicBezTo>
                    <a:pt x="110" y="268"/>
                    <a:pt x="123" y="255"/>
                    <a:pt x="123" y="239"/>
                  </a:cubicBezTo>
                  <a:lnTo>
                    <a:pt x="133" y="160"/>
                  </a:lnTo>
                  <a:lnTo>
                    <a:pt x="160" y="160"/>
                  </a:lnTo>
                  <a:lnTo>
                    <a:pt x="160" y="80"/>
                  </a:lnTo>
                  <a:cubicBezTo>
                    <a:pt x="160" y="36"/>
                    <a:pt x="124" y="0"/>
                    <a:pt x="80" y="0"/>
                  </a:cubicBezTo>
                  <a:cubicBezTo>
                    <a:pt x="36" y="0"/>
                    <a:pt x="0" y="36"/>
                    <a:pt x="0" y="80"/>
                  </a:cubicBezTo>
                  <a:lnTo>
                    <a:pt x="0" y="160"/>
                  </a:lnTo>
                  <a:lnTo>
                    <a:pt x="26" y="160"/>
                  </a:lnTo>
                  <a:lnTo>
                    <a:pt x="35" y="23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20" name="Oval 119">
              <a:extLst>
                <a:ext uri="{FF2B5EF4-FFF2-40B4-BE49-F238E27FC236}">
                  <a16:creationId xmlns:a16="http://schemas.microsoft.com/office/drawing/2014/main" id="{65ECE60D-F9FA-E919-9B06-3C3EDC6BEAFC}"/>
                </a:ext>
              </a:extLst>
            </p:cNvPr>
            <p:cNvSpPr>
              <a:spLocks noChangeArrowheads="1"/>
            </p:cNvSpPr>
            <p:nvPr/>
          </p:nvSpPr>
          <p:spPr bwMode="auto">
            <a:xfrm>
              <a:off x="9321223" y="4255000"/>
              <a:ext cx="341313" cy="338138"/>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21" name="Freeform 540">
              <a:extLst>
                <a:ext uri="{FF2B5EF4-FFF2-40B4-BE49-F238E27FC236}">
                  <a16:creationId xmlns:a16="http://schemas.microsoft.com/office/drawing/2014/main" id="{ED9275D9-1322-0CBF-E5C9-C917E8B1073F}"/>
                </a:ext>
              </a:extLst>
            </p:cNvPr>
            <p:cNvSpPr>
              <a:spLocks/>
            </p:cNvSpPr>
            <p:nvPr/>
          </p:nvSpPr>
          <p:spPr bwMode="auto">
            <a:xfrm>
              <a:off x="9149773" y="7531600"/>
              <a:ext cx="682625" cy="1144588"/>
            </a:xfrm>
            <a:custGeom>
              <a:avLst/>
              <a:gdLst>
                <a:gd name="T0" fmla="*/ 125 w 160"/>
                <a:gd name="T1" fmla="*/ 29 h 268"/>
                <a:gd name="T2" fmla="*/ 97 w 160"/>
                <a:gd name="T3" fmla="*/ 0 h 268"/>
                <a:gd name="T4" fmla="*/ 65 w 160"/>
                <a:gd name="T5" fmla="*/ 0 h 268"/>
                <a:gd name="T6" fmla="*/ 37 w 160"/>
                <a:gd name="T7" fmla="*/ 29 h 268"/>
                <a:gd name="T8" fmla="*/ 27 w 160"/>
                <a:gd name="T9" fmla="*/ 108 h 268"/>
                <a:gd name="T10" fmla="*/ 0 w 160"/>
                <a:gd name="T11" fmla="*/ 108 h 268"/>
                <a:gd name="T12" fmla="*/ 0 w 160"/>
                <a:gd name="T13" fmla="*/ 188 h 268"/>
                <a:gd name="T14" fmla="*/ 80 w 160"/>
                <a:gd name="T15" fmla="*/ 268 h 268"/>
                <a:gd name="T16" fmla="*/ 160 w 160"/>
                <a:gd name="T17" fmla="*/ 188 h 268"/>
                <a:gd name="T18" fmla="*/ 160 w 160"/>
                <a:gd name="T19" fmla="*/ 108 h 268"/>
                <a:gd name="T20" fmla="*/ 134 w 160"/>
                <a:gd name="T21" fmla="*/ 108 h 268"/>
                <a:gd name="T22" fmla="*/ 125 w 160"/>
                <a:gd name="T23" fmla="*/ 29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268">
                  <a:moveTo>
                    <a:pt x="125" y="29"/>
                  </a:moveTo>
                  <a:cubicBezTo>
                    <a:pt x="125" y="13"/>
                    <a:pt x="112" y="0"/>
                    <a:pt x="97" y="0"/>
                  </a:cubicBezTo>
                  <a:lnTo>
                    <a:pt x="65" y="0"/>
                  </a:lnTo>
                  <a:cubicBezTo>
                    <a:pt x="50" y="0"/>
                    <a:pt x="37" y="13"/>
                    <a:pt x="37" y="29"/>
                  </a:cubicBezTo>
                  <a:lnTo>
                    <a:pt x="27" y="108"/>
                  </a:lnTo>
                  <a:lnTo>
                    <a:pt x="0" y="108"/>
                  </a:lnTo>
                  <a:lnTo>
                    <a:pt x="0" y="188"/>
                  </a:lnTo>
                  <a:cubicBezTo>
                    <a:pt x="0" y="232"/>
                    <a:pt x="36" y="268"/>
                    <a:pt x="80" y="268"/>
                  </a:cubicBezTo>
                  <a:cubicBezTo>
                    <a:pt x="124" y="268"/>
                    <a:pt x="160" y="232"/>
                    <a:pt x="160" y="188"/>
                  </a:cubicBezTo>
                  <a:lnTo>
                    <a:pt x="160" y="108"/>
                  </a:lnTo>
                  <a:lnTo>
                    <a:pt x="134" y="108"/>
                  </a:lnTo>
                  <a:lnTo>
                    <a:pt x="125" y="2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22" name="Oval 121">
              <a:extLst>
                <a:ext uri="{FF2B5EF4-FFF2-40B4-BE49-F238E27FC236}">
                  <a16:creationId xmlns:a16="http://schemas.microsoft.com/office/drawing/2014/main" id="{C8A508BD-2EE0-624C-29AC-C8D463E40E0F}"/>
                </a:ext>
              </a:extLst>
            </p:cNvPr>
            <p:cNvSpPr>
              <a:spLocks noChangeArrowheads="1"/>
            </p:cNvSpPr>
            <p:nvPr/>
          </p:nvSpPr>
          <p:spPr bwMode="auto">
            <a:xfrm>
              <a:off x="9321223" y="8719050"/>
              <a:ext cx="341313" cy="33655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23" name="Oval 122">
              <a:extLst>
                <a:ext uri="{FF2B5EF4-FFF2-40B4-BE49-F238E27FC236}">
                  <a16:creationId xmlns:a16="http://schemas.microsoft.com/office/drawing/2014/main" id="{D8E48552-CD25-34ED-3E5F-D4577E383430}"/>
                </a:ext>
              </a:extLst>
            </p:cNvPr>
            <p:cNvSpPr>
              <a:spLocks noChangeArrowheads="1"/>
            </p:cNvSpPr>
            <p:nvPr/>
          </p:nvSpPr>
          <p:spPr bwMode="auto">
            <a:xfrm>
              <a:off x="7746423" y="4909050"/>
              <a:ext cx="338138" cy="338138"/>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24" name="Freeform 543">
              <a:extLst>
                <a:ext uri="{FF2B5EF4-FFF2-40B4-BE49-F238E27FC236}">
                  <a16:creationId xmlns:a16="http://schemas.microsoft.com/office/drawing/2014/main" id="{0AFC7AB7-CF9F-09BE-22C8-AE5CD1160CF4}"/>
                </a:ext>
              </a:extLst>
            </p:cNvPr>
            <p:cNvSpPr>
              <a:spLocks/>
            </p:cNvSpPr>
            <p:nvPr/>
          </p:nvSpPr>
          <p:spPr bwMode="auto">
            <a:xfrm>
              <a:off x="7935336" y="5096375"/>
              <a:ext cx="1027113" cy="1038225"/>
            </a:xfrm>
            <a:custGeom>
              <a:avLst/>
              <a:gdLst>
                <a:gd name="T0" fmla="*/ 31 w 241"/>
                <a:gd name="T1" fmla="*/ 143 h 243"/>
                <a:gd name="T2" fmla="*/ 87 w 241"/>
                <a:gd name="T3" fmla="*/ 200 h 243"/>
                <a:gd name="T4" fmla="*/ 106 w 241"/>
                <a:gd name="T5" fmla="*/ 181 h 243"/>
                <a:gd name="T6" fmla="*/ 168 w 241"/>
                <a:gd name="T7" fmla="*/ 232 h 243"/>
                <a:gd name="T8" fmla="*/ 208 w 241"/>
                <a:gd name="T9" fmla="*/ 232 h 243"/>
                <a:gd name="T10" fmla="*/ 230 w 241"/>
                <a:gd name="T11" fmla="*/ 209 h 243"/>
                <a:gd name="T12" fmla="*/ 230 w 241"/>
                <a:gd name="T13" fmla="*/ 169 h 243"/>
                <a:gd name="T14" fmla="*/ 181 w 241"/>
                <a:gd name="T15" fmla="*/ 106 h 243"/>
                <a:gd name="T16" fmla="*/ 200 w 241"/>
                <a:gd name="T17" fmla="*/ 87 h 243"/>
                <a:gd name="T18" fmla="*/ 143 w 241"/>
                <a:gd name="T19" fmla="*/ 31 h 243"/>
                <a:gd name="T20" fmla="*/ 31 w 241"/>
                <a:gd name="T21" fmla="*/ 31 h 243"/>
                <a:gd name="T22" fmla="*/ 31 w 241"/>
                <a:gd name="T23" fmla="*/ 1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1" h="243">
                  <a:moveTo>
                    <a:pt x="31" y="143"/>
                  </a:moveTo>
                  <a:lnTo>
                    <a:pt x="87" y="200"/>
                  </a:lnTo>
                  <a:lnTo>
                    <a:pt x="106" y="181"/>
                  </a:lnTo>
                  <a:lnTo>
                    <a:pt x="168" y="232"/>
                  </a:lnTo>
                  <a:cubicBezTo>
                    <a:pt x="179" y="243"/>
                    <a:pt x="197" y="243"/>
                    <a:pt x="208" y="232"/>
                  </a:cubicBezTo>
                  <a:lnTo>
                    <a:pt x="230" y="209"/>
                  </a:lnTo>
                  <a:cubicBezTo>
                    <a:pt x="241" y="198"/>
                    <a:pt x="241" y="180"/>
                    <a:pt x="230" y="169"/>
                  </a:cubicBezTo>
                  <a:lnTo>
                    <a:pt x="181" y="106"/>
                  </a:lnTo>
                  <a:lnTo>
                    <a:pt x="200" y="87"/>
                  </a:lnTo>
                  <a:lnTo>
                    <a:pt x="143" y="31"/>
                  </a:lnTo>
                  <a:cubicBezTo>
                    <a:pt x="112" y="0"/>
                    <a:pt x="62" y="0"/>
                    <a:pt x="31" y="31"/>
                  </a:cubicBezTo>
                  <a:cubicBezTo>
                    <a:pt x="0" y="62"/>
                    <a:pt x="0" y="112"/>
                    <a:pt x="31" y="14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25" name="Freeform 544">
              <a:extLst>
                <a:ext uri="{FF2B5EF4-FFF2-40B4-BE49-F238E27FC236}">
                  <a16:creationId xmlns:a16="http://schemas.microsoft.com/office/drawing/2014/main" id="{2ACB3236-E6B6-1611-8609-0BDE125E5959}"/>
                </a:ext>
              </a:extLst>
            </p:cNvPr>
            <p:cNvSpPr>
              <a:spLocks/>
            </p:cNvSpPr>
            <p:nvPr/>
          </p:nvSpPr>
          <p:spPr bwMode="auto">
            <a:xfrm>
              <a:off x="10019723" y="7177587"/>
              <a:ext cx="1028700" cy="1036638"/>
            </a:xfrm>
            <a:custGeom>
              <a:avLst/>
              <a:gdLst>
                <a:gd name="T0" fmla="*/ 210 w 241"/>
                <a:gd name="T1" fmla="*/ 100 h 243"/>
                <a:gd name="T2" fmla="*/ 154 w 241"/>
                <a:gd name="T3" fmla="*/ 43 h 243"/>
                <a:gd name="T4" fmla="*/ 135 w 241"/>
                <a:gd name="T5" fmla="*/ 62 h 243"/>
                <a:gd name="T6" fmla="*/ 73 w 241"/>
                <a:gd name="T7" fmla="*/ 11 h 243"/>
                <a:gd name="T8" fmla="*/ 33 w 241"/>
                <a:gd name="T9" fmla="*/ 11 h 243"/>
                <a:gd name="T10" fmla="*/ 11 w 241"/>
                <a:gd name="T11" fmla="*/ 34 h 243"/>
                <a:gd name="T12" fmla="*/ 11 w 241"/>
                <a:gd name="T13" fmla="*/ 74 h 243"/>
                <a:gd name="T14" fmla="*/ 60 w 241"/>
                <a:gd name="T15" fmla="*/ 137 h 243"/>
                <a:gd name="T16" fmla="*/ 41 w 241"/>
                <a:gd name="T17" fmla="*/ 156 h 243"/>
                <a:gd name="T18" fmla="*/ 98 w 241"/>
                <a:gd name="T19" fmla="*/ 212 h 243"/>
                <a:gd name="T20" fmla="*/ 210 w 241"/>
                <a:gd name="T21" fmla="*/ 212 h 243"/>
                <a:gd name="T22" fmla="*/ 210 w 241"/>
                <a:gd name="T23" fmla="*/ 10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1" h="243">
                  <a:moveTo>
                    <a:pt x="210" y="100"/>
                  </a:moveTo>
                  <a:lnTo>
                    <a:pt x="154" y="43"/>
                  </a:lnTo>
                  <a:lnTo>
                    <a:pt x="135" y="62"/>
                  </a:lnTo>
                  <a:lnTo>
                    <a:pt x="73" y="11"/>
                  </a:lnTo>
                  <a:cubicBezTo>
                    <a:pt x="62" y="0"/>
                    <a:pt x="44" y="0"/>
                    <a:pt x="33" y="11"/>
                  </a:cubicBezTo>
                  <a:lnTo>
                    <a:pt x="11" y="34"/>
                  </a:lnTo>
                  <a:cubicBezTo>
                    <a:pt x="0" y="45"/>
                    <a:pt x="0" y="63"/>
                    <a:pt x="11" y="74"/>
                  </a:cubicBezTo>
                  <a:lnTo>
                    <a:pt x="60" y="137"/>
                  </a:lnTo>
                  <a:lnTo>
                    <a:pt x="41" y="156"/>
                  </a:lnTo>
                  <a:lnTo>
                    <a:pt x="98" y="212"/>
                  </a:lnTo>
                  <a:cubicBezTo>
                    <a:pt x="129" y="243"/>
                    <a:pt x="179" y="243"/>
                    <a:pt x="210" y="212"/>
                  </a:cubicBezTo>
                  <a:cubicBezTo>
                    <a:pt x="241" y="181"/>
                    <a:pt x="241" y="131"/>
                    <a:pt x="210"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26" name="Oval 125">
              <a:extLst>
                <a:ext uri="{FF2B5EF4-FFF2-40B4-BE49-F238E27FC236}">
                  <a16:creationId xmlns:a16="http://schemas.microsoft.com/office/drawing/2014/main" id="{8FD82711-931C-2C4D-F1DF-01D0FEBBC17B}"/>
                </a:ext>
              </a:extLst>
            </p:cNvPr>
            <p:cNvSpPr>
              <a:spLocks noChangeArrowheads="1"/>
            </p:cNvSpPr>
            <p:nvPr/>
          </p:nvSpPr>
          <p:spPr bwMode="auto">
            <a:xfrm>
              <a:off x="10899198" y="8065000"/>
              <a:ext cx="336550" cy="338138"/>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27" name="Oval 126">
              <a:extLst>
                <a:ext uri="{FF2B5EF4-FFF2-40B4-BE49-F238E27FC236}">
                  <a16:creationId xmlns:a16="http://schemas.microsoft.com/office/drawing/2014/main" id="{41EF91D9-CA69-B0EE-E935-B5A25D5D6C73}"/>
                </a:ext>
              </a:extLst>
            </p:cNvPr>
            <p:cNvSpPr>
              <a:spLocks noChangeArrowheads="1"/>
            </p:cNvSpPr>
            <p:nvPr/>
          </p:nvSpPr>
          <p:spPr bwMode="auto">
            <a:xfrm>
              <a:off x="7090786" y="6485437"/>
              <a:ext cx="341313" cy="341313"/>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Freeform 547">
              <a:extLst>
                <a:ext uri="{FF2B5EF4-FFF2-40B4-BE49-F238E27FC236}">
                  <a16:creationId xmlns:a16="http://schemas.microsoft.com/office/drawing/2014/main" id="{738322EA-4168-A1FC-EAC3-359D05FD2456}"/>
                </a:ext>
              </a:extLst>
            </p:cNvPr>
            <p:cNvSpPr>
              <a:spLocks/>
            </p:cNvSpPr>
            <p:nvPr/>
          </p:nvSpPr>
          <p:spPr bwMode="auto">
            <a:xfrm>
              <a:off x="7473373" y="6313987"/>
              <a:ext cx="1143000" cy="684213"/>
            </a:xfrm>
            <a:custGeom>
              <a:avLst/>
              <a:gdLst>
                <a:gd name="T0" fmla="*/ 160 w 268"/>
                <a:gd name="T1" fmla="*/ 160 h 160"/>
                <a:gd name="T2" fmla="*/ 160 w 268"/>
                <a:gd name="T3" fmla="*/ 134 h 160"/>
                <a:gd name="T4" fmla="*/ 239 w 268"/>
                <a:gd name="T5" fmla="*/ 125 h 160"/>
                <a:gd name="T6" fmla="*/ 268 w 268"/>
                <a:gd name="T7" fmla="*/ 97 h 160"/>
                <a:gd name="T8" fmla="*/ 268 w 268"/>
                <a:gd name="T9" fmla="*/ 65 h 160"/>
                <a:gd name="T10" fmla="*/ 239 w 268"/>
                <a:gd name="T11" fmla="*/ 37 h 160"/>
                <a:gd name="T12" fmla="*/ 160 w 268"/>
                <a:gd name="T13" fmla="*/ 27 h 160"/>
                <a:gd name="T14" fmla="*/ 160 w 268"/>
                <a:gd name="T15" fmla="*/ 0 h 160"/>
                <a:gd name="T16" fmla="*/ 80 w 268"/>
                <a:gd name="T17" fmla="*/ 0 h 160"/>
                <a:gd name="T18" fmla="*/ 0 w 268"/>
                <a:gd name="T19" fmla="*/ 80 h 160"/>
                <a:gd name="T20" fmla="*/ 80 w 268"/>
                <a:gd name="T21" fmla="*/ 160 h 160"/>
                <a:gd name="T22" fmla="*/ 160 w 268"/>
                <a:gd name="T23"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8" h="160">
                  <a:moveTo>
                    <a:pt x="160" y="160"/>
                  </a:moveTo>
                  <a:lnTo>
                    <a:pt x="160" y="134"/>
                  </a:lnTo>
                  <a:lnTo>
                    <a:pt x="239" y="125"/>
                  </a:lnTo>
                  <a:cubicBezTo>
                    <a:pt x="255" y="125"/>
                    <a:pt x="268" y="112"/>
                    <a:pt x="268" y="97"/>
                  </a:cubicBezTo>
                  <a:lnTo>
                    <a:pt x="268" y="65"/>
                  </a:lnTo>
                  <a:cubicBezTo>
                    <a:pt x="268" y="50"/>
                    <a:pt x="255" y="37"/>
                    <a:pt x="239" y="37"/>
                  </a:cubicBezTo>
                  <a:lnTo>
                    <a:pt x="160" y="27"/>
                  </a:lnTo>
                  <a:lnTo>
                    <a:pt x="160" y="0"/>
                  </a:lnTo>
                  <a:lnTo>
                    <a:pt x="80" y="0"/>
                  </a:lnTo>
                  <a:cubicBezTo>
                    <a:pt x="36" y="0"/>
                    <a:pt x="0" y="36"/>
                    <a:pt x="0" y="80"/>
                  </a:cubicBezTo>
                  <a:cubicBezTo>
                    <a:pt x="0" y="124"/>
                    <a:pt x="36" y="160"/>
                    <a:pt x="80" y="160"/>
                  </a:cubicBezTo>
                  <a:lnTo>
                    <a:pt x="160" y="16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Freeform 548">
              <a:extLst>
                <a:ext uri="{FF2B5EF4-FFF2-40B4-BE49-F238E27FC236}">
                  <a16:creationId xmlns:a16="http://schemas.microsoft.com/office/drawing/2014/main" id="{60051822-6938-9829-6869-E3F7A06AE29F}"/>
                </a:ext>
              </a:extLst>
            </p:cNvPr>
            <p:cNvSpPr>
              <a:spLocks/>
            </p:cNvSpPr>
            <p:nvPr/>
          </p:nvSpPr>
          <p:spPr bwMode="auto">
            <a:xfrm>
              <a:off x="10365798" y="6313987"/>
              <a:ext cx="1143000" cy="684213"/>
            </a:xfrm>
            <a:custGeom>
              <a:avLst/>
              <a:gdLst>
                <a:gd name="T0" fmla="*/ 188 w 268"/>
                <a:gd name="T1" fmla="*/ 0 h 160"/>
                <a:gd name="T2" fmla="*/ 108 w 268"/>
                <a:gd name="T3" fmla="*/ 0 h 160"/>
                <a:gd name="T4" fmla="*/ 108 w 268"/>
                <a:gd name="T5" fmla="*/ 26 h 160"/>
                <a:gd name="T6" fmla="*/ 29 w 268"/>
                <a:gd name="T7" fmla="*/ 35 h 160"/>
                <a:gd name="T8" fmla="*/ 0 w 268"/>
                <a:gd name="T9" fmla="*/ 63 h 160"/>
                <a:gd name="T10" fmla="*/ 0 w 268"/>
                <a:gd name="T11" fmla="*/ 95 h 160"/>
                <a:gd name="T12" fmla="*/ 29 w 268"/>
                <a:gd name="T13" fmla="*/ 123 h 160"/>
                <a:gd name="T14" fmla="*/ 108 w 268"/>
                <a:gd name="T15" fmla="*/ 133 h 160"/>
                <a:gd name="T16" fmla="*/ 108 w 268"/>
                <a:gd name="T17" fmla="*/ 160 h 160"/>
                <a:gd name="T18" fmla="*/ 188 w 268"/>
                <a:gd name="T19" fmla="*/ 160 h 160"/>
                <a:gd name="T20" fmla="*/ 268 w 268"/>
                <a:gd name="T21" fmla="*/ 80 h 160"/>
                <a:gd name="T22" fmla="*/ 188 w 268"/>
                <a:gd name="T2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8" h="160">
                  <a:moveTo>
                    <a:pt x="188" y="0"/>
                  </a:moveTo>
                  <a:lnTo>
                    <a:pt x="108" y="0"/>
                  </a:lnTo>
                  <a:lnTo>
                    <a:pt x="108" y="26"/>
                  </a:lnTo>
                  <a:lnTo>
                    <a:pt x="29" y="35"/>
                  </a:lnTo>
                  <a:cubicBezTo>
                    <a:pt x="13" y="35"/>
                    <a:pt x="0" y="48"/>
                    <a:pt x="0" y="63"/>
                  </a:cubicBezTo>
                  <a:lnTo>
                    <a:pt x="0" y="95"/>
                  </a:lnTo>
                  <a:cubicBezTo>
                    <a:pt x="0" y="110"/>
                    <a:pt x="13" y="123"/>
                    <a:pt x="29" y="123"/>
                  </a:cubicBezTo>
                  <a:lnTo>
                    <a:pt x="108" y="133"/>
                  </a:lnTo>
                  <a:lnTo>
                    <a:pt x="108" y="160"/>
                  </a:lnTo>
                  <a:lnTo>
                    <a:pt x="188" y="160"/>
                  </a:lnTo>
                  <a:cubicBezTo>
                    <a:pt x="232" y="160"/>
                    <a:pt x="268" y="124"/>
                    <a:pt x="268" y="80"/>
                  </a:cubicBezTo>
                  <a:cubicBezTo>
                    <a:pt x="268" y="36"/>
                    <a:pt x="232" y="0"/>
                    <a:pt x="1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Oval 193">
              <a:extLst>
                <a:ext uri="{FF2B5EF4-FFF2-40B4-BE49-F238E27FC236}">
                  <a16:creationId xmlns:a16="http://schemas.microsoft.com/office/drawing/2014/main" id="{B01A363C-C2E2-0CBE-4A4E-B25A7C3EEEC5}"/>
                </a:ext>
              </a:extLst>
            </p:cNvPr>
            <p:cNvSpPr>
              <a:spLocks noChangeArrowheads="1"/>
            </p:cNvSpPr>
            <p:nvPr/>
          </p:nvSpPr>
          <p:spPr bwMode="auto">
            <a:xfrm>
              <a:off x="11551661" y="6485437"/>
              <a:ext cx="341313" cy="341313"/>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Oval 194">
              <a:extLst>
                <a:ext uri="{FF2B5EF4-FFF2-40B4-BE49-F238E27FC236}">
                  <a16:creationId xmlns:a16="http://schemas.microsoft.com/office/drawing/2014/main" id="{2D8967E7-FBD1-789C-4A02-0F7713552368}"/>
                </a:ext>
              </a:extLst>
            </p:cNvPr>
            <p:cNvSpPr>
              <a:spLocks noChangeArrowheads="1"/>
            </p:cNvSpPr>
            <p:nvPr/>
          </p:nvSpPr>
          <p:spPr bwMode="auto">
            <a:xfrm>
              <a:off x="7746423" y="8065000"/>
              <a:ext cx="338138" cy="338138"/>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Freeform 551">
              <a:extLst>
                <a:ext uri="{FF2B5EF4-FFF2-40B4-BE49-F238E27FC236}">
                  <a16:creationId xmlns:a16="http://schemas.microsoft.com/office/drawing/2014/main" id="{2E977684-34FC-6239-E94C-B10C6175D327}"/>
                </a:ext>
              </a:extLst>
            </p:cNvPr>
            <p:cNvSpPr>
              <a:spLocks/>
            </p:cNvSpPr>
            <p:nvPr/>
          </p:nvSpPr>
          <p:spPr bwMode="auto">
            <a:xfrm>
              <a:off x="7935336" y="7185525"/>
              <a:ext cx="1035050" cy="1028700"/>
            </a:xfrm>
            <a:custGeom>
              <a:avLst/>
              <a:gdLst>
                <a:gd name="T0" fmla="*/ 209 w 243"/>
                <a:gd name="T1" fmla="*/ 11 h 241"/>
                <a:gd name="T2" fmla="*/ 169 w 243"/>
                <a:gd name="T3" fmla="*/ 11 h 241"/>
                <a:gd name="T4" fmla="*/ 106 w 243"/>
                <a:gd name="T5" fmla="*/ 60 h 241"/>
                <a:gd name="T6" fmla="*/ 87 w 243"/>
                <a:gd name="T7" fmla="*/ 41 h 241"/>
                <a:gd name="T8" fmla="*/ 31 w 243"/>
                <a:gd name="T9" fmla="*/ 98 h 241"/>
                <a:gd name="T10" fmla="*/ 31 w 243"/>
                <a:gd name="T11" fmla="*/ 210 h 241"/>
                <a:gd name="T12" fmla="*/ 143 w 243"/>
                <a:gd name="T13" fmla="*/ 210 h 241"/>
                <a:gd name="T14" fmla="*/ 200 w 243"/>
                <a:gd name="T15" fmla="*/ 154 h 241"/>
                <a:gd name="T16" fmla="*/ 181 w 243"/>
                <a:gd name="T17" fmla="*/ 135 h 241"/>
                <a:gd name="T18" fmla="*/ 232 w 243"/>
                <a:gd name="T19" fmla="*/ 73 h 241"/>
                <a:gd name="T20" fmla="*/ 232 w 243"/>
                <a:gd name="T21" fmla="*/ 33 h 241"/>
                <a:gd name="T22" fmla="*/ 209 w 243"/>
                <a:gd name="T23" fmla="*/ 1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1">
                  <a:moveTo>
                    <a:pt x="209" y="11"/>
                  </a:moveTo>
                  <a:cubicBezTo>
                    <a:pt x="198" y="0"/>
                    <a:pt x="180" y="0"/>
                    <a:pt x="169" y="11"/>
                  </a:cubicBezTo>
                  <a:lnTo>
                    <a:pt x="106" y="60"/>
                  </a:lnTo>
                  <a:lnTo>
                    <a:pt x="87" y="41"/>
                  </a:lnTo>
                  <a:lnTo>
                    <a:pt x="31" y="98"/>
                  </a:lnTo>
                  <a:cubicBezTo>
                    <a:pt x="0" y="129"/>
                    <a:pt x="0" y="179"/>
                    <a:pt x="31" y="210"/>
                  </a:cubicBezTo>
                  <a:cubicBezTo>
                    <a:pt x="62" y="241"/>
                    <a:pt x="112" y="241"/>
                    <a:pt x="143" y="210"/>
                  </a:cubicBezTo>
                  <a:lnTo>
                    <a:pt x="200" y="154"/>
                  </a:lnTo>
                  <a:lnTo>
                    <a:pt x="181" y="135"/>
                  </a:lnTo>
                  <a:lnTo>
                    <a:pt x="232" y="73"/>
                  </a:lnTo>
                  <a:cubicBezTo>
                    <a:pt x="243" y="62"/>
                    <a:pt x="243" y="44"/>
                    <a:pt x="232" y="33"/>
                  </a:cubicBezTo>
                  <a:lnTo>
                    <a:pt x="209" y="1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Freeform 552">
              <a:extLst>
                <a:ext uri="{FF2B5EF4-FFF2-40B4-BE49-F238E27FC236}">
                  <a16:creationId xmlns:a16="http://schemas.microsoft.com/office/drawing/2014/main" id="{613B8F3F-70AF-18D6-05E2-3806F28513E7}"/>
                </a:ext>
              </a:extLst>
            </p:cNvPr>
            <p:cNvSpPr>
              <a:spLocks/>
            </p:cNvSpPr>
            <p:nvPr/>
          </p:nvSpPr>
          <p:spPr bwMode="auto">
            <a:xfrm>
              <a:off x="10011786" y="5096375"/>
              <a:ext cx="1036638" cy="1030288"/>
            </a:xfrm>
            <a:custGeom>
              <a:avLst/>
              <a:gdLst>
                <a:gd name="T0" fmla="*/ 34 w 243"/>
                <a:gd name="T1" fmla="*/ 230 h 241"/>
                <a:gd name="T2" fmla="*/ 74 w 243"/>
                <a:gd name="T3" fmla="*/ 230 h 241"/>
                <a:gd name="T4" fmla="*/ 137 w 243"/>
                <a:gd name="T5" fmla="*/ 181 h 241"/>
                <a:gd name="T6" fmla="*/ 156 w 243"/>
                <a:gd name="T7" fmla="*/ 200 h 241"/>
                <a:gd name="T8" fmla="*/ 212 w 243"/>
                <a:gd name="T9" fmla="*/ 143 h 241"/>
                <a:gd name="T10" fmla="*/ 212 w 243"/>
                <a:gd name="T11" fmla="*/ 31 h 241"/>
                <a:gd name="T12" fmla="*/ 100 w 243"/>
                <a:gd name="T13" fmla="*/ 31 h 241"/>
                <a:gd name="T14" fmla="*/ 43 w 243"/>
                <a:gd name="T15" fmla="*/ 87 h 241"/>
                <a:gd name="T16" fmla="*/ 62 w 243"/>
                <a:gd name="T17" fmla="*/ 106 h 241"/>
                <a:gd name="T18" fmla="*/ 11 w 243"/>
                <a:gd name="T19" fmla="*/ 168 h 241"/>
                <a:gd name="T20" fmla="*/ 11 w 243"/>
                <a:gd name="T21" fmla="*/ 208 h 241"/>
                <a:gd name="T22" fmla="*/ 34 w 243"/>
                <a:gd name="T23" fmla="*/ 23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1">
                  <a:moveTo>
                    <a:pt x="34" y="230"/>
                  </a:moveTo>
                  <a:cubicBezTo>
                    <a:pt x="45" y="241"/>
                    <a:pt x="63" y="241"/>
                    <a:pt x="74" y="230"/>
                  </a:cubicBezTo>
                  <a:lnTo>
                    <a:pt x="137" y="181"/>
                  </a:lnTo>
                  <a:lnTo>
                    <a:pt x="156" y="200"/>
                  </a:lnTo>
                  <a:lnTo>
                    <a:pt x="212" y="143"/>
                  </a:lnTo>
                  <a:cubicBezTo>
                    <a:pt x="243" y="112"/>
                    <a:pt x="243" y="62"/>
                    <a:pt x="212" y="31"/>
                  </a:cubicBezTo>
                  <a:cubicBezTo>
                    <a:pt x="181" y="0"/>
                    <a:pt x="131" y="0"/>
                    <a:pt x="100" y="31"/>
                  </a:cubicBezTo>
                  <a:lnTo>
                    <a:pt x="43" y="87"/>
                  </a:lnTo>
                  <a:lnTo>
                    <a:pt x="62" y="106"/>
                  </a:lnTo>
                  <a:lnTo>
                    <a:pt x="11" y="168"/>
                  </a:lnTo>
                  <a:cubicBezTo>
                    <a:pt x="0" y="179"/>
                    <a:pt x="0" y="197"/>
                    <a:pt x="11" y="208"/>
                  </a:cubicBezTo>
                  <a:lnTo>
                    <a:pt x="34" y="23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Oval 197">
              <a:extLst>
                <a:ext uri="{FF2B5EF4-FFF2-40B4-BE49-F238E27FC236}">
                  <a16:creationId xmlns:a16="http://schemas.microsoft.com/office/drawing/2014/main" id="{58BF5546-AEFF-709E-77A1-B85CE11F20BD}"/>
                </a:ext>
              </a:extLst>
            </p:cNvPr>
            <p:cNvSpPr>
              <a:spLocks noChangeArrowheads="1"/>
            </p:cNvSpPr>
            <p:nvPr/>
          </p:nvSpPr>
          <p:spPr bwMode="auto">
            <a:xfrm>
              <a:off x="10899198" y="4909050"/>
              <a:ext cx="336550" cy="338138"/>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Freeform 554">
              <a:extLst>
                <a:ext uri="{FF2B5EF4-FFF2-40B4-BE49-F238E27FC236}">
                  <a16:creationId xmlns:a16="http://schemas.microsoft.com/office/drawing/2014/main" id="{470084B1-CC1D-C0E6-F08B-1C423E472BDB}"/>
                </a:ext>
              </a:extLst>
            </p:cNvPr>
            <p:cNvSpPr>
              <a:spLocks noEditPoints="1"/>
            </p:cNvSpPr>
            <p:nvPr/>
          </p:nvSpPr>
          <p:spPr bwMode="auto">
            <a:xfrm>
              <a:off x="9214861" y="7044237"/>
              <a:ext cx="554038" cy="376238"/>
            </a:xfrm>
            <a:custGeom>
              <a:avLst/>
              <a:gdLst>
                <a:gd name="T0" fmla="*/ 65 w 130"/>
                <a:gd name="T1" fmla="*/ 88 h 88"/>
                <a:gd name="T2" fmla="*/ 130 w 130"/>
                <a:gd name="T3" fmla="*/ 3 h 88"/>
                <a:gd name="T4" fmla="*/ 65 w 130"/>
                <a:gd name="T5" fmla="*/ 0 h 88"/>
                <a:gd name="T6" fmla="*/ 0 w 130"/>
                <a:gd name="T7" fmla="*/ 3 h 88"/>
                <a:gd name="T8" fmla="*/ 65 w 130"/>
                <a:gd name="T9" fmla="*/ 88 h 88"/>
                <a:gd name="T10" fmla="*/ 65 w 130"/>
                <a:gd name="T11" fmla="*/ 8 h 88"/>
                <a:gd name="T12" fmla="*/ 119 w 130"/>
                <a:gd name="T13" fmla="*/ 10 h 88"/>
                <a:gd name="T14" fmla="*/ 65 w 130"/>
                <a:gd name="T15" fmla="*/ 80 h 88"/>
                <a:gd name="T16" fmla="*/ 11 w 130"/>
                <a:gd name="T17" fmla="*/ 10 h 88"/>
                <a:gd name="T18" fmla="*/ 65 w 130"/>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88">
                  <a:moveTo>
                    <a:pt x="65" y="88"/>
                  </a:moveTo>
                  <a:cubicBezTo>
                    <a:pt x="92" y="88"/>
                    <a:pt x="116" y="54"/>
                    <a:pt x="130" y="3"/>
                  </a:cubicBezTo>
                  <a:cubicBezTo>
                    <a:pt x="109" y="1"/>
                    <a:pt x="87" y="0"/>
                    <a:pt x="65" y="0"/>
                  </a:cubicBezTo>
                  <a:cubicBezTo>
                    <a:pt x="43" y="0"/>
                    <a:pt x="21" y="1"/>
                    <a:pt x="0" y="3"/>
                  </a:cubicBezTo>
                  <a:cubicBezTo>
                    <a:pt x="14" y="54"/>
                    <a:pt x="38" y="88"/>
                    <a:pt x="65" y="88"/>
                  </a:cubicBezTo>
                  <a:close/>
                  <a:moveTo>
                    <a:pt x="65" y="8"/>
                  </a:moveTo>
                  <a:cubicBezTo>
                    <a:pt x="83" y="8"/>
                    <a:pt x="101" y="9"/>
                    <a:pt x="119" y="10"/>
                  </a:cubicBezTo>
                  <a:cubicBezTo>
                    <a:pt x="106" y="53"/>
                    <a:pt x="86" y="80"/>
                    <a:pt x="65" y="80"/>
                  </a:cubicBezTo>
                  <a:cubicBezTo>
                    <a:pt x="44" y="80"/>
                    <a:pt x="24" y="53"/>
                    <a:pt x="11" y="10"/>
                  </a:cubicBezTo>
                  <a:cubicBezTo>
                    <a:pt x="29" y="9"/>
                    <a:pt x="47" y="8"/>
                    <a:pt x="65" y="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Freeform 555">
              <a:extLst>
                <a:ext uri="{FF2B5EF4-FFF2-40B4-BE49-F238E27FC236}">
                  <a16:creationId xmlns:a16="http://schemas.microsoft.com/office/drawing/2014/main" id="{06E34FE5-9E07-F529-C2C1-65B948001E0D}"/>
                </a:ext>
              </a:extLst>
            </p:cNvPr>
            <p:cNvSpPr>
              <a:spLocks noEditPoints="1"/>
            </p:cNvSpPr>
            <p:nvPr/>
          </p:nvSpPr>
          <p:spPr bwMode="auto">
            <a:xfrm>
              <a:off x="9718098" y="5929812"/>
              <a:ext cx="387350" cy="311150"/>
            </a:xfrm>
            <a:custGeom>
              <a:avLst/>
              <a:gdLst>
                <a:gd name="T0" fmla="*/ 33 w 91"/>
                <a:gd name="T1" fmla="*/ 73 h 73"/>
                <a:gd name="T2" fmla="*/ 91 w 91"/>
                <a:gd name="T3" fmla="*/ 65 h 73"/>
                <a:gd name="T4" fmla="*/ 0 w 91"/>
                <a:gd name="T5" fmla="*/ 0 h 73"/>
                <a:gd name="T6" fmla="*/ 21 w 91"/>
                <a:gd name="T7" fmla="*/ 35 h 73"/>
                <a:gd name="T8" fmla="*/ 33 w 91"/>
                <a:gd name="T9" fmla="*/ 73 h 73"/>
                <a:gd name="T10" fmla="*/ 77 w 91"/>
                <a:gd name="T11" fmla="*/ 59 h 73"/>
                <a:gd name="T12" fmla="*/ 39 w 91"/>
                <a:gd name="T13" fmla="*/ 64 h 73"/>
                <a:gd name="T14" fmla="*/ 28 w 91"/>
                <a:gd name="T15" fmla="*/ 32 h 73"/>
                <a:gd name="T16" fmla="*/ 20 w 91"/>
                <a:gd name="T17" fmla="*/ 16 h 73"/>
                <a:gd name="T18" fmla="*/ 77 w 91"/>
                <a:gd name="T19" fmla="*/ 5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73">
                  <a:moveTo>
                    <a:pt x="33" y="73"/>
                  </a:moveTo>
                  <a:cubicBezTo>
                    <a:pt x="53" y="71"/>
                    <a:pt x="73" y="68"/>
                    <a:pt x="91" y="65"/>
                  </a:cubicBezTo>
                  <a:cubicBezTo>
                    <a:pt x="69" y="34"/>
                    <a:pt x="37" y="11"/>
                    <a:pt x="0" y="0"/>
                  </a:cubicBezTo>
                  <a:cubicBezTo>
                    <a:pt x="8" y="9"/>
                    <a:pt x="15" y="21"/>
                    <a:pt x="21" y="35"/>
                  </a:cubicBezTo>
                  <a:cubicBezTo>
                    <a:pt x="26" y="47"/>
                    <a:pt x="30" y="59"/>
                    <a:pt x="33" y="73"/>
                  </a:cubicBezTo>
                  <a:close/>
                  <a:moveTo>
                    <a:pt x="77" y="59"/>
                  </a:moveTo>
                  <a:cubicBezTo>
                    <a:pt x="64" y="61"/>
                    <a:pt x="52" y="63"/>
                    <a:pt x="39" y="64"/>
                  </a:cubicBezTo>
                  <a:cubicBezTo>
                    <a:pt x="36" y="53"/>
                    <a:pt x="32" y="42"/>
                    <a:pt x="28" y="32"/>
                  </a:cubicBezTo>
                  <a:cubicBezTo>
                    <a:pt x="26" y="26"/>
                    <a:pt x="23" y="21"/>
                    <a:pt x="20" y="16"/>
                  </a:cubicBezTo>
                  <a:cubicBezTo>
                    <a:pt x="42" y="26"/>
                    <a:pt x="61" y="41"/>
                    <a:pt x="77" y="5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Freeform 556">
              <a:extLst>
                <a:ext uri="{FF2B5EF4-FFF2-40B4-BE49-F238E27FC236}">
                  <a16:creationId xmlns:a16="http://schemas.microsoft.com/office/drawing/2014/main" id="{D63A5456-8135-F03A-8C16-7B5217C020ED}"/>
                </a:ext>
              </a:extLst>
            </p:cNvPr>
            <p:cNvSpPr>
              <a:spLocks noEditPoints="1"/>
            </p:cNvSpPr>
            <p:nvPr/>
          </p:nvSpPr>
          <p:spPr bwMode="auto">
            <a:xfrm>
              <a:off x="9167236" y="6702925"/>
              <a:ext cx="647700" cy="260350"/>
            </a:xfrm>
            <a:custGeom>
              <a:avLst/>
              <a:gdLst>
                <a:gd name="T0" fmla="*/ 6 w 152"/>
                <a:gd name="T1" fmla="*/ 61 h 61"/>
                <a:gd name="T2" fmla="*/ 76 w 152"/>
                <a:gd name="T3" fmla="*/ 59 h 61"/>
                <a:gd name="T4" fmla="*/ 146 w 152"/>
                <a:gd name="T5" fmla="*/ 61 h 61"/>
                <a:gd name="T6" fmla="*/ 152 w 152"/>
                <a:gd name="T7" fmla="*/ 0 h 61"/>
                <a:gd name="T8" fmla="*/ 0 w 152"/>
                <a:gd name="T9" fmla="*/ 0 h 61"/>
                <a:gd name="T10" fmla="*/ 6 w 152"/>
                <a:gd name="T11" fmla="*/ 61 h 61"/>
                <a:gd name="T12" fmla="*/ 144 w 152"/>
                <a:gd name="T13" fmla="*/ 8 h 61"/>
                <a:gd name="T14" fmla="*/ 139 w 152"/>
                <a:gd name="T15" fmla="*/ 53 h 61"/>
                <a:gd name="T16" fmla="*/ 76 w 152"/>
                <a:gd name="T17" fmla="*/ 51 h 61"/>
                <a:gd name="T18" fmla="*/ 13 w 152"/>
                <a:gd name="T19" fmla="*/ 53 h 61"/>
                <a:gd name="T20" fmla="*/ 8 w 152"/>
                <a:gd name="T21" fmla="*/ 8 h 61"/>
                <a:gd name="T22" fmla="*/ 144 w 152"/>
                <a:gd name="T23"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2" h="61">
                  <a:moveTo>
                    <a:pt x="6" y="61"/>
                  </a:moveTo>
                  <a:cubicBezTo>
                    <a:pt x="29" y="60"/>
                    <a:pt x="52" y="59"/>
                    <a:pt x="76" y="59"/>
                  </a:cubicBezTo>
                  <a:cubicBezTo>
                    <a:pt x="100" y="59"/>
                    <a:pt x="123" y="60"/>
                    <a:pt x="146" y="61"/>
                  </a:cubicBezTo>
                  <a:cubicBezTo>
                    <a:pt x="149" y="42"/>
                    <a:pt x="151" y="22"/>
                    <a:pt x="152" y="0"/>
                  </a:cubicBezTo>
                  <a:lnTo>
                    <a:pt x="0" y="0"/>
                  </a:lnTo>
                  <a:cubicBezTo>
                    <a:pt x="1" y="22"/>
                    <a:pt x="3" y="42"/>
                    <a:pt x="6" y="61"/>
                  </a:cubicBezTo>
                  <a:close/>
                  <a:moveTo>
                    <a:pt x="144" y="8"/>
                  </a:moveTo>
                  <a:cubicBezTo>
                    <a:pt x="143" y="23"/>
                    <a:pt x="141" y="39"/>
                    <a:pt x="139" y="53"/>
                  </a:cubicBezTo>
                  <a:cubicBezTo>
                    <a:pt x="118" y="52"/>
                    <a:pt x="97" y="51"/>
                    <a:pt x="76" y="51"/>
                  </a:cubicBezTo>
                  <a:cubicBezTo>
                    <a:pt x="55" y="51"/>
                    <a:pt x="34" y="52"/>
                    <a:pt x="13" y="53"/>
                  </a:cubicBezTo>
                  <a:cubicBezTo>
                    <a:pt x="11" y="38"/>
                    <a:pt x="9" y="23"/>
                    <a:pt x="8" y="8"/>
                  </a:cubicBezTo>
                  <a:lnTo>
                    <a:pt x="144" y="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Freeform 557">
              <a:extLst>
                <a:ext uri="{FF2B5EF4-FFF2-40B4-BE49-F238E27FC236}">
                  <a16:creationId xmlns:a16="http://schemas.microsoft.com/office/drawing/2014/main" id="{F420E7AA-C819-9273-F966-84500991E3D8}"/>
                </a:ext>
              </a:extLst>
            </p:cNvPr>
            <p:cNvSpPr>
              <a:spLocks noEditPoints="1"/>
            </p:cNvSpPr>
            <p:nvPr/>
          </p:nvSpPr>
          <p:spPr bwMode="auto">
            <a:xfrm>
              <a:off x="9880023" y="6702925"/>
              <a:ext cx="369888" cy="311150"/>
            </a:xfrm>
            <a:custGeom>
              <a:avLst/>
              <a:gdLst>
                <a:gd name="T0" fmla="*/ 87 w 87"/>
                <a:gd name="T1" fmla="*/ 0 h 73"/>
                <a:gd name="T2" fmla="*/ 7 w 87"/>
                <a:gd name="T3" fmla="*/ 0 h 73"/>
                <a:gd name="T4" fmla="*/ 0 w 87"/>
                <a:gd name="T5" fmla="*/ 63 h 73"/>
                <a:gd name="T6" fmla="*/ 67 w 87"/>
                <a:gd name="T7" fmla="*/ 73 h 73"/>
                <a:gd name="T8" fmla="*/ 87 w 87"/>
                <a:gd name="T9" fmla="*/ 0 h 73"/>
                <a:gd name="T10" fmla="*/ 9 w 87"/>
                <a:gd name="T11" fmla="*/ 56 h 73"/>
                <a:gd name="T12" fmla="*/ 14 w 87"/>
                <a:gd name="T13" fmla="*/ 8 h 73"/>
                <a:gd name="T14" fmla="*/ 79 w 87"/>
                <a:gd name="T15" fmla="*/ 8 h 73"/>
                <a:gd name="T16" fmla="*/ 62 w 87"/>
                <a:gd name="T17" fmla="*/ 64 h 73"/>
                <a:gd name="T18" fmla="*/ 9 w 87"/>
                <a:gd name="T19" fmla="*/ 5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73">
                  <a:moveTo>
                    <a:pt x="87" y="0"/>
                  </a:moveTo>
                  <a:lnTo>
                    <a:pt x="7" y="0"/>
                  </a:lnTo>
                  <a:cubicBezTo>
                    <a:pt x="6" y="22"/>
                    <a:pt x="4" y="43"/>
                    <a:pt x="0" y="63"/>
                  </a:cubicBezTo>
                  <a:cubicBezTo>
                    <a:pt x="23" y="66"/>
                    <a:pt x="45" y="69"/>
                    <a:pt x="67" y="73"/>
                  </a:cubicBezTo>
                  <a:cubicBezTo>
                    <a:pt x="78" y="51"/>
                    <a:pt x="86" y="26"/>
                    <a:pt x="87" y="0"/>
                  </a:cubicBezTo>
                  <a:close/>
                  <a:moveTo>
                    <a:pt x="9" y="56"/>
                  </a:moveTo>
                  <a:cubicBezTo>
                    <a:pt x="12" y="41"/>
                    <a:pt x="14" y="24"/>
                    <a:pt x="14" y="8"/>
                  </a:cubicBezTo>
                  <a:lnTo>
                    <a:pt x="79" y="8"/>
                  </a:lnTo>
                  <a:cubicBezTo>
                    <a:pt x="76" y="27"/>
                    <a:pt x="71" y="46"/>
                    <a:pt x="62" y="64"/>
                  </a:cubicBezTo>
                  <a:cubicBezTo>
                    <a:pt x="45" y="61"/>
                    <a:pt x="27" y="58"/>
                    <a:pt x="9"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203" name="Freeform 558">
              <a:extLst>
                <a:ext uri="{FF2B5EF4-FFF2-40B4-BE49-F238E27FC236}">
                  <a16:creationId xmlns:a16="http://schemas.microsoft.com/office/drawing/2014/main" id="{E5CF9543-8681-3C7C-6DAB-E18F561A363A}"/>
                </a:ext>
              </a:extLst>
            </p:cNvPr>
            <p:cNvSpPr>
              <a:spLocks noEditPoints="1"/>
            </p:cNvSpPr>
            <p:nvPr/>
          </p:nvSpPr>
          <p:spPr bwMode="auto">
            <a:xfrm>
              <a:off x="9167236" y="6339387"/>
              <a:ext cx="647700" cy="269875"/>
            </a:xfrm>
            <a:custGeom>
              <a:avLst/>
              <a:gdLst>
                <a:gd name="T0" fmla="*/ 0 w 152"/>
                <a:gd name="T1" fmla="*/ 63 h 63"/>
                <a:gd name="T2" fmla="*/ 152 w 152"/>
                <a:gd name="T3" fmla="*/ 63 h 63"/>
                <a:gd name="T4" fmla="*/ 145 w 152"/>
                <a:gd name="T5" fmla="*/ 0 h 63"/>
                <a:gd name="T6" fmla="*/ 76 w 152"/>
                <a:gd name="T7" fmla="*/ 3 h 63"/>
                <a:gd name="T8" fmla="*/ 7 w 152"/>
                <a:gd name="T9" fmla="*/ 0 h 63"/>
                <a:gd name="T10" fmla="*/ 0 w 152"/>
                <a:gd name="T11" fmla="*/ 63 h 63"/>
                <a:gd name="T12" fmla="*/ 13 w 152"/>
                <a:gd name="T13" fmla="*/ 9 h 63"/>
                <a:gd name="T14" fmla="*/ 76 w 152"/>
                <a:gd name="T15" fmla="*/ 11 h 63"/>
                <a:gd name="T16" fmla="*/ 139 w 152"/>
                <a:gd name="T17" fmla="*/ 9 h 63"/>
                <a:gd name="T18" fmla="*/ 144 w 152"/>
                <a:gd name="T19" fmla="*/ 55 h 63"/>
                <a:gd name="T20" fmla="*/ 8 w 152"/>
                <a:gd name="T21" fmla="*/ 55 h 63"/>
                <a:gd name="T22" fmla="*/ 13 w 152"/>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2" h="63">
                  <a:moveTo>
                    <a:pt x="0" y="63"/>
                  </a:moveTo>
                  <a:lnTo>
                    <a:pt x="152" y="63"/>
                  </a:lnTo>
                  <a:cubicBezTo>
                    <a:pt x="151" y="41"/>
                    <a:pt x="149" y="20"/>
                    <a:pt x="145" y="0"/>
                  </a:cubicBezTo>
                  <a:cubicBezTo>
                    <a:pt x="123" y="2"/>
                    <a:pt x="99" y="3"/>
                    <a:pt x="76" y="3"/>
                  </a:cubicBezTo>
                  <a:cubicBezTo>
                    <a:pt x="53" y="3"/>
                    <a:pt x="29" y="2"/>
                    <a:pt x="7" y="0"/>
                  </a:cubicBezTo>
                  <a:cubicBezTo>
                    <a:pt x="3" y="20"/>
                    <a:pt x="1" y="41"/>
                    <a:pt x="0" y="63"/>
                  </a:cubicBezTo>
                  <a:close/>
                  <a:moveTo>
                    <a:pt x="13" y="9"/>
                  </a:moveTo>
                  <a:cubicBezTo>
                    <a:pt x="34" y="10"/>
                    <a:pt x="55" y="11"/>
                    <a:pt x="76" y="11"/>
                  </a:cubicBezTo>
                  <a:cubicBezTo>
                    <a:pt x="97" y="11"/>
                    <a:pt x="118" y="10"/>
                    <a:pt x="139" y="9"/>
                  </a:cubicBezTo>
                  <a:cubicBezTo>
                    <a:pt x="141" y="24"/>
                    <a:pt x="143" y="39"/>
                    <a:pt x="144" y="55"/>
                  </a:cubicBezTo>
                  <a:lnTo>
                    <a:pt x="8" y="55"/>
                  </a:lnTo>
                  <a:cubicBezTo>
                    <a:pt x="9" y="39"/>
                    <a:pt x="11" y="24"/>
                    <a:pt x="13" y="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204" name="Freeform 559">
              <a:extLst>
                <a:ext uri="{FF2B5EF4-FFF2-40B4-BE49-F238E27FC236}">
                  <a16:creationId xmlns:a16="http://schemas.microsoft.com/office/drawing/2014/main" id="{766AE04F-E133-0909-FB47-10DB554B0D54}"/>
                </a:ext>
              </a:extLst>
            </p:cNvPr>
            <p:cNvSpPr>
              <a:spLocks noEditPoints="1"/>
            </p:cNvSpPr>
            <p:nvPr/>
          </p:nvSpPr>
          <p:spPr bwMode="auto">
            <a:xfrm>
              <a:off x="9880023" y="6293350"/>
              <a:ext cx="369888" cy="315913"/>
            </a:xfrm>
            <a:custGeom>
              <a:avLst/>
              <a:gdLst>
                <a:gd name="T0" fmla="*/ 66 w 87"/>
                <a:gd name="T1" fmla="*/ 0 h 74"/>
                <a:gd name="T2" fmla="*/ 0 w 87"/>
                <a:gd name="T3" fmla="*/ 9 h 74"/>
                <a:gd name="T4" fmla="*/ 7 w 87"/>
                <a:gd name="T5" fmla="*/ 74 h 74"/>
                <a:gd name="T6" fmla="*/ 87 w 87"/>
                <a:gd name="T7" fmla="*/ 74 h 74"/>
                <a:gd name="T8" fmla="*/ 66 w 87"/>
                <a:gd name="T9" fmla="*/ 0 h 74"/>
                <a:gd name="T10" fmla="*/ 9 w 87"/>
                <a:gd name="T11" fmla="*/ 16 h 74"/>
                <a:gd name="T12" fmla="*/ 62 w 87"/>
                <a:gd name="T13" fmla="*/ 9 h 74"/>
                <a:gd name="T14" fmla="*/ 79 w 87"/>
                <a:gd name="T15" fmla="*/ 66 h 74"/>
                <a:gd name="T16" fmla="*/ 14 w 87"/>
                <a:gd name="T17" fmla="*/ 66 h 74"/>
                <a:gd name="T18" fmla="*/ 9 w 87"/>
                <a:gd name="T19" fmla="*/ 1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74">
                  <a:moveTo>
                    <a:pt x="66" y="0"/>
                  </a:moveTo>
                  <a:cubicBezTo>
                    <a:pt x="45" y="4"/>
                    <a:pt x="23" y="7"/>
                    <a:pt x="0" y="9"/>
                  </a:cubicBezTo>
                  <a:cubicBezTo>
                    <a:pt x="4" y="30"/>
                    <a:pt x="6" y="52"/>
                    <a:pt x="7" y="74"/>
                  </a:cubicBezTo>
                  <a:lnTo>
                    <a:pt x="87" y="74"/>
                  </a:lnTo>
                  <a:cubicBezTo>
                    <a:pt x="86" y="47"/>
                    <a:pt x="78" y="22"/>
                    <a:pt x="66" y="0"/>
                  </a:cubicBezTo>
                  <a:close/>
                  <a:moveTo>
                    <a:pt x="9" y="16"/>
                  </a:moveTo>
                  <a:cubicBezTo>
                    <a:pt x="27" y="14"/>
                    <a:pt x="45" y="12"/>
                    <a:pt x="62" y="9"/>
                  </a:cubicBezTo>
                  <a:cubicBezTo>
                    <a:pt x="71" y="27"/>
                    <a:pt x="76" y="46"/>
                    <a:pt x="79" y="66"/>
                  </a:cubicBezTo>
                  <a:lnTo>
                    <a:pt x="14" y="66"/>
                  </a:lnTo>
                  <a:cubicBezTo>
                    <a:pt x="14" y="49"/>
                    <a:pt x="12" y="32"/>
                    <a:pt x="9" y="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Freeform 560">
              <a:extLst>
                <a:ext uri="{FF2B5EF4-FFF2-40B4-BE49-F238E27FC236}">
                  <a16:creationId xmlns:a16="http://schemas.microsoft.com/office/drawing/2014/main" id="{B02ECB5A-6B6E-85DD-3E8B-F1290517888B}"/>
                </a:ext>
              </a:extLst>
            </p:cNvPr>
            <p:cNvSpPr>
              <a:spLocks noEditPoints="1"/>
            </p:cNvSpPr>
            <p:nvPr/>
          </p:nvSpPr>
          <p:spPr bwMode="auto">
            <a:xfrm>
              <a:off x="8732261" y="6293350"/>
              <a:ext cx="371475" cy="315913"/>
            </a:xfrm>
            <a:custGeom>
              <a:avLst/>
              <a:gdLst>
                <a:gd name="T0" fmla="*/ 87 w 87"/>
                <a:gd name="T1" fmla="*/ 9 h 74"/>
                <a:gd name="T2" fmla="*/ 21 w 87"/>
                <a:gd name="T3" fmla="*/ 0 h 74"/>
                <a:gd name="T4" fmla="*/ 0 w 87"/>
                <a:gd name="T5" fmla="*/ 74 h 74"/>
                <a:gd name="T6" fmla="*/ 80 w 87"/>
                <a:gd name="T7" fmla="*/ 74 h 74"/>
                <a:gd name="T8" fmla="*/ 87 w 87"/>
                <a:gd name="T9" fmla="*/ 9 h 74"/>
                <a:gd name="T10" fmla="*/ 73 w 87"/>
                <a:gd name="T11" fmla="*/ 66 h 74"/>
                <a:gd name="T12" fmla="*/ 8 w 87"/>
                <a:gd name="T13" fmla="*/ 66 h 74"/>
                <a:gd name="T14" fmla="*/ 25 w 87"/>
                <a:gd name="T15" fmla="*/ 9 h 74"/>
                <a:gd name="T16" fmla="*/ 78 w 87"/>
                <a:gd name="T17" fmla="*/ 16 h 74"/>
                <a:gd name="T18" fmla="*/ 73 w 87"/>
                <a:gd name="T19" fmla="*/ 6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74">
                  <a:moveTo>
                    <a:pt x="87" y="9"/>
                  </a:moveTo>
                  <a:cubicBezTo>
                    <a:pt x="64" y="7"/>
                    <a:pt x="42" y="4"/>
                    <a:pt x="21" y="0"/>
                  </a:cubicBezTo>
                  <a:cubicBezTo>
                    <a:pt x="9" y="22"/>
                    <a:pt x="1" y="47"/>
                    <a:pt x="0" y="74"/>
                  </a:cubicBezTo>
                  <a:lnTo>
                    <a:pt x="80" y="74"/>
                  </a:lnTo>
                  <a:cubicBezTo>
                    <a:pt x="81" y="52"/>
                    <a:pt x="83" y="30"/>
                    <a:pt x="87" y="9"/>
                  </a:cubicBezTo>
                  <a:close/>
                  <a:moveTo>
                    <a:pt x="73" y="66"/>
                  </a:moveTo>
                  <a:lnTo>
                    <a:pt x="8" y="66"/>
                  </a:lnTo>
                  <a:cubicBezTo>
                    <a:pt x="11" y="46"/>
                    <a:pt x="16" y="27"/>
                    <a:pt x="25" y="9"/>
                  </a:cubicBezTo>
                  <a:cubicBezTo>
                    <a:pt x="42" y="12"/>
                    <a:pt x="60" y="14"/>
                    <a:pt x="78" y="16"/>
                  </a:cubicBezTo>
                  <a:cubicBezTo>
                    <a:pt x="75" y="32"/>
                    <a:pt x="73" y="49"/>
                    <a:pt x="73" y="6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Freeform 561">
              <a:extLst>
                <a:ext uri="{FF2B5EF4-FFF2-40B4-BE49-F238E27FC236}">
                  <a16:creationId xmlns:a16="http://schemas.microsoft.com/office/drawing/2014/main" id="{D19DE355-F040-8F32-ECEB-66848E7546C8}"/>
                </a:ext>
              </a:extLst>
            </p:cNvPr>
            <p:cNvSpPr>
              <a:spLocks noEditPoints="1"/>
            </p:cNvSpPr>
            <p:nvPr/>
          </p:nvSpPr>
          <p:spPr bwMode="auto">
            <a:xfrm>
              <a:off x="8873548" y="7066462"/>
              <a:ext cx="392113" cy="315913"/>
            </a:xfrm>
            <a:custGeom>
              <a:avLst/>
              <a:gdLst>
                <a:gd name="T0" fmla="*/ 92 w 92"/>
                <a:gd name="T1" fmla="*/ 74 h 74"/>
                <a:gd name="T2" fmla="*/ 71 w 92"/>
                <a:gd name="T3" fmla="*/ 39 h 74"/>
                <a:gd name="T4" fmla="*/ 58 w 92"/>
                <a:gd name="T5" fmla="*/ 0 h 74"/>
                <a:gd name="T6" fmla="*/ 0 w 92"/>
                <a:gd name="T7" fmla="*/ 8 h 74"/>
                <a:gd name="T8" fmla="*/ 92 w 92"/>
                <a:gd name="T9" fmla="*/ 74 h 74"/>
                <a:gd name="T10" fmla="*/ 52 w 92"/>
                <a:gd name="T11" fmla="*/ 8 h 74"/>
                <a:gd name="T12" fmla="*/ 64 w 92"/>
                <a:gd name="T13" fmla="*/ 42 h 74"/>
                <a:gd name="T14" fmla="*/ 72 w 92"/>
                <a:gd name="T15" fmla="*/ 58 h 74"/>
                <a:gd name="T16" fmla="*/ 14 w 92"/>
                <a:gd name="T17" fmla="*/ 13 h 74"/>
                <a:gd name="T18" fmla="*/ 52 w 92"/>
                <a:gd name="T19" fmla="*/ 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74">
                  <a:moveTo>
                    <a:pt x="92" y="74"/>
                  </a:moveTo>
                  <a:cubicBezTo>
                    <a:pt x="84" y="65"/>
                    <a:pt x="77" y="53"/>
                    <a:pt x="71" y="39"/>
                  </a:cubicBezTo>
                  <a:cubicBezTo>
                    <a:pt x="66" y="27"/>
                    <a:pt x="62" y="14"/>
                    <a:pt x="58" y="0"/>
                  </a:cubicBezTo>
                  <a:cubicBezTo>
                    <a:pt x="38" y="2"/>
                    <a:pt x="19" y="4"/>
                    <a:pt x="0" y="8"/>
                  </a:cubicBezTo>
                  <a:cubicBezTo>
                    <a:pt x="22" y="39"/>
                    <a:pt x="54" y="63"/>
                    <a:pt x="92" y="74"/>
                  </a:cubicBezTo>
                  <a:close/>
                  <a:moveTo>
                    <a:pt x="52" y="8"/>
                  </a:moveTo>
                  <a:cubicBezTo>
                    <a:pt x="56" y="20"/>
                    <a:pt x="60" y="32"/>
                    <a:pt x="64" y="42"/>
                  </a:cubicBezTo>
                  <a:cubicBezTo>
                    <a:pt x="66" y="48"/>
                    <a:pt x="69" y="53"/>
                    <a:pt x="72" y="58"/>
                  </a:cubicBezTo>
                  <a:cubicBezTo>
                    <a:pt x="50" y="48"/>
                    <a:pt x="30" y="32"/>
                    <a:pt x="14" y="13"/>
                  </a:cubicBezTo>
                  <a:cubicBezTo>
                    <a:pt x="27" y="11"/>
                    <a:pt x="40" y="10"/>
                    <a:pt x="52" y="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Freeform 562">
              <a:extLst>
                <a:ext uri="{FF2B5EF4-FFF2-40B4-BE49-F238E27FC236}">
                  <a16:creationId xmlns:a16="http://schemas.microsoft.com/office/drawing/2014/main" id="{0C99757C-2F11-B864-FDBE-16DE0FAB2C40}"/>
                </a:ext>
              </a:extLst>
            </p:cNvPr>
            <p:cNvSpPr>
              <a:spLocks noEditPoints="1"/>
            </p:cNvSpPr>
            <p:nvPr/>
          </p:nvSpPr>
          <p:spPr bwMode="auto">
            <a:xfrm>
              <a:off x="9718098" y="7066462"/>
              <a:ext cx="392113" cy="315913"/>
            </a:xfrm>
            <a:custGeom>
              <a:avLst/>
              <a:gdLst>
                <a:gd name="T0" fmla="*/ 92 w 92"/>
                <a:gd name="T1" fmla="*/ 8 h 74"/>
                <a:gd name="T2" fmla="*/ 34 w 92"/>
                <a:gd name="T3" fmla="*/ 0 h 74"/>
                <a:gd name="T4" fmla="*/ 21 w 92"/>
                <a:gd name="T5" fmla="*/ 39 h 74"/>
                <a:gd name="T6" fmla="*/ 0 w 92"/>
                <a:gd name="T7" fmla="*/ 74 h 74"/>
                <a:gd name="T8" fmla="*/ 92 w 92"/>
                <a:gd name="T9" fmla="*/ 8 h 74"/>
                <a:gd name="T10" fmla="*/ 20 w 92"/>
                <a:gd name="T11" fmla="*/ 58 h 74"/>
                <a:gd name="T12" fmla="*/ 28 w 92"/>
                <a:gd name="T13" fmla="*/ 42 h 74"/>
                <a:gd name="T14" fmla="*/ 40 w 92"/>
                <a:gd name="T15" fmla="*/ 8 h 74"/>
                <a:gd name="T16" fmla="*/ 78 w 92"/>
                <a:gd name="T17" fmla="*/ 13 h 74"/>
                <a:gd name="T18" fmla="*/ 20 w 92"/>
                <a:gd name="T19" fmla="*/ 5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74">
                  <a:moveTo>
                    <a:pt x="92" y="8"/>
                  </a:moveTo>
                  <a:cubicBezTo>
                    <a:pt x="73" y="4"/>
                    <a:pt x="54" y="2"/>
                    <a:pt x="34" y="0"/>
                  </a:cubicBezTo>
                  <a:cubicBezTo>
                    <a:pt x="30" y="14"/>
                    <a:pt x="26" y="27"/>
                    <a:pt x="21" y="39"/>
                  </a:cubicBezTo>
                  <a:cubicBezTo>
                    <a:pt x="15" y="53"/>
                    <a:pt x="8" y="65"/>
                    <a:pt x="0" y="74"/>
                  </a:cubicBezTo>
                  <a:cubicBezTo>
                    <a:pt x="38" y="63"/>
                    <a:pt x="70" y="39"/>
                    <a:pt x="92" y="8"/>
                  </a:cubicBezTo>
                  <a:close/>
                  <a:moveTo>
                    <a:pt x="20" y="58"/>
                  </a:moveTo>
                  <a:cubicBezTo>
                    <a:pt x="23" y="53"/>
                    <a:pt x="26" y="48"/>
                    <a:pt x="28" y="42"/>
                  </a:cubicBezTo>
                  <a:cubicBezTo>
                    <a:pt x="32" y="32"/>
                    <a:pt x="36" y="20"/>
                    <a:pt x="40" y="8"/>
                  </a:cubicBezTo>
                  <a:cubicBezTo>
                    <a:pt x="52" y="10"/>
                    <a:pt x="65" y="11"/>
                    <a:pt x="78" y="13"/>
                  </a:cubicBezTo>
                  <a:cubicBezTo>
                    <a:pt x="62" y="32"/>
                    <a:pt x="42" y="48"/>
                    <a:pt x="20" y="5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208" name="Freeform 563">
              <a:extLst>
                <a:ext uri="{FF2B5EF4-FFF2-40B4-BE49-F238E27FC236}">
                  <a16:creationId xmlns:a16="http://schemas.microsoft.com/office/drawing/2014/main" id="{EFB330C9-EA44-BFEC-7278-B91498ECC52C}"/>
                </a:ext>
              </a:extLst>
            </p:cNvPr>
            <p:cNvSpPr>
              <a:spLocks noEditPoints="1"/>
            </p:cNvSpPr>
            <p:nvPr/>
          </p:nvSpPr>
          <p:spPr bwMode="auto">
            <a:xfrm>
              <a:off x="8876723" y="5929812"/>
              <a:ext cx="388938" cy="311150"/>
            </a:xfrm>
            <a:custGeom>
              <a:avLst/>
              <a:gdLst>
                <a:gd name="T0" fmla="*/ 58 w 91"/>
                <a:gd name="T1" fmla="*/ 73 h 73"/>
                <a:gd name="T2" fmla="*/ 70 w 91"/>
                <a:gd name="T3" fmla="*/ 35 h 73"/>
                <a:gd name="T4" fmla="*/ 91 w 91"/>
                <a:gd name="T5" fmla="*/ 0 h 73"/>
                <a:gd name="T6" fmla="*/ 0 w 91"/>
                <a:gd name="T7" fmla="*/ 65 h 73"/>
                <a:gd name="T8" fmla="*/ 58 w 91"/>
                <a:gd name="T9" fmla="*/ 73 h 73"/>
                <a:gd name="T10" fmla="*/ 71 w 91"/>
                <a:gd name="T11" fmla="*/ 16 h 73"/>
                <a:gd name="T12" fmla="*/ 63 w 91"/>
                <a:gd name="T13" fmla="*/ 32 h 73"/>
                <a:gd name="T14" fmla="*/ 52 w 91"/>
                <a:gd name="T15" fmla="*/ 64 h 73"/>
                <a:gd name="T16" fmla="*/ 14 w 91"/>
                <a:gd name="T17" fmla="*/ 59 h 73"/>
                <a:gd name="T18" fmla="*/ 71 w 91"/>
                <a:gd name="T19" fmla="*/ 1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73">
                  <a:moveTo>
                    <a:pt x="58" y="73"/>
                  </a:moveTo>
                  <a:cubicBezTo>
                    <a:pt x="61" y="59"/>
                    <a:pt x="65" y="47"/>
                    <a:pt x="70" y="35"/>
                  </a:cubicBezTo>
                  <a:cubicBezTo>
                    <a:pt x="76" y="21"/>
                    <a:pt x="83" y="9"/>
                    <a:pt x="91" y="0"/>
                  </a:cubicBezTo>
                  <a:cubicBezTo>
                    <a:pt x="54" y="11"/>
                    <a:pt x="22" y="34"/>
                    <a:pt x="0" y="65"/>
                  </a:cubicBezTo>
                  <a:cubicBezTo>
                    <a:pt x="18" y="68"/>
                    <a:pt x="38" y="71"/>
                    <a:pt x="58" y="73"/>
                  </a:cubicBezTo>
                  <a:close/>
                  <a:moveTo>
                    <a:pt x="71" y="16"/>
                  </a:moveTo>
                  <a:cubicBezTo>
                    <a:pt x="68" y="21"/>
                    <a:pt x="65" y="26"/>
                    <a:pt x="63" y="32"/>
                  </a:cubicBezTo>
                  <a:cubicBezTo>
                    <a:pt x="59" y="42"/>
                    <a:pt x="55" y="53"/>
                    <a:pt x="52" y="64"/>
                  </a:cubicBezTo>
                  <a:cubicBezTo>
                    <a:pt x="39" y="63"/>
                    <a:pt x="27" y="61"/>
                    <a:pt x="14" y="59"/>
                  </a:cubicBezTo>
                  <a:cubicBezTo>
                    <a:pt x="30" y="41"/>
                    <a:pt x="49" y="26"/>
                    <a:pt x="71" y="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Freeform 564">
              <a:extLst>
                <a:ext uri="{FF2B5EF4-FFF2-40B4-BE49-F238E27FC236}">
                  <a16:creationId xmlns:a16="http://schemas.microsoft.com/office/drawing/2014/main" id="{30A088C7-B4C6-E417-98E1-CBB85332E875}"/>
                </a:ext>
              </a:extLst>
            </p:cNvPr>
            <p:cNvSpPr>
              <a:spLocks noEditPoints="1"/>
            </p:cNvSpPr>
            <p:nvPr/>
          </p:nvSpPr>
          <p:spPr bwMode="auto">
            <a:xfrm>
              <a:off x="8732261" y="6702925"/>
              <a:ext cx="371475" cy="311150"/>
            </a:xfrm>
            <a:custGeom>
              <a:avLst/>
              <a:gdLst>
                <a:gd name="T0" fmla="*/ 20 w 87"/>
                <a:gd name="T1" fmla="*/ 73 h 73"/>
                <a:gd name="T2" fmla="*/ 87 w 87"/>
                <a:gd name="T3" fmla="*/ 63 h 73"/>
                <a:gd name="T4" fmla="*/ 80 w 87"/>
                <a:gd name="T5" fmla="*/ 0 h 73"/>
                <a:gd name="T6" fmla="*/ 0 w 87"/>
                <a:gd name="T7" fmla="*/ 0 h 73"/>
                <a:gd name="T8" fmla="*/ 20 w 87"/>
                <a:gd name="T9" fmla="*/ 73 h 73"/>
                <a:gd name="T10" fmla="*/ 78 w 87"/>
                <a:gd name="T11" fmla="*/ 56 h 73"/>
                <a:gd name="T12" fmla="*/ 25 w 87"/>
                <a:gd name="T13" fmla="*/ 64 h 73"/>
                <a:gd name="T14" fmla="*/ 8 w 87"/>
                <a:gd name="T15" fmla="*/ 8 h 73"/>
                <a:gd name="T16" fmla="*/ 73 w 87"/>
                <a:gd name="T17" fmla="*/ 8 h 73"/>
                <a:gd name="T18" fmla="*/ 78 w 87"/>
                <a:gd name="T19" fmla="*/ 5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73">
                  <a:moveTo>
                    <a:pt x="20" y="73"/>
                  </a:moveTo>
                  <a:cubicBezTo>
                    <a:pt x="42" y="69"/>
                    <a:pt x="64" y="66"/>
                    <a:pt x="87" y="63"/>
                  </a:cubicBezTo>
                  <a:cubicBezTo>
                    <a:pt x="83" y="43"/>
                    <a:pt x="81" y="22"/>
                    <a:pt x="80" y="0"/>
                  </a:cubicBezTo>
                  <a:lnTo>
                    <a:pt x="0" y="0"/>
                  </a:lnTo>
                  <a:cubicBezTo>
                    <a:pt x="1" y="26"/>
                    <a:pt x="9" y="51"/>
                    <a:pt x="20" y="73"/>
                  </a:cubicBezTo>
                  <a:close/>
                  <a:moveTo>
                    <a:pt x="78" y="56"/>
                  </a:moveTo>
                  <a:cubicBezTo>
                    <a:pt x="60" y="58"/>
                    <a:pt x="42" y="61"/>
                    <a:pt x="25" y="64"/>
                  </a:cubicBezTo>
                  <a:cubicBezTo>
                    <a:pt x="16" y="46"/>
                    <a:pt x="11" y="27"/>
                    <a:pt x="8" y="8"/>
                  </a:cubicBezTo>
                  <a:lnTo>
                    <a:pt x="73" y="8"/>
                  </a:lnTo>
                  <a:cubicBezTo>
                    <a:pt x="73" y="24"/>
                    <a:pt x="75" y="41"/>
                    <a:pt x="78"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Freeform 565">
              <a:extLst>
                <a:ext uri="{FF2B5EF4-FFF2-40B4-BE49-F238E27FC236}">
                  <a16:creationId xmlns:a16="http://schemas.microsoft.com/office/drawing/2014/main" id="{FF02B095-D849-3155-99BD-4A33826E1F5C}"/>
                </a:ext>
              </a:extLst>
            </p:cNvPr>
            <p:cNvSpPr>
              <a:spLocks noEditPoints="1"/>
            </p:cNvSpPr>
            <p:nvPr/>
          </p:nvSpPr>
          <p:spPr bwMode="auto">
            <a:xfrm>
              <a:off x="9218036" y="5891712"/>
              <a:ext cx="546100" cy="366713"/>
            </a:xfrm>
            <a:custGeom>
              <a:avLst/>
              <a:gdLst>
                <a:gd name="T0" fmla="*/ 64 w 128"/>
                <a:gd name="T1" fmla="*/ 0 h 86"/>
                <a:gd name="T2" fmla="*/ 0 w 128"/>
                <a:gd name="T3" fmla="*/ 84 h 86"/>
                <a:gd name="T4" fmla="*/ 64 w 128"/>
                <a:gd name="T5" fmla="*/ 86 h 86"/>
                <a:gd name="T6" fmla="*/ 128 w 128"/>
                <a:gd name="T7" fmla="*/ 84 h 86"/>
                <a:gd name="T8" fmla="*/ 64 w 128"/>
                <a:gd name="T9" fmla="*/ 0 h 86"/>
                <a:gd name="T10" fmla="*/ 64 w 128"/>
                <a:gd name="T11" fmla="*/ 78 h 86"/>
                <a:gd name="T12" fmla="*/ 10 w 128"/>
                <a:gd name="T13" fmla="*/ 77 h 86"/>
                <a:gd name="T14" fmla="*/ 64 w 128"/>
                <a:gd name="T15" fmla="*/ 8 h 86"/>
                <a:gd name="T16" fmla="*/ 118 w 128"/>
                <a:gd name="T17" fmla="*/ 77 h 86"/>
                <a:gd name="T18" fmla="*/ 64 w 128"/>
                <a:gd name="T19" fmla="*/ 7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86">
                  <a:moveTo>
                    <a:pt x="64" y="0"/>
                  </a:moveTo>
                  <a:cubicBezTo>
                    <a:pt x="37" y="0"/>
                    <a:pt x="13" y="34"/>
                    <a:pt x="0" y="84"/>
                  </a:cubicBezTo>
                  <a:cubicBezTo>
                    <a:pt x="21" y="85"/>
                    <a:pt x="42" y="86"/>
                    <a:pt x="64" y="86"/>
                  </a:cubicBezTo>
                  <a:cubicBezTo>
                    <a:pt x="86" y="86"/>
                    <a:pt x="107" y="85"/>
                    <a:pt x="128" y="84"/>
                  </a:cubicBezTo>
                  <a:cubicBezTo>
                    <a:pt x="115" y="34"/>
                    <a:pt x="91" y="0"/>
                    <a:pt x="64" y="0"/>
                  </a:cubicBezTo>
                  <a:close/>
                  <a:moveTo>
                    <a:pt x="64" y="78"/>
                  </a:moveTo>
                  <a:cubicBezTo>
                    <a:pt x="46" y="78"/>
                    <a:pt x="28" y="78"/>
                    <a:pt x="10" y="77"/>
                  </a:cubicBezTo>
                  <a:cubicBezTo>
                    <a:pt x="23" y="34"/>
                    <a:pt x="43" y="8"/>
                    <a:pt x="64" y="8"/>
                  </a:cubicBezTo>
                  <a:cubicBezTo>
                    <a:pt x="85" y="8"/>
                    <a:pt x="105" y="34"/>
                    <a:pt x="118" y="77"/>
                  </a:cubicBezTo>
                  <a:cubicBezTo>
                    <a:pt x="100" y="78"/>
                    <a:pt x="82" y="78"/>
                    <a:pt x="64" y="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6" name="Groupe 126">
            <a:extLst>
              <a:ext uri="{FF2B5EF4-FFF2-40B4-BE49-F238E27FC236}">
                <a16:creationId xmlns:a16="http://schemas.microsoft.com/office/drawing/2014/main" id="{0283FBDD-5329-90C6-51B9-874F4EF6D6AA}"/>
              </a:ext>
            </a:extLst>
          </p:cNvPr>
          <p:cNvGrpSpPr>
            <a:grpSpLocks noChangeAspect="1"/>
          </p:cNvGrpSpPr>
          <p:nvPr/>
        </p:nvGrpSpPr>
        <p:grpSpPr>
          <a:xfrm>
            <a:off x="7044301" y="4324893"/>
            <a:ext cx="611999" cy="618412"/>
            <a:chOff x="6891907" y="2122018"/>
            <a:chExt cx="1162021" cy="1174193"/>
          </a:xfrm>
          <a:solidFill>
            <a:schemeClr val="bg1"/>
          </a:solidFill>
        </p:grpSpPr>
        <p:sp>
          <p:nvSpPr>
            <p:cNvPr id="62" name="Forme libre : forme 114">
              <a:extLst>
                <a:ext uri="{FF2B5EF4-FFF2-40B4-BE49-F238E27FC236}">
                  <a16:creationId xmlns:a16="http://schemas.microsoft.com/office/drawing/2014/main" id="{C1204D10-39A6-53BE-62AA-77486C4723AC}"/>
                </a:ext>
              </a:extLst>
            </p:cNvPr>
            <p:cNvSpPr/>
            <p:nvPr/>
          </p:nvSpPr>
          <p:spPr>
            <a:xfrm>
              <a:off x="7214190" y="2449016"/>
              <a:ext cx="517461" cy="520219"/>
            </a:xfrm>
            <a:custGeom>
              <a:avLst/>
              <a:gdLst>
                <a:gd name="connsiteX0" fmla="*/ 517458 w 517461"/>
                <a:gd name="connsiteY0" fmla="*/ 108625 h 520219"/>
                <a:gd name="connsiteX1" fmla="*/ 492406 w 517461"/>
                <a:gd name="connsiteY1" fmla="*/ 84031 h 520219"/>
                <a:gd name="connsiteX2" fmla="*/ 276533 w 517461"/>
                <a:gd name="connsiteY2" fmla="*/ 6915 h 520219"/>
                <a:gd name="connsiteX3" fmla="*/ 276532 w 517461"/>
                <a:gd name="connsiteY3" fmla="*/ 6914 h 520219"/>
                <a:gd name="connsiteX4" fmla="*/ 259067 w 517461"/>
                <a:gd name="connsiteY4" fmla="*/ 0 h 520219"/>
                <a:gd name="connsiteX5" fmla="*/ 258396 w 517461"/>
                <a:gd name="connsiteY5" fmla="*/ 0 h 520219"/>
                <a:gd name="connsiteX6" fmla="*/ 240930 w 517461"/>
                <a:gd name="connsiteY6" fmla="*/ 6915 h 520219"/>
                <a:gd name="connsiteX7" fmla="*/ 25057 w 517461"/>
                <a:gd name="connsiteY7" fmla="*/ 84031 h 520219"/>
                <a:gd name="connsiteX8" fmla="*/ 4 w 517461"/>
                <a:gd name="connsiteY8" fmla="*/ 108625 h 520219"/>
                <a:gd name="connsiteX9" fmla="*/ 4 w 517461"/>
                <a:gd name="connsiteY9" fmla="*/ 108625 h 520219"/>
                <a:gd name="connsiteX10" fmla="*/ 26391 w 517461"/>
                <a:gd name="connsiteY10" fmla="*/ 275971 h 520219"/>
                <a:gd name="connsiteX11" fmla="*/ 99589 w 517461"/>
                <a:gd name="connsiteY11" fmla="*/ 412396 h 520219"/>
                <a:gd name="connsiteX12" fmla="*/ 249472 w 517461"/>
                <a:gd name="connsiteY12" fmla="*/ 518608 h 520219"/>
                <a:gd name="connsiteX13" fmla="*/ 258396 w 517461"/>
                <a:gd name="connsiteY13" fmla="*/ 520219 h 520219"/>
                <a:gd name="connsiteX14" fmla="*/ 259066 w 517461"/>
                <a:gd name="connsiteY14" fmla="*/ 520219 h 520219"/>
                <a:gd name="connsiteX15" fmla="*/ 267990 w 517461"/>
                <a:gd name="connsiteY15" fmla="*/ 518608 h 520219"/>
                <a:gd name="connsiteX16" fmla="*/ 417874 w 517461"/>
                <a:gd name="connsiteY16" fmla="*/ 412396 h 520219"/>
                <a:gd name="connsiteX17" fmla="*/ 491070 w 517461"/>
                <a:gd name="connsiteY17" fmla="*/ 275971 h 520219"/>
                <a:gd name="connsiteX18" fmla="*/ 517458 w 517461"/>
                <a:gd name="connsiteY18" fmla="*/ 108625 h 520219"/>
                <a:gd name="connsiteX19" fmla="*/ 442569 w 517461"/>
                <a:gd name="connsiteY19" fmla="*/ 260103 h 520219"/>
                <a:gd name="connsiteX20" fmla="*/ 258731 w 517461"/>
                <a:gd name="connsiteY20" fmla="*/ 467458 h 520219"/>
                <a:gd name="connsiteX21" fmla="*/ 75380 w 517461"/>
                <a:gd name="connsiteY21" fmla="*/ 261585 h 520219"/>
                <a:gd name="connsiteX22" fmla="*/ 51529 w 517461"/>
                <a:gd name="connsiteY22" fmla="*/ 133882 h 520219"/>
                <a:gd name="connsiteX23" fmla="*/ 202499 w 517461"/>
                <a:gd name="connsiteY23" fmla="*/ 93057 h 520219"/>
                <a:gd name="connsiteX24" fmla="*/ 258731 w 517461"/>
                <a:gd name="connsiteY24" fmla="*/ 58425 h 520219"/>
                <a:gd name="connsiteX25" fmla="*/ 314963 w 517461"/>
                <a:gd name="connsiteY25" fmla="*/ 93057 h 520219"/>
                <a:gd name="connsiteX26" fmla="*/ 465967 w 517461"/>
                <a:gd name="connsiteY26" fmla="*/ 133885 h 520219"/>
                <a:gd name="connsiteX27" fmla="*/ 442569 w 517461"/>
                <a:gd name="connsiteY27" fmla="*/ 260103 h 52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17461" h="520219">
                  <a:moveTo>
                    <a:pt x="517458" y="108625"/>
                  </a:moveTo>
                  <a:cubicBezTo>
                    <a:pt x="516970" y="95073"/>
                    <a:pt x="505965" y="84270"/>
                    <a:pt x="492406" y="84031"/>
                  </a:cubicBezTo>
                  <a:cubicBezTo>
                    <a:pt x="359944" y="81711"/>
                    <a:pt x="284679" y="14564"/>
                    <a:pt x="276533" y="6915"/>
                  </a:cubicBezTo>
                  <a:lnTo>
                    <a:pt x="276532" y="6914"/>
                  </a:lnTo>
                  <a:cubicBezTo>
                    <a:pt x="271801" y="2473"/>
                    <a:pt x="265556" y="0"/>
                    <a:pt x="259067" y="0"/>
                  </a:cubicBezTo>
                  <a:lnTo>
                    <a:pt x="258396" y="0"/>
                  </a:lnTo>
                  <a:cubicBezTo>
                    <a:pt x="251906" y="0"/>
                    <a:pt x="245661" y="2473"/>
                    <a:pt x="240930" y="6915"/>
                  </a:cubicBezTo>
                  <a:cubicBezTo>
                    <a:pt x="232784" y="14564"/>
                    <a:pt x="157519" y="81711"/>
                    <a:pt x="25057" y="84031"/>
                  </a:cubicBezTo>
                  <a:cubicBezTo>
                    <a:pt x="11498" y="84270"/>
                    <a:pt x="493" y="95072"/>
                    <a:pt x="4" y="108625"/>
                  </a:cubicBezTo>
                  <a:lnTo>
                    <a:pt x="4" y="108625"/>
                  </a:lnTo>
                  <a:cubicBezTo>
                    <a:pt x="-223" y="165461"/>
                    <a:pt x="8686" y="221963"/>
                    <a:pt x="26391" y="275971"/>
                  </a:cubicBezTo>
                  <a:cubicBezTo>
                    <a:pt x="42061" y="325617"/>
                    <a:pt x="66888" y="371889"/>
                    <a:pt x="99589" y="412396"/>
                  </a:cubicBezTo>
                  <a:cubicBezTo>
                    <a:pt x="139199" y="460517"/>
                    <a:pt x="190943" y="497184"/>
                    <a:pt x="249472" y="518608"/>
                  </a:cubicBezTo>
                  <a:cubicBezTo>
                    <a:pt x="252326" y="519674"/>
                    <a:pt x="255349" y="520219"/>
                    <a:pt x="258396" y="520219"/>
                  </a:cubicBezTo>
                  <a:lnTo>
                    <a:pt x="259066" y="520219"/>
                  </a:lnTo>
                  <a:cubicBezTo>
                    <a:pt x="262113" y="520219"/>
                    <a:pt x="265136" y="519674"/>
                    <a:pt x="267990" y="518608"/>
                  </a:cubicBezTo>
                  <a:cubicBezTo>
                    <a:pt x="326518" y="497184"/>
                    <a:pt x="378263" y="460517"/>
                    <a:pt x="417874" y="412396"/>
                  </a:cubicBezTo>
                  <a:cubicBezTo>
                    <a:pt x="450574" y="371889"/>
                    <a:pt x="475402" y="325617"/>
                    <a:pt x="491070" y="275971"/>
                  </a:cubicBezTo>
                  <a:cubicBezTo>
                    <a:pt x="508776" y="221963"/>
                    <a:pt x="517685" y="165461"/>
                    <a:pt x="517458" y="108625"/>
                  </a:cubicBezTo>
                  <a:close/>
                  <a:moveTo>
                    <a:pt x="442569" y="260103"/>
                  </a:moveTo>
                  <a:cubicBezTo>
                    <a:pt x="409291" y="361817"/>
                    <a:pt x="347469" y="431531"/>
                    <a:pt x="258731" y="467458"/>
                  </a:cubicBezTo>
                  <a:cubicBezTo>
                    <a:pt x="170450" y="431712"/>
                    <a:pt x="108788" y="362494"/>
                    <a:pt x="75380" y="261585"/>
                  </a:cubicBezTo>
                  <a:cubicBezTo>
                    <a:pt x="61935" y="220229"/>
                    <a:pt x="53918" y="177303"/>
                    <a:pt x="51529" y="133882"/>
                  </a:cubicBezTo>
                  <a:cubicBezTo>
                    <a:pt x="104027" y="130211"/>
                    <a:pt x="155306" y="116344"/>
                    <a:pt x="202499" y="93057"/>
                  </a:cubicBezTo>
                  <a:cubicBezTo>
                    <a:pt x="222292" y="83310"/>
                    <a:pt x="241120" y="71716"/>
                    <a:pt x="258731" y="58425"/>
                  </a:cubicBezTo>
                  <a:cubicBezTo>
                    <a:pt x="276342" y="71716"/>
                    <a:pt x="295170" y="83311"/>
                    <a:pt x="314963" y="93057"/>
                  </a:cubicBezTo>
                  <a:cubicBezTo>
                    <a:pt x="362167" y="116349"/>
                    <a:pt x="413458" y="130217"/>
                    <a:pt x="465967" y="133885"/>
                  </a:cubicBezTo>
                  <a:cubicBezTo>
                    <a:pt x="463617" y="176788"/>
                    <a:pt x="455754" y="219209"/>
                    <a:pt x="442569" y="260103"/>
                  </a:cubicBezTo>
                  <a:close/>
                </a:path>
              </a:pathLst>
            </a:custGeom>
            <a:grpFill/>
            <a:ln w="9525" cap="flat">
              <a:noFill/>
              <a:prstDash val="solid"/>
              <a:miter/>
            </a:ln>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Forme libre : forme 115">
              <a:extLst>
                <a:ext uri="{FF2B5EF4-FFF2-40B4-BE49-F238E27FC236}">
                  <a16:creationId xmlns:a16="http://schemas.microsoft.com/office/drawing/2014/main" id="{4D2E8B1D-4D3F-FB79-A860-1BF02B7DFE5F}"/>
                </a:ext>
              </a:extLst>
            </p:cNvPr>
            <p:cNvSpPr/>
            <p:nvPr/>
          </p:nvSpPr>
          <p:spPr>
            <a:xfrm>
              <a:off x="7360839" y="2622940"/>
              <a:ext cx="224168" cy="172371"/>
            </a:xfrm>
            <a:custGeom>
              <a:avLst/>
              <a:gdLst>
                <a:gd name="connsiteX0" fmla="*/ 49625 w 224168"/>
                <a:gd name="connsiteY0" fmla="*/ 71697 h 172371"/>
                <a:gd name="connsiteX1" fmla="*/ 8498 w 224168"/>
                <a:gd name="connsiteY1" fmla="*/ 71737 h 172371"/>
                <a:gd name="connsiteX2" fmla="*/ 8498 w 224168"/>
                <a:gd name="connsiteY2" fmla="*/ 112824 h 172371"/>
                <a:gd name="connsiteX3" fmla="*/ 59548 w 224168"/>
                <a:gd name="connsiteY3" fmla="*/ 163876 h 172371"/>
                <a:gd name="connsiteX4" fmla="*/ 100608 w 224168"/>
                <a:gd name="connsiteY4" fmla="*/ 163942 h 172371"/>
                <a:gd name="connsiteX5" fmla="*/ 215584 w 224168"/>
                <a:gd name="connsiteY5" fmla="*/ 49711 h 172371"/>
                <a:gd name="connsiteX6" fmla="*/ 215718 w 224168"/>
                <a:gd name="connsiteY6" fmla="*/ 8584 h 172371"/>
                <a:gd name="connsiteX7" fmla="*/ 195183 w 224168"/>
                <a:gd name="connsiteY7" fmla="*/ 0 h 172371"/>
                <a:gd name="connsiteX8" fmla="*/ 195085 w 224168"/>
                <a:gd name="connsiteY8" fmla="*/ 0 h 172371"/>
                <a:gd name="connsiteX9" fmla="*/ 174591 w 224168"/>
                <a:gd name="connsiteY9" fmla="*/ 8451 h 172371"/>
                <a:gd name="connsiteX10" fmla="*/ 80179 w 224168"/>
                <a:gd name="connsiteY10" fmla="*/ 102251 h 17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4168" h="172371">
                  <a:moveTo>
                    <a:pt x="49625" y="71697"/>
                  </a:moveTo>
                  <a:cubicBezTo>
                    <a:pt x="38257" y="60351"/>
                    <a:pt x="19843" y="60369"/>
                    <a:pt x="8498" y="71737"/>
                  </a:cubicBezTo>
                  <a:cubicBezTo>
                    <a:pt x="-2833" y="83089"/>
                    <a:pt x="-2833" y="101472"/>
                    <a:pt x="8498" y="112824"/>
                  </a:cubicBezTo>
                  <a:lnTo>
                    <a:pt x="59548" y="163876"/>
                  </a:lnTo>
                  <a:cubicBezTo>
                    <a:pt x="70892" y="175177"/>
                    <a:pt x="89229" y="175207"/>
                    <a:pt x="100608" y="163942"/>
                  </a:cubicBezTo>
                  <a:lnTo>
                    <a:pt x="215584" y="49711"/>
                  </a:lnTo>
                  <a:cubicBezTo>
                    <a:pt x="226978" y="38391"/>
                    <a:pt x="227038" y="19978"/>
                    <a:pt x="215718" y="8584"/>
                  </a:cubicBezTo>
                  <a:cubicBezTo>
                    <a:pt x="210282" y="3113"/>
                    <a:pt x="202896" y="25"/>
                    <a:pt x="195183" y="0"/>
                  </a:cubicBezTo>
                  <a:lnTo>
                    <a:pt x="195085" y="0"/>
                  </a:lnTo>
                  <a:cubicBezTo>
                    <a:pt x="187402" y="-21"/>
                    <a:pt x="180027" y="3020"/>
                    <a:pt x="174591" y="8451"/>
                  </a:cubicBezTo>
                  <a:lnTo>
                    <a:pt x="80179" y="102251"/>
                  </a:lnTo>
                  <a:close/>
                </a:path>
              </a:pathLst>
            </a:custGeom>
            <a:grpFill/>
            <a:ln w="9525" cap="flat">
              <a:noFill/>
              <a:prstDash val="solid"/>
              <a:miter/>
            </a:ln>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Forme libre : forme 116">
              <a:extLst>
                <a:ext uri="{FF2B5EF4-FFF2-40B4-BE49-F238E27FC236}">
                  <a16:creationId xmlns:a16="http://schemas.microsoft.com/office/drawing/2014/main" id="{50F54519-3F10-D14C-B8B3-DDDD2E663733}"/>
                </a:ext>
              </a:extLst>
            </p:cNvPr>
            <p:cNvSpPr/>
            <p:nvPr/>
          </p:nvSpPr>
          <p:spPr>
            <a:xfrm>
              <a:off x="7359013" y="2122018"/>
              <a:ext cx="221805" cy="211930"/>
            </a:xfrm>
            <a:custGeom>
              <a:avLst/>
              <a:gdLst>
                <a:gd name="connsiteX0" fmla="*/ 49712 w 221805"/>
                <a:gd name="connsiteY0" fmla="*/ 135979 h 211930"/>
                <a:gd name="connsiteX1" fmla="*/ 38689 w 221805"/>
                <a:gd name="connsiteY1" fmla="*/ 200246 h 211930"/>
                <a:gd name="connsiteX2" fmla="*/ 46848 w 221805"/>
                <a:gd name="connsiteY2" fmla="*/ 211785 h 211930"/>
                <a:gd name="connsiteX3" fmla="*/ 53188 w 221805"/>
                <a:gd name="connsiteY3" fmla="*/ 210781 h 211930"/>
                <a:gd name="connsiteX4" fmla="*/ 110903 w 221805"/>
                <a:gd name="connsiteY4" fmla="*/ 180438 h 211930"/>
                <a:gd name="connsiteX5" fmla="*/ 168619 w 221805"/>
                <a:gd name="connsiteY5" fmla="*/ 210781 h 211930"/>
                <a:gd name="connsiteX6" fmla="*/ 182114 w 221805"/>
                <a:gd name="connsiteY6" fmla="*/ 206586 h 211930"/>
                <a:gd name="connsiteX7" fmla="*/ 183118 w 221805"/>
                <a:gd name="connsiteY7" fmla="*/ 200246 h 211930"/>
                <a:gd name="connsiteX8" fmla="*/ 172094 w 221805"/>
                <a:gd name="connsiteY8" fmla="*/ 135979 h 211930"/>
                <a:gd name="connsiteX9" fmla="*/ 218787 w 221805"/>
                <a:gd name="connsiteY9" fmla="*/ 90466 h 211930"/>
                <a:gd name="connsiteX10" fmla="*/ 218969 w 221805"/>
                <a:gd name="connsiteY10" fmla="*/ 76336 h 211930"/>
                <a:gd name="connsiteX11" fmla="*/ 213249 w 221805"/>
                <a:gd name="connsiteY11" fmla="*/ 73421 h 211930"/>
                <a:gd name="connsiteX12" fmla="*/ 148721 w 221805"/>
                <a:gd name="connsiteY12" fmla="*/ 64045 h 211930"/>
                <a:gd name="connsiteX13" fmla="*/ 119864 w 221805"/>
                <a:gd name="connsiteY13" fmla="*/ 5573 h 211930"/>
                <a:gd name="connsiteX14" fmla="*/ 106482 w 221805"/>
                <a:gd name="connsiteY14" fmla="*/ 1034 h 211930"/>
                <a:gd name="connsiteX15" fmla="*/ 101943 w 221805"/>
                <a:gd name="connsiteY15" fmla="*/ 5573 h 211930"/>
                <a:gd name="connsiteX16" fmla="*/ 73085 w 221805"/>
                <a:gd name="connsiteY16" fmla="*/ 64045 h 211930"/>
                <a:gd name="connsiteX17" fmla="*/ 8557 w 221805"/>
                <a:gd name="connsiteY17" fmla="*/ 73421 h 211930"/>
                <a:gd name="connsiteX18" fmla="*/ 105 w 221805"/>
                <a:gd name="connsiteY18" fmla="*/ 84747 h 211930"/>
                <a:gd name="connsiteX19" fmla="*/ 3019 w 221805"/>
                <a:gd name="connsiteY19" fmla="*/ 90465 h 21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1805" h="211930">
                  <a:moveTo>
                    <a:pt x="49712" y="135979"/>
                  </a:moveTo>
                  <a:lnTo>
                    <a:pt x="38689" y="200246"/>
                  </a:lnTo>
                  <a:cubicBezTo>
                    <a:pt x="37756" y="205686"/>
                    <a:pt x="41409" y="210852"/>
                    <a:pt x="46848" y="211785"/>
                  </a:cubicBezTo>
                  <a:cubicBezTo>
                    <a:pt x="49014" y="212157"/>
                    <a:pt x="51243" y="211804"/>
                    <a:pt x="53188" y="210781"/>
                  </a:cubicBezTo>
                  <a:lnTo>
                    <a:pt x="110903" y="180438"/>
                  </a:lnTo>
                  <a:lnTo>
                    <a:pt x="168619" y="210781"/>
                  </a:lnTo>
                  <a:cubicBezTo>
                    <a:pt x="173503" y="213349"/>
                    <a:pt x="179546" y="211471"/>
                    <a:pt x="182114" y="206586"/>
                  </a:cubicBezTo>
                  <a:cubicBezTo>
                    <a:pt x="183137" y="204641"/>
                    <a:pt x="183489" y="202412"/>
                    <a:pt x="183118" y="200246"/>
                  </a:cubicBezTo>
                  <a:lnTo>
                    <a:pt x="172094" y="135979"/>
                  </a:lnTo>
                  <a:lnTo>
                    <a:pt x="218787" y="90466"/>
                  </a:lnTo>
                  <a:cubicBezTo>
                    <a:pt x="222739" y="86614"/>
                    <a:pt x="222821" y="80288"/>
                    <a:pt x="218969" y="76336"/>
                  </a:cubicBezTo>
                  <a:cubicBezTo>
                    <a:pt x="217434" y="74761"/>
                    <a:pt x="215424" y="73737"/>
                    <a:pt x="213249" y="73421"/>
                  </a:cubicBezTo>
                  <a:lnTo>
                    <a:pt x="148721" y="64045"/>
                  </a:lnTo>
                  <a:lnTo>
                    <a:pt x="119864" y="5573"/>
                  </a:lnTo>
                  <a:cubicBezTo>
                    <a:pt x="117422" y="624"/>
                    <a:pt x="111430" y="-1408"/>
                    <a:pt x="106482" y="1034"/>
                  </a:cubicBezTo>
                  <a:cubicBezTo>
                    <a:pt x="104511" y="2007"/>
                    <a:pt x="102915" y="3602"/>
                    <a:pt x="101943" y="5573"/>
                  </a:cubicBezTo>
                  <a:lnTo>
                    <a:pt x="73085" y="64045"/>
                  </a:lnTo>
                  <a:lnTo>
                    <a:pt x="8557" y="73421"/>
                  </a:lnTo>
                  <a:cubicBezTo>
                    <a:pt x="3095" y="74215"/>
                    <a:pt x="-689" y="79286"/>
                    <a:pt x="105" y="84747"/>
                  </a:cubicBezTo>
                  <a:cubicBezTo>
                    <a:pt x="421" y="86922"/>
                    <a:pt x="1446" y="88932"/>
                    <a:pt x="3019" y="90465"/>
                  </a:cubicBezTo>
                  <a:close/>
                </a:path>
              </a:pathLst>
            </a:custGeom>
            <a:grpFill/>
            <a:ln w="9525" cap="flat">
              <a:noFill/>
              <a:prstDash val="solid"/>
              <a:miter/>
            </a:ln>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Forme libre : forme 117">
              <a:extLst>
                <a:ext uri="{FF2B5EF4-FFF2-40B4-BE49-F238E27FC236}">
                  <a16:creationId xmlns:a16="http://schemas.microsoft.com/office/drawing/2014/main" id="{B37DA097-AA6B-03AF-3A73-0A6295B4A6E5}"/>
                </a:ext>
              </a:extLst>
            </p:cNvPr>
            <p:cNvSpPr/>
            <p:nvPr/>
          </p:nvSpPr>
          <p:spPr>
            <a:xfrm>
              <a:off x="7832538" y="2593290"/>
              <a:ext cx="221390" cy="215527"/>
            </a:xfrm>
            <a:custGeom>
              <a:avLst/>
              <a:gdLst>
                <a:gd name="connsiteX0" fmla="*/ 212197 w 221390"/>
                <a:gd name="connsiteY0" fmla="*/ 66738 h 215527"/>
                <a:gd name="connsiteX1" fmla="*/ 147208 w 221390"/>
                <a:gd name="connsiteY1" fmla="*/ 61511 h 215527"/>
                <a:gd name="connsiteX2" fmla="*/ 114661 w 221390"/>
                <a:gd name="connsiteY2" fmla="*/ 5007 h 215527"/>
                <a:gd name="connsiteX3" fmla="*/ 101021 w 221390"/>
                <a:gd name="connsiteY3" fmla="*/ 1335 h 215527"/>
                <a:gd name="connsiteX4" fmla="*/ 96783 w 221390"/>
                <a:gd name="connsiteY4" fmla="*/ 6155 h 215527"/>
                <a:gd name="connsiteX5" fmla="*/ 71723 w 221390"/>
                <a:gd name="connsiteY5" fmla="*/ 66354 h 215527"/>
                <a:gd name="connsiteX6" fmla="*/ 7924 w 221390"/>
                <a:gd name="connsiteY6" fmla="*/ 79842 h 215527"/>
                <a:gd name="connsiteX7" fmla="*/ 218 w 221390"/>
                <a:gd name="connsiteY7" fmla="*/ 91687 h 215527"/>
                <a:gd name="connsiteX8" fmla="*/ 3495 w 221390"/>
                <a:gd name="connsiteY8" fmla="*/ 97206 h 215527"/>
                <a:gd name="connsiteX9" fmla="*/ 53006 w 221390"/>
                <a:gd name="connsiteY9" fmla="*/ 139638 h 215527"/>
                <a:gd name="connsiteX10" fmla="*/ 46119 w 221390"/>
                <a:gd name="connsiteY10" fmla="*/ 204480 h 215527"/>
                <a:gd name="connsiteX11" fmla="*/ 54997 w 221390"/>
                <a:gd name="connsiteY11" fmla="*/ 215472 h 215527"/>
                <a:gd name="connsiteX12" fmla="*/ 61264 w 221390"/>
                <a:gd name="connsiteY12" fmla="*/ 214064 h 215527"/>
                <a:gd name="connsiteX13" fmla="*/ 116919 w 221390"/>
                <a:gd name="connsiteY13" fmla="*/ 180088 h 215527"/>
                <a:gd name="connsiteX14" fmla="*/ 176459 w 221390"/>
                <a:gd name="connsiteY14" fmla="*/ 206672 h 215527"/>
                <a:gd name="connsiteX15" fmla="*/ 189652 w 221390"/>
                <a:gd name="connsiteY15" fmla="*/ 201623 h 215527"/>
                <a:gd name="connsiteX16" fmla="*/ 190252 w 221390"/>
                <a:gd name="connsiteY16" fmla="*/ 195232 h 215527"/>
                <a:gd name="connsiteX17" fmla="*/ 175135 w 221390"/>
                <a:gd name="connsiteY17" fmla="*/ 131803 h 215527"/>
                <a:gd name="connsiteX18" fmla="*/ 218817 w 221390"/>
                <a:gd name="connsiteY18" fmla="*/ 83392 h 215527"/>
                <a:gd name="connsiteX19" fmla="*/ 218093 w 221390"/>
                <a:gd name="connsiteY19" fmla="*/ 69279 h 215527"/>
                <a:gd name="connsiteX20" fmla="*/ 212197 w 221390"/>
                <a:gd name="connsiteY20" fmla="*/ 66738 h 21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1390" h="215527">
                  <a:moveTo>
                    <a:pt x="212197" y="66738"/>
                  </a:moveTo>
                  <a:lnTo>
                    <a:pt x="147208" y="61511"/>
                  </a:lnTo>
                  <a:lnTo>
                    <a:pt x="114661" y="5007"/>
                  </a:lnTo>
                  <a:cubicBezTo>
                    <a:pt x="111909" y="225"/>
                    <a:pt x="105803" y="-1419"/>
                    <a:pt x="101021" y="1335"/>
                  </a:cubicBezTo>
                  <a:cubicBezTo>
                    <a:pt x="99117" y="2432"/>
                    <a:pt x="97621" y="4126"/>
                    <a:pt x="96783" y="6155"/>
                  </a:cubicBezTo>
                  <a:lnTo>
                    <a:pt x="71723" y="66354"/>
                  </a:lnTo>
                  <a:lnTo>
                    <a:pt x="7924" y="79842"/>
                  </a:lnTo>
                  <a:cubicBezTo>
                    <a:pt x="2533" y="80984"/>
                    <a:pt x="-925" y="86288"/>
                    <a:pt x="218" y="91687"/>
                  </a:cubicBezTo>
                  <a:cubicBezTo>
                    <a:pt x="676" y="93836"/>
                    <a:pt x="1828" y="95777"/>
                    <a:pt x="3495" y="97206"/>
                  </a:cubicBezTo>
                  <a:lnTo>
                    <a:pt x="53006" y="139638"/>
                  </a:lnTo>
                  <a:lnTo>
                    <a:pt x="46119" y="204480"/>
                  </a:lnTo>
                  <a:cubicBezTo>
                    <a:pt x="45538" y="209968"/>
                    <a:pt x="49510" y="214889"/>
                    <a:pt x="54997" y="215472"/>
                  </a:cubicBezTo>
                  <a:cubicBezTo>
                    <a:pt x="57187" y="215704"/>
                    <a:pt x="59388" y="215209"/>
                    <a:pt x="61264" y="214064"/>
                  </a:cubicBezTo>
                  <a:lnTo>
                    <a:pt x="116919" y="180088"/>
                  </a:lnTo>
                  <a:lnTo>
                    <a:pt x="176459" y="206672"/>
                  </a:lnTo>
                  <a:cubicBezTo>
                    <a:pt x="181498" y="208923"/>
                    <a:pt x="187404" y="206662"/>
                    <a:pt x="189652" y="201623"/>
                  </a:cubicBezTo>
                  <a:cubicBezTo>
                    <a:pt x="190547" y="199616"/>
                    <a:pt x="190756" y="197370"/>
                    <a:pt x="190252" y="195232"/>
                  </a:cubicBezTo>
                  <a:lnTo>
                    <a:pt x="175135" y="131803"/>
                  </a:lnTo>
                  <a:lnTo>
                    <a:pt x="218817" y="83392"/>
                  </a:lnTo>
                  <a:cubicBezTo>
                    <a:pt x="222513" y="79295"/>
                    <a:pt x="222189" y="72977"/>
                    <a:pt x="218093" y="69279"/>
                  </a:cubicBezTo>
                  <a:cubicBezTo>
                    <a:pt x="216465" y="67807"/>
                    <a:pt x="214388" y="66914"/>
                    <a:pt x="212197" y="66738"/>
                  </a:cubicBezTo>
                  <a:close/>
                </a:path>
              </a:pathLst>
            </a:custGeom>
            <a:grpFill/>
            <a:ln w="9525" cap="flat">
              <a:noFill/>
              <a:prstDash val="solid"/>
              <a:miter/>
            </a:ln>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98" name="Forme libre : forme 118">
              <a:extLst>
                <a:ext uri="{FF2B5EF4-FFF2-40B4-BE49-F238E27FC236}">
                  <a16:creationId xmlns:a16="http://schemas.microsoft.com/office/drawing/2014/main" id="{6747CFC9-115C-DE5D-6C3F-02199A3C7656}"/>
                </a:ext>
              </a:extLst>
            </p:cNvPr>
            <p:cNvSpPr/>
            <p:nvPr/>
          </p:nvSpPr>
          <p:spPr>
            <a:xfrm>
              <a:off x="7699197" y="2924612"/>
              <a:ext cx="221478" cy="215165"/>
            </a:xfrm>
            <a:custGeom>
              <a:avLst/>
              <a:gdLst>
                <a:gd name="connsiteX0" fmla="*/ 213484 w 221478"/>
                <a:gd name="connsiteY0" fmla="*/ 79138 h 215165"/>
                <a:gd name="connsiteX1" fmla="*/ 149590 w 221478"/>
                <a:gd name="connsiteY1" fmla="*/ 66108 h 215165"/>
                <a:gd name="connsiteX2" fmla="*/ 124110 w 221478"/>
                <a:gd name="connsiteY2" fmla="*/ 6089 h 215165"/>
                <a:gd name="connsiteX3" fmla="*/ 111002 w 221478"/>
                <a:gd name="connsiteY3" fmla="*/ 797 h 215165"/>
                <a:gd name="connsiteX4" fmla="*/ 106213 w 221478"/>
                <a:gd name="connsiteY4" fmla="*/ 5071 h 215165"/>
                <a:gd name="connsiteX5" fmla="*/ 74078 w 221478"/>
                <a:gd name="connsiteY5" fmla="*/ 61807 h 215165"/>
                <a:gd name="connsiteX6" fmla="*/ 9121 w 221478"/>
                <a:gd name="connsiteY6" fmla="*/ 67500 h 215165"/>
                <a:gd name="connsiteX7" fmla="*/ 39 w 221478"/>
                <a:gd name="connsiteY7" fmla="*/ 78326 h 215165"/>
                <a:gd name="connsiteX8" fmla="*/ 2623 w 221478"/>
                <a:gd name="connsiteY8" fmla="*/ 84202 h 215165"/>
                <a:gd name="connsiteX9" fmla="*/ 46652 w 221478"/>
                <a:gd name="connsiteY9" fmla="*/ 132299 h 215165"/>
                <a:gd name="connsiteX10" fmla="*/ 31993 w 221478"/>
                <a:gd name="connsiteY10" fmla="*/ 195831 h 215165"/>
                <a:gd name="connsiteX11" fmla="*/ 39484 w 221478"/>
                <a:gd name="connsiteY11" fmla="*/ 207814 h 215165"/>
                <a:gd name="connsiteX12" fmla="*/ 45869 w 221478"/>
                <a:gd name="connsiteY12" fmla="*/ 207175 h 215165"/>
                <a:gd name="connsiteX13" fmla="*/ 105218 w 221478"/>
                <a:gd name="connsiteY13" fmla="*/ 180163 h 215165"/>
                <a:gd name="connsiteX14" fmla="*/ 161115 w 221478"/>
                <a:gd name="connsiteY14" fmla="*/ 213738 h 215165"/>
                <a:gd name="connsiteX15" fmla="*/ 174822 w 221478"/>
                <a:gd name="connsiteY15" fmla="*/ 210319 h 215165"/>
                <a:gd name="connsiteX16" fmla="*/ 176184 w 221478"/>
                <a:gd name="connsiteY16" fmla="*/ 204042 h 215165"/>
                <a:gd name="connsiteX17" fmla="*/ 168840 w 221478"/>
                <a:gd name="connsiteY17" fmla="*/ 139253 h 215165"/>
                <a:gd name="connsiteX18" fmla="*/ 218046 w 221478"/>
                <a:gd name="connsiteY18" fmla="*/ 96470 h 215165"/>
                <a:gd name="connsiteX19" fmla="*/ 219027 w 221478"/>
                <a:gd name="connsiteY19" fmla="*/ 82373 h 215165"/>
                <a:gd name="connsiteX20" fmla="*/ 213484 w 221478"/>
                <a:gd name="connsiteY20" fmla="*/ 79138 h 21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1478" h="215165">
                  <a:moveTo>
                    <a:pt x="213484" y="79138"/>
                  </a:moveTo>
                  <a:lnTo>
                    <a:pt x="149590" y="66108"/>
                  </a:lnTo>
                  <a:lnTo>
                    <a:pt x="124110" y="6089"/>
                  </a:lnTo>
                  <a:cubicBezTo>
                    <a:pt x="121948" y="1010"/>
                    <a:pt x="116082" y="-1359"/>
                    <a:pt x="111002" y="797"/>
                  </a:cubicBezTo>
                  <a:cubicBezTo>
                    <a:pt x="108979" y="1656"/>
                    <a:pt x="107296" y="3158"/>
                    <a:pt x="106213" y="5071"/>
                  </a:cubicBezTo>
                  <a:lnTo>
                    <a:pt x="74078" y="61807"/>
                  </a:lnTo>
                  <a:lnTo>
                    <a:pt x="9121" y="67500"/>
                  </a:lnTo>
                  <a:cubicBezTo>
                    <a:pt x="3623" y="67982"/>
                    <a:pt x="-443" y="72829"/>
                    <a:pt x="39" y="78326"/>
                  </a:cubicBezTo>
                  <a:cubicBezTo>
                    <a:pt x="230" y="80516"/>
                    <a:pt x="1139" y="82581"/>
                    <a:pt x="2623" y="84202"/>
                  </a:cubicBezTo>
                  <a:lnTo>
                    <a:pt x="46652" y="132299"/>
                  </a:lnTo>
                  <a:lnTo>
                    <a:pt x="31993" y="195831"/>
                  </a:lnTo>
                  <a:cubicBezTo>
                    <a:pt x="30752" y="201213"/>
                    <a:pt x="34107" y="206575"/>
                    <a:pt x="39484" y="207814"/>
                  </a:cubicBezTo>
                  <a:cubicBezTo>
                    <a:pt x="41625" y="208309"/>
                    <a:pt x="43870" y="208090"/>
                    <a:pt x="45869" y="207175"/>
                  </a:cubicBezTo>
                  <a:lnTo>
                    <a:pt x="105218" y="180163"/>
                  </a:lnTo>
                  <a:lnTo>
                    <a:pt x="161115" y="213738"/>
                  </a:lnTo>
                  <a:cubicBezTo>
                    <a:pt x="165849" y="216577"/>
                    <a:pt x="171983" y="215053"/>
                    <a:pt x="174822" y="210319"/>
                  </a:cubicBezTo>
                  <a:cubicBezTo>
                    <a:pt x="175955" y="208433"/>
                    <a:pt x="176441" y="206232"/>
                    <a:pt x="176184" y="204042"/>
                  </a:cubicBezTo>
                  <a:lnTo>
                    <a:pt x="168840" y="139253"/>
                  </a:lnTo>
                  <a:lnTo>
                    <a:pt x="218046" y="96470"/>
                  </a:lnTo>
                  <a:cubicBezTo>
                    <a:pt x="222208" y="92850"/>
                    <a:pt x="222647" y="86537"/>
                    <a:pt x="219027" y="82373"/>
                  </a:cubicBezTo>
                  <a:cubicBezTo>
                    <a:pt x="217589" y="80714"/>
                    <a:pt x="215636" y="79578"/>
                    <a:pt x="213484" y="79138"/>
                  </a:cubicBezTo>
                  <a:close/>
                </a:path>
              </a:pathLst>
            </a:custGeom>
            <a:grpFill/>
            <a:ln w="9525" cap="flat">
              <a:noFill/>
              <a:prstDash val="solid"/>
              <a:miter/>
            </a:ln>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10" name="Forme libre : forme 119">
              <a:extLst>
                <a:ext uri="{FF2B5EF4-FFF2-40B4-BE49-F238E27FC236}">
                  <a16:creationId xmlns:a16="http://schemas.microsoft.com/office/drawing/2014/main" id="{87ABBA1D-8A44-4BE4-B1A6-5AF1B5B9B3E9}"/>
                </a:ext>
              </a:extLst>
            </p:cNvPr>
            <p:cNvSpPr/>
            <p:nvPr/>
          </p:nvSpPr>
          <p:spPr>
            <a:xfrm>
              <a:off x="7366401" y="3084279"/>
              <a:ext cx="221804" cy="211932"/>
            </a:xfrm>
            <a:custGeom>
              <a:avLst/>
              <a:gdLst>
                <a:gd name="connsiteX0" fmla="*/ 213249 w 221804"/>
                <a:gd name="connsiteY0" fmla="*/ 73417 h 211932"/>
                <a:gd name="connsiteX1" fmla="*/ 148721 w 221804"/>
                <a:gd name="connsiteY1" fmla="*/ 64044 h 211932"/>
                <a:gd name="connsiteX2" fmla="*/ 119864 w 221804"/>
                <a:gd name="connsiteY2" fmla="*/ 5570 h 211932"/>
                <a:gd name="connsiteX3" fmla="*/ 106481 w 221804"/>
                <a:gd name="connsiteY3" fmla="*/ 1036 h 211932"/>
                <a:gd name="connsiteX4" fmla="*/ 101942 w 221804"/>
                <a:gd name="connsiteY4" fmla="*/ 5570 h 211932"/>
                <a:gd name="connsiteX5" fmla="*/ 73085 w 221804"/>
                <a:gd name="connsiteY5" fmla="*/ 64044 h 211932"/>
                <a:gd name="connsiteX6" fmla="*/ 8557 w 221804"/>
                <a:gd name="connsiteY6" fmla="*/ 73417 h 211932"/>
                <a:gd name="connsiteX7" fmla="*/ 105 w 221804"/>
                <a:gd name="connsiteY7" fmla="*/ 84752 h 211932"/>
                <a:gd name="connsiteX8" fmla="*/ 3019 w 221804"/>
                <a:gd name="connsiteY8" fmla="*/ 90467 h 211932"/>
                <a:gd name="connsiteX9" fmla="*/ 49712 w 221804"/>
                <a:gd name="connsiteY9" fmla="*/ 135977 h 211932"/>
                <a:gd name="connsiteX10" fmla="*/ 38688 w 221804"/>
                <a:gd name="connsiteY10" fmla="*/ 200252 h 211932"/>
                <a:gd name="connsiteX11" fmla="*/ 46848 w 221804"/>
                <a:gd name="connsiteY11" fmla="*/ 211787 h 211932"/>
                <a:gd name="connsiteX12" fmla="*/ 53187 w 221804"/>
                <a:gd name="connsiteY12" fmla="*/ 210777 h 211932"/>
                <a:gd name="connsiteX13" fmla="*/ 110903 w 221804"/>
                <a:gd name="connsiteY13" fmla="*/ 180440 h 211932"/>
                <a:gd name="connsiteX14" fmla="*/ 168619 w 221804"/>
                <a:gd name="connsiteY14" fmla="*/ 210786 h 211932"/>
                <a:gd name="connsiteX15" fmla="*/ 182114 w 221804"/>
                <a:gd name="connsiteY15" fmla="*/ 206586 h 211932"/>
                <a:gd name="connsiteX16" fmla="*/ 183118 w 221804"/>
                <a:gd name="connsiteY16" fmla="*/ 200252 h 211932"/>
                <a:gd name="connsiteX17" fmla="*/ 172094 w 221804"/>
                <a:gd name="connsiteY17" fmla="*/ 135977 h 211932"/>
                <a:gd name="connsiteX18" fmla="*/ 218787 w 221804"/>
                <a:gd name="connsiteY18" fmla="*/ 90467 h 211932"/>
                <a:gd name="connsiteX19" fmla="*/ 218968 w 221804"/>
                <a:gd name="connsiteY19" fmla="*/ 76332 h 211932"/>
                <a:gd name="connsiteX20" fmla="*/ 213249 w 221804"/>
                <a:gd name="connsiteY20" fmla="*/ 73417 h 21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1804" h="211932">
                  <a:moveTo>
                    <a:pt x="213249" y="73417"/>
                  </a:moveTo>
                  <a:lnTo>
                    <a:pt x="148721" y="64044"/>
                  </a:lnTo>
                  <a:lnTo>
                    <a:pt x="119864" y="5570"/>
                  </a:lnTo>
                  <a:cubicBezTo>
                    <a:pt x="117422" y="627"/>
                    <a:pt x="111430" y="-1411"/>
                    <a:pt x="106481" y="1036"/>
                  </a:cubicBezTo>
                  <a:cubicBezTo>
                    <a:pt x="104510" y="2008"/>
                    <a:pt x="102914" y="3599"/>
                    <a:pt x="101942" y="5570"/>
                  </a:cubicBezTo>
                  <a:lnTo>
                    <a:pt x="73085" y="64044"/>
                  </a:lnTo>
                  <a:lnTo>
                    <a:pt x="8557" y="73417"/>
                  </a:lnTo>
                  <a:cubicBezTo>
                    <a:pt x="3095" y="74217"/>
                    <a:pt x="-689" y="79284"/>
                    <a:pt x="105" y="84752"/>
                  </a:cubicBezTo>
                  <a:cubicBezTo>
                    <a:pt x="421" y="86923"/>
                    <a:pt x="1446" y="88933"/>
                    <a:pt x="3019" y="90467"/>
                  </a:cubicBezTo>
                  <a:lnTo>
                    <a:pt x="49712" y="135977"/>
                  </a:lnTo>
                  <a:lnTo>
                    <a:pt x="38688" y="200252"/>
                  </a:lnTo>
                  <a:cubicBezTo>
                    <a:pt x="37755" y="205691"/>
                    <a:pt x="41409" y="210853"/>
                    <a:pt x="46848" y="211787"/>
                  </a:cubicBezTo>
                  <a:cubicBezTo>
                    <a:pt x="49014" y="212158"/>
                    <a:pt x="51242" y="211806"/>
                    <a:pt x="53187" y="210777"/>
                  </a:cubicBezTo>
                  <a:lnTo>
                    <a:pt x="110903" y="180440"/>
                  </a:lnTo>
                  <a:lnTo>
                    <a:pt x="168619" y="210786"/>
                  </a:lnTo>
                  <a:cubicBezTo>
                    <a:pt x="173504" y="213349"/>
                    <a:pt x="179546" y="211472"/>
                    <a:pt x="182114" y="206586"/>
                  </a:cubicBezTo>
                  <a:cubicBezTo>
                    <a:pt x="183136" y="204643"/>
                    <a:pt x="183489" y="202414"/>
                    <a:pt x="183118" y="200252"/>
                  </a:cubicBezTo>
                  <a:lnTo>
                    <a:pt x="172094" y="135977"/>
                  </a:lnTo>
                  <a:lnTo>
                    <a:pt x="218787" y="90467"/>
                  </a:lnTo>
                  <a:cubicBezTo>
                    <a:pt x="222739" y="86619"/>
                    <a:pt x="222820" y="80284"/>
                    <a:pt x="218968" y="76332"/>
                  </a:cubicBezTo>
                  <a:cubicBezTo>
                    <a:pt x="217434" y="74760"/>
                    <a:pt x="215424" y="73741"/>
                    <a:pt x="213249" y="73417"/>
                  </a:cubicBezTo>
                  <a:close/>
                </a:path>
              </a:pathLst>
            </a:custGeom>
            <a:grpFill/>
            <a:ln w="9525" cap="flat">
              <a:noFill/>
              <a:prstDash val="solid"/>
              <a:miter/>
            </a:ln>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12" name="Forme libre : forme 120">
              <a:extLst>
                <a:ext uri="{FF2B5EF4-FFF2-40B4-BE49-F238E27FC236}">
                  <a16:creationId xmlns:a16="http://schemas.microsoft.com/office/drawing/2014/main" id="{B0DC9293-EE54-6636-6126-5A3804D90732}"/>
                </a:ext>
              </a:extLst>
            </p:cNvPr>
            <p:cNvSpPr/>
            <p:nvPr/>
          </p:nvSpPr>
          <p:spPr>
            <a:xfrm>
              <a:off x="7033270" y="2929411"/>
              <a:ext cx="221802" cy="212255"/>
            </a:xfrm>
            <a:custGeom>
              <a:avLst/>
              <a:gdLst>
                <a:gd name="connsiteX0" fmla="*/ 213299 w 221802"/>
                <a:gd name="connsiteY0" fmla="*/ 73954 h 212255"/>
                <a:gd name="connsiteX1" fmla="*/ 148820 w 221802"/>
                <a:gd name="connsiteY1" fmla="*/ 64242 h 212255"/>
                <a:gd name="connsiteX2" fmla="*/ 120268 w 221802"/>
                <a:gd name="connsiteY2" fmla="*/ 5619 h 212255"/>
                <a:gd name="connsiteX3" fmla="*/ 106909 w 221802"/>
                <a:gd name="connsiteY3" fmla="*/ 1011 h 212255"/>
                <a:gd name="connsiteX4" fmla="*/ 102347 w 221802"/>
                <a:gd name="connsiteY4" fmla="*/ 5527 h 212255"/>
                <a:gd name="connsiteX5" fmla="*/ 73185 w 221802"/>
                <a:gd name="connsiteY5" fmla="*/ 63847 h 212255"/>
                <a:gd name="connsiteX6" fmla="*/ 8609 w 221802"/>
                <a:gd name="connsiteY6" fmla="*/ 72887 h 212255"/>
                <a:gd name="connsiteX7" fmla="*/ 98 w 221802"/>
                <a:gd name="connsiteY7" fmla="*/ 84169 h 212255"/>
                <a:gd name="connsiteX8" fmla="*/ 2982 w 221802"/>
                <a:gd name="connsiteY8" fmla="*/ 89903 h 212255"/>
                <a:gd name="connsiteX9" fmla="*/ 49437 w 221802"/>
                <a:gd name="connsiteY9" fmla="*/ 135664 h 212255"/>
                <a:gd name="connsiteX10" fmla="*/ 38080 w 221802"/>
                <a:gd name="connsiteY10" fmla="*/ 199872 h 212255"/>
                <a:gd name="connsiteX11" fmla="*/ 46179 w 221802"/>
                <a:gd name="connsiteY11" fmla="*/ 211445 h 212255"/>
                <a:gd name="connsiteX12" fmla="*/ 52523 w 221802"/>
                <a:gd name="connsiteY12" fmla="*/ 210474 h 212255"/>
                <a:gd name="connsiteX13" fmla="*/ 110396 w 221802"/>
                <a:gd name="connsiteY13" fmla="*/ 180432 h 212255"/>
                <a:gd name="connsiteX14" fmla="*/ 167953 w 221802"/>
                <a:gd name="connsiteY14" fmla="*/ 211083 h 212255"/>
                <a:gd name="connsiteX15" fmla="*/ 181469 w 221802"/>
                <a:gd name="connsiteY15" fmla="*/ 206949 h 212255"/>
                <a:gd name="connsiteX16" fmla="*/ 182506 w 221802"/>
                <a:gd name="connsiteY16" fmla="*/ 200625 h 212255"/>
                <a:gd name="connsiteX17" fmla="*/ 171819 w 221802"/>
                <a:gd name="connsiteY17" fmla="*/ 136293 h 212255"/>
                <a:gd name="connsiteX18" fmla="*/ 218748 w 221802"/>
                <a:gd name="connsiteY18" fmla="*/ 91026 h 212255"/>
                <a:gd name="connsiteX19" fmla="*/ 219000 w 221802"/>
                <a:gd name="connsiteY19" fmla="*/ 76897 h 212255"/>
                <a:gd name="connsiteX20" fmla="*/ 213299 w 221802"/>
                <a:gd name="connsiteY20" fmla="*/ 73954 h 21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1802" h="212255">
                  <a:moveTo>
                    <a:pt x="213299" y="73954"/>
                  </a:moveTo>
                  <a:lnTo>
                    <a:pt x="148820" y="64242"/>
                  </a:lnTo>
                  <a:lnTo>
                    <a:pt x="120268" y="5619"/>
                  </a:lnTo>
                  <a:cubicBezTo>
                    <a:pt x="117851" y="658"/>
                    <a:pt x="111871" y="-1405"/>
                    <a:pt x="106909" y="1011"/>
                  </a:cubicBezTo>
                  <a:cubicBezTo>
                    <a:pt x="104933" y="1974"/>
                    <a:pt x="103330" y="3561"/>
                    <a:pt x="102347" y="5527"/>
                  </a:cubicBezTo>
                  <a:lnTo>
                    <a:pt x="73185" y="63847"/>
                  </a:lnTo>
                  <a:lnTo>
                    <a:pt x="8609" y="72887"/>
                  </a:lnTo>
                  <a:cubicBezTo>
                    <a:pt x="3143" y="73653"/>
                    <a:pt x="-667" y="78704"/>
                    <a:pt x="98" y="84169"/>
                  </a:cubicBezTo>
                  <a:cubicBezTo>
                    <a:pt x="402" y="86346"/>
                    <a:pt x="1416" y="88361"/>
                    <a:pt x="2982" y="89903"/>
                  </a:cubicBezTo>
                  <a:lnTo>
                    <a:pt x="49437" y="135664"/>
                  </a:lnTo>
                  <a:lnTo>
                    <a:pt x="38080" y="199872"/>
                  </a:lnTo>
                  <a:cubicBezTo>
                    <a:pt x="37119" y="205301"/>
                    <a:pt x="40745" y="210483"/>
                    <a:pt x="46179" y="211445"/>
                  </a:cubicBezTo>
                  <a:cubicBezTo>
                    <a:pt x="48343" y="211836"/>
                    <a:pt x="50574" y="211493"/>
                    <a:pt x="52523" y="210474"/>
                  </a:cubicBezTo>
                  <a:lnTo>
                    <a:pt x="110396" y="180432"/>
                  </a:lnTo>
                  <a:lnTo>
                    <a:pt x="167953" y="211083"/>
                  </a:lnTo>
                  <a:cubicBezTo>
                    <a:pt x="172824" y="213674"/>
                    <a:pt x="178876" y="211826"/>
                    <a:pt x="181469" y="206949"/>
                  </a:cubicBezTo>
                  <a:cubicBezTo>
                    <a:pt x="182502" y="205016"/>
                    <a:pt x="182866" y="202787"/>
                    <a:pt x="182506" y="200625"/>
                  </a:cubicBezTo>
                  <a:lnTo>
                    <a:pt x="171819" y="136293"/>
                  </a:lnTo>
                  <a:lnTo>
                    <a:pt x="218748" y="91026"/>
                  </a:lnTo>
                  <a:cubicBezTo>
                    <a:pt x="222720" y="87194"/>
                    <a:pt x="222833" y="80869"/>
                    <a:pt x="219000" y="76897"/>
                  </a:cubicBezTo>
                  <a:cubicBezTo>
                    <a:pt x="217475" y="75316"/>
                    <a:pt x="215471" y="74281"/>
                    <a:pt x="213299" y="73954"/>
                  </a:cubicBezTo>
                  <a:close/>
                </a:path>
              </a:pathLst>
            </a:custGeom>
            <a:grpFill/>
            <a:ln w="9525" cap="flat">
              <a:noFill/>
              <a:prstDash val="solid"/>
              <a:miter/>
            </a:ln>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14" name="Forme libre : forme 121">
              <a:extLst>
                <a:ext uri="{FF2B5EF4-FFF2-40B4-BE49-F238E27FC236}">
                  <a16:creationId xmlns:a16="http://schemas.microsoft.com/office/drawing/2014/main" id="{3E7C5BC0-7D2B-EAF7-48F1-C8ED3B858FB6}"/>
                </a:ext>
              </a:extLst>
            </p:cNvPr>
            <p:cNvSpPr/>
            <p:nvPr/>
          </p:nvSpPr>
          <p:spPr>
            <a:xfrm>
              <a:off x="6891907" y="2600097"/>
              <a:ext cx="221752" cy="213311"/>
            </a:xfrm>
            <a:custGeom>
              <a:avLst/>
              <a:gdLst>
                <a:gd name="connsiteX0" fmla="*/ 180388 w 221752"/>
                <a:gd name="connsiteY0" fmla="*/ 201854 h 213311"/>
                <a:gd name="connsiteX1" fmla="*/ 170844 w 221752"/>
                <a:gd name="connsiteY1" fmla="*/ 137351 h 213311"/>
                <a:gd name="connsiteX2" fmla="*/ 218569 w 221752"/>
                <a:gd name="connsiteY2" fmla="*/ 92922 h 213311"/>
                <a:gd name="connsiteX3" fmla="*/ 219073 w 221752"/>
                <a:gd name="connsiteY3" fmla="*/ 78798 h 213311"/>
                <a:gd name="connsiteX4" fmla="*/ 213423 w 221752"/>
                <a:gd name="connsiteY4" fmla="*/ 75754 h 213311"/>
                <a:gd name="connsiteX5" fmla="*/ 149128 w 221752"/>
                <a:gd name="connsiteY5" fmla="*/ 64899 h 213311"/>
                <a:gd name="connsiteX6" fmla="*/ 121619 w 221752"/>
                <a:gd name="connsiteY6" fmla="*/ 5780 h 213311"/>
                <a:gd name="connsiteX7" fmla="*/ 108344 w 221752"/>
                <a:gd name="connsiteY7" fmla="*/ 935 h 213311"/>
                <a:gd name="connsiteX8" fmla="*/ 103703 w 221752"/>
                <a:gd name="connsiteY8" fmla="*/ 5369 h 213311"/>
                <a:gd name="connsiteX9" fmla="*/ 73510 w 221752"/>
                <a:gd name="connsiteY9" fmla="*/ 63162 h 213311"/>
                <a:gd name="connsiteX10" fmla="*/ 8784 w 221752"/>
                <a:gd name="connsiteY10" fmla="*/ 71055 h 213311"/>
                <a:gd name="connsiteX11" fmla="*/ 75 w 221752"/>
                <a:gd name="connsiteY11" fmla="*/ 82185 h 213311"/>
                <a:gd name="connsiteX12" fmla="*/ 2856 w 221752"/>
                <a:gd name="connsiteY12" fmla="*/ 87968 h 213311"/>
                <a:gd name="connsiteX13" fmla="*/ 48492 w 221752"/>
                <a:gd name="connsiteY13" fmla="*/ 134542 h 213311"/>
                <a:gd name="connsiteX14" fmla="*/ 35997 w 221752"/>
                <a:gd name="connsiteY14" fmla="*/ 198539 h 213311"/>
                <a:gd name="connsiteX15" fmla="*/ 43890 w 221752"/>
                <a:gd name="connsiteY15" fmla="*/ 210262 h 213311"/>
                <a:gd name="connsiteX16" fmla="*/ 50250 w 221752"/>
                <a:gd name="connsiteY16" fmla="*/ 209404 h 213311"/>
                <a:gd name="connsiteX17" fmla="*/ 108646 w 221752"/>
                <a:gd name="connsiteY17" fmla="*/ 180393 h 213311"/>
                <a:gd name="connsiteX18" fmla="*/ 165651 w 221752"/>
                <a:gd name="connsiteY18" fmla="*/ 212053 h 213311"/>
                <a:gd name="connsiteX19" fmla="*/ 179238 w 221752"/>
                <a:gd name="connsiteY19" fmla="*/ 208168 h 213311"/>
                <a:gd name="connsiteX20" fmla="*/ 180388 w 221752"/>
                <a:gd name="connsiteY20" fmla="*/ 201854 h 213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1752" h="213311">
                  <a:moveTo>
                    <a:pt x="180388" y="201854"/>
                  </a:moveTo>
                  <a:lnTo>
                    <a:pt x="170844" y="137351"/>
                  </a:lnTo>
                  <a:lnTo>
                    <a:pt x="218569" y="92922"/>
                  </a:lnTo>
                  <a:cubicBezTo>
                    <a:pt x="222607" y="89161"/>
                    <a:pt x="222834" y="82837"/>
                    <a:pt x="219073" y="78798"/>
                  </a:cubicBezTo>
                  <a:cubicBezTo>
                    <a:pt x="217576" y="77190"/>
                    <a:pt x="215590" y="76119"/>
                    <a:pt x="213423" y="75754"/>
                  </a:cubicBezTo>
                  <a:lnTo>
                    <a:pt x="149128" y="64899"/>
                  </a:lnTo>
                  <a:lnTo>
                    <a:pt x="121619" y="5780"/>
                  </a:lnTo>
                  <a:cubicBezTo>
                    <a:pt x="119291" y="777"/>
                    <a:pt x="113348" y="-1393"/>
                    <a:pt x="108344" y="935"/>
                  </a:cubicBezTo>
                  <a:cubicBezTo>
                    <a:pt x="106352" y="1863"/>
                    <a:pt x="104720" y="3420"/>
                    <a:pt x="103703" y="5369"/>
                  </a:cubicBezTo>
                  <a:lnTo>
                    <a:pt x="73510" y="63162"/>
                  </a:lnTo>
                  <a:lnTo>
                    <a:pt x="8784" y="71055"/>
                  </a:lnTo>
                  <a:cubicBezTo>
                    <a:pt x="3306" y="71724"/>
                    <a:pt x="-594" y="76706"/>
                    <a:pt x="75" y="82185"/>
                  </a:cubicBezTo>
                  <a:cubicBezTo>
                    <a:pt x="341" y="84366"/>
                    <a:pt x="1318" y="86399"/>
                    <a:pt x="2856" y="87968"/>
                  </a:cubicBezTo>
                  <a:lnTo>
                    <a:pt x="48492" y="134542"/>
                  </a:lnTo>
                  <a:lnTo>
                    <a:pt x="35997" y="198539"/>
                  </a:lnTo>
                  <a:cubicBezTo>
                    <a:pt x="34939" y="203955"/>
                    <a:pt x="38473" y="209205"/>
                    <a:pt x="43890" y="210262"/>
                  </a:cubicBezTo>
                  <a:cubicBezTo>
                    <a:pt x="46047" y="210683"/>
                    <a:pt x="48282" y="210381"/>
                    <a:pt x="50250" y="209404"/>
                  </a:cubicBezTo>
                  <a:lnTo>
                    <a:pt x="108646" y="180393"/>
                  </a:lnTo>
                  <a:lnTo>
                    <a:pt x="165651" y="212053"/>
                  </a:lnTo>
                  <a:cubicBezTo>
                    <a:pt x="170475" y="214732"/>
                    <a:pt x="176559" y="212994"/>
                    <a:pt x="179238" y="208168"/>
                  </a:cubicBezTo>
                  <a:cubicBezTo>
                    <a:pt x="180306" y="206247"/>
                    <a:pt x="180710" y="204029"/>
                    <a:pt x="180388" y="201854"/>
                  </a:cubicBezTo>
                  <a:close/>
                </a:path>
              </a:pathLst>
            </a:custGeom>
            <a:grpFill/>
            <a:ln w="9525" cap="flat">
              <a:noFill/>
              <a:prstDash val="solid"/>
              <a:miter/>
            </a:ln>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16" name="Forme libre : forme 122">
              <a:extLst>
                <a:ext uri="{FF2B5EF4-FFF2-40B4-BE49-F238E27FC236}">
                  <a16:creationId xmlns:a16="http://schemas.microsoft.com/office/drawing/2014/main" id="{C932B25F-9F18-5D82-70E5-A92F00ABC711}"/>
                </a:ext>
              </a:extLst>
            </p:cNvPr>
            <p:cNvSpPr/>
            <p:nvPr/>
          </p:nvSpPr>
          <p:spPr>
            <a:xfrm>
              <a:off x="7036944" y="2273664"/>
              <a:ext cx="221769" cy="213072"/>
            </a:xfrm>
            <a:custGeom>
              <a:avLst/>
              <a:gdLst>
                <a:gd name="connsiteX0" fmla="*/ 48712 w 221769"/>
                <a:gd name="connsiteY0" fmla="*/ 134805 h 213072"/>
                <a:gd name="connsiteX1" fmla="*/ 36479 w 221769"/>
                <a:gd name="connsiteY1" fmla="*/ 198852 h 213072"/>
                <a:gd name="connsiteX2" fmla="*/ 44420 w 221769"/>
                <a:gd name="connsiteY2" fmla="*/ 210542 h 213072"/>
                <a:gd name="connsiteX3" fmla="*/ 50777 w 221769"/>
                <a:gd name="connsiteY3" fmla="*/ 209657 h 213072"/>
                <a:gd name="connsiteX4" fmla="*/ 109054 w 221769"/>
                <a:gd name="connsiteY4" fmla="*/ 180408 h 213072"/>
                <a:gd name="connsiteX5" fmla="*/ 166188 w 221769"/>
                <a:gd name="connsiteY5" fmla="*/ 211834 h 213072"/>
                <a:gd name="connsiteX6" fmla="*/ 179759 w 221769"/>
                <a:gd name="connsiteY6" fmla="*/ 207894 h 213072"/>
                <a:gd name="connsiteX7" fmla="*/ 180882 w 221769"/>
                <a:gd name="connsiteY7" fmla="*/ 201575 h 213072"/>
                <a:gd name="connsiteX8" fmla="*/ 171073 w 221769"/>
                <a:gd name="connsiteY8" fmla="*/ 137111 h 213072"/>
                <a:gd name="connsiteX9" fmla="*/ 218616 w 221769"/>
                <a:gd name="connsiteY9" fmla="*/ 92485 h 213072"/>
                <a:gd name="connsiteX10" fmla="*/ 219063 w 221769"/>
                <a:gd name="connsiteY10" fmla="*/ 78361 h 213072"/>
                <a:gd name="connsiteX11" fmla="*/ 213400 w 221769"/>
                <a:gd name="connsiteY11" fmla="*/ 75339 h 213072"/>
                <a:gd name="connsiteX12" fmla="*/ 149061 w 221769"/>
                <a:gd name="connsiteY12" fmla="*/ 64748 h 213072"/>
                <a:gd name="connsiteX13" fmla="*/ 121310 w 221769"/>
                <a:gd name="connsiteY13" fmla="*/ 5743 h 213072"/>
                <a:gd name="connsiteX14" fmla="*/ 108015 w 221769"/>
                <a:gd name="connsiteY14" fmla="*/ 952 h 213072"/>
                <a:gd name="connsiteX15" fmla="*/ 103391 w 221769"/>
                <a:gd name="connsiteY15" fmla="*/ 5404 h 213072"/>
                <a:gd name="connsiteX16" fmla="*/ 73437 w 221769"/>
                <a:gd name="connsiteY16" fmla="*/ 63323 h 213072"/>
                <a:gd name="connsiteX17" fmla="*/ 8744 w 221769"/>
                <a:gd name="connsiteY17" fmla="*/ 71481 h 213072"/>
                <a:gd name="connsiteX18" fmla="*/ 79 w 221769"/>
                <a:gd name="connsiteY18" fmla="*/ 82645 h 213072"/>
                <a:gd name="connsiteX19" fmla="*/ 2885 w 221769"/>
                <a:gd name="connsiteY19" fmla="*/ 88418 h 21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1769" h="213072">
                  <a:moveTo>
                    <a:pt x="48712" y="134805"/>
                  </a:moveTo>
                  <a:lnTo>
                    <a:pt x="36479" y="198852"/>
                  </a:lnTo>
                  <a:cubicBezTo>
                    <a:pt x="35444" y="204273"/>
                    <a:pt x="39000" y="209507"/>
                    <a:pt x="44420" y="210542"/>
                  </a:cubicBezTo>
                  <a:cubicBezTo>
                    <a:pt x="46579" y="210954"/>
                    <a:pt x="48813" y="210643"/>
                    <a:pt x="50777" y="209657"/>
                  </a:cubicBezTo>
                  <a:lnTo>
                    <a:pt x="109054" y="180408"/>
                  </a:lnTo>
                  <a:lnTo>
                    <a:pt x="166188" y="211834"/>
                  </a:lnTo>
                  <a:cubicBezTo>
                    <a:pt x="171023" y="214493"/>
                    <a:pt x="177099" y="212730"/>
                    <a:pt x="179759" y="207894"/>
                  </a:cubicBezTo>
                  <a:cubicBezTo>
                    <a:pt x="180818" y="205969"/>
                    <a:pt x="181213" y="203748"/>
                    <a:pt x="180882" y="201575"/>
                  </a:cubicBezTo>
                  <a:lnTo>
                    <a:pt x="171073" y="137111"/>
                  </a:lnTo>
                  <a:lnTo>
                    <a:pt x="218616" y="92485"/>
                  </a:lnTo>
                  <a:cubicBezTo>
                    <a:pt x="222640" y="88709"/>
                    <a:pt x="222840" y="82384"/>
                    <a:pt x="219063" y="78361"/>
                  </a:cubicBezTo>
                  <a:cubicBezTo>
                    <a:pt x="217559" y="76759"/>
                    <a:pt x="215568" y="75697"/>
                    <a:pt x="213400" y="75339"/>
                  </a:cubicBezTo>
                  <a:lnTo>
                    <a:pt x="149061" y="64748"/>
                  </a:lnTo>
                  <a:lnTo>
                    <a:pt x="121310" y="5743"/>
                  </a:lnTo>
                  <a:cubicBezTo>
                    <a:pt x="118962" y="748"/>
                    <a:pt x="113009" y="-1396"/>
                    <a:pt x="108015" y="952"/>
                  </a:cubicBezTo>
                  <a:cubicBezTo>
                    <a:pt x="106026" y="1887"/>
                    <a:pt x="104401" y="3452"/>
                    <a:pt x="103391" y="5404"/>
                  </a:cubicBezTo>
                  <a:lnTo>
                    <a:pt x="73437" y="63323"/>
                  </a:lnTo>
                  <a:lnTo>
                    <a:pt x="8744" y="71481"/>
                  </a:lnTo>
                  <a:cubicBezTo>
                    <a:pt x="3268" y="72171"/>
                    <a:pt x="-610" y="77169"/>
                    <a:pt x="79" y="82645"/>
                  </a:cubicBezTo>
                  <a:cubicBezTo>
                    <a:pt x="355" y="84825"/>
                    <a:pt x="1341" y="86854"/>
                    <a:pt x="2885" y="88418"/>
                  </a:cubicBezTo>
                  <a:close/>
                </a:path>
              </a:pathLst>
            </a:custGeom>
            <a:grpFill/>
            <a:ln w="9525" cap="flat">
              <a:noFill/>
              <a:prstDash val="solid"/>
              <a:miter/>
            </a:ln>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118" name="Forme libre : forme 123">
              <a:extLst>
                <a:ext uri="{FF2B5EF4-FFF2-40B4-BE49-F238E27FC236}">
                  <a16:creationId xmlns:a16="http://schemas.microsoft.com/office/drawing/2014/main" id="{41920F53-D21E-21EB-814B-52267F015244}"/>
                </a:ext>
              </a:extLst>
            </p:cNvPr>
            <p:cNvSpPr/>
            <p:nvPr/>
          </p:nvSpPr>
          <p:spPr>
            <a:xfrm>
              <a:off x="7688536" y="2273664"/>
              <a:ext cx="221769" cy="213071"/>
            </a:xfrm>
            <a:custGeom>
              <a:avLst/>
              <a:gdLst>
                <a:gd name="connsiteX0" fmla="*/ 48711 w 221769"/>
                <a:gd name="connsiteY0" fmla="*/ 134804 h 213071"/>
                <a:gd name="connsiteX1" fmla="*/ 36480 w 221769"/>
                <a:gd name="connsiteY1" fmla="*/ 198851 h 213071"/>
                <a:gd name="connsiteX2" fmla="*/ 44420 w 221769"/>
                <a:gd name="connsiteY2" fmla="*/ 210542 h 213071"/>
                <a:gd name="connsiteX3" fmla="*/ 50777 w 221769"/>
                <a:gd name="connsiteY3" fmla="*/ 209657 h 213071"/>
                <a:gd name="connsiteX4" fmla="*/ 109054 w 221769"/>
                <a:gd name="connsiteY4" fmla="*/ 180407 h 213071"/>
                <a:gd name="connsiteX5" fmla="*/ 166184 w 221769"/>
                <a:gd name="connsiteY5" fmla="*/ 211833 h 213071"/>
                <a:gd name="connsiteX6" fmla="*/ 179757 w 221769"/>
                <a:gd name="connsiteY6" fmla="*/ 207894 h 213071"/>
                <a:gd name="connsiteX7" fmla="*/ 180881 w 221769"/>
                <a:gd name="connsiteY7" fmla="*/ 201575 h 213071"/>
                <a:gd name="connsiteX8" fmla="*/ 171070 w 221769"/>
                <a:gd name="connsiteY8" fmla="*/ 137111 h 213071"/>
                <a:gd name="connsiteX9" fmla="*/ 218619 w 221769"/>
                <a:gd name="connsiteY9" fmla="*/ 92485 h 213071"/>
                <a:gd name="connsiteX10" fmla="*/ 219067 w 221769"/>
                <a:gd name="connsiteY10" fmla="*/ 78361 h 213071"/>
                <a:gd name="connsiteX11" fmla="*/ 213400 w 221769"/>
                <a:gd name="connsiteY11" fmla="*/ 75340 h 213071"/>
                <a:gd name="connsiteX12" fmla="*/ 149058 w 221769"/>
                <a:gd name="connsiteY12" fmla="*/ 64748 h 213071"/>
                <a:gd name="connsiteX13" fmla="*/ 121310 w 221769"/>
                <a:gd name="connsiteY13" fmla="*/ 5743 h 213071"/>
                <a:gd name="connsiteX14" fmla="*/ 108015 w 221769"/>
                <a:gd name="connsiteY14" fmla="*/ 952 h 213071"/>
                <a:gd name="connsiteX15" fmla="*/ 103392 w 221769"/>
                <a:gd name="connsiteY15" fmla="*/ 5404 h 213071"/>
                <a:gd name="connsiteX16" fmla="*/ 73437 w 221769"/>
                <a:gd name="connsiteY16" fmla="*/ 63322 h 213071"/>
                <a:gd name="connsiteX17" fmla="*/ 8744 w 221769"/>
                <a:gd name="connsiteY17" fmla="*/ 71480 h 213071"/>
                <a:gd name="connsiteX18" fmla="*/ 80 w 221769"/>
                <a:gd name="connsiteY18" fmla="*/ 82645 h 213071"/>
                <a:gd name="connsiteX19" fmla="*/ 2885 w 221769"/>
                <a:gd name="connsiteY19" fmla="*/ 88418 h 21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1769" h="213071">
                  <a:moveTo>
                    <a:pt x="48711" y="134804"/>
                  </a:moveTo>
                  <a:lnTo>
                    <a:pt x="36480" y="198851"/>
                  </a:lnTo>
                  <a:cubicBezTo>
                    <a:pt x="35444" y="204272"/>
                    <a:pt x="39000" y="209506"/>
                    <a:pt x="44420" y="210542"/>
                  </a:cubicBezTo>
                  <a:cubicBezTo>
                    <a:pt x="46579" y="210954"/>
                    <a:pt x="48813" y="210643"/>
                    <a:pt x="50777" y="209657"/>
                  </a:cubicBezTo>
                  <a:lnTo>
                    <a:pt x="109054" y="180407"/>
                  </a:lnTo>
                  <a:lnTo>
                    <a:pt x="166184" y="211833"/>
                  </a:lnTo>
                  <a:cubicBezTo>
                    <a:pt x="171023" y="214493"/>
                    <a:pt x="177100" y="212729"/>
                    <a:pt x="179757" y="207894"/>
                  </a:cubicBezTo>
                  <a:cubicBezTo>
                    <a:pt x="180815" y="205968"/>
                    <a:pt x="181215" y="203747"/>
                    <a:pt x="180881" y="201575"/>
                  </a:cubicBezTo>
                  <a:lnTo>
                    <a:pt x="171070" y="137111"/>
                  </a:lnTo>
                  <a:lnTo>
                    <a:pt x="218619" y="92485"/>
                  </a:lnTo>
                  <a:cubicBezTo>
                    <a:pt x="222639" y="88708"/>
                    <a:pt x="222839" y="82385"/>
                    <a:pt x="219067" y="78361"/>
                  </a:cubicBezTo>
                  <a:cubicBezTo>
                    <a:pt x="217562" y="76758"/>
                    <a:pt x="215571" y="75697"/>
                    <a:pt x="213400" y="75340"/>
                  </a:cubicBezTo>
                  <a:lnTo>
                    <a:pt x="149058" y="64748"/>
                  </a:lnTo>
                  <a:lnTo>
                    <a:pt x="121310" y="5743"/>
                  </a:lnTo>
                  <a:cubicBezTo>
                    <a:pt x="118962" y="749"/>
                    <a:pt x="113009" y="-1396"/>
                    <a:pt x="108015" y="952"/>
                  </a:cubicBezTo>
                  <a:cubicBezTo>
                    <a:pt x="106026" y="1888"/>
                    <a:pt x="104401" y="3452"/>
                    <a:pt x="103392" y="5404"/>
                  </a:cubicBezTo>
                  <a:lnTo>
                    <a:pt x="73437" y="63322"/>
                  </a:lnTo>
                  <a:lnTo>
                    <a:pt x="8744" y="71480"/>
                  </a:lnTo>
                  <a:cubicBezTo>
                    <a:pt x="3269" y="72171"/>
                    <a:pt x="-611" y="77170"/>
                    <a:pt x="80" y="82645"/>
                  </a:cubicBezTo>
                  <a:cubicBezTo>
                    <a:pt x="354" y="84826"/>
                    <a:pt x="1340" y="86855"/>
                    <a:pt x="2885" y="88418"/>
                  </a:cubicBezTo>
                  <a:close/>
                </a:path>
              </a:pathLst>
            </a:custGeom>
            <a:grpFill/>
            <a:ln w="9525" cap="flat">
              <a:noFill/>
              <a:prstDash val="solid"/>
              <a:miter/>
            </a:ln>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52" name="TextBox 84">
            <a:extLst>
              <a:ext uri="{FF2B5EF4-FFF2-40B4-BE49-F238E27FC236}">
                <a16:creationId xmlns:a16="http://schemas.microsoft.com/office/drawing/2014/main" id="{81A49D45-97C4-1B65-8E17-7BA505A2960F}"/>
              </a:ext>
            </a:extLst>
          </p:cNvPr>
          <p:cNvSpPr txBox="1"/>
          <p:nvPr/>
        </p:nvSpPr>
        <p:spPr>
          <a:xfrm>
            <a:off x="479865" y="1104913"/>
            <a:ext cx="268871" cy="707886"/>
          </a:xfrm>
          <a:prstGeom prst="rect">
            <a:avLst/>
          </a:prstGeom>
          <a:noFill/>
        </p:spPr>
        <p:txBody>
          <a:bodyPr wrap="square" lIns="0" rIns="0" rtlCol="0" anchor="b">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4000" b="1" i="0" u="none" strike="noStrike" kern="0" cap="all" spc="0" normalizeH="0" baseline="0" noProof="1">
                <a:ln>
                  <a:noFill/>
                </a:ln>
                <a:solidFill>
                  <a:srgbClr val="48B285"/>
                </a:solidFill>
                <a:effectLst/>
                <a:uLnTx/>
                <a:uFillTx/>
                <a:latin typeface="Montserrat"/>
                <a:cs typeface="Arial"/>
                <a:sym typeface="Arial"/>
              </a:rPr>
              <a:t>1</a:t>
            </a:r>
          </a:p>
        </p:txBody>
      </p:sp>
      <p:sp>
        <p:nvSpPr>
          <p:cNvPr id="54" name="TextBox 84">
            <a:extLst>
              <a:ext uri="{FF2B5EF4-FFF2-40B4-BE49-F238E27FC236}">
                <a16:creationId xmlns:a16="http://schemas.microsoft.com/office/drawing/2014/main" id="{E3CE89A1-A135-73F5-4042-F24952E33E1E}"/>
              </a:ext>
            </a:extLst>
          </p:cNvPr>
          <p:cNvSpPr txBox="1"/>
          <p:nvPr/>
        </p:nvSpPr>
        <p:spPr>
          <a:xfrm>
            <a:off x="8723034" y="1104913"/>
            <a:ext cx="268871" cy="707886"/>
          </a:xfrm>
          <a:prstGeom prst="rect">
            <a:avLst/>
          </a:prstGeom>
          <a:noFill/>
        </p:spPr>
        <p:txBody>
          <a:bodyPr wrap="square" lIns="0" rIns="0" rtlCol="0" anchor="b">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4000" b="1" i="0" u="none" strike="noStrike" kern="0" cap="all" spc="0" normalizeH="0" baseline="0" noProof="1">
                <a:ln>
                  <a:noFill/>
                </a:ln>
                <a:solidFill>
                  <a:srgbClr val="645298"/>
                </a:solidFill>
                <a:effectLst/>
                <a:uLnTx/>
                <a:uFillTx/>
                <a:latin typeface="Montserrat"/>
                <a:cs typeface="Arial"/>
                <a:sym typeface="Arial"/>
              </a:rPr>
              <a:t>2</a:t>
            </a:r>
          </a:p>
        </p:txBody>
      </p:sp>
      <p:sp>
        <p:nvSpPr>
          <p:cNvPr id="56" name="TextBox 84">
            <a:extLst>
              <a:ext uri="{FF2B5EF4-FFF2-40B4-BE49-F238E27FC236}">
                <a16:creationId xmlns:a16="http://schemas.microsoft.com/office/drawing/2014/main" id="{BAA62C19-6564-9887-D19E-CFB7E2BBB02B}"/>
              </a:ext>
            </a:extLst>
          </p:cNvPr>
          <p:cNvSpPr txBox="1"/>
          <p:nvPr/>
        </p:nvSpPr>
        <p:spPr>
          <a:xfrm>
            <a:off x="8723034" y="4052740"/>
            <a:ext cx="268871" cy="707886"/>
          </a:xfrm>
          <a:prstGeom prst="rect">
            <a:avLst/>
          </a:prstGeom>
          <a:noFill/>
        </p:spPr>
        <p:txBody>
          <a:bodyPr wrap="square" lIns="0" rIns="0" rtlCol="0" anchor="b">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4000" b="1" i="0" u="none" strike="noStrike" kern="0" cap="all" spc="0" normalizeH="0" baseline="0" noProof="1">
                <a:ln>
                  <a:noFill/>
                </a:ln>
                <a:solidFill>
                  <a:srgbClr val="4875A2"/>
                </a:solidFill>
                <a:effectLst/>
                <a:uLnTx/>
                <a:uFillTx/>
                <a:latin typeface="Montserrat"/>
                <a:cs typeface="Arial"/>
                <a:sym typeface="Arial"/>
              </a:rPr>
              <a:t>3</a:t>
            </a:r>
          </a:p>
        </p:txBody>
      </p:sp>
      <p:sp>
        <p:nvSpPr>
          <p:cNvPr id="58" name="TextBox 84">
            <a:extLst>
              <a:ext uri="{FF2B5EF4-FFF2-40B4-BE49-F238E27FC236}">
                <a16:creationId xmlns:a16="http://schemas.microsoft.com/office/drawing/2014/main" id="{60D9FC39-D4AE-D046-C356-F79D0EEF7DC5}"/>
              </a:ext>
            </a:extLst>
          </p:cNvPr>
          <p:cNvSpPr txBox="1"/>
          <p:nvPr/>
        </p:nvSpPr>
        <p:spPr>
          <a:xfrm>
            <a:off x="479865" y="3968125"/>
            <a:ext cx="268871" cy="707886"/>
          </a:xfrm>
          <a:prstGeom prst="rect">
            <a:avLst/>
          </a:prstGeom>
          <a:noFill/>
        </p:spPr>
        <p:txBody>
          <a:bodyPr wrap="square" lIns="0" rIns="0" rtlCol="0" anchor="b">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4000" b="1" i="0" u="none" strike="noStrike" kern="0" cap="all" spc="0" normalizeH="0" baseline="0" noProof="1">
                <a:ln>
                  <a:noFill/>
                </a:ln>
                <a:solidFill>
                  <a:srgbClr val="3D94A5"/>
                </a:solidFill>
                <a:effectLst/>
                <a:uLnTx/>
                <a:uFillTx/>
                <a:latin typeface="Montserrat"/>
                <a:cs typeface="Arial"/>
                <a:sym typeface="Arial"/>
              </a:rPr>
              <a:t>4</a:t>
            </a:r>
          </a:p>
        </p:txBody>
      </p:sp>
      <p:sp>
        <p:nvSpPr>
          <p:cNvPr id="5" name="Graphique 4">
            <a:extLst>
              <a:ext uri="{FF2B5EF4-FFF2-40B4-BE49-F238E27FC236}">
                <a16:creationId xmlns:a16="http://schemas.microsoft.com/office/drawing/2014/main" id="{DB73424A-75E1-B1A8-EB0E-DED83E3FC931}"/>
              </a:ext>
            </a:extLst>
          </p:cNvPr>
          <p:cNvSpPr>
            <a:spLocks noChangeAspect="1"/>
          </p:cNvSpPr>
          <p:nvPr/>
        </p:nvSpPr>
        <p:spPr>
          <a:xfrm>
            <a:off x="4568828" y="4415166"/>
            <a:ext cx="565235" cy="504000"/>
          </a:xfrm>
          <a:custGeom>
            <a:avLst/>
            <a:gdLst>
              <a:gd name="connsiteX0" fmla="*/ 23003 w 882300"/>
              <a:gd name="connsiteY0" fmla="*/ 462866 h 786716"/>
              <a:gd name="connsiteX1" fmla="*/ 143 w 882300"/>
              <a:gd name="connsiteY1" fmla="*/ 240934 h 786716"/>
              <a:gd name="connsiteX2" fmla="*/ 11573 w 882300"/>
              <a:gd name="connsiteY2" fmla="*/ 212359 h 786716"/>
              <a:gd name="connsiteX3" fmla="*/ 50625 w 882300"/>
              <a:gd name="connsiteY3" fmla="*/ 214264 h 786716"/>
              <a:gd name="connsiteX4" fmla="*/ 64913 w 882300"/>
              <a:gd name="connsiteY4" fmla="*/ 262841 h 786716"/>
              <a:gd name="connsiteX5" fmla="*/ 75390 w 882300"/>
              <a:gd name="connsiteY5" fmla="*/ 362854 h 786716"/>
              <a:gd name="connsiteX6" fmla="*/ 75390 w 882300"/>
              <a:gd name="connsiteY6" fmla="*/ 369521 h 786716"/>
              <a:gd name="connsiteX7" fmla="*/ 84915 w 882300"/>
              <a:gd name="connsiteY7" fmla="*/ 405716 h 786716"/>
              <a:gd name="connsiteX8" fmla="*/ 174450 w 882300"/>
              <a:gd name="connsiteY8" fmla="*/ 551449 h 786716"/>
              <a:gd name="connsiteX9" fmla="*/ 177308 w 882300"/>
              <a:gd name="connsiteY9" fmla="*/ 556211 h 786716"/>
              <a:gd name="connsiteX10" fmla="*/ 188738 w 882300"/>
              <a:gd name="connsiteY10" fmla="*/ 559069 h 786716"/>
              <a:gd name="connsiteX11" fmla="*/ 191595 w 882300"/>
              <a:gd name="connsiteY11" fmla="*/ 546686 h 786716"/>
              <a:gd name="connsiteX12" fmla="*/ 112538 w 882300"/>
              <a:gd name="connsiteY12" fmla="*/ 418099 h 786716"/>
              <a:gd name="connsiteX13" fmla="*/ 123968 w 882300"/>
              <a:gd name="connsiteY13" fmla="*/ 374284 h 786716"/>
              <a:gd name="connsiteX14" fmla="*/ 167783 w 882300"/>
              <a:gd name="connsiteY14" fmla="*/ 383809 h 786716"/>
              <a:gd name="connsiteX15" fmla="*/ 249698 w 882300"/>
              <a:gd name="connsiteY15" fmla="*/ 489536 h 786716"/>
              <a:gd name="connsiteX16" fmla="*/ 272558 w 882300"/>
              <a:gd name="connsiteY16" fmla="*/ 511444 h 786716"/>
              <a:gd name="connsiteX17" fmla="*/ 362093 w 882300"/>
              <a:gd name="connsiteY17" fmla="*/ 645746 h 786716"/>
              <a:gd name="connsiteX18" fmla="*/ 363045 w 882300"/>
              <a:gd name="connsiteY18" fmla="*/ 660986 h 786716"/>
              <a:gd name="connsiteX19" fmla="*/ 363045 w 882300"/>
              <a:gd name="connsiteY19" fmla="*/ 660986 h 786716"/>
              <a:gd name="connsiteX20" fmla="*/ 363045 w 882300"/>
              <a:gd name="connsiteY20" fmla="*/ 660986 h 786716"/>
              <a:gd name="connsiteX21" fmla="*/ 362093 w 882300"/>
              <a:gd name="connsiteY21" fmla="*/ 686704 h 786716"/>
              <a:gd name="connsiteX22" fmla="*/ 357330 w 882300"/>
              <a:gd name="connsiteY22" fmla="*/ 775286 h 786716"/>
              <a:gd name="connsiteX23" fmla="*/ 345900 w 882300"/>
              <a:gd name="connsiteY23" fmla="*/ 786716 h 786716"/>
              <a:gd name="connsiteX24" fmla="*/ 207788 w 882300"/>
              <a:gd name="connsiteY24" fmla="*/ 785764 h 786716"/>
              <a:gd name="connsiteX25" fmla="*/ 196358 w 882300"/>
              <a:gd name="connsiteY25" fmla="*/ 774334 h 786716"/>
              <a:gd name="connsiteX26" fmla="*/ 193500 w 882300"/>
              <a:gd name="connsiteY26" fmla="*/ 700991 h 786716"/>
              <a:gd name="connsiteX27" fmla="*/ 61103 w 882300"/>
              <a:gd name="connsiteY27" fmla="*/ 542876 h 786716"/>
              <a:gd name="connsiteX28" fmla="*/ 23955 w 882300"/>
              <a:gd name="connsiteY28" fmla="*/ 471439 h 786716"/>
              <a:gd name="connsiteX29" fmla="*/ 23003 w 882300"/>
              <a:gd name="connsiteY29" fmla="*/ 462866 h 786716"/>
              <a:gd name="connsiteX30" fmla="*/ 99203 w 882300"/>
              <a:gd name="connsiteY30" fmla="*/ 347614 h 786716"/>
              <a:gd name="connsiteX31" fmla="*/ 99203 w 882300"/>
              <a:gd name="connsiteY31" fmla="*/ 355234 h 786716"/>
              <a:gd name="connsiteX32" fmla="*/ 107775 w 882300"/>
              <a:gd name="connsiteY32" fmla="*/ 348566 h 786716"/>
              <a:gd name="connsiteX33" fmla="*/ 120158 w 882300"/>
              <a:gd name="connsiteY33" fmla="*/ 342851 h 786716"/>
              <a:gd name="connsiteX34" fmla="*/ 121110 w 882300"/>
              <a:gd name="connsiteY34" fmla="*/ 341899 h 786716"/>
              <a:gd name="connsiteX35" fmla="*/ 103965 w 882300"/>
              <a:gd name="connsiteY35" fmla="*/ 253316 h 786716"/>
              <a:gd name="connsiteX36" fmla="*/ 83010 w 882300"/>
              <a:gd name="connsiteY36" fmla="*/ 230456 h 786716"/>
              <a:gd name="connsiteX37" fmla="*/ 87773 w 882300"/>
              <a:gd name="connsiteY37" fmla="*/ 253316 h 786716"/>
              <a:gd name="connsiteX38" fmla="*/ 99203 w 882300"/>
              <a:gd name="connsiteY38" fmla="*/ 347614 h 786716"/>
              <a:gd name="connsiteX39" fmla="*/ 143970 w 882300"/>
              <a:gd name="connsiteY39" fmla="*/ 336184 h 786716"/>
              <a:gd name="connsiteX40" fmla="*/ 143970 w 882300"/>
              <a:gd name="connsiteY40" fmla="*/ 339041 h 786716"/>
              <a:gd name="connsiteX41" fmla="*/ 163973 w 882300"/>
              <a:gd name="connsiteY41" fmla="*/ 342851 h 786716"/>
              <a:gd name="connsiteX42" fmla="*/ 147780 w 882300"/>
              <a:gd name="connsiteY42" fmla="*/ 284749 h 786716"/>
              <a:gd name="connsiteX43" fmla="*/ 126825 w 882300"/>
              <a:gd name="connsiteY43" fmla="*/ 261889 h 786716"/>
              <a:gd name="connsiteX44" fmla="*/ 142065 w 882300"/>
              <a:gd name="connsiteY44" fmla="*/ 325706 h 786716"/>
              <a:gd name="connsiteX45" fmla="*/ 143970 w 882300"/>
              <a:gd name="connsiteY45" fmla="*/ 336184 h 786716"/>
              <a:gd name="connsiteX46" fmla="*/ 609743 w 882300"/>
              <a:gd name="connsiteY46" fmla="*/ 511444 h 786716"/>
              <a:gd name="connsiteX47" fmla="*/ 520208 w 882300"/>
              <a:gd name="connsiteY47" fmla="*/ 645746 h 786716"/>
              <a:gd name="connsiteX48" fmla="*/ 519255 w 882300"/>
              <a:gd name="connsiteY48" fmla="*/ 660986 h 786716"/>
              <a:gd name="connsiteX49" fmla="*/ 519255 w 882300"/>
              <a:gd name="connsiteY49" fmla="*/ 660986 h 786716"/>
              <a:gd name="connsiteX50" fmla="*/ 520208 w 882300"/>
              <a:gd name="connsiteY50" fmla="*/ 686704 h 786716"/>
              <a:gd name="connsiteX51" fmla="*/ 524970 w 882300"/>
              <a:gd name="connsiteY51" fmla="*/ 775286 h 786716"/>
              <a:gd name="connsiteX52" fmla="*/ 536400 w 882300"/>
              <a:gd name="connsiteY52" fmla="*/ 786716 h 786716"/>
              <a:gd name="connsiteX53" fmla="*/ 674513 w 882300"/>
              <a:gd name="connsiteY53" fmla="*/ 785764 h 786716"/>
              <a:gd name="connsiteX54" fmla="*/ 685943 w 882300"/>
              <a:gd name="connsiteY54" fmla="*/ 774334 h 786716"/>
              <a:gd name="connsiteX55" fmla="*/ 688800 w 882300"/>
              <a:gd name="connsiteY55" fmla="*/ 700991 h 786716"/>
              <a:gd name="connsiteX56" fmla="*/ 820245 w 882300"/>
              <a:gd name="connsiteY56" fmla="*/ 542876 h 786716"/>
              <a:gd name="connsiteX57" fmla="*/ 857393 w 882300"/>
              <a:gd name="connsiteY57" fmla="*/ 471439 h 786716"/>
              <a:gd name="connsiteX58" fmla="*/ 858345 w 882300"/>
              <a:gd name="connsiteY58" fmla="*/ 462866 h 786716"/>
              <a:gd name="connsiteX59" fmla="*/ 882158 w 882300"/>
              <a:gd name="connsiteY59" fmla="*/ 240934 h 786716"/>
              <a:gd name="connsiteX60" fmla="*/ 870728 w 882300"/>
              <a:gd name="connsiteY60" fmla="*/ 211406 h 786716"/>
              <a:gd name="connsiteX61" fmla="*/ 831675 w 882300"/>
              <a:gd name="connsiteY61" fmla="*/ 213311 h 786716"/>
              <a:gd name="connsiteX62" fmla="*/ 817388 w 882300"/>
              <a:gd name="connsiteY62" fmla="*/ 261889 h 786716"/>
              <a:gd name="connsiteX63" fmla="*/ 806910 w 882300"/>
              <a:gd name="connsiteY63" fmla="*/ 361901 h 786716"/>
              <a:gd name="connsiteX64" fmla="*/ 806910 w 882300"/>
              <a:gd name="connsiteY64" fmla="*/ 368569 h 786716"/>
              <a:gd name="connsiteX65" fmla="*/ 797385 w 882300"/>
              <a:gd name="connsiteY65" fmla="*/ 404764 h 786716"/>
              <a:gd name="connsiteX66" fmla="*/ 707850 w 882300"/>
              <a:gd name="connsiteY66" fmla="*/ 550496 h 786716"/>
              <a:gd name="connsiteX67" fmla="*/ 704993 w 882300"/>
              <a:gd name="connsiteY67" fmla="*/ 555259 h 786716"/>
              <a:gd name="connsiteX68" fmla="*/ 693563 w 882300"/>
              <a:gd name="connsiteY68" fmla="*/ 558116 h 786716"/>
              <a:gd name="connsiteX69" fmla="*/ 690705 w 882300"/>
              <a:gd name="connsiteY69" fmla="*/ 545734 h 786716"/>
              <a:gd name="connsiteX70" fmla="*/ 769763 w 882300"/>
              <a:gd name="connsiteY70" fmla="*/ 417146 h 786716"/>
              <a:gd name="connsiteX71" fmla="*/ 758333 w 882300"/>
              <a:gd name="connsiteY71" fmla="*/ 373331 h 786716"/>
              <a:gd name="connsiteX72" fmla="*/ 714518 w 882300"/>
              <a:gd name="connsiteY72" fmla="*/ 382856 h 786716"/>
              <a:gd name="connsiteX73" fmla="*/ 632603 w 882300"/>
              <a:gd name="connsiteY73" fmla="*/ 488584 h 786716"/>
              <a:gd name="connsiteX74" fmla="*/ 609743 w 882300"/>
              <a:gd name="connsiteY74" fmla="*/ 511444 h 786716"/>
              <a:gd name="connsiteX75" fmla="*/ 774525 w 882300"/>
              <a:gd name="connsiteY75" fmla="*/ 348566 h 786716"/>
              <a:gd name="connsiteX76" fmla="*/ 783098 w 882300"/>
              <a:gd name="connsiteY76" fmla="*/ 355234 h 786716"/>
              <a:gd name="connsiteX77" fmla="*/ 783098 w 882300"/>
              <a:gd name="connsiteY77" fmla="*/ 347614 h 786716"/>
              <a:gd name="connsiteX78" fmla="*/ 793575 w 882300"/>
              <a:gd name="connsiteY78" fmla="*/ 253316 h 786716"/>
              <a:gd name="connsiteX79" fmla="*/ 798338 w 882300"/>
              <a:gd name="connsiteY79" fmla="*/ 230456 h 786716"/>
              <a:gd name="connsiteX80" fmla="*/ 777383 w 882300"/>
              <a:gd name="connsiteY80" fmla="*/ 253316 h 786716"/>
              <a:gd name="connsiteX81" fmla="*/ 760238 w 882300"/>
              <a:gd name="connsiteY81" fmla="*/ 341899 h 786716"/>
              <a:gd name="connsiteX82" fmla="*/ 761190 w 882300"/>
              <a:gd name="connsiteY82" fmla="*/ 342851 h 786716"/>
              <a:gd name="connsiteX83" fmla="*/ 774525 w 882300"/>
              <a:gd name="connsiteY83" fmla="*/ 348566 h 786716"/>
              <a:gd name="connsiteX84" fmla="*/ 738330 w 882300"/>
              <a:gd name="connsiteY84" fmla="*/ 336184 h 786716"/>
              <a:gd name="connsiteX85" fmla="*/ 740235 w 882300"/>
              <a:gd name="connsiteY85" fmla="*/ 324754 h 786716"/>
              <a:gd name="connsiteX86" fmla="*/ 755475 w 882300"/>
              <a:gd name="connsiteY86" fmla="*/ 260936 h 786716"/>
              <a:gd name="connsiteX87" fmla="*/ 734520 w 882300"/>
              <a:gd name="connsiteY87" fmla="*/ 283796 h 786716"/>
              <a:gd name="connsiteX88" fmla="*/ 718328 w 882300"/>
              <a:gd name="connsiteY88" fmla="*/ 341899 h 786716"/>
              <a:gd name="connsiteX89" fmla="*/ 738330 w 882300"/>
              <a:gd name="connsiteY89" fmla="*/ 338089 h 786716"/>
              <a:gd name="connsiteX90" fmla="*/ 738330 w 882300"/>
              <a:gd name="connsiteY90" fmla="*/ 336184 h 786716"/>
              <a:gd name="connsiteX91" fmla="*/ 417338 w 882300"/>
              <a:gd name="connsiteY91" fmla="*/ 320944 h 786716"/>
              <a:gd name="connsiteX92" fmla="*/ 453533 w 882300"/>
              <a:gd name="connsiteY92" fmla="*/ 284749 h 786716"/>
              <a:gd name="connsiteX93" fmla="*/ 536400 w 882300"/>
              <a:gd name="connsiteY93" fmla="*/ 202834 h 786716"/>
              <a:gd name="connsiteX94" fmla="*/ 500205 w 882300"/>
              <a:gd name="connsiteY94" fmla="*/ 166639 h 786716"/>
              <a:gd name="connsiteX95" fmla="*/ 417338 w 882300"/>
              <a:gd name="connsiteY95" fmla="*/ 248554 h 786716"/>
              <a:gd name="connsiteX96" fmla="*/ 383048 w 882300"/>
              <a:gd name="connsiteY96" fmla="*/ 213311 h 786716"/>
              <a:gd name="connsiteX97" fmla="*/ 346853 w 882300"/>
              <a:gd name="connsiteY97" fmla="*/ 249506 h 786716"/>
              <a:gd name="connsiteX98" fmla="*/ 381143 w 882300"/>
              <a:gd name="connsiteY98" fmla="*/ 284749 h 786716"/>
              <a:gd name="connsiteX99" fmla="*/ 417338 w 882300"/>
              <a:gd name="connsiteY99" fmla="*/ 320944 h 786716"/>
              <a:gd name="connsiteX100" fmla="*/ 205883 w 882300"/>
              <a:gd name="connsiteY100" fmla="*/ 247601 h 786716"/>
              <a:gd name="connsiteX101" fmla="*/ 214455 w 882300"/>
              <a:gd name="connsiteY101" fmla="*/ 238076 h 786716"/>
              <a:gd name="connsiteX102" fmla="*/ 218265 w 882300"/>
              <a:gd name="connsiteY102" fmla="*/ 200929 h 786716"/>
              <a:gd name="connsiteX103" fmla="*/ 211598 w 882300"/>
              <a:gd name="connsiteY103" fmla="*/ 190451 h 786716"/>
              <a:gd name="connsiteX104" fmla="*/ 226838 w 882300"/>
              <a:gd name="connsiteY104" fmla="*/ 145684 h 786716"/>
              <a:gd name="connsiteX105" fmla="*/ 238268 w 882300"/>
              <a:gd name="connsiteY105" fmla="*/ 140921 h 786716"/>
              <a:gd name="connsiteX106" fmla="*/ 258270 w 882300"/>
              <a:gd name="connsiteY106" fmla="*/ 109489 h 786716"/>
              <a:gd name="connsiteX107" fmla="*/ 257318 w 882300"/>
              <a:gd name="connsiteY107" fmla="*/ 97106 h 786716"/>
              <a:gd name="connsiteX108" fmla="*/ 290655 w 882300"/>
              <a:gd name="connsiteY108" fmla="*/ 62816 h 786716"/>
              <a:gd name="connsiteX109" fmla="*/ 303038 w 882300"/>
              <a:gd name="connsiteY109" fmla="*/ 63769 h 786716"/>
              <a:gd name="connsiteX110" fmla="*/ 334470 w 882300"/>
              <a:gd name="connsiteY110" fmla="*/ 43766 h 786716"/>
              <a:gd name="connsiteX111" fmla="*/ 339233 w 882300"/>
              <a:gd name="connsiteY111" fmla="*/ 32336 h 786716"/>
              <a:gd name="connsiteX112" fmla="*/ 384000 w 882300"/>
              <a:gd name="connsiteY112" fmla="*/ 16144 h 786716"/>
              <a:gd name="connsiteX113" fmla="*/ 395430 w 882300"/>
              <a:gd name="connsiteY113" fmla="*/ 21859 h 786716"/>
              <a:gd name="connsiteX114" fmla="*/ 432578 w 882300"/>
              <a:gd name="connsiteY114" fmla="*/ 17096 h 786716"/>
              <a:gd name="connsiteX115" fmla="*/ 442103 w 882300"/>
              <a:gd name="connsiteY115" fmla="*/ 8524 h 786716"/>
              <a:gd name="connsiteX116" fmla="*/ 489728 w 882300"/>
              <a:gd name="connsiteY116" fmla="*/ 13286 h 786716"/>
              <a:gd name="connsiteX117" fmla="*/ 497348 w 882300"/>
              <a:gd name="connsiteY117" fmla="*/ 23764 h 786716"/>
              <a:gd name="connsiteX118" fmla="*/ 532590 w 882300"/>
              <a:gd name="connsiteY118" fmla="*/ 36146 h 786716"/>
              <a:gd name="connsiteX119" fmla="*/ 544973 w 882300"/>
              <a:gd name="connsiteY119" fmla="*/ 32336 h 786716"/>
              <a:gd name="connsiteX120" fmla="*/ 585930 w 882300"/>
              <a:gd name="connsiteY120" fmla="*/ 57101 h 786716"/>
              <a:gd name="connsiteX121" fmla="*/ 587835 w 882300"/>
              <a:gd name="connsiteY121" fmla="*/ 69484 h 786716"/>
              <a:gd name="connsiteX122" fmla="*/ 614505 w 882300"/>
              <a:gd name="connsiteY122" fmla="*/ 95201 h 786716"/>
              <a:gd name="connsiteX123" fmla="*/ 626888 w 882300"/>
              <a:gd name="connsiteY123" fmla="*/ 97106 h 786716"/>
              <a:gd name="connsiteX124" fmla="*/ 652605 w 882300"/>
              <a:gd name="connsiteY124" fmla="*/ 137111 h 786716"/>
              <a:gd name="connsiteX125" fmla="*/ 648795 w 882300"/>
              <a:gd name="connsiteY125" fmla="*/ 149494 h 786716"/>
              <a:gd name="connsiteX126" fmla="*/ 661178 w 882300"/>
              <a:gd name="connsiteY126" fmla="*/ 184736 h 786716"/>
              <a:gd name="connsiteX127" fmla="*/ 671655 w 882300"/>
              <a:gd name="connsiteY127" fmla="*/ 191404 h 786716"/>
              <a:gd name="connsiteX128" fmla="*/ 677370 w 882300"/>
              <a:gd name="connsiteY128" fmla="*/ 239029 h 786716"/>
              <a:gd name="connsiteX129" fmla="*/ 668798 w 882300"/>
              <a:gd name="connsiteY129" fmla="*/ 248554 h 786716"/>
              <a:gd name="connsiteX130" fmla="*/ 664988 w 882300"/>
              <a:gd name="connsiteY130" fmla="*/ 285701 h 786716"/>
              <a:gd name="connsiteX131" fmla="*/ 671655 w 882300"/>
              <a:gd name="connsiteY131" fmla="*/ 296179 h 786716"/>
              <a:gd name="connsiteX132" fmla="*/ 656415 w 882300"/>
              <a:gd name="connsiteY132" fmla="*/ 340946 h 786716"/>
              <a:gd name="connsiteX133" fmla="*/ 644985 w 882300"/>
              <a:gd name="connsiteY133" fmla="*/ 345709 h 786716"/>
              <a:gd name="connsiteX134" fmla="*/ 624983 w 882300"/>
              <a:gd name="connsiteY134" fmla="*/ 377141 h 786716"/>
              <a:gd name="connsiteX135" fmla="*/ 625935 w 882300"/>
              <a:gd name="connsiteY135" fmla="*/ 389524 h 786716"/>
              <a:gd name="connsiteX136" fmla="*/ 592598 w 882300"/>
              <a:gd name="connsiteY136" fmla="*/ 423814 h 786716"/>
              <a:gd name="connsiteX137" fmla="*/ 580215 w 882300"/>
              <a:gd name="connsiteY137" fmla="*/ 422861 h 786716"/>
              <a:gd name="connsiteX138" fmla="*/ 548783 w 882300"/>
              <a:gd name="connsiteY138" fmla="*/ 442864 h 786716"/>
              <a:gd name="connsiteX139" fmla="*/ 544020 w 882300"/>
              <a:gd name="connsiteY139" fmla="*/ 454294 h 786716"/>
              <a:gd name="connsiteX140" fmla="*/ 499253 w 882300"/>
              <a:gd name="connsiteY140" fmla="*/ 470486 h 786716"/>
              <a:gd name="connsiteX141" fmla="*/ 487823 w 882300"/>
              <a:gd name="connsiteY141" fmla="*/ 464771 h 786716"/>
              <a:gd name="connsiteX142" fmla="*/ 450675 w 882300"/>
              <a:gd name="connsiteY142" fmla="*/ 469534 h 786716"/>
              <a:gd name="connsiteX143" fmla="*/ 441150 w 882300"/>
              <a:gd name="connsiteY143" fmla="*/ 478106 h 786716"/>
              <a:gd name="connsiteX144" fmla="*/ 393525 w 882300"/>
              <a:gd name="connsiteY144" fmla="*/ 473344 h 786716"/>
              <a:gd name="connsiteX145" fmla="*/ 385905 w 882300"/>
              <a:gd name="connsiteY145" fmla="*/ 462866 h 786716"/>
              <a:gd name="connsiteX146" fmla="*/ 350663 w 882300"/>
              <a:gd name="connsiteY146" fmla="*/ 450484 h 786716"/>
              <a:gd name="connsiteX147" fmla="*/ 338280 w 882300"/>
              <a:gd name="connsiteY147" fmla="*/ 454294 h 786716"/>
              <a:gd name="connsiteX148" fmla="*/ 297323 w 882300"/>
              <a:gd name="connsiteY148" fmla="*/ 429529 h 786716"/>
              <a:gd name="connsiteX149" fmla="*/ 295418 w 882300"/>
              <a:gd name="connsiteY149" fmla="*/ 417146 h 786716"/>
              <a:gd name="connsiteX150" fmla="*/ 268748 w 882300"/>
              <a:gd name="connsiteY150" fmla="*/ 391429 h 786716"/>
              <a:gd name="connsiteX151" fmla="*/ 256365 w 882300"/>
              <a:gd name="connsiteY151" fmla="*/ 389524 h 786716"/>
              <a:gd name="connsiteX152" fmla="*/ 230648 w 882300"/>
              <a:gd name="connsiteY152" fmla="*/ 349519 h 786716"/>
              <a:gd name="connsiteX153" fmla="*/ 234458 w 882300"/>
              <a:gd name="connsiteY153" fmla="*/ 337136 h 786716"/>
              <a:gd name="connsiteX154" fmla="*/ 222075 w 882300"/>
              <a:gd name="connsiteY154" fmla="*/ 301894 h 786716"/>
              <a:gd name="connsiteX155" fmla="*/ 211598 w 882300"/>
              <a:gd name="connsiteY155" fmla="*/ 295226 h 786716"/>
              <a:gd name="connsiteX156" fmla="*/ 205883 w 882300"/>
              <a:gd name="connsiteY156" fmla="*/ 247601 h 786716"/>
              <a:gd name="connsiteX157" fmla="*/ 289703 w 882300"/>
              <a:gd name="connsiteY157" fmla="*/ 243791 h 786716"/>
              <a:gd name="connsiteX158" fmla="*/ 441150 w 882300"/>
              <a:gd name="connsiteY158" fmla="*/ 395239 h 786716"/>
              <a:gd name="connsiteX159" fmla="*/ 592598 w 882300"/>
              <a:gd name="connsiteY159" fmla="*/ 243791 h 786716"/>
              <a:gd name="connsiteX160" fmla="*/ 441150 w 882300"/>
              <a:gd name="connsiteY160" fmla="*/ 92344 h 786716"/>
              <a:gd name="connsiteX161" fmla="*/ 289703 w 882300"/>
              <a:gd name="connsiteY161" fmla="*/ 243791 h 78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882300" h="786716">
                <a:moveTo>
                  <a:pt x="23003" y="462866"/>
                </a:moveTo>
                <a:lnTo>
                  <a:pt x="143" y="240934"/>
                </a:lnTo>
                <a:cubicBezTo>
                  <a:pt x="-810" y="230456"/>
                  <a:pt x="3000" y="219026"/>
                  <a:pt x="11573" y="212359"/>
                </a:cubicBezTo>
                <a:cubicBezTo>
                  <a:pt x="22050" y="203786"/>
                  <a:pt x="38243" y="200929"/>
                  <a:pt x="50625" y="214264"/>
                </a:cubicBezTo>
                <a:cubicBezTo>
                  <a:pt x="59198" y="223789"/>
                  <a:pt x="63008" y="254269"/>
                  <a:pt x="64913" y="262841"/>
                </a:cubicBezTo>
                <a:cubicBezTo>
                  <a:pt x="69675" y="292369"/>
                  <a:pt x="74438" y="333326"/>
                  <a:pt x="75390" y="362854"/>
                </a:cubicBezTo>
                <a:cubicBezTo>
                  <a:pt x="75390" y="364759"/>
                  <a:pt x="75390" y="367616"/>
                  <a:pt x="75390" y="369521"/>
                </a:cubicBezTo>
                <a:cubicBezTo>
                  <a:pt x="76343" y="381904"/>
                  <a:pt x="79200" y="394286"/>
                  <a:pt x="84915" y="405716"/>
                </a:cubicBezTo>
                <a:cubicBezTo>
                  <a:pt x="114443" y="470486"/>
                  <a:pt x="174450" y="551449"/>
                  <a:pt x="174450" y="551449"/>
                </a:cubicBezTo>
                <a:lnTo>
                  <a:pt x="177308" y="556211"/>
                </a:lnTo>
                <a:cubicBezTo>
                  <a:pt x="180165" y="560021"/>
                  <a:pt x="184928" y="560974"/>
                  <a:pt x="188738" y="559069"/>
                </a:cubicBezTo>
                <a:cubicBezTo>
                  <a:pt x="193500" y="557164"/>
                  <a:pt x="194453" y="551449"/>
                  <a:pt x="191595" y="546686"/>
                </a:cubicBezTo>
                <a:lnTo>
                  <a:pt x="112538" y="418099"/>
                </a:lnTo>
                <a:cubicBezTo>
                  <a:pt x="103965" y="403811"/>
                  <a:pt x="108728" y="383809"/>
                  <a:pt x="123968" y="374284"/>
                </a:cubicBezTo>
                <a:cubicBezTo>
                  <a:pt x="139208" y="364759"/>
                  <a:pt x="159210" y="369521"/>
                  <a:pt x="167783" y="383809"/>
                </a:cubicBezTo>
                <a:lnTo>
                  <a:pt x="249698" y="489536"/>
                </a:lnTo>
                <a:cubicBezTo>
                  <a:pt x="255413" y="496204"/>
                  <a:pt x="264938" y="506681"/>
                  <a:pt x="272558" y="511444"/>
                </a:cubicBezTo>
                <a:cubicBezTo>
                  <a:pt x="345900" y="564784"/>
                  <a:pt x="355425" y="618124"/>
                  <a:pt x="362093" y="645746"/>
                </a:cubicBezTo>
                <a:cubicBezTo>
                  <a:pt x="362093" y="645746"/>
                  <a:pt x="363045" y="651461"/>
                  <a:pt x="363045" y="660986"/>
                </a:cubicBezTo>
                <a:lnTo>
                  <a:pt x="363045" y="660986"/>
                </a:lnTo>
                <a:lnTo>
                  <a:pt x="363045" y="660986"/>
                </a:lnTo>
                <a:cubicBezTo>
                  <a:pt x="363045" y="668606"/>
                  <a:pt x="363045" y="677179"/>
                  <a:pt x="362093" y="686704"/>
                </a:cubicBezTo>
                <a:lnTo>
                  <a:pt x="357330" y="775286"/>
                </a:lnTo>
                <a:cubicBezTo>
                  <a:pt x="357330" y="781954"/>
                  <a:pt x="351615" y="786716"/>
                  <a:pt x="345900" y="786716"/>
                </a:cubicBezTo>
                <a:lnTo>
                  <a:pt x="207788" y="785764"/>
                </a:lnTo>
                <a:cubicBezTo>
                  <a:pt x="201120" y="785764"/>
                  <a:pt x="196358" y="780049"/>
                  <a:pt x="196358" y="774334"/>
                </a:cubicBezTo>
                <a:lnTo>
                  <a:pt x="193500" y="700991"/>
                </a:lnTo>
                <a:lnTo>
                  <a:pt x="61103" y="542876"/>
                </a:lnTo>
                <a:cubicBezTo>
                  <a:pt x="42053" y="521921"/>
                  <a:pt x="28718" y="499061"/>
                  <a:pt x="23955" y="471439"/>
                </a:cubicBezTo>
                <a:lnTo>
                  <a:pt x="23003" y="462866"/>
                </a:lnTo>
                <a:close/>
                <a:moveTo>
                  <a:pt x="99203" y="347614"/>
                </a:moveTo>
                <a:cubicBezTo>
                  <a:pt x="99203" y="350471"/>
                  <a:pt x="99203" y="352376"/>
                  <a:pt x="99203" y="355234"/>
                </a:cubicBezTo>
                <a:cubicBezTo>
                  <a:pt x="102060" y="352376"/>
                  <a:pt x="104918" y="350471"/>
                  <a:pt x="107775" y="348566"/>
                </a:cubicBezTo>
                <a:cubicBezTo>
                  <a:pt x="111585" y="345709"/>
                  <a:pt x="116348" y="343804"/>
                  <a:pt x="120158" y="342851"/>
                </a:cubicBezTo>
                <a:cubicBezTo>
                  <a:pt x="120158" y="342851"/>
                  <a:pt x="120158" y="341899"/>
                  <a:pt x="121110" y="341899"/>
                </a:cubicBezTo>
                <a:cubicBezTo>
                  <a:pt x="118253" y="319039"/>
                  <a:pt x="109680" y="275224"/>
                  <a:pt x="103965" y="253316"/>
                </a:cubicBezTo>
                <a:cubicBezTo>
                  <a:pt x="101108" y="241886"/>
                  <a:pt x="94440" y="234266"/>
                  <a:pt x="83010" y="230456"/>
                </a:cubicBezTo>
                <a:cubicBezTo>
                  <a:pt x="85868" y="238076"/>
                  <a:pt x="86820" y="245696"/>
                  <a:pt x="87773" y="253316"/>
                </a:cubicBezTo>
                <a:cubicBezTo>
                  <a:pt x="92535" y="278081"/>
                  <a:pt x="98250" y="323801"/>
                  <a:pt x="99203" y="347614"/>
                </a:cubicBezTo>
                <a:close/>
                <a:moveTo>
                  <a:pt x="143970" y="336184"/>
                </a:moveTo>
                <a:cubicBezTo>
                  <a:pt x="143970" y="337136"/>
                  <a:pt x="143970" y="338089"/>
                  <a:pt x="143970" y="339041"/>
                </a:cubicBezTo>
                <a:cubicBezTo>
                  <a:pt x="150638" y="339041"/>
                  <a:pt x="157305" y="340946"/>
                  <a:pt x="163973" y="342851"/>
                </a:cubicBezTo>
                <a:cubicBezTo>
                  <a:pt x="162068" y="327611"/>
                  <a:pt x="151590" y="298084"/>
                  <a:pt x="147780" y="284749"/>
                </a:cubicBezTo>
                <a:cubicBezTo>
                  <a:pt x="144923" y="273319"/>
                  <a:pt x="138255" y="265699"/>
                  <a:pt x="126825" y="261889"/>
                </a:cubicBezTo>
                <a:cubicBezTo>
                  <a:pt x="130635" y="279034"/>
                  <a:pt x="140160" y="309514"/>
                  <a:pt x="142065" y="325706"/>
                </a:cubicBezTo>
                <a:lnTo>
                  <a:pt x="143970" y="336184"/>
                </a:lnTo>
                <a:close/>
                <a:moveTo>
                  <a:pt x="609743" y="511444"/>
                </a:moveTo>
                <a:cubicBezTo>
                  <a:pt x="536400" y="564784"/>
                  <a:pt x="526875" y="618124"/>
                  <a:pt x="520208" y="645746"/>
                </a:cubicBezTo>
                <a:cubicBezTo>
                  <a:pt x="520208" y="645746"/>
                  <a:pt x="519255" y="651461"/>
                  <a:pt x="519255" y="660986"/>
                </a:cubicBezTo>
                <a:lnTo>
                  <a:pt x="519255" y="660986"/>
                </a:lnTo>
                <a:cubicBezTo>
                  <a:pt x="519255" y="668606"/>
                  <a:pt x="519255" y="677179"/>
                  <a:pt x="520208" y="686704"/>
                </a:cubicBezTo>
                <a:lnTo>
                  <a:pt x="524970" y="775286"/>
                </a:lnTo>
                <a:cubicBezTo>
                  <a:pt x="524970" y="781954"/>
                  <a:pt x="530685" y="786716"/>
                  <a:pt x="536400" y="786716"/>
                </a:cubicBezTo>
                <a:lnTo>
                  <a:pt x="674513" y="785764"/>
                </a:lnTo>
                <a:cubicBezTo>
                  <a:pt x="681180" y="785764"/>
                  <a:pt x="685943" y="780049"/>
                  <a:pt x="685943" y="774334"/>
                </a:cubicBezTo>
                <a:lnTo>
                  <a:pt x="688800" y="700991"/>
                </a:lnTo>
                <a:lnTo>
                  <a:pt x="820245" y="542876"/>
                </a:lnTo>
                <a:cubicBezTo>
                  <a:pt x="839295" y="521921"/>
                  <a:pt x="852630" y="499061"/>
                  <a:pt x="857393" y="471439"/>
                </a:cubicBezTo>
                <a:lnTo>
                  <a:pt x="858345" y="462866"/>
                </a:lnTo>
                <a:lnTo>
                  <a:pt x="882158" y="240934"/>
                </a:lnTo>
                <a:cubicBezTo>
                  <a:pt x="883110" y="230456"/>
                  <a:pt x="879300" y="219026"/>
                  <a:pt x="870728" y="211406"/>
                </a:cubicBezTo>
                <a:cubicBezTo>
                  <a:pt x="860250" y="202834"/>
                  <a:pt x="844058" y="199976"/>
                  <a:pt x="831675" y="213311"/>
                </a:cubicBezTo>
                <a:cubicBezTo>
                  <a:pt x="823103" y="222836"/>
                  <a:pt x="819293" y="253316"/>
                  <a:pt x="817388" y="261889"/>
                </a:cubicBezTo>
                <a:cubicBezTo>
                  <a:pt x="812625" y="291416"/>
                  <a:pt x="807863" y="332374"/>
                  <a:pt x="806910" y="361901"/>
                </a:cubicBezTo>
                <a:cubicBezTo>
                  <a:pt x="806910" y="363806"/>
                  <a:pt x="806910" y="366664"/>
                  <a:pt x="806910" y="368569"/>
                </a:cubicBezTo>
                <a:cubicBezTo>
                  <a:pt x="805958" y="380951"/>
                  <a:pt x="803100" y="393334"/>
                  <a:pt x="797385" y="404764"/>
                </a:cubicBezTo>
                <a:cubicBezTo>
                  <a:pt x="767858" y="469534"/>
                  <a:pt x="707850" y="550496"/>
                  <a:pt x="707850" y="550496"/>
                </a:cubicBezTo>
                <a:lnTo>
                  <a:pt x="704993" y="555259"/>
                </a:lnTo>
                <a:cubicBezTo>
                  <a:pt x="702135" y="559069"/>
                  <a:pt x="697373" y="560021"/>
                  <a:pt x="693563" y="558116"/>
                </a:cubicBezTo>
                <a:cubicBezTo>
                  <a:pt x="688800" y="556211"/>
                  <a:pt x="687848" y="550496"/>
                  <a:pt x="690705" y="545734"/>
                </a:cubicBezTo>
                <a:lnTo>
                  <a:pt x="769763" y="417146"/>
                </a:lnTo>
                <a:cubicBezTo>
                  <a:pt x="778335" y="402859"/>
                  <a:pt x="773573" y="382856"/>
                  <a:pt x="758333" y="373331"/>
                </a:cubicBezTo>
                <a:cubicBezTo>
                  <a:pt x="743093" y="363806"/>
                  <a:pt x="723090" y="368569"/>
                  <a:pt x="714518" y="382856"/>
                </a:cubicBezTo>
                <a:lnTo>
                  <a:pt x="632603" y="488584"/>
                </a:lnTo>
                <a:cubicBezTo>
                  <a:pt x="626888" y="496204"/>
                  <a:pt x="617363" y="506681"/>
                  <a:pt x="609743" y="511444"/>
                </a:cubicBezTo>
                <a:close/>
                <a:moveTo>
                  <a:pt x="774525" y="348566"/>
                </a:moveTo>
                <a:cubicBezTo>
                  <a:pt x="777383" y="350471"/>
                  <a:pt x="780240" y="352376"/>
                  <a:pt x="783098" y="355234"/>
                </a:cubicBezTo>
                <a:cubicBezTo>
                  <a:pt x="783098" y="352376"/>
                  <a:pt x="783098" y="350471"/>
                  <a:pt x="783098" y="347614"/>
                </a:cubicBezTo>
                <a:cubicBezTo>
                  <a:pt x="783098" y="323801"/>
                  <a:pt x="789765" y="278081"/>
                  <a:pt x="793575" y="253316"/>
                </a:cubicBezTo>
                <a:cubicBezTo>
                  <a:pt x="794528" y="245696"/>
                  <a:pt x="796433" y="238076"/>
                  <a:pt x="798338" y="230456"/>
                </a:cubicBezTo>
                <a:cubicBezTo>
                  <a:pt x="786908" y="234266"/>
                  <a:pt x="780240" y="242839"/>
                  <a:pt x="777383" y="253316"/>
                </a:cubicBezTo>
                <a:cubicBezTo>
                  <a:pt x="771668" y="276176"/>
                  <a:pt x="763095" y="319039"/>
                  <a:pt x="760238" y="341899"/>
                </a:cubicBezTo>
                <a:cubicBezTo>
                  <a:pt x="760238" y="341899"/>
                  <a:pt x="760238" y="342851"/>
                  <a:pt x="761190" y="342851"/>
                </a:cubicBezTo>
                <a:cubicBezTo>
                  <a:pt x="765953" y="343804"/>
                  <a:pt x="770715" y="345709"/>
                  <a:pt x="774525" y="348566"/>
                </a:cubicBezTo>
                <a:close/>
                <a:moveTo>
                  <a:pt x="738330" y="336184"/>
                </a:moveTo>
                <a:lnTo>
                  <a:pt x="740235" y="324754"/>
                </a:lnTo>
                <a:cubicBezTo>
                  <a:pt x="742140" y="308561"/>
                  <a:pt x="751665" y="278081"/>
                  <a:pt x="755475" y="260936"/>
                </a:cubicBezTo>
                <a:cubicBezTo>
                  <a:pt x="744045" y="264746"/>
                  <a:pt x="737378" y="273319"/>
                  <a:pt x="734520" y="283796"/>
                </a:cubicBezTo>
                <a:cubicBezTo>
                  <a:pt x="730710" y="298084"/>
                  <a:pt x="721185" y="327611"/>
                  <a:pt x="718328" y="341899"/>
                </a:cubicBezTo>
                <a:cubicBezTo>
                  <a:pt x="724995" y="339994"/>
                  <a:pt x="731663" y="338089"/>
                  <a:pt x="738330" y="338089"/>
                </a:cubicBezTo>
                <a:cubicBezTo>
                  <a:pt x="738330" y="338089"/>
                  <a:pt x="738330" y="337136"/>
                  <a:pt x="738330" y="336184"/>
                </a:cubicBezTo>
                <a:close/>
                <a:moveTo>
                  <a:pt x="417338" y="320944"/>
                </a:moveTo>
                <a:lnTo>
                  <a:pt x="453533" y="284749"/>
                </a:lnTo>
                <a:lnTo>
                  <a:pt x="536400" y="202834"/>
                </a:lnTo>
                <a:lnTo>
                  <a:pt x="500205" y="166639"/>
                </a:lnTo>
                <a:lnTo>
                  <a:pt x="417338" y="248554"/>
                </a:lnTo>
                <a:lnTo>
                  <a:pt x="383048" y="213311"/>
                </a:lnTo>
                <a:lnTo>
                  <a:pt x="346853" y="249506"/>
                </a:lnTo>
                <a:lnTo>
                  <a:pt x="381143" y="284749"/>
                </a:lnTo>
                <a:lnTo>
                  <a:pt x="417338" y="320944"/>
                </a:lnTo>
                <a:close/>
                <a:moveTo>
                  <a:pt x="205883" y="247601"/>
                </a:moveTo>
                <a:lnTo>
                  <a:pt x="214455" y="238076"/>
                </a:lnTo>
                <a:cubicBezTo>
                  <a:pt x="223980" y="227599"/>
                  <a:pt x="224933" y="213311"/>
                  <a:pt x="218265" y="200929"/>
                </a:cubicBezTo>
                <a:lnTo>
                  <a:pt x="211598" y="190451"/>
                </a:lnTo>
                <a:cubicBezTo>
                  <a:pt x="202073" y="174259"/>
                  <a:pt x="209693" y="152351"/>
                  <a:pt x="226838" y="145684"/>
                </a:cubicBezTo>
                <a:lnTo>
                  <a:pt x="238268" y="140921"/>
                </a:lnTo>
                <a:cubicBezTo>
                  <a:pt x="250650" y="135206"/>
                  <a:pt x="259223" y="122824"/>
                  <a:pt x="258270" y="109489"/>
                </a:cubicBezTo>
                <a:lnTo>
                  <a:pt x="257318" y="97106"/>
                </a:lnTo>
                <a:cubicBezTo>
                  <a:pt x="256365" y="78056"/>
                  <a:pt x="271605" y="61864"/>
                  <a:pt x="290655" y="62816"/>
                </a:cubicBezTo>
                <a:lnTo>
                  <a:pt x="303038" y="63769"/>
                </a:lnTo>
                <a:cubicBezTo>
                  <a:pt x="316373" y="64721"/>
                  <a:pt x="329708" y="56149"/>
                  <a:pt x="334470" y="43766"/>
                </a:cubicBezTo>
                <a:lnTo>
                  <a:pt x="339233" y="32336"/>
                </a:lnTo>
                <a:cubicBezTo>
                  <a:pt x="345900" y="14239"/>
                  <a:pt x="367808" y="6619"/>
                  <a:pt x="384000" y="16144"/>
                </a:cubicBezTo>
                <a:lnTo>
                  <a:pt x="395430" y="21859"/>
                </a:lnTo>
                <a:cubicBezTo>
                  <a:pt x="407813" y="28526"/>
                  <a:pt x="422100" y="26621"/>
                  <a:pt x="432578" y="17096"/>
                </a:cubicBezTo>
                <a:lnTo>
                  <a:pt x="442103" y="8524"/>
                </a:lnTo>
                <a:cubicBezTo>
                  <a:pt x="456390" y="-4811"/>
                  <a:pt x="478298" y="-1954"/>
                  <a:pt x="489728" y="13286"/>
                </a:cubicBezTo>
                <a:lnTo>
                  <a:pt x="497348" y="23764"/>
                </a:lnTo>
                <a:cubicBezTo>
                  <a:pt x="504968" y="35194"/>
                  <a:pt x="519255" y="39956"/>
                  <a:pt x="532590" y="36146"/>
                </a:cubicBezTo>
                <a:lnTo>
                  <a:pt x="544973" y="32336"/>
                </a:lnTo>
                <a:cubicBezTo>
                  <a:pt x="563070" y="26621"/>
                  <a:pt x="582120" y="39004"/>
                  <a:pt x="585930" y="57101"/>
                </a:cubicBezTo>
                <a:lnTo>
                  <a:pt x="587835" y="69484"/>
                </a:lnTo>
                <a:cubicBezTo>
                  <a:pt x="589740" y="82819"/>
                  <a:pt x="601170" y="93296"/>
                  <a:pt x="614505" y="95201"/>
                </a:cubicBezTo>
                <a:lnTo>
                  <a:pt x="626888" y="97106"/>
                </a:lnTo>
                <a:cubicBezTo>
                  <a:pt x="645938" y="99964"/>
                  <a:pt x="658320" y="119014"/>
                  <a:pt x="652605" y="137111"/>
                </a:cubicBezTo>
                <a:lnTo>
                  <a:pt x="648795" y="149494"/>
                </a:lnTo>
                <a:cubicBezTo>
                  <a:pt x="644985" y="162829"/>
                  <a:pt x="649748" y="177116"/>
                  <a:pt x="661178" y="184736"/>
                </a:cubicBezTo>
                <a:lnTo>
                  <a:pt x="671655" y="191404"/>
                </a:lnTo>
                <a:cubicBezTo>
                  <a:pt x="687848" y="201881"/>
                  <a:pt x="689753" y="224741"/>
                  <a:pt x="677370" y="239029"/>
                </a:cubicBezTo>
                <a:lnTo>
                  <a:pt x="668798" y="248554"/>
                </a:lnTo>
                <a:cubicBezTo>
                  <a:pt x="659273" y="259031"/>
                  <a:pt x="658320" y="273319"/>
                  <a:pt x="664988" y="285701"/>
                </a:cubicBezTo>
                <a:lnTo>
                  <a:pt x="671655" y="296179"/>
                </a:lnTo>
                <a:cubicBezTo>
                  <a:pt x="681180" y="312371"/>
                  <a:pt x="673560" y="334279"/>
                  <a:pt x="656415" y="340946"/>
                </a:cubicBezTo>
                <a:lnTo>
                  <a:pt x="644985" y="345709"/>
                </a:lnTo>
                <a:cubicBezTo>
                  <a:pt x="632603" y="351424"/>
                  <a:pt x="624030" y="363806"/>
                  <a:pt x="624983" y="377141"/>
                </a:cubicBezTo>
                <a:lnTo>
                  <a:pt x="625935" y="389524"/>
                </a:lnTo>
                <a:cubicBezTo>
                  <a:pt x="626888" y="408574"/>
                  <a:pt x="611648" y="424766"/>
                  <a:pt x="592598" y="423814"/>
                </a:cubicBezTo>
                <a:lnTo>
                  <a:pt x="580215" y="422861"/>
                </a:lnTo>
                <a:cubicBezTo>
                  <a:pt x="566880" y="421909"/>
                  <a:pt x="553545" y="430481"/>
                  <a:pt x="548783" y="442864"/>
                </a:cubicBezTo>
                <a:lnTo>
                  <a:pt x="544020" y="454294"/>
                </a:lnTo>
                <a:cubicBezTo>
                  <a:pt x="537353" y="472391"/>
                  <a:pt x="515445" y="480011"/>
                  <a:pt x="499253" y="470486"/>
                </a:cubicBezTo>
                <a:lnTo>
                  <a:pt x="487823" y="464771"/>
                </a:lnTo>
                <a:cubicBezTo>
                  <a:pt x="475440" y="458104"/>
                  <a:pt x="461153" y="460009"/>
                  <a:pt x="450675" y="469534"/>
                </a:cubicBezTo>
                <a:lnTo>
                  <a:pt x="441150" y="478106"/>
                </a:lnTo>
                <a:cubicBezTo>
                  <a:pt x="426863" y="491441"/>
                  <a:pt x="404955" y="488584"/>
                  <a:pt x="393525" y="473344"/>
                </a:cubicBezTo>
                <a:lnTo>
                  <a:pt x="385905" y="462866"/>
                </a:lnTo>
                <a:cubicBezTo>
                  <a:pt x="378285" y="451436"/>
                  <a:pt x="363998" y="446674"/>
                  <a:pt x="350663" y="450484"/>
                </a:cubicBezTo>
                <a:lnTo>
                  <a:pt x="338280" y="454294"/>
                </a:lnTo>
                <a:cubicBezTo>
                  <a:pt x="320183" y="460009"/>
                  <a:pt x="301133" y="447626"/>
                  <a:pt x="297323" y="429529"/>
                </a:cubicBezTo>
                <a:lnTo>
                  <a:pt x="295418" y="417146"/>
                </a:lnTo>
                <a:cubicBezTo>
                  <a:pt x="293513" y="403811"/>
                  <a:pt x="282083" y="393334"/>
                  <a:pt x="268748" y="391429"/>
                </a:cubicBezTo>
                <a:lnTo>
                  <a:pt x="256365" y="389524"/>
                </a:lnTo>
                <a:cubicBezTo>
                  <a:pt x="237315" y="386666"/>
                  <a:pt x="224933" y="367616"/>
                  <a:pt x="230648" y="349519"/>
                </a:cubicBezTo>
                <a:lnTo>
                  <a:pt x="234458" y="337136"/>
                </a:lnTo>
                <a:cubicBezTo>
                  <a:pt x="238268" y="323801"/>
                  <a:pt x="233505" y="309514"/>
                  <a:pt x="222075" y="301894"/>
                </a:cubicBezTo>
                <a:lnTo>
                  <a:pt x="211598" y="295226"/>
                </a:lnTo>
                <a:cubicBezTo>
                  <a:pt x="196358" y="283796"/>
                  <a:pt x="193500" y="261889"/>
                  <a:pt x="205883" y="247601"/>
                </a:cubicBezTo>
                <a:close/>
                <a:moveTo>
                  <a:pt x="289703" y="243791"/>
                </a:moveTo>
                <a:cubicBezTo>
                  <a:pt x="289703" y="327611"/>
                  <a:pt x="357330" y="395239"/>
                  <a:pt x="441150" y="395239"/>
                </a:cubicBezTo>
                <a:cubicBezTo>
                  <a:pt x="524970" y="395239"/>
                  <a:pt x="592598" y="327611"/>
                  <a:pt x="592598" y="243791"/>
                </a:cubicBezTo>
                <a:cubicBezTo>
                  <a:pt x="592598" y="159971"/>
                  <a:pt x="524970" y="92344"/>
                  <a:pt x="441150" y="92344"/>
                </a:cubicBezTo>
                <a:cubicBezTo>
                  <a:pt x="357330" y="92344"/>
                  <a:pt x="289703" y="159971"/>
                  <a:pt x="289703" y="243791"/>
                </a:cubicBezTo>
                <a:close/>
              </a:path>
            </a:pathLst>
          </a:custGeom>
          <a:solidFill>
            <a:schemeClr val="bg1"/>
          </a:solidFill>
          <a:ln w="9525" cap="flat">
            <a:noFill/>
            <a:prstDash val="solid"/>
            <a:miter/>
          </a:ln>
        </p:spPr>
        <p:txBody>
          <a:bodyPr rtlCol="0" anchor="ctr"/>
          <a:lstStyle/>
          <a:p>
            <a:endParaRPr lang="fr-FR"/>
          </a:p>
        </p:txBody>
      </p:sp>
      <p:sp>
        <p:nvSpPr>
          <p:cNvPr id="15" name="TextBox 46">
            <a:extLst>
              <a:ext uri="{FF2B5EF4-FFF2-40B4-BE49-F238E27FC236}">
                <a16:creationId xmlns:a16="http://schemas.microsoft.com/office/drawing/2014/main" id="{08585585-5AA1-221A-F34A-790F49CFB57B}"/>
              </a:ext>
            </a:extLst>
          </p:cNvPr>
          <p:cNvSpPr txBox="1"/>
          <p:nvPr/>
        </p:nvSpPr>
        <p:spPr>
          <a:xfrm>
            <a:off x="8499813" y="4637675"/>
            <a:ext cx="3386699" cy="1854354"/>
          </a:xfrm>
          <a:prstGeom prst="rect">
            <a:avLst/>
          </a:prstGeom>
          <a:noFill/>
        </p:spPr>
        <p:txBody>
          <a:bodyPr wrap="square" lIns="0" tIns="45720" rIns="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74625" marR="0" lvl="1" indent="-174625" algn="just" defTabSz="914400" rtl="0" eaLnBrk="1" fontAlgn="auto" latinLnBrk="0" hangingPunct="1">
              <a:lnSpc>
                <a:spcPct val="100000"/>
              </a:lnSpc>
              <a:spcBef>
                <a:spcPts val="600"/>
              </a:spcBef>
              <a:spcAft>
                <a:spcPts val="0"/>
              </a:spcAft>
              <a:buClr>
                <a:srgbClr val="E8E6F4">
                  <a:lumMod val="75000"/>
                </a:srgbClr>
              </a:buClr>
              <a:buSzPct val="100000"/>
              <a:buFont typeface="Arial" panose="020B0604020202020204" pitchFamily="34" charset="0"/>
              <a:buChar char="•"/>
              <a:tabLst/>
              <a:defRPr/>
            </a:pPr>
            <a:r>
              <a:rPr lang="fr-FR" sz="1050">
                <a:solidFill>
                  <a:srgbClr val="4875A2"/>
                </a:solidFill>
                <a:latin typeface="Montserrat"/>
              </a:rPr>
              <a:t>Du point de vue humain, nous accompagnons plusieurs entreprises sur APS</a:t>
            </a:r>
          </a:p>
          <a:p>
            <a:pPr marL="174625" marR="0" lvl="1" indent="-174625" algn="just" defTabSz="914400" rtl="0" eaLnBrk="1" fontAlgn="auto" latinLnBrk="0" hangingPunct="1">
              <a:lnSpc>
                <a:spcPct val="100000"/>
              </a:lnSpc>
              <a:spcBef>
                <a:spcPts val="600"/>
              </a:spcBef>
              <a:spcAft>
                <a:spcPts val="0"/>
              </a:spcAft>
              <a:buClr>
                <a:srgbClr val="E8E6F4">
                  <a:lumMod val="75000"/>
                </a:srgbClr>
              </a:buClr>
              <a:buSzPct val="100000"/>
              <a:buFont typeface="Arial" panose="020B0604020202020204" pitchFamily="34" charset="0"/>
              <a:buChar char="•"/>
              <a:tabLst/>
              <a:defRPr/>
            </a:pPr>
            <a:r>
              <a:rPr lang="fr-FR" sz="1050" noProof="1">
                <a:solidFill>
                  <a:srgbClr val="4875A2"/>
                </a:solidFill>
                <a:latin typeface="Montserrat"/>
              </a:rPr>
              <a:t>Spécialisation sur l’usage – adoption des nouveaux usages IT </a:t>
            </a:r>
          </a:p>
          <a:p>
            <a:pPr marL="174625" marR="0" lvl="1" indent="-174625" algn="just" defTabSz="914400" rtl="0" eaLnBrk="1" fontAlgn="auto" latinLnBrk="0" hangingPunct="1">
              <a:lnSpc>
                <a:spcPct val="100000"/>
              </a:lnSpc>
              <a:spcBef>
                <a:spcPts val="600"/>
              </a:spcBef>
              <a:spcAft>
                <a:spcPts val="0"/>
              </a:spcAft>
              <a:buClr>
                <a:srgbClr val="E8E6F4">
                  <a:lumMod val="75000"/>
                </a:srgbClr>
              </a:buClr>
              <a:buSzPct val="100000"/>
              <a:buFont typeface="Arial" panose="020B0604020202020204" pitchFamily="34" charset="0"/>
              <a:buChar char="•"/>
              <a:tabLst/>
              <a:defRPr/>
            </a:pPr>
            <a:r>
              <a:rPr lang="fr-FR" sz="1050" noProof="1">
                <a:solidFill>
                  <a:srgbClr val="4875A2"/>
                </a:solidFill>
                <a:latin typeface="Montserrat"/>
              </a:rPr>
              <a:t>Accompagnement des transformations métiers, y compris du point de vue culturel</a:t>
            </a:r>
          </a:p>
          <a:p>
            <a:pPr marL="174625" marR="0" lvl="1" indent="-174625" algn="just" defTabSz="914400" rtl="0" eaLnBrk="1" fontAlgn="auto" latinLnBrk="0" hangingPunct="1">
              <a:lnSpc>
                <a:spcPct val="100000"/>
              </a:lnSpc>
              <a:spcBef>
                <a:spcPts val="600"/>
              </a:spcBef>
              <a:spcAft>
                <a:spcPts val="0"/>
              </a:spcAft>
              <a:buClr>
                <a:srgbClr val="E8E6F4">
                  <a:lumMod val="75000"/>
                </a:srgbClr>
              </a:buClr>
              <a:buSzPct val="100000"/>
              <a:buFont typeface="Arial" panose="020B0604020202020204" pitchFamily="34" charset="0"/>
              <a:buChar char="•"/>
              <a:tabLst/>
              <a:defRPr/>
            </a:pPr>
            <a:r>
              <a:rPr lang="fr-FR" sz="1050" noProof="1">
                <a:solidFill>
                  <a:srgbClr val="4875A2"/>
                </a:solidFill>
                <a:latin typeface="Montserrat"/>
              </a:rPr>
              <a:t>Prévention gestion de crise – négociation sociale</a:t>
            </a:r>
          </a:p>
          <a:p>
            <a:pPr marL="174625" marR="0" lvl="1" indent="-174625" algn="just" defTabSz="914400" rtl="0" eaLnBrk="1" fontAlgn="auto" latinLnBrk="0" hangingPunct="1">
              <a:lnSpc>
                <a:spcPct val="100000"/>
              </a:lnSpc>
              <a:spcBef>
                <a:spcPts val="600"/>
              </a:spcBef>
              <a:spcAft>
                <a:spcPts val="0"/>
              </a:spcAft>
              <a:buClr>
                <a:srgbClr val="E8E6F4">
                  <a:lumMod val="75000"/>
                </a:srgbClr>
              </a:buClr>
              <a:buSzPct val="100000"/>
              <a:buFont typeface="Arial" panose="020B0604020202020204" pitchFamily="34" charset="0"/>
              <a:buChar char="•"/>
              <a:tabLst/>
              <a:defRPr/>
            </a:pPr>
            <a:r>
              <a:rPr lang="fr-FR" sz="1050" noProof="1">
                <a:solidFill>
                  <a:srgbClr val="4875A2"/>
                </a:solidFill>
                <a:latin typeface="Montserrat"/>
              </a:rPr>
              <a:t>Spécialistes des formations</a:t>
            </a:r>
            <a:endParaRPr lang="en-US" sz="1000" noProof="1">
              <a:solidFill>
                <a:srgbClr val="4875A2"/>
              </a:solidFill>
              <a:latin typeface="Montserrat"/>
            </a:endParaRPr>
          </a:p>
        </p:txBody>
      </p:sp>
    </p:spTree>
    <p:extLst>
      <p:ext uri="{BB962C8B-B14F-4D97-AF65-F5344CB8AC3E}">
        <p14:creationId xmlns:p14="http://schemas.microsoft.com/office/powerpoint/2010/main" val="31448347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5C57AF-169F-4314-AC66-D8269E11F446}"/>
              </a:ext>
            </a:extLst>
          </p:cNvPr>
          <p:cNvSpPr>
            <a:spLocks noGrp="1"/>
          </p:cNvSpPr>
          <p:nvPr>
            <p:ph type="title"/>
          </p:nvPr>
        </p:nvSpPr>
        <p:spPr/>
        <p:txBody>
          <a:bodyPr/>
          <a:lstStyle/>
          <a:p>
            <a:r>
              <a:rPr lang="fr-FR">
                <a:latin typeface="Arial Black"/>
              </a:rPr>
              <a:t>NOS ATOUTS POUR VOUS ACCOMPAGNER</a:t>
            </a:r>
            <a:endParaRPr lang="fr-FR">
              <a:highlight>
                <a:srgbClr val="FFFF00"/>
              </a:highlight>
            </a:endParaRPr>
          </a:p>
        </p:txBody>
      </p:sp>
      <p:sp>
        <p:nvSpPr>
          <p:cNvPr id="217" name="ZoneTexte 111">
            <a:extLst>
              <a:ext uri="{FF2B5EF4-FFF2-40B4-BE49-F238E27FC236}">
                <a16:creationId xmlns:a16="http://schemas.microsoft.com/office/drawing/2014/main" id="{ACBEB19E-2E70-897B-2656-D08F301B74D3}"/>
              </a:ext>
            </a:extLst>
          </p:cNvPr>
          <p:cNvSpPr txBox="1"/>
          <p:nvPr/>
        </p:nvSpPr>
        <p:spPr>
          <a:xfrm>
            <a:off x="395060" y="697596"/>
            <a:ext cx="5745484" cy="338554"/>
          </a:xfrm>
          <a:prstGeom prst="rect">
            <a:avLst/>
          </a:prstGeom>
          <a:noFill/>
        </p:spPr>
        <p:txBody>
          <a:bodyPr wrap="non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fr-FR" sz="1600">
                <a:solidFill>
                  <a:schemeClr val="accent2"/>
                </a:solidFill>
                <a:latin typeface="Montserrat" panose="00000500000000000000" pitchFamily="2" charset="0"/>
              </a:rPr>
              <a:t>Focus sur : </a:t>
            </a:r>
            <a:r>
              <a:rPr lang="fr-FR" sz="1600" err="1">
                <a:solidFill>
                  <a:schemeClr val="accent2"/>
                </a:solidFill>
                <a:latin typeface="Montserrat" panose="00000500000000000000" pitchFamily="2" charset="0"/>
              </a:rPr>
              <a:t>Digiforma</a:t>
            </a:r>
            <a:r>
              <a:rPr lang="fr-FR" sz="1600">
                <a:solidFill>
                  <a:schemeClr val="accent2"/>
                </a:solidFill>
                <a:latin typeface="Montserrat" panose="00000500000000000000" pitchFamily="2" charset="0"/>
              </a:rPr>
              <a:t>, notre plateforme digitale dédiée</a:t>
            </a:r>
          </a:p>
        </p:txBody>
      </p:sp>
      <p:sp>
        <p:nvSpPr>
          <p:cNvPr id="5" name="ZoneTexte 4">
            <a:extLst>
              <a:ext uri="{FF2B5EF4-FFF2-40B4-BE49-F238E27FC236}">
                <a16:creationId xmlns:a16="http://schemas.microsoft.com/office/drawing/2014/main" id="{A186D080-D28E-70E6-DFA8-9366E7C708C9}"/>
              </a:ext>
            </a:extLst>
          </p:cNvPr>
          <p:cNvSpPr txBox="1"/>
          <p:nvPr/>
        </p:nvSpPr>
        <p:spPr>
          <a:xfrm>
            <a:off x="1817876" y="1333511"/>
            <a:ext cx="6204441" cy="1554272"/>
          </a:xfrm>
          <a:prstGeom prst="rect">
            <a:avLst/>
          </a:prstGeom>
          <a:noFill/>
        </p:spPr>
        <p:txBody>
          <a:bodyPr wrap="square" rtlCol="0">
            <a:spAutoFit/>
          </a:bodyPr>
          <a:lstStyle/>
          <a:p>
            <a:pPr>
              <a:spcAft>
                <a:spcPts val="900"/>
              </a:spcAft>
            </a:pPr>
            <a:r>
              <a:rPr lang="fr-FR" b="1">
                <a:solidFill>
                  <a:schemeClr val="bg2"/>
                </a:solidFill>
              </a:rPr>
              <a:t>Une gestion administrative optimisée :</a:t>
            </a:r>
          </a:p>
          <a:p>
            <a:pPr marL="742950" lvl="1" indent="-285750">
              <a:spcAft>
                <a:spcPts val="600"/>
              </a:spcAft>
              <a:buFont typeface="Arial" panose="020B0604020202020204" pitchFamily="34" charset="0"/>
              <a:buChar char="•"/>
            </a:pPr>
            <a:r>
              <a:rPr lang="fr-FR"/>
              <a:t>Pilotage numérique en temps réel des formations</a:t>
            </a:r>
          </a:p>
          <a:p>
            <a:pPr marL="742950" lvl="1" indent="-285750">
              <a:spcAft>
                <a:spcPts val="600"/>
              </a:spcAft>
              <a:buFont typeface="Arial" panose="020B0604020202020204" pitchFamily="34" charset="0"/>
              <a:buChar char="•"/>
            </a:pPr>
            <a:r>
              <a:rPr lang="fr-FR"/>
              <a:t>Génération de documents formation </a:t>
            </a:r>
          </a:p>
          <a:p>
            <a:pPr marL="742950" lvl="1" indent="-285750">
              <a:spcAft>
                <a:spcPts val="600"/>
              </a:spcAft>
              <a:buFont typeface="Arial" panose="020B0604020202020204" pitchFamily="34" charset="0"/>
              <a:buChar char="•"/>
            </a:pPr>
            <a:r>
              <a:rPr lang="fr-FR"/>
              <a:t>Tableau de bord des formations intra </a:t>
            </a:r>
          </a:p>
          <a:p>
            <a:pPr marL="742950" lvl="1" indent="-285750">
              <a:spcAft>
                <a:spcPts val="600"/>
              </a:spcAft>
              <a:buFont typeface="Arial" panose="020B0604020202020204" pitchFamily="34" charset="0"/>
              <a:buChar char="•"/>
            </a:pPr>
            <a:r>
              <a:rPr lang="fr-FR"/>
              <a:t>Planning des sessions et des ressources </a:t>
            </a:r>
          </a:p>
        </p:txBody>
      </p:sp>
      <p:sp>
        <p:nvSpPr>
          <p:cNvPr id="15" name="ZoneTexte 14">
            <a:extLst>
              <a:ext uri="{FF2B5EF4-FFF2-40B4-BE49-F238E27FC236}">
                <a16:creationId xmlns:a16="http://schemas.microsoft.com/office/drawing/2014/main" id="{22715C5B-8614-7E16-B5D3-DFB97928B98D}"/>
              </a:ext>
            </a:extLst>
          </p:cNvPr>
          <p:cNvSpPr txBox="1"/>
          <p:nvPr/>
        </p:nvSpPr>
        <p:spPr>
          <a:xfrm>
            <a:off x="1817876" y="3257653"/>
            <a:ext cx="6023641" cy="1223412"/>
          </a:xfrm>
          <a:prstGeom prst="rect">
            <a:avLst/>
          </a:prstGeom>
          <a:noFill/>
        </p:spPr>
        <p:txBody>
          <a:bodyPr wrap="square">
            <a:spAutoFit/>
          </a:bodyPr>
          <a:lstStyle/>
          <a:p>
            <a:pPr>
              <a:spcAft>
                <a:spcPts val="900"/>
              </a:spcAft>
            </a:pPr>
            <a:r>
              <a:rPr lang="fr-FR" b="1">
                <a:solidFill>
                  <a:schemeClr val="bg2"/>
                </a:solidFill>
              </a:rPr>
              <a:t>Un suivi pédagogique dans le cadre d’une démarche Qualité</a:t>
            </a:r>
          </a:p>
          <a:p>
            <a:pPr marL="742950" lvl="1" indent="-285750">
              <a:spcAft>
                <a:spcPts val="600"/>
              </a:spcAft>
              <a:buFont typeface="Arial" panose="020B0604020202020204" pitchFamily="34" charset="0"/>
              <a:buChar char="•"/>
            </a:pPr>
            <a:r>
              <a:rPr lang="fr-FR" b="1"/>
              <a:t> </a:t>
            </a:r>
            <a:r>
              <a:rPr lang="fr-FR"/>
              <a:t>Infographie de la formation et du transfert des acquis </a:t>
            </a:r>
          </a:p>
          <a:p>
            <a:pPr marL="742950" lvl="1" indent="-285750">
              <a:spcAft>
                <a:spcPts val="600"/>
              </a:spcAft>
              <a:buFont typeface="Arial" panose="020B0604020202020204" pitchFamily="34" charset="0"/>
              <a:buChar char="•"/>
            </a:pPr>
            <a:r>
              <a:rPr lang="fr-FR"/>
              <a:t> Système d’évaluations numériques complet</a:t>
            </a:r>
          </a:p>
          <a:p>
            <a:pPr marL="742950" lvl="1" indent="-285750">
              <a:spcAft>
                <a:spcPts val="600"/>
              </a:spcAft>
              <a:buFont typeface="Arial" panose="020B0604020202020204" pitchFamily="34" charset="0"/>
              <a:buChar char="•"/>
            </a:pPr>
            <a:r>
              <a:rPr lang="fr-FR"/>
              <a:t> Fourniture d’indicateurs de performances</a:t>
            </a:r>
          </a:p>
        </p:txBody>
      </p:sp>
      <p:pic>
        <p:nvPicPr>
          <p:cNvPr id="19" name="Image 18">
            <a:extLst>
              <a:ext uri="{FF2B5EF4-FFF2-40B4-BE49-F238E27FC236}">
                <a16:creationId xmlns:a16="http://schemas.microsoft.com/office/drawing/2014/main" id="{FC68B495-3ADA-E18C-C9C1-1FF12B7DFD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99738" y="3121940"/>
            <a:ext cx="2661850" cy="156181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2" name="Image 21" descr="Une image contenant texte&#10;&#10;Description générée automatiquement">
            <a:extLst>
              <a:ext uri="{FF2B5EF4-FFF2-40B4-BE49-F238E27FC236}">
                <a16:creationId xmlns:a16="http://schemas.microsoft.com/office/drawing/2014/main" id="{F962FF3F-B3BE-6C5D-EE9F-8884440BC2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99738" y="1212109"/>
            <a:ext cx="2661850" cy="15241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3" name="ZoneTexte 22">
            <a:extLst>
              <a:ext uri="{FF2B5EF4-FFF2-40B4-BE49-F238E27FC236}">
                <a16:creationId xmlns:a16="http://schemas.microsoft.com/office/drawing/2014/main" id="{674A7CE3-F4DF-9D89-C877-ACCBB56473E0}"/>
              </a:ext>
            </a:extLst>
          </p:cNvPr>
          <p:cNvSpPr txBox="1"/>
          <p:nvPr/>
        </p:nvSpPr>
        <p:spPr>
          <a:xfrm>
            <a:off x="1817876" y="4943365"/>
            <a:ext cx="6023641" cy="1223412"/>
          </a:xfrm>
          <a:prstGeom prst="rect">
            <a:avLst/>
          </a:prstGeom>
          <a:noFill/>
        </p:spPr>
        <p:txBody>
          <a:bodyPr wrap="square">
            <a:spAutoFit/>
          </a:bodyPr>
          <a:lstStyle/>
          <a:p>
            <a:pPr>
              <a:spcAft>
                <a:spcPts val="900"/>
              </a:spcAft>
            </a:pPr>
            <a:r>
              <a:rPr lang="fr-FR" b="1">
                <a:solidFill>
                  <a:schemeClr val="bg2"/>
                </a:solidFill>
              </a:rPr>
              <a:t>Une plateforme e-learning intégrée</a:t>
            </a:r>
          </a:p>
          <a:p>
            <a:pPr marL="742950" lvl="1" indent="-285750">
              <a:spcAft>
                <a:spcPts val="600"/>
              </a:spcAft>
              <a:buFont typeface="Arial" panose="020B0604020202020204" pitchFamily="34" charset="0"/>
              <a:buChar char="•"/>
            </a:pPr>
            <a:r>
              <a:rPr lang="fr-FR"/>
              <a:t>Séquences de quiz et de contenus (documents, vidéos, etc.)</a:t>
            </a:r>
          </a:p>
          <a:p>
            <a:pPr marL="742950" lvl="1" indent="-285750">
              <a:spcAft>
                <a:spcPts val="600"/>
              </a:spcAft>
              <a:buFont typeface="Arial" panose="020B0604020202020204" pitchFamily="34" charset="0"/>
              <a:buChar char="•"/>
            </a:pPr>
            <a:r>
              <a:rPr lang="fr-FR"/>
              <a:t>Forums de discussion</a:t>
            </a:r>
          </a:p>
          <a:p>
            <a:pPr marL="742950" lvl="1" indent="-285750">
              <a:spcAft>
                <a:spcPts val="600"/>
              </a:spcAft>
              <a:buFont typeface="Arial" panose="020B0604020202020204" pitchFamily="34" charset="0"/>
              <a:buChar char="•"/>
            </a:pPr>
            <a:r>
              <a:rPr lang="fr-FR"/>
              <a:t>Suivi des assiduités</a:t>
            </a:r>
            <a:endParaRPr lang="fr-FR" sz="1600"/>
          </a:p>
        </p:txBody>
      </p:sp>
      <p:pic>
        <p:nvPicPr>
          <p:cNvPr id="25" name="Image 24" descr="Une image contenant table&#10;&#10;Description générée automatiquement">
            <a:extLst>
              <a:ext uri="{FF2B5EF4-FFF2-40B4-BE49-F238E27FC236}">
                <a16:creationId xmlns:a16="http://schemas.microsoft.com/office/drawing/2014/main" id="{BA8C1800-75DB-72A0-BD37-CB1EEE87F1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99738" y="5069415"/>
            <a:ext cx="2635902" cy="11942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6" name="Freeform 5">
            <a:extLst>
              <a:ext uri="{FF2B5EF4-FFF2-40B4-BE49-F238E27FC236}">
                <a16:creationId xmlns:a16="http://schemas.microsoft.com/office/drawing/2014/main" id="{E9402F14-6A66-0D83-6516-18BE19923872}"/>
              </a:ext>
            </a:extLst>
          </p:cNvPr>
          <p:cNvSpPr>
            <a:spLocks noChangeAspect="1" noEditPoints="1"/>
          </p:cNvSpPr>
          <p:nvPr/>
        </p:nvSpPr>
        <p:spPr bwMode="auto">
          <a:xfrm>
            <a:off x="920951" y="3540925"/>
            <a:ext cx="438111" cy="648000"/>
          </a:xfrm>
          <a:custGeom>
            <a:avLst/>
            <a:gdLst>
              <a:gd name="T0" fmla="*/ 222 w 809"/>
              <a:gd name="T1" fmla="*/ 398 h 1195"/>
              <a:gd name="T2" fmla="*/ 586 w 809"/>
              <a:gd name="T3" fmla="*/ 398 h 1195"/>
              <a:gd name="T4" fmla="*/ 418 w 809"/>
              <a:gd name="T5" fmla="*/ 446 h 1195"/>
              <a:gd name="T6" fmla="*/ 335 w 809"/>
              <a:gd name="T7" fmla="*/ 446 h 1195"/>
              <a:gd name="T8" fmla="*/ 337 w 809"/>
              <a:gd name="T9" fmla="*/ 365 h 1195"/>
              <a:gd name="T10" fmla="*/ 472 w 809"/>
              <a:gd name="T11" fmla="*/ 310 h 1195"/>
              <a:gd name="T12" fmla="*/ 418 w 809"/>
              <a:gd name="T13" fmla="*/ 446 h 1195"/>
              <a:gd name="T14" fmla="*/ 755 w 809"/>
              <a:gd name="T15" fmla="*/ 289 h 1195"/>
              <a:gd name="T16" fmla="*/ 729 w 809"/>
              <a:gd name="T17" fmla="*/ 200 h 1195"/>
              <a:gd name="T18" fmla="*/ 672 w 809"/>
              <a:gd name="T19" fmla="*/ 147 h 1195"/>
              <a:gd name="T20" fmla="*/ 612 w 809"/>
              <a:gd name="T21" fmla="*/ 77 h 1195"/>
              <a:gd name="T22" fmla="*/ 538 w 809"/>
              <a:gd name="T23" fmla="*/ 55 h 1195"/>
              <a:gd name="T24" fmla="*/ 453 w 809"/>
              <a:gd name="T25" fmla="*/ 20 h 1195"/>
              <a:gd name="T26" fmla="*/ 377 w 809"/>
              <a:gd name="T27" fmla="*/ 31 h 1195"/>
              <a:gd name="T28" fmla="*/ 284 w 809"/>
              <a:gd name="T29" fmla="*/ 36 h 1195"/>
              <a:gd name="T30" fmla="*/ 219 w 809"/>
              <a:gd name="T31" fmla="*/ 80 h 1195"/>
              <a:gd name="T32" fmla="*/ 138 w 809"/>
              <a:gd name="T33" fmla="*/ 125 h 1195"/>
              <a:gd name="T34" fmla="*/ 99 w 809"/>
              <a:gd name="T35" fmla="*/ 192 h 1195"/>
              <a:gd name="T36" fmla="*/ 45 w 809"/>
              <a:gd name="T37" fmla="*/ 269 h 1195"/>
              <a:gd name="T38" fmla="*/ 39 w 809"/>
              <a:gd name="T39" fmla="*/ 346 h 1195"/>
              <a:gd name="T40" fmla="*/ 24 w 809"/>
              <a:gd name="T41" fmla="*/ 437 h 1195"/>
              <a:gd name="T42" fmla="*/ 53 w 809"/>
              <a:gd name="T43" fmla="*/ 510 h 1195"/>
              <a:gd name="T44" fmla="*/ 79 w 809"/>
              <a:gd name="T45" fmla="*/ 599 h 1195"/>
              <a:gd name="T46" fmla="*/ 137 w 809"/>
              <a:gd name="T47" fmla="*/ 651 h 1195"/>
              <a:gd name="T48" fmla="*/ 198 w 809"/>
              <a:gd name="T49" fmla="*/ 720 h 1195"/>
              <a:gd name="T50" fmla="*/ 272 w 809"/>
              <a:gd name="T51" fmla="*/ 742 h 1195"/>
              <a:gd name="T52" fmla="*/ 357 w 809"/>
              <a:gd name="T53" fmla="*/ 777 h 1195"/>
              <a:gd name="T54" fmla="*/ 433 w 809"/>
              <a:gd name="T55" fmla="*/ 766 h 1195"/>
              <a:gd name="T56" fmla="*/ 525 w 809"/>
              <a:gd name="T57" fmla="*/ 761 h 1195"/>
              <a:gd name="T58" fmla="*/ 590 w 809"/>
              <a:gd name="T59" fmla="*/ 717 h 1195"/>
              <a:gd name="T60" fmla="*/ 671 w 809"/>
              <a:gd name="T61" fmla="*/ 672 h 1195"/>
              <a:gd name="T62" fmla="*/ 710 w 809"/>
              <a:gd name="T63" fmla="*/ 605 h 1195"/>
              <a:gd name="T64" fmla="*/ 764 w 809"/>
              <a:gd name="T65" fmla="*/ 530 h 1195"/>
              <a:gd name="T66" fmla="*/ 770 w 809"/>
              <a:gd name="T67" fmla="*/ 452 h 1195"/>
              <a:gd name="T68" fmla="*/ 785 w 809"/>
              <a:gd name="T69" fmla="*/ 361 h 1195"/>
              <a:gd name="T70" fmla="*/ 404 w 809"/>
              <a:gd name="T71" fmla="*/ 652 h 1195"/>
              <a:gd name="T72" fmla="*/ 404 w 809"/>
              <a:gd name="T73" fmla="*/ 147 h 1195"/>
              <a:gd name="T74" fmla="*/ 404 w 809"/>
              <a:gd name="T75" fmla="*/ 652 h 1195"/>
              <a:gd name="T76" fmla="*/ 134 w 809"/>
              <a:gd name="T77" fmla="*/ 786 h 1195"/>
              <a:gd name="T78" fmla="*/ 210 w 809"/>
              <a:gd name="T79" fmla="*/ 796 h 1195"/>
              <a:gd name="T80" fmla="*/ 214 w 809"/>
              <a:gd name="T81" fmla="*/ 799 h 1195"/>
              <a:gd name="T82" fmla="*/ 364 w 809"/>
              <a:gd name="T83" fmla="*/ 857 h 1195"/>
              <a:gd name="T84" fmla="*/ 213 w 809"/>
              <a:gd name="T85" fmla="*/ 1182 h 1195"/>
              <a:gd name="T86" fmla="*/ 142 w 809"/>
              <a:gd name="T87" fmla="*/ 1071 h 1195"/>
              <a:gd name="T88" fmla="*/ 12 w 809"/>
              <a:gd name="T89" fmla="*/ 1092 h 1195"/>
              <a:gd name="T90" fmla="*/ 443 w 809"/>
              <a:gd name="T91" fmla="*/ 860 h 1195"/>
              <a:gd name="T92" fmla="*/ 593 w 809"/>
              <a:gd name="T93" fmla="*/ 800 h 1195"/>
              <a:gd name="T94" fmla="*/ 596 w 809"/>
              <a:gd name="T95" fmla="*/ 797 h 1195"/>
              <a:gd name="T96" fmla="*/ 674 w 809"/>
              <a:gd name="T97" fmla="*/ 787 h 1195"/>
              <a:gd name="T98" fmla="*/ 781 w 809"/>
              <a:gd name="T99" fmla="*/ 1112 h 1195"/>
              <a:gd name="T100" fmla="*/ 656 w 809"/>
              <a:gd name="T101" fmla="*/ 1080 h 1195"/>
              <a:gd name="T102" fmla="*/ 573 w 809"/>
              <a:gd name="T103" fmla="*/ 1185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9" h="1195">
                <a:moveTo>
                  <a:pt x="404" y="216"/>
                </a:moveTo>
                <a:cubicBezTo>
                  <a:pt x="303" y="216"/>
                  <a:pt x="222" y="298"/>
                  <a:pt x="222" y="398"/>
                </a:cubicBezTo>
                <a:cubicBezTo>
                  <a:pt x="222" y="500"/>
                  <a:pt x="304" y="581"/>
                  <a:pt x="404" y="581"/>
                </a:cubicBezTo>
                <a:cubicBezTo>
                  <a:pt x="505" y="581"/>
                  <a:pt x="586" y="499"/>
                  <a:pt x="586" y="398"/>
                </a:cubicBezTo>
                <a:cubicBezTo>
                  <a:pt x="586" y="299"/>
                  <a:pt x="505" y="216"/>
                  <a:pt x="404" y="216"/>
                </a:cubicBezTo>
                <a:close/>
                <a:moveTo>
                  <a:pt x="418" y="446"/>
                </a:moveTo>
                <a:lnTo>
                  <a:pt x="377" y="487"/>
                </a:lnTo>
                <a:lnTo>
                  <a:pt x="335" y="446"/>
                </a:lnTo>
                <a:lnTo>
                  <a:pt x="295" y="406"/>
                </a:lnTo>
                <a:lnTo>
                  <a:pt x="337" y="365"/>
                </a:lnTo>
                <a:lnTo>
                  <a:pt x="377" y="405"/>
                </a:lnTo>
                <a:lnTo>
                  <a:pt x="472" y="310"/>
                </a:lnTo>
                <a:lnTo>
                  <a:pt x="513" y="351"/>
                </a:lnTo>
                <a:lnTo>
                  <a:pt x="418" y="446"/>
                </a:lnTo>
                <a:close/>
                <a:moveTo>
                  <a:pt x="769" y="347"/>
                </a:moveTo>
                <a:cubicBezTo>
                  <a:pt x="753" y="332"/>
                  <a:pt x="747" y="309"/>
                  <a:pt x="755" y="289"/>
                </a:cubicBezTo>
                <a:lnTo>
                  <a:pt x="763" y="270"/>
                </a:lnTo>
                <a:cubicBezTo>
                  <a:pt x="775" y="241"/>
                  <a:pt x="759" y="209"/>
                  <a:pt x="729" y="200"/>
                </a:cubicBezTo>
                <a:lnTo>
                  <a:pt x="709" y="195"/>
                </a:lnTo>
                <a:cubicBezTo>
                  <a:pt x="688" y="189"/>
                  <a:pt x="673" y="170"/>
                  <a:pt x="672" y="147"/>
                </a:cubicBezTo>
                <a:lnTo>
                  <a:pt x="672" y="126"/>
                </a:lnTo>
                <a:cubicBezTo>
                  <a:pt x="670" y="95"/>
                  <a:pt x="642" y="72"/>
                  <a:pt x="612" y="77"/>
                </a:cubicBezTo>
                <a:lnTo>
                  <a:pt x="592" y="81"/>
                </a:lnTo>
                <a:cubicBezTo>
                  <a:pt x="569" y="85"/>
                  <a:pt x="548" y="75"/>
                  <a:pt x="538" y="55"/>
                </a:cubicBezTo>
                <a:lnTo>
                  <a:pt x="528" y="37"/>
                </a:lnTo>
                <a:cubicBezTo>
                  <a:pt x="513" y="10"/>
                  <a:pt x="478" y="2"/>
                  <a:pt x="453" y="20"/>
                </a:cubicBezTo>
                <a:lnTo>
                  <a:pt x="437" y="31"/>
                </a:lnTo>
                <a:cubicBezTo>
                  <a:pt x="419" y="44"/>
                  <a:pt x="394" y="44"/>
                  <a:pt x="377" y="31"/>
                </a:cubicBezTo>
                <a:lnTo>
                  <a:pt x="360" y="19"/>
                </a:lnTo>
                <a:cubicBezTo>
                  <a:pt x="335" y="0"/>
                  <a:pt x="299" y="9"/>
                  <a:pt x="284" y="36"/>
                </a:cubicBezTo>
                <a:lnTo>
                  <a:pt x="274" y="54"/>
                </a:lnTo>
                <a:cubicBezTo>
                  <a:pt x="263" y="74"/>
                  <a:pt x="242" y="84"/>
                  <a:pt x="219" y="80"/>
                </a:cubicBezTo>
                <a:lnTo>
                  <a:pt x="199" y="76"/>
                </a:lnTo>
                <a:cubicBezTo>
                  <a:pt x="168" y="71"/>
                  <a:pt x="140" y="94"/>
                  <a:pt x="138" y="125"/>
                </a:cubicBezTo>
                <a:lnTo>
                  <a:pt x="137" y="145"/>
                </a:lnTo>
                <a:cubicBezTo>
                  <a:pt x="135" y="167"/>
                  <a:pt x="120" y="186"/>
                  <a:pt x="99" y="192"/>
                </a:cubicBezTo>
                <a:lnTo>
                  <a:pt x="79" y="199"/>
                </a:lnTo>
                <a:cubicBezTo>
                  <a:pt x="49" y="207"/>
                  <a:pt x="33" y="240"/>
                  <a:pt x="45" y="269"/>
                </a:cubicBezTo>
                <a:lnTo>
                  <a:pt x="53" y="287"/>
                </a:lnTo>
                <a:cubicBezTo>
                  <a:pt x="62" y="307"/>
                  <a:pt x="55" y="331"/>
                  <a:pt x="39" y="346"/>
                </a:cubicBezTo>
                <a:lnTo>
                  <a:pt x="24" y="360"/>
                </a:lnTo>
                <a:cubicBezTo>
                  <a:pt x="0" y="380"/>
                  <a:pt x="0" y="417"/>
                  <a:pt x="24" y="437"/>
                </a:cubicBezTo>
                <a:lnTo>
                  <a:pt x="39" y="451"/>
                </a:lnTo>
                <a:cubicBezTo>
                  <a:pt x="55" y="466"/>
                  <a:pt x="62" y="490"/>
                  <a:pt x="53" y="510"/>
                </a:cubicBezTo>
                <a:lnTo>
                  <a:pt x="45" y="529"/>
                </a:lnTo>
                <a:cubicBezTo>
                  <a:pt x="33" y="557"/>
                  <a:pt x="49" y="590"/>
                  <a:pt x="79" y="599"/>
                </a:cubicBezTo>
                <a:lnTo>
                  <a:pt x="99" y="604"/>
                </a:lnTo>
                <a:cubicBezTo>
                  <a:pt x="120" y="610"/>
                  <a:pt x="135" y="629"/>
                  <a:pt x="137" y="651"/>
                </a:cubicBezTo>
                <a:lnTo>
                  <a:pt x="138" y="671"/>
                </a:lnTo>
                <a:cubicBezTo>
                  <a:pt x="139" y="702"/>
                  <a:pt x="168" y="725"/>
                  <a:pt x="198" y="720"/>
                </a:cubicBezTo>
                <a:lnTo>
                  <a:pt x="218" y="716"/>
                </a:lnTo>
                <a:cubicBezTo>
                  <a:pt x="240" y="712"/>
                  <a:pt x="262" y="722"/>
                  <a:pt x="272" y="742"/>
                </a:cubicBezTo>
                <a:lnTo>
                  <a:pt x="281" y="760"/>
                </a:lnTo>
                <a:cubicBezTo>
                  <a:pt x="297" y="787"/>
                  <a:pt x="332" y="795"/>
                  <a:pt x="357" y="777"/>
                </a:cubicBezTo>
                <a:lnTo>
                  <a:pt x="373" y="766"/>
                </a:lnTo>
                <a:cubicBezTo>
                  <a:pt x="390" y="754"/>
                  <a:pt x="415" y="754"/>
                  <a:pt x="433" y="766"/>
                </a:cubicBezTo>
                <a:lnTo>
                  <a:pt x="449" y="779"/>
                </a:lnTo>
                <a:cubicBezTo>
                  <a:pt x="474" y="797"/>
                  <a:pt x="510" y="789"/>
                  <a:pt x="525" y="761"/>
                </a:cubicBezTo>
                <a:lnTo>
                  <a:pt x="535" y="744"/>
                </a:lnTo>
                <a:cubicBezTo>
                  <a:pt x="546" y="724"/>
                  <a:pt x="568" y="714"/>
                  <a:pt x="590" y="717"/>
                </a:cubicBezTo>
                <a:lnTo>
                  <a:pt x="610" y="721"/>
                </a:lnTo>
                <a:cubicBezTo>
                  <a:pt x="641" y="726"/>
                  <a:pt x="669" y="704"/>
                  <a:pt x="671" y="672"/>
                </a:cubicBezTo>
                <a:lnTo>
                  <a:pt x="673" y="652"/>
                </a:lnTo>
                <a:cubicBezTo>
                  <a:pt x="674" y="630"/>
                  <a:pt x="689" y="611"/>
                  <a:pt x="710" y="605"/>
                </a:cubicBezTo>
                <a:lnTo>
                  <a:pt x="730" y="600"/>
                </a:lnTo>
                <a:cubicBezTo>
                  <a:pt x="760" y="591"/>
                  <a:pt x="776" y="559"/>
                  <a:pt x="764" y="530"/>
                </a:cubicBezTo>
                <a:lnTo>
                  <a:pt x="756" y="511"/>
                </a:lnTo>
                <a:cubicBezTo>
                  <a:pt x="748" y="491"/>
                  <a:pt x="754" y="467"/>
                  <a:pt x="770" y="452"/>
                </a:cubicBezTo>
                <a:lnTo>
                  <a:pt x="785" y="439"/>
                </a:lnTo>
                <a:cubicBezTo>
                  <a:pt x="809" y="419"/>
                  <a:pt x="809" y="381"/>
                  <a:pt x="785" y="361"/>
                </a:cubicBezTo>
                <a:lnTo>
                  <a:pt x="769" y="347"/>
                </a:lnTo>
                <a:close/>
                <a:moveTo>
                  <a:pt x="404" y="652"/>
                </a:moveTo>
                <a:cubicBezTo>
                  <a:pt x="264" y="652"/>
                  <a:pt x="152" y="539"/>
                  <a:pt x="152" y="400"/>
                </a:cubicBezTo>
                <a:cubicBezTo>
                  <a:pt x="152" y="260"/>
                  <a:pt x="265" y="147"/>
                  <a:pt x="404" y="147"/>
                </a:cubicBezTo>
                <a:cubicBezTo>
                  <a:pt x="544" y="147"/>
                  <a:pt x="657" y="261"/>
                  <a:pt x="657" y="400"/>
                </a:cubicBezTo>
                <a:cubicBezTo>
                  <a:pt x="657" y="539"/>
                  <a:pt x="544" y="652"/>
                  <a:pt x="404" y="652"/>
                </a:cubicBezTo>
                <a:close/>
                <a:moveTo>
                  <a:pt x="12" y="1092"/>
                </a:moveTo>
                <a:lnTo>
                  <a:pt x="134" y="786"/>
                </a:lnTo>
                <a:cubicBezTo>
                  <a:pt x="150" y="793"/>
                  <a:pt x="169" y="799"/>
                  <a:pt x="188" y="799"/>
                </a:cubicBezTo>
                <a:cubicBezTo>
                  <a:pt x="195" y="799"/>
                  <a:pt x="203" y="797"/>
                  <a:pt x="210" y="796"/>
                </a:cubicBezTo>
                <a:lnTo>
                  <a:pt x="213" y="796"/>
                </a:lnTo>
                <a:lnTo>
                  <a:pt x="214" y="799"/>
                </a:lnTo>
                <a:cubicBezTo>
                  <a:pt x="235" y="839"/>
                  <a:pt x="279" y="864"/>
                  <a:pt x="327" y="864"/>
                </a:cubicBezTo>
                <a:cubicBezTo>
                  <a:pt x="339" y="864"/>
                  <a:pt x="353" y="861"/>
                  <a:pt x="364" y="857"/>
                </a:cubicBezTo>
                <a:lnTo>
                  <a:pt x="235" y="1181"/>
                </a:lnTo>
                <a:cubicBezTo>
                  <a:pt x="232" y="1191"/>
                  <a:pt x="218" y="1192"/>
                  <a:pt x="213" y="1182"/>
                </a:cubicBezTo>
                <a:lnTo>
                  <a:pt x="152" y="1075"/>
                </a:lnTo>
                <a:cubicBezTo>
                  <a:pt x="149" y="1071"/>
                  <a:pt x="145" y="1070"/>
                  <a:pt x="142" y="1071"/>
                </a:cubicBezTo>
                <a:lnTo>
                  <a:pt x="27" y="1107"/>
                </a:lnTo>
                <a:cubicBezTo>
                  <a:pt x="17" y="1111"/>
                  <a:pt x="8" y="1101"/>
                  <a:pt x="12" y="1092"/>
                </a:cubicBezTo>
                <a:close/>
                <a:moveTo>
                  <a:pt x="573" y="1185"/>
                </a:moveTo>
                <a:lnTo>
                  <a:pt x="443" y="860"/>
                </a:lnTo>
                <a:cubicBezTo>
                  <a:pt x="455" y="864"/>
                  <a:pt x="468" y="866"/>
                  <a:pt x="480" y="866"/>
                </a:cubicBezTo>
                <a:cubicBezTo>
                  <a:pt x="528" y="866"/>
                  <a:pt x="570" y="841"/>
                  <a:pt x="593" y="800"/>
                </a:cubicBezTo>
                <a:lnTo>
                  <a:pt x="594" y="797"/>
                </a:lnTo>
                <a:lnTo>
                  <a:pt x="596" y="797"/>
                </a:lnTo>
                <a:cubicBezTo>
                  <a:pt x="604" y="799"/>
                  <a:pt x="611" y="800"/>
                  <a:pt x="619" y="800"/>
                </a:cubicBezTo>
                <a:cubicBezTo>
                  <a:pt x="639" y="800"/>
                  <a:pt x="656" y="795"/>
                  <a:pt x="674" y="787"/>
                </a:cubicBezTo>
                <a:lnTo>
                  <a:pt x="796" y="1096"/>
                </a:lnTo>
                <a:cubicBezTo>
                  <a:pt x="800" y="1106"/>
                  <a:pt x="791" y="1116"/>
                  <a:pt x="781" y="1112"/>
                </a:cubicBezTo>
                <a:lnTo>
                  <a:pt x="666" y="1076"/>
                </a:lnTo>
                <a:cubicBezTo>
                  <a:pt x="663" y="1075"/>
                  <a:pt x="659" y="1076"/>
                  <a:pt x="656" y="1080"/>
                </a:cubicBezTo>
                <a:lnTo>
                  <a:pt x="595" y="1187"/>
                </a:lnTo>
                <a:cubicBezTo>
                  <a:pt x="590" y="1195"/>
                  <a:pt x="577" y="1194"/>
                  <a:pt x="573" y="1185"/>
                </a:cubicBez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30" name="Forme libre : forme 29">
            <a:extLst>
              <a:ext uri="{FF2B5EF4-FFF2-40B4-BE49-F238E27FC236}">
                <a16:creationId xmlns:a16="http://schemas.microsoft.com/office/drawing/2014/main" id="{1E672B2A-A249-F4DE-50E3-A8CF2AA72AD2}"/>
              </a:ext>
            </a:extLst>
          </p:cNvPr>
          <p:cNvSpPr>
            <a:spLocks noChangeAspect="1"/>
          </p:cNvSpPr>
          <p:nvPr/>
        </p:nvSpPr>
        <p:spPr>
          <a:xfrm>
            <a:off x="799190" y="5444810"/>
            <a:ext cx="681632" cy="443435"/>
          </a:xfrm>
          <a:custGeom>
            <a:avLst/>
            <a:gdLst>
              <a:gd name="connsiteX0" fmla="*/ 346185 w 5195467"/>
              <a:gd name="connsiteY0" fmla="*/ 2771122 h 3379906"/>
              <a:gd name="connsiteX1" fmla="*/ 4848952 w 5195467"/>
              <a:gd name="connsiteY1" fmla="*/ 2771122 h 3379906"/>
              <a:gd name="connsiteX2" fmla="*/ 4930122 w 5195467"/>
              <a:gd name="connsiteY2" fmla="*/ 2689953 h 3379906"/>
              <a:gd name="connsiteX3" fmla="*/ 4930122 w 5195467"/>
              <a:gd name="connsiteY3" fmla="*/ 81169 h 3379906"/>
              <a:gd name="connsiteX4" fmla="*/ 4848952 w 5195467"/>
              <a:gd name="connsiteY4" fmla="*/ 0 h 3379906"/>
              <a:gd name="connsiteX5" fmla="*/ 346185 w 5195467"/>
              <a:gd name="connsiteY5" fmla="*/ 0 h 3379906"/>
              <a:gd name="connsiteX6" fmla="*/ 265016 w 5195467"/>
              <a:gd name="connsiteY6" fmla="*/ 81169 h 3379906"/>
              <a:gd name="connsiteX7" fmla="*/ 265016 w 5195467"/>
              <a:gd name="connsiteY7" fmla="*/ 2689953 h 3379906"/>
              <a:gd name="connsiteX8" fmla="*/ 346185 w 5195467"/>
              <a:gd name="connsiteY8" fmla="*/ 2771083 h 3379906"/>
              <a:gd name="connsiteX9" fmla="*/ 427393 w 5195467"/>
              <a:gd name="connsiteY9" fmla="*/ 162339 h 3379906"/>
              <a:gd name="connsiteX10" fmla="*/ 4767822 w 5195467"/>
              <a:gd name="connsiteY10" fmla="*/ 162339 h 3379906"/>
              <a:gd name="connsiteX11" fmla="*/ 4767822 w 5195467"/>
              <a:gd name="connsiteY11" fmla="*/ 2608783 h 3379906"/>
              <a:gd name="connsiteX12" fmla="*/ 427393 w 5195467"/>
              <a:gd name="connsiteY12" fmla="*/ 2608783 h 3379906"/>
              <a:gd name="connsiteX13" fmla="*/ 5114151 w 5195467"/>
              <a:gd name="connsiteY13" fmla="*/ 2824418 h 3379906"/>
              <a:gd name="connsiteX14" fmla="*/ 3346942 w 5195467"/>
              <a:gd name="connsiteY14" fmla="*/ 2824418 h 3379906"/>
              <a:gd name="connsiteX15" fmla="*/ 3293293 w 5195467"/>
              <a:gd name="connsiteY15" fmla="*/ 2844698 h 3379906"/>
              <a:gd name="connsiteX16" fmla="*/ 3176864 w 5195467"/>
              <a:gd name="connsiteY16" fmla="*/ 2947343 h 3379906"/>
              <a:gd name="connsiteX17" fmla="*/ 2018450 w 5195467"/>
              <a:gd name="connsiteY17" fmla="*/ 2947343 h 3379906"/>
              <a:gd name="connsiteX18" fmla="*/ 1902040 w 5195467"/>
              <a:gd name="connsiteY18" fmla="*/ 2844698 h 3379906"/>
              <a:gd name="connsiteX19" fmla="*/ 1848381 w 5195467"/>
              <a:gd name="connsiteY19" fmla="*/ 2824418 h 3379906"/>
              <a:gd name="connsiteX20" fmla="*/ 81171 w 5195467"/>
              <a:gd name="connsiteY20" fmla="*/ 2824418 h 3379906"/>
              <a:gd name="connsiteX21" fmla="*/ 0 w 5195467"/>
              <a:gd name="connsiteY21" fmla="*/ 2905588 h 3379906"/>
              <a:gd name="connsiteX22" fmla="*/ 0 w 5195467"/>
              <a:gd name="connsiteY22" fmla="*/ 3102138 h 3379906"/>
              <a:gd name="connsiteX23" fmla="*/ 277772 w 5195467"/>
              <a:gd name="connsiteY23" fmla="*/ 3379907 h 3379906"/>
              <a:gd name="connsiteX24" fmla="*/ 4917699 w 5195467"/>
              <a:gd name="connsiteY24" fmla="*/ 3379907 h 3379906"/>
              <a:gd name="connsiteX25" fmla="*/ 5195467 w 5195467"/>
              <a:gd name="connsiteY25" fmla="*/ 3102138 h 3379906"/>
              <a:gd name="connsiteX26" fmla="*/ 5195467 w 5195467"/>
              <a:gd name="connsiteY26" fmla="*/ 2905588 h 3379906"/>
              <a:gd name="connsiteX27" fmla="*/ 5114219 w 5195467"/>
              <a:gd name="connsiteY27" fmla="*/ 2824418 h 3379906"/>
              <a:gd name="connsiteX28" fmla="*/ 5032943 w 5195467"/>
              <a:gd name="connsiteY28" fmla="*/ 3102187 h 3379906"/>
              <a:gd name="connsiteX29" fmla="*/ 4917561 w 5195467"/>
              <a:gd name="connsiteY29" fmla="*/ 3217568 h 3379906"/>
              <a:gd name="connsiteX30" fmla="*/ 277732 w 5195467"/>
              <a:gd name="connsiteY30" fmla="*/ 3217568 h 3379906"/>
              <a:gd name="connsiteX31" fmla="*/ 162351 w 5195467"/>
              <a:gd name="connsiteY31" fmla="*/ 3102187 h 3379906"/>
              <a:gd name="connsiteX32" fmla="*/ 162351 w 5195467"/>
              <a:gd name="connsiteY32" fmla="*/ 2986806 h 3379906"/>
              <a:gd name="connsiteX33" fmla="*/ 1817677 w 5195467"/>
              <a:gd name="connsiteY33" fmla="*/ 2986806 h 3379906"/>
              <a:gd name="connsiteX34" fmla="*/ 1934096 w 5195467"/>
              <a:gd name="connsiteY34" fmla="*/ 3089451 h 3379906"/>
              <a:gd name="connsiteX35" fmla="*/ 1987755 w 5195467"/>
              <a:gd name="connsiteY35" fmla="*/ 3109731 h 3379906"/>
              <a:gd name="connsiteX36" fmla="*/ 3207500 w 5195467"/>
              <a:gd name="connsiteY36" fmla="*/ 3109731 h 3379906"/>
              <a:gd name="connsiteX37" fmla="*/ 3261149 w 5195467"/>
              <a:gd name="connsiteY37" fmla="*/ 3089451 h 3379906"/>
              <a:gd name="connsiteX38" fmla="*/ 3377568 w 5195467"/>
              <a:gd name="connsiteY38" fmla="*/ 2986806 h 3379906"/>
              <a:gd name="connsiteX39" fmla="*/ 5032894 w 5195467"/>
              <a:gd name="connsiteY39" fmla="*/ 2986806 h 3379906"/>
              <a:gd name="connsiteX40" fmla="*/ 5032932 w 5195467"/>
              <a:gd name="connsiteY40" fmla="*/ 3102187 h 3379906"/>
              <a:gd name="connsiteX41" fmla="*/ 4527704 w 5195467"/>
              <a:gd name="connsiteY41" fmla="*/ 300204 h 3379906"/>
              <a:gd name="connsiteX42" fmla="*/ 667531 w 5195467"/>
              <a:gd name="connsiteY42" fmla="*/ 300204 h 3379906"/>
              <a:gd name="connsiteX43" fmla="*/ 586362 w 5195467"/>
              <a:gd name="connsiteY43" fmla="*/ 381373 h 3379906"/>
              <a:gd name="connsiteX44" fmla="*/ 586362 w 5195467"/>
              <a:gd name="connsiteY44" fmla="*/ 2389886 h 3379906"/>
              <a:gd name="connsiteX45" fmla="*/ 667531 w 5195467"/>
              <a:gd name="connsiteY45" fmla="*/ 2471055 h 3379906"/>
              <a:gd name="connsiteX46" fmla="*/ 4527606 w 5195467"/>
              <a:gd name="connsiteY46" fmla="*/ 2471055 h 3379906"/>
              <a:gd name="connsiteX47" fmla="*/ 4608775 w 5195467"/>
              <a:gd name="connsiteY47" fmla="*/ 2389886 h 3379906"/>
              <a:gd name="connsiteX48" fmla="*/ 4608775 w 5195467"/>
              <a:gd name="connsiteY48" fmla="*/ 381373 h 3379906"/>
              <a:gd name="connsiteX49" fmla="*/ 4527684 w 5195467"/>
              <a:gd name="connsiteY49" fmla="*/ 300204 h 3379906"/>
              <a:gd name="connsiteX50" fmla="*/ 4446495 w 5195467"/>
              <a:gd name="connsiteY50" fmla="*/ 2308619 h 3379906"/>
              <a:gd name="connsiteX51" fmla="*/ 748759 w 5195467"/>
              <a:gd name="connsiteY51" fmla="*/ 2308619 h 3379906"/>
              <a:gd name="connsiteX52" fmla="*/ 748759 w 5195467"/>
              <a:gd name="connsiteY52" fmla="*/ 462543 h 3379906"/>
              <a:gd name="connsiteX53" fmla="*/ 4446495 w 5195467"/>
              <a:gd name="connsiteY53" fmla="*/ 462543 h 3379906"/>
              <a:gd name="connsiteX54" fmla="*/ 1350794 w 5195467"/>
              <a:gd name="connsiteY54" fmla="*/ 2008463 h 3379906"/>
              <a:gd name="connsiteX55" fmla="*/ 1431963 w 5195467"/>
              <a:gd name="connsiteY55" fmla="*/ 1927294 h 3379906"/>
              <a:gd name="connsiteX56" fmla="*/ 1831804 w 5195467"/>
              <a:gd name="connsiteY56" fmla="*/ 1927333 h 3379906"/>
              <a:gd name="connsiteX57" fmla="*/ 1831804 w 5195467"/>
              <a:gd name="connsiteY57" fmla="*/ 1883285 h 3379906"/>
              <a:gd name="connsiteX58" fmla="*/ 1912973 w 5195467"/>
              <a:gd name="connsiteY58" fmla="*/ 1802106 h 3379906"/>
              <a:gd name="connsiteX59" fmla="*/ 1994153 w 5195467"/>
              <a:gd name="connsiteY59" fmla="*/ 1883285 h 3379906"/>
              <a:gd name="connsiteX60" fmla="*/ 1994153 w 5195467"/>
              <a:gd name="connsiteY60" fmla="*/ 1927333 h 3379906"/>
              <a:gd name="connsiteX61" fmla="*/ 4242597 w 5195467"/>
              <a:gd name="connsiteY61" fmla="*/ 1927333 h 3379906"/>
              <a:gd name="connsiteX62" fmla="*/ 4323766 w 5195467"/>
              <a:gd name="connsiteY62" fmla="*/ 2008503 h 3379906"/>
              <a:gd name="connsiteX63" fmla="*/ 4242597 w 5195467"/>
              <a:gd name="connsiteY63" fmla="*/ 2089672 h 3379906"/>
              <a:gd name="connsiteX64" fmla="*/ 1994241 w 5195467"/>
              <a:gd name="connsiteY64" fmla="*/ 2089633 h 3379906"/>
              <a:gd name="connsiteX65" fmla="*/ 1994241 w 5195467"/>
              <a:gd name="connsiteY65" fmla="*/ 2133681 h 3379906"/>
              <a:gd name="connsiteX66" fmla="*/ 1913071 w 5195467"/>
              <a:gd name="connsiteY66" fmla="*/ 2214860 h 3379906"/>
              <a:gd name="connsiteX67" fmla="*/ 1831902 w 5195467"/>
              <a:gd name="connsiteY67" fmla="*/ 2133681 h 3379906"/>
              <a:gd name="connsiteX68" fmla="*/ 1831902 w 5195467"/>
              <a:gd name="connsiteY68" fmla="*/ 2089633 h 3379906"/>
              <a:gd name="connsiteX69" fmla="*/ 1432091 w 5195467"/>
              <a:gd name="connsiteY69" fmla="*/ 2089633 h 3379906"/>
              <a:gd name="connsiteX70" fmla="*/ 1350843 w 5195467"/>
              <a:gd name="connsiteY70" fmla="*/ 2008463 h 3379906"/>
              <a:gd name="connsiteX71" fmla="*/ 871537 w 5195467"/>
              <a:gd name="connsiteY71" fmla="*/ 2160780 h 3379906"/>
              <a:gd name="connsiteX72" fmla="*/ 871537 w 5195467"/>
              <a:gd name="connsiteY72" fmla="*/ 1856186 h 3379906"/>
              <a:gd name="connsiteX73" fmla="*/ 952707 w 5195467"/>
              <a:gd name="connsiteY73" fmla="*/ 1775017 h 3379906"/>
              <a:gd name="connsiteX74" fmla="*/ 1033876 w 5195467"/>
              <a:gd name="connsiteY74" fmla="*/ 1856186 h 3379906"/>
              <a:gd name="connsiteX75" fmla="*/ 1033876 w 5195467"/>
              <a:gd name="connsiteY75" fmla="*/ 2160780 h 3379906"/>
              <a:gd name="connsiteX76" fmla="*/ 952707 w 5195467"/>
              <a:gd name="connsiteY76" fmla="*/ 2241949 h 3379906"/>
              <a:gd name="connsiteX77" fmla="*/ 871537 w 5195467"/>
              <a:gd name="connsiteY77" fmla="*/ 2160780 h 3379906"/>
              <a:gd name="connsiteX78" fmla="*/ 1079344 w 5195467"/>
              <a:gd name="connsiteY78" fmla="*/ 2160780 h 3379906"/>
              <a:gd name="connsiteX79" fmla="*/ 1079344 w 5195467"/>
              <a:gd name="connsiteY79" fmla="*/ 1856186 h 3379906"/>
              <a:gd name="connsiteX80" fmla="*/ 1160514 w 5195467"/>
              <a:gd name="connsiteY80" fmla="*/ 1775017 h 3379906"/>
              <a:gd name="connsiteX81" fmla="*/ 1241683 w 5195467"/>
              <a:gd name="connsiteY81" fmla="*/ 1856186 h 3379906"/>
              <a:gd name="connsiteX82" fmla="*/ 1241683 w 5195467"/>
              <a:gd name="connsiteY82" fmla="*/ 2160780 h 3379906"/>
              <a:gd name="connsiteX83" fmla="*/ 1160514 w 5195467"/>
              <a:gd name="connsiteY83" fmla="*/ 2241949 h 3379906"/>
              <a:gd name="connsiteX84" fmla="*/ 1079344 w 5195467"/>
              <a:gd name="connsiteY84" fmla="*/ 2160780 h 3379906"/>
              <a:gd name="connsiteX85" fmla="*/ 2398726 w 5195467"/>
              <a:gd name="connsiteY85" fmla="*/ 1552436 h 3379906"/>
              <a:gd name="connsiteX86" fmla="*/ 2457891 w 5195467"/>
              <a:gd name="connsiteY86" fmla="*/ 1568513 h 3379906"/>
              <a:gd name="connsiteX87" fmla="*/ 2516977 w 5195467"/>
              <a:gd name="connsiteY87" fmla="*/ 1552436 h 3379906"/>
              <a:gd name="connsiteX88" fmla="*/ 2984908 w 5195467"/>
              <a:gd name="connsiteY88" fmla="*/ 1282289 h 3379906"/>
              <a:gd name="connsiteX89" fmla="*/ 3043995 w 5195467"/>
              <a:gd name="connsiteY89" fmla="*/ 1179880 h 3379906"/>
              <a:gd name="connsiteX90" fmla="*/ 2984908 w 5195467"/>
              <a:gd name="connsiteY90" fmla="*/ 1077470 h 3379906"/>
              <a:gd name="connsiteX91" fmla="*/ 2516977 w 5195467"/>
              <a:gd name="connsiteY91" fmla="*/ 807324 h 3379906"/>
              <a:gd name="connsiteX92" fmla="*/ 2398726 w 5195467"/>
              <a:gd name="connsiteY92" fmla="*/ 807324 h 3379906"/>
              <a:gd name="connsiteX93" fmla="*/ 2339639 w 5195467"/>
              <a:gd name="connsiteY93" fmla="*/ 909733 h 3379906"/>
              <a:gd name="connsiteX94" fmla="*/ 2339639 w 5195467"/>
              <a:gd name="connsiteY94" fmla="*/ 1450065 h 3379906"/>
              <a:gd name="connsiteX95" fmla="*/ 2398726 w 5195467"/>
              <a:gd name="connsiteY95" fmla="*/ 1552436 h 3379906"/>
              <a:gd name="connsiteX96" fmla="*/ 2501939 w 5195467"/>
              <a:gd name="connsiteY96" fmla="*/ 986112 h 3379906"/>
              <a:gd name="connsiteX97" fmla="*/ 2837530 w 5195467"/>
              <a:gd name="connsiteY97" fmla="*/ 1179831 h 3379906"/>
              <a:gd name="connsiteX98" fmla="*/ 2501939 w 5195467"/>
              <a:gd name="connsiteY98" fmla="*/ 1373550 h 3379906"/>
              <a:gd name="connsiteX99" fmla="*/ 2630408 w 5195467"/>
              <a:gd name="connsiteY99" fmla="*/ 1830577 h 3379906"/>
              <a:gd name="connsiteX100" fmla="*/ 3281115 w 5195467"/>
              <a:gd name="connsiteY100" fmla="*/ 1179909 h 3379906"/>
              <a:gd name="connsiteX101" fmla="*/ 2630408 w 5195467"/>
              <a:gd name="connsiteY101" fmla="*/ 529202 h 3379906"/>
              <a:gd name="connsiteX102" fmla="*/ 1979702 w 5195467"/>
              <a:gd name="connsiteY102" fmla="*/ 1179909 h 3379906"/>
              <a:gd name="connsiteX103" fmla="*/ 2630408 w 5195467"/>
              <a:gd name="connsiteY103" fmla="*/ 1830577 h 3379906"/>
              <a:gd name="connsiteX104" fmla="*/ 2630408 w 5195467"/>
              <a:gd name="connsiteY104" fmla="*/ 691561 h 3379906"/>
              <a:gd name="connsiteX105" fmla="*/ 3118777 w 5195467"/>
              <a:gd name="connsiteY105" fmla="*/ 1179929 h 3379906"/>
              <a:gd name="connsiteX106" fmla="*/ 2630408 w 5195467"/>
              <a:gd name="connsiteY106" fmla="*/ 1668297 h 3379906"/>
              <a:gd name="connsiteX107" fmla="*/ 2142041 w 5195467"/>
              <a:gd name="connsiteY107" fmla="*/ 1179929 h 3379906"/>
              <a:gd name="connsiteX108" fmla="*/ 2630408 w 5195467"/>
              <a:gd name="connsiteY108" fmla="*/ 691561 h 337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5195467" h="3379906">
                <a:moveTo>
                  <a:pt x="346185" y="2771122"/>
                </a:moveTo>
                <a:lnTo>
                  <a:pt x="4848952" y="2771122"/>
                </a:lnTo>
                <a:cubicBezTo>
                  <a:pt x="4893764" y="2771122"/>
                  <a:pt x="4930122" y="2734765"/>
                  <a:pt x="4930122" y="2689953"/>
                </a:cubicBezTo>
                <a:lnTo>
                  <a:pt x="4930122" y="81169"/>
                </a:lnTo>
                <a:cubicBezTo>
                  <a:pt x="4930122" y="36318"/>
                  <a:pt x="4893764" y="0"/>
                  <a:pt x="4848952" y="0"/>
                </a:cubicBezTo>
                <a:lnTo>
                  <a:pt x="346185" y="0"/>
                </a:lnTo>
                <a:cubicBezTo>
                  <a:pt x="301373" y="0"/>
                  <a:pt x="265016" y="36347"/>
                  <a:pt x="265016" y="81169"/>
                </a:cubicBezTo>
                <a:lnTo>
                  <a:pt x="265016" y="2689953"/>
                </a:lnTo>
                <a:cubicBezTo>
                  <a:pt x="265055" y="2734725"/>
                  <a:pt x="301373" y="2771083"/>
                  <a:pt x="346185" y="2771083"/>
                </a:cubicBezTo>
                <a:close/>
                <a:moveTo>
                  <a:pt x="427393" y="162339"/>
                </a:moveTo>
                <a:lnTo>
                  <a:pt x="4767822" y="162339"/>
                </a:lnTo>
                <a:lnTo>
                  <a:pt x="4767822" y="2608783"/>
                </a:lnTo>
                <a:lnTo>
                  <a:pt x="427393" y="2608783"/>
                </a:lnTo>
                <a:close/>
                <a:moveTo>
                  <a:pt x="5114151" y="2824418"/>
                </a:moveTo>
                <a:lnTo>
                  <a:pt x="3346942" y="2824418"/>
                </a:lnTo>
                <a:cubicBezTo>
                  <a:pt x="3327162" y="2824418"/>
                  <a:pt x="3308096" y="2831609"/>
                  <a:pt x="3293293" y="2844698"/>
                </a:cubicBezTo>
                <a:lnTo>
                  <a:pt x="3176864" y="2947343"/>
                </a:lnTo>
                <a:lnTo>
                  <a:pt x="2018450" y="2947343"/>
                </a:lnTo>
                <a:lnTo>
                  <a:pt x="1902040" y="2844698"/>
                </a:lnTo>
                <a:cubicBezTo>
                  <a:pt x="1887227" y="2831609"/>
                  <a:pt x="1868093" y="2824418"/>
                  <a:pt x="1848381" y="2824418"/>
                </a:cubicBezTo>
                <a:lnTo>
                  <a:pt x="81171" y="2824418"/>
                </a:lnTo>
                <a:cubicBezTo>
                  <a:pt x="36357" y="2824418"/>
                  <a:pt x="0" y="2860775"/>
                  <a:pt x="0" y="2905588"/>
                </a:cubicBezTo>
                <a:lnTo>
                  <a:pt x="0" y="3102138"/>
                </a:lnTo>
                <a:cubicBezTo>
                  <a:pt x="0" y="3255297"/>
                  <a:pt x="124571" y="3379907"/>
                  <a:pt x="277772" y="3379907"/>
                </a:cubicBezTo>
                <a:lnTo>
                  <a:pt x="4917699" y="3379907"/>
                </a:lnTo>
                <a:cubicBezTo>
                  <a:pt x="5070857" y="3379907"/>
                  <a:pt x="5195467" y="3255336"/>
                  <a:pt x="5195467" y="3102138"/>
                </a:cubicBezTo>
                <a:lnTo>
                  <a:pt x="5195467" y="2905588"/>
                </a:lnTo>
                <a:cubicBezTo>
                  <a:pt x="5195389" y="2860775"/>
                  <a:pt x="5159032" y="2824418"/>
                  <a:pt x="5114219" y="2824418"/>
                </a:cubicBezTo>
                <a:close/>
                <a:moveTo>
                  <a:pt x="5032943" y="3102187"/>
                </a:moveTo>
                <a:cubicBezTo>
                  <a:pt x="5032943" y="3165790"/>
                  <a:pt x="4981164" y="3217568"/>
                  <a:pt x="4917561" y="3217568"/>
                </a:cubicBezTo>
                <a:lnTo>
                  <a:pt x="277732" y="3217568"/>
                </a:lnTo>
                <a:cubicBezTo>
                  <a:pt x="214129" y="3217568"/>
                  <a:pt x="162351" y="3165790"/>
                  <a:pt x="162351" y="3102187"/>
                </a:cubicBezTo>
                <a:lnTo>
                  <a:pt x="162351" y="2986806"/>
                </a:lnTo>
                <a:lnTo>
                  <a:pt x="1817677" y="2986806"/>
                </a:lnTo>
                <a:lnTo>
                  <a:pt x="1934096" y="3089451"/>
                </a:lnTo>
                <a:cubicBezTo>
                  <a:pt x="1948909" y="3102540"/>
                  <a:pt x="1968043" y="3109731"/>
                  <a:pt x="1987755" y="3109731"/>
                </a:cubicBezTo>
                <a:lnTo>
                  <a:pt x="3207500" y="3109731"/>
                </a:lnTo>
                <a:cubicBezTo>
                  <a:pt x="3227280" y="3109731"/>
                  <a:pt x="3246335" y="3102540"/>
                  <a:pt x="3261149" y="3089451"/>
                </a:cubicBezTo>
                <a:lnTo>
                  <a:pt x="3377568" y="2986806"/>
                </a:lnTo>
                <a:lnTo>
                  <a:pt x="5032894" y="2986806"/>
                </a:lnTo>
                <a:lnTo>
                  <a:pt x="5032932" y="3102187"/>
                </a:lnTo>
                <a:close/>
                <a:moveTo>
                  <a:pt x="4527704" y="300204"/>
                </a:moveTo>
                <a:lnTo>
                  <a:pt x="667531" y="300204"/>
                </a:lnTo>
                <a:cubicBezTo>
                  <a:pt x="622719" y="300204"/>
                  <a:pt x="586362" y="336561"/>
                  <a:pt x="586362" y="381373"/>
                </a:cubicBezTo>
                <a:lnTo>
                  <a:pt x="586362" y="2389886"/>
                </a:lnTo>
                <a:cubicBezTo>
                  <a:pt x="586362" y="2434737"/>
                  <a:pt x="622719" y="2471055"/>
                  <a:pt x="667531" y="2471055"/>
                </a:cubicBezTo>
                <a:lnTo>
                  <a:pt x="4527606" y="2471055"/>
                </a:lnTo>
                <a:cubicBezTo>
                  <a:pt x="4572418" y="2471055"/>
                  <a:pt x="4608775" y="2434708"/>
                  <a:pt x="4608775" y="2389886"/>
                </a:cubicBezTo>
                <a:lnTo>
                  <a:pt x="4608775" y="381373"/>
                </a:lnTo>
                <a:cubicBezTo>
                  <a:pt x="4608814" y="336483"/>
                  <a:pt x="4572496" y="300204"/>
                  <a:pt x="4527684" y="300204"/>
                </a:cubicBezTo>
                <a:close/>
                <a:moveTo>
                  <a:pt x="4446495" y="2308619"/>
                </a:moveTo>
                <a:lnTo>
                  <a:pt x="748759" y="2308619"/>
                </a:lnTo>
                <a:lnTo>
                  <a:pt x="748759" y="462543"/>
                </a:lnTo>
                <a:lnTo>
                  <a:pt x="4446495" y="462543"/>
                </a:lnTo>
                <a:close/>
                <a:moveTo>
                  <a:pt x="1350794" y="2008463"/>
                </a:moveTo>
                <a:cubicBezTo>
                  <a:pt x="1350794" y="1963612"/>
                  <a:pt x="1387151" y="1927294"/>
                  <a:pt x="1431963" y="1927294"/>
                </a:cubicBezTo>
                <a:lnTo>
                  <a:pt x="1831804" y="1927333"/>
                </a:lnTo>
                <a:lnTo>
                  <a:pt x="1831804" y="1883285"/>
                </a:lnTo>
                <a:cubicBezTo>
                  <a:pt x="1831804" y="1838434"/>
                  <a:pt x="1868161" y="1802106"/>
                  <a:pt x="1912973" y="1802106"/>
                </a:cubicBezTo>
                <a:cubicBezTo>
                  <a:pt x="1957795" y="1802106"/>
                  <a:pt x="1994153" y="1838463"/>
                  <a:pt x="1994153" y="1883285"/>
                </a:cubicBezTo>
                <a:lnTo>
                  <a:pt x="1994153" y="1927333"/>
                </a:lnTo>
                <a:lnTo>
                  <a:pt x="4242597" y="1927333"/>
                </a:lnTo>
                <a:cubicBezTo>
                  <a:pt x="4287409" y="1927333"/>
                  <a:pt x="4323766" y="1963690"/>
                  <a:pt x="4323766" y="2008503"/>
                </a:cubicBezTo>
                <a:cubicBezTo>
                  <a:pt x="4323766" y="2053354"/>
                  <a:pt x="4287409" y="2089672"/>
                  <a:pt x="4242597" y="2089672"/>
                </a:cubicBezTo>
                <a:lnTo>
                  <a:pt x="1994241" y="2089633"/>
                </a:lnTo>
                <a:lnTo>
                  <a:pt x="1994241" y="2133681"/>
                </a:lnTo>
                <a:cubicBezTo>
                  <a:pt x="1994241" y="2178532"/>
                  <a:pt x="1957893" y="2214860"/>
                  <a:pt x="1913071" y="2214860"/>
                </a:cubicBezTo>
                <a:cubicBezTo>
                  <a:pt x="1868259" y="2214860"/>
                  <a:pt x="1831902" y="2178503"/>
                  <a:pt x="1831902" y="2133681"/>
                </a:cubicBezTo>
                <a:lnTo>
                  <a:pt x="1831902" y="2089633"/>
                </a:lnTo>
                <a:lnTo>
                  <a:pt x="1432091" y="2089633"/>
                </a:lnTo>
                <a:cubicBezTo>
                  <a:pt x="1387200" y="2089672"/>
                  <a:pt x="1350843" y="2053354"/>
                  <a:pt x="1350843" y="2008463"/>
                </a:cubicBezTo>
                <a:close/>
                <a:moveTo>
                  <a:pt x="871537" y="2160780"/>
                </a:moveTo>
                <a:lnTo>
                  <a:pt x="871537" y="1856186"/>
                </a:lnTo>
                <a:cubicBezTo>
                  <a:pt x="871537" y="1811335"/>
                  <a:pt x="907894" y="1775017"/>
                  <a:pt x="952707" y="1775017"/>
                </a:cubicBezTo>
                <a:cubicBezTo>
                  <a:pt x="997519" y="1775017"/>
                  <a:pt x="1033876" y="1811374"/>
                  <a:pt x="1033876" y="1856186"/>
                </a:cubicBezTo>
                <a:lnTo>
                  <a:pt x="1033876" y="2160780"/>
                </a:lnTo>
                <a:cubicBezTo>
                  <a:pt x="1033876" y="2205631"/>
                  <a:pt x="997519" y="2241949"/>
                  <a:pt x="952707" y="2241949"/>
                </a:cubicBezTo>
                <a:cubicBezTo>
                  <a:pt x="907894" y="2241949"/>
                  <a:pt x="871537" y="2205631"/>
                  <a:pt x="871537" y="2160780"/>
                </a:cubicBezTo>
                <a:close/>
                <a:moveTo>
                  <a:pt x="1079344" y="2160780"/>
                </a:moveTo>
                <a:lnTo>
                  <a:pt x="1079344" y="1856186"/>
                </a:lnTo>
                <a:cubicBezTo>
                  <a:pt x="1079344" y="1811335"/>
                  <a:pt x="1115702" y="1775017"/>
                  <a:pt x="1160514" y="1775017"/>
                </a:cubicBezTo>
                <a:cubicBezTo>
                  <a:pt x="1205326" y="1775017"/>
                  <a:pt x="1241683" y="1811374"/>
                  <a:pt x="1241683" y="1856186"/>
                </a:cubicBezTo>
                <a:lnTo>
                  <a:pt x="1241683" y="2160780"/>
                </a:lnTo>
                <a:cubicBezTo>
                  <a:pt x="1241683" y="2205631"/>
                  <a:pt x="1205326" y="2241949"/>
                  <a:pt x="1160514" y="2241949"/>
                </a:cubicBezTo>
                <a:cubicBezTo>
                  <a:pt x="1115662" y="2241949"/>
                  <a:pt x="1079344" y="2205631"/>
                  <a:pt x="1079344" y="2160780"/>
                </a:cubicBezTo>
                <a:close/>
                <a:moveTo>
                  <a:pt x="2398726" y="1552436"/>
                </a:moveTo>
                <a:cubicBezTo>
                  <a:pt x="2417252" y="1563115"/>
                  <a:pt x="2437571" y="1568513"/>
                  <a:pt x="2457891" y="1568513"/>
                </a:cubicBezTo>
                <a:cubicBezTo>
                  <a:pt x="2478171" y="1568513"/>
                  <a:pt x="2498529" y="1563154"/>
                  <a:pt x="2516977" y="1552436"/>
                </a:cubicBezTo>
                <a:lnTo>
                  <a:pt x="2984908" y="1282289"/>
                </a:lnTo>
                <a:cubicBezTo>
                  <a:pt x="3021951" y="1260892"/>
                  <a:pt x="3043995" y="1222625"/>
                  <a:pt x="3043995" y="1179880"/>
                </a:cubicBezTo>
                <a:cubicBezTo>
                  <a:pt x="3043995" y="1137135"/>
                  <a:pt x="3021883" y="1098828"/>
                  <a:pt x="2984908" y="1077470"/>
                </a:cubicBezTo>
                <a:lnTo>
                  <a:pt x="2516977" y="807324"/>
                </a:lnTo>
                <a:cubicBezTo>
                  <a:pt x="2479934" y="785927"/>
                  <a:pt x="2435769" y="785927"/>
                  <a:pt x="2398726" y="807324"/>
                </a:cubicBezTo>
                <a:cubicBezTo>
                  <a:pt x="2361683" y="828721"/>
                  <a:pt x="2339639" y="866988"/>
                  <a:pt x="2339639" y="909733"/>
                </a:cubicBezTo>
                <a:lnTo>
                  <a:pt x="2339639" y="1450065"/>
                </a:lnTo>
                <a:cubicBezTo>
                  <a:pt x="2339561" y="1492771"/>
                  <a:pt x="2361683" y="1531049"/>
                  <a:pt x="2398726" y="1552436"/>
                </a:cubicBezTo>
                <a:close/>
                <a:moveTo>
                  <a:pt x="2501939" y="986112"/>
                </a:moveTo>
                <a:lnTo>
                  <a:pt x="2837530" y="1179831"/>
                </a:lnTo>
                <a:lnTo>
                  <a:pt x="2501939" y="1373550"/>
                </a:lnTo>
                <a:close/>
                <a:moveTo>
                  <a:pt x="2630408" y="1830577"/>
                </a:moveTo>
                <a:cubicBezTo>
                  <a:pt x="2989190" y="1830577"/>
                  <a:pt x="3281115" y="1538730"/>
                  <a:pt x="3281115" y="1179909"/>
                </a:cubicBezTo>
                <a:cubicBezTo>
                  <a:pt x="3281115" y="821128"/>
                  <a:pt x="2989268" y="529202"/>
                  <a:pt x="2630408" y="529202"/>
                </a:cubicBezTo>
                <a:cubicBezTo>
                  <a:pt x="2271549" y="529202"/>
                  <a:pt x="1979702" y="821128"/>
                  <a:pt x="1979702" y="1179909"/>
                </a:cubicBezTo>
                <a:cubicBezTo>
                  <a:pt x="1979702" y="1538690"/>
                  <a:pt x="2271627" y="1830577"/>
                  <a:pt x="2630408" y="1830577"/>
                </a:cubicBezTo>
                <a:close/>
                <a:moveTo>
                  <a:pt x="2630408" y="691561"/>
                </a:moveTo>
                <a:cubicBezTo>
                  <a:pt x="2899712" y="691561"/>
                  <a:pt x="3118777" y="910615"/>
                  <a:pt x="3118777" y="1179929"/>
                </a:cubicBezTo>
                <a:cubicBezTo>
                  <a:pt x="3118777" y="1449242"/>
                  <a:pt x="2899722" y="1668297"/>
                  <a:pt x="2630408" y="1668297"/>
                </a:cubicBezTo>
                <a:cubicBezTo>
                  <a:pt x="2361095" y="1668297"/>
                  <a:pt x="2142041" y="1449242"/>
                  <a:pt x="2142041" y="1179929"/>
                </a:cubicBezTo>
                <a:cubicBezTo>
                  <a:pt x="2142041" y="910615"/>
                  <a:pt x="2361173" y="691561"/>
                  <a:pt x="2630408" y="691561"/>
                </a:cubicBezTo>
                <a:close/>
              </a:path>
            </a:pathLst>
          </a:custGeom>
          <a:solidFill>
            <a:schemeClr val="bg2"/>
          </a:solidFill>
          <a:ln w="9797" cap="flat">
            <a:solidFill>
              <a:schemeClr val="bg2"/>
            </a:solidFill>
            <a:prstDash val="solid"/>
            <a:miter/>
          </a:ln>
        </p:spPr>
        <p:txBody>
          <a:bodyPr rtlCol="0" anchor="ctr"/>
          <a:lstStyle/>
          <a:p>
            <a:endParaRPr lang="fr-FR"/>
          </a:p>
        </p:txBody>
      </p:sp>
      <p:grpSp>
        <p:nvGrpSpPr>
          <p:cNvPr id="34" name="Groupe 33">
            <a:extLst>
              <a:ext uri="{FF2B5EF4-FFF2-40B4-BE49-F238E27FC236}">
                <a16:creationId xmlns:a16="http://schemas.microsoft.com/office/drawing/2014/main" id="{F96D1735-10FE-A959-B6E3-9DD7C13BD595}"/>
              </a:ext>
            </a:extLst>
          </p:cNvPr>
          <p:cNvGrpSpPr>
            <a:grpSpLocks noChangeAspect="1"/>
          </p:cNvGrpSpPr>
          <p:nvPr/>
        </p:nvGrpSpPr>
        <p:grpSpPr>
          <a:xfrm>
            <a:off x="856260" y="1512928"/>
            <a:ext cx="567492" cy="691704"/>
            <a:chOff x="628634" y="1275860"/>
            <a:chExt cx="3318214" cy="4044489"/>
          </a:xfrm>
          <a:solidFill>
            <a:schemeClr val="bg2"/>
          </a:solidFill>
        </p:grpSpPr>
        <p:sp>
          <p:nvSpPr>
            <p:cNvPr id="37" name="Freeform 425">
              <a:extLst>
                <a:ext uri="{FF2B5EF4-FFF2-40B4-BE49-F238E27FC236}">
                  <a16:creationId xmlns:a16="http://schemas.microsoft.com/office/drawing/2014/main" id="{DFF44D84-D23C-7EBB-DE95-8E49AFE53454}"/>
                </a:ext>
              </a:extLst>
            </p:cNvPr>
            <p:cNvSpPr>
              <a:spLocks noEditPoints="1"/>
            </p:cNvSpPr>
            <p:nvPr/>
          </p:nvSpPr>
          <p:spPr bwMode="auto">
            <a:xfrm>
              <a:off x="628634" y="1275860"/>
              <a:ext cx="3318214" cy="4044489"/>
            </a:xfrm>
            <a:custGeom>
              <a:avLst/>
              <a:gdLst>
                <a:gd name="T0" fmla="*/ 725 w 750"/>
                <a:gd name="T1" fmla="*/ 88 h 750"/>
                <a:gd name="T2" fmla="*/ 581 w 750"/>
                <a:gd name="T3" fmla="*/ 2 h 750"/>
                <a:gd name="T4" fmla="*/ 432 w 750"/>
                <a:gd name="T5" fmla="*/ 77 h 750"/>
                <a:gd name="T6" fmla="*/ 432 w 750"/>
                <a:gd name="T7" fmla="*/ 98 h 750"/>
                <a:gd name="T8" fmla="*/ 425 w 750"/>
                <a:gd name="T9" fmla="*/ 125 h 750"/>
                <a:gd name="T10" fmla="*/ 400 w 750"/>
                <a:gd name="T11" fmla="*/ 88 h 750"/>
                <a:gd name="T12" fmla="*/ 238 w 750"/>
                <a:gd name="T13" fmla="*/ 50 h 750"/>
                <a:gd name="T14" fmla="*/ 200 w 750"/>
                <a:gd name="T15" fmla="*/ 125 h 750"/>
                <a:gd name="T16" fmla="*/ 13 w 750"/>
                <a:gd name="T17" fmla="*/ 125 h 750"/>
                <a:gd name="T18" fmla="*/ 0 w 750"/>
                <a:gd name="T19" fmla="*/ 738 h 750"/>
                <a:gd name="T20" fmla="*/ 563 w 750"/>
                <a:gd name="T21" fmla="*/ 750 h 750"/>
                <a:gd name="T22" fmla="*/ 575 w 750"/>
                <a:gd name="T23" fmla="*/ 225 h 750"/>
                <a:gd name="T24" fmla="*/ 654 w 750"/>
                <a:gd name="T25" fmla="*/ 212 h 750"/>
                <a:gd name="T26" fmla="*/ 663 w 750"/>
                <a:gd name="T27" fmla="*/ 129 h 750"/>
                <a:gd name="T28" fmla="*/ 700 w 750"/>
                <a:gd name="T29" fmla="*/ 165 h 750"/>
                <a:gd name="T30" fmla="*/ 675 w 750"/>
                <a:gd name="T31" fmla="*/ 238 h 750"/>
                <a:gd name="T32" fmla="*/ 738 w 750"/>
                <a:gd name="T33" fmla="*/ 250 h 750"/>
                <a:gd name="T34" fmla="*/ 750 w 750"/>
                <a:gd name="T35" fmla="*/ 200 h 750"/>
                <a:gd name="T36" fmla="*/ 213 w 750"/>
                <a:gd name="T37" fmla="*/ 150 h 750"/>
                <a:gd name="T38" fmla="*/ 225 w 750"/>
                <a:gd name="T39" fmla="*/ 88 h 750"/>
                <a:gd name="T40" fmla="*/ 363 w 750"/>
                <a:gd name="T41" fmla="*/ 75 h 750"/>
                <a:gd name="T42" fmla="*/ 375 w 750"/>
                <a:gd name="T43" fmla="*/ 138 h 750"/>
                <a:gd name="T44" fmla="*/ 413 w 750"/>
                <a:gd name="T45" fmla="*/ 150 h 750"/>
                <a:gd name="T46" fmla="*/ 400 w 750"/>
                <a:gd name="T47" fmla="*/ 225 h 750"/>
                <a:gd name="T48" fmla="*/ 188 w 750"/>
                <a:gd name="T49" fmla="*/ 213 h 750"/>
                <a:gd name="T50" fmla="*/ 213 w 750"/>
                <a:gd name="T51" fmla="*/ 150 h 750"/>
                <a:gd name="T52" fmla="*/ 25 w 750"/>
                <a:gd name="T53" fmla="*/ 725 h 750"/>
                <a:gd name="T54" fmla="*/ 163 w 750"/>
                <a:gd name="T55" fmla="*/ 150 h 750"/>
                <a:gd name="T56" fmla="*/ 163 w 750"/>
                <a:gd name="T57" fmla="*/ 238 h 750"/>
                <a:gd name="T58" fmla="*/ 200 w 750"/>
                <a:gd name="T59" fmla="*/ 250 h 750"/>
                <a:gd name="T60" fmla="*/ 425 w 750"/>
                <a:gd name="T61" fmla="*/ 250 h 750"/>
                <a:gd name="T62" fmla="*/ 438 w 750"/>
                <a:gd name="T63" fmla="*/ 213 h 750"/>
                <a:gd name="T64" fmla="*/ 488 w 750"/>
                <a:gd name="T65" fmla="*/ 150 h 750"/>
                <a:gd name="T66" fmla="*/ 496 w 750"/>
                <a:gd name="T67" fmla="*/ 212 h 750"/>
                <a:gd name="T68" fmla="*/ 516 w 750"/>
                <a:gd name="T69" fmla="*/ 218 h 750"/>
                <a:gd name="T70" fmla="*/ 532 w 750"/>
                <a:gd name="T71" fmla="*/ 221 h 750"/>
                <a:gd name="T72" fmla="*/ 547 w 750"/>
                <a:gd name="T73" fmla="*/ 224 h 750"/>
                <a:gd name="T74" fmla="*/ 550 w 750"/>
                <a:gd name="T75" fmla="*/ 725 h 750"/>
                <a:gd name="T76" fmla="*/ 638 w 750"/>
                <a:gd name="T77" fmla="*/ 191 h 750"/>
                <a:gd name="T78" fmla="*/ 513 w 750"/>
                <a:gd name="T79" fmla="*/ 191 h 750"/>
                <a:gd name="T80" fmla="*/ 569 w 750"/>
                <a:gd name="T81" fmla="*/ 173 h 750"/>
                <a:gd name="T82" fmla="*/ 581 w 750"/>
                <a:gd name="T83" fmla="*/ 173 h 750"/>
                <a:gd name="T84" fmla="*/ 575 w 750"/>
                <a:gd name="T85" fmla="*/ 148 h 750"/>
                <a:gd name="T86" fmla="*/ 568 w 750"/>
                <a:gd name="T87" fmla="*/ 145 h 750"/>
                <a:gd name="T88" fmla="*/ 535 w 750"/>
                <a:gd name="T89" fmla="*/ 127 h 750"/>
                <a:gd name="T90" fmla="*/ 575 w 750"/>
                <a:gd name="T91" fmla="*/ 27 h 750"/>
                <a:gd name="T92" fmla="*/ 575 w 750"/>
                <a:gd name="T93" fmla="*/ 148 h 750"/>
                <a:gd name="T94" fmla="*/ 700 w 750"/>
                <a:gd name="T95" fmla="*/ 225 h 750"/>
                <a:gd name="T96" fmla="*/ 713 w 750"/>
                <a:gd name="T97" fmla="*/ 188 h 750"/>
                <a:gd name="T98" fmla="*/ 725 w 750"/>
                <a:gd name="T99" fmla="*/ 225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0" h="750">
                  <a:moveTo>
                    <a:pt x="725" y="165"/>
                  </a:moveTo>
                  <a:lnTo>
                    <a:pt x="725" y="88"/>
                  </a:lnTo>
                  <a:cubicBezTo>
                    <a:pt x="725" y="83"/>
                    <a:pt x="723" y="79"/>
                    <a:pt x="718" y="77"/>
                  </a:cubicBezTo>
                  <a:lnTo>
                    <a:pt x="581" y="2"/>
                  </a:lnTo>
                  <a:cubicBezTo>
                    <a:pt x="577" y="0"/>
                    <a:pt x="573" y="0"/>
                    <a:pt x="569" y="2"/>
                  </a:cubicBezTo>
                  <a:lnTo>
                    <a:pt x="432" y="77"/>
                  </a:lnTo>
                  <a:cubicBezTo>
                    <a:pt x="428" y="79"/>
                    <a:pt x="425" y="83"/>
                    <a:pt x="425" y="88"/>
                  </a:cubicBezTo>
                  <a:cubicBezTo>
                    <a:pt x="425" y="92"/>
                    <a:pt x="428" y="96"/>
                    <a:pt x="432" y="98"/>
                  </a:cubicBezTo>
                  <a:lnTo>
                    <a:pt x="480" y="125"/>
                  </a:lnTo>
                  <a:lnTo>
                    <a:pt x="425" y="125"/>
                  </a:lnTo>
                  <a:lnTo>
                    <a:pt x="400" y="125"/>
                  </a:lnTo>
                  <a:lnTo>
                    <a:pt x="400" y="88"/>
                  </a:lnTo>
                  <a:cubicBezTo>
                    <a:pt x="400" y="67"/>
                    <a:pt x="383" y="50"/>
                    <a:pt x="363" y="50"/>
                  </a:cubicBezTo>
                  <a:lnTo>
                    <a:pt x="238" y="50"/>
                  </a:lnTo>
                  <a:cubicBezTo>
                    <a:pt x="217" y="50"/>
                    <a:pt x="200" y="67"/>
                    <a:pt x="200" y="88"/>
                  </a:cubicBezTo>
                  <a:lnTo>
                    <a:pt x="200" y="125"/>
                  </a:lnTo>
                  <a:lnTo>
                    <a:pt x="175" y="125"/>
                  </a:lnTo>
                  <a:lnTo>
                    <a:pt x="13" y="125"/>
                  </a:lnTo>
                  <a:cubicBezTo>
                    <a:pt x="6" y="125"/>
                    <a:pt x="0" y="131"/>
                    <a:pt x="0" y="138"/>
                  </a:cubicBezTo>
                  <a:lnTo>
                    <a:pt x="0" y="738"/>
                  </a:lnTo>
                  <a:cubicBezTo>
                    <a:pt x="0" y="744"/>
                    <a:pt x="6" y="750"/>
                    <a:pt x="13" y="750"/>
                  </a:cubicBezTo>
                  <a:lnTo>
                    <a:pt x="563" y="750"/>
                  </a:lnTo>
                  <a:cubicBezTo>
                    <a:pt x="569" y="750"/>
                    <a:pt x="575" y="744"/>
                    <a:pt x="575" y="738"/>
                  </a:cubicBezTo>
                  <a:lnTo>
                    <a:pt x="575" y="225"/>
                  </a:lnTo>
                  <a:lnTo>
                    <a:pt x="575" y="225"/>
                  </a:lnTo>
                  <a:cubicBezTo>
                    <a:pt x="602" y="225"/>
                    <a:pt x="628" y="221"/>
                    <a:pt x="654" y="212"/>
                  </a:cubicBezTo>
                  <a:cubicBezTo>
                    <a:pt x="659" y="210"/>
                    <a:pt x="663" y="205"/>
                    <a:pt x="663" y="200"/>
                  </a:cubicBezTo>
                  <a:lnTo>
                    <a:pt x="663" y="129"/>
                  </a:lnTo>
                  <a:lnTo>
                    <a:pt x="700" y="109"/>
                  </a:lnTo>
                  <a:lnTo>
                    <a:pt x="700" y="165"/>
                  </a:lnTo>
                  <a:cubicBezTo>
                    <a:pt x="685" y="170"/>
                    <a:pt x="675" y="184"/>
                    <a:pt x="675" y="200"/>
                  </a:cubicBezTo>
                  <a:lnTo>
                    <a:pt x="675" y="238"/>
                  </a:lnTo>
                  <a:cubicBezTo>
                    <a:pt x="675" y="244"/>
                    <a:pt x="681" y="250"/>
                    <a:pt x="688" y="250"/>
                  </a:cubicBezTo>
                  <a:lnTo>
                    <a:pt x="738" y="250"/>
                  </a:lnTo>
                  <a:cubicBezTo>
                    <a:pt x="744" y="250"/>
                    <a:pt x="750" y="244"/>
                    <a:pt x="750" y="238"/>
                  </a:cubicBezTo>
                  <a:lnTo>
                    <a:pt x="750" y="200"/>
                  </a:lnTo>
                  <a:cubicBezTo>
                    <a:pt x="750" y="184"/>
                    <a:pt x="740" y="170"/>
                    <a:pt x="725" y="165"/>
                  </a:cubicBezTo>
                  <a:close/>
                  <a:moveTo>
                    <a:pt x="213" y="150"/>
                  </a:moveTo>
                  <a:cubicBezTo>
                    <a:pt x="219" y="150"/>
                    <a:pt x="225" y="144"/>
                    <a:pt x="225" y="138"/>
                  </a:cubicBezTo>
                  <a:lnTo>
                    <a:pt x="225" y="88"/>
                  </a:lnTo>
                  <a:cubicBezTo>
                    <a:pt x="225" y="81"/>
                    <a:pt x="231" y="75"/>
                    <a:pt x="238" y="75"/>
                  </a:cubicBezTo>
                  <a:lnTo>
                    <a:pt x="363" y="75"/>
                  </a:lnTo>
                  <a:cubicBezTo>
                    <a:pt x="369" y="75"/>
                    <a:pt x="375" y="81"/>
                    <a:pt x="375" y="88"/>
                  </a:cubicBezTo>
                  <a:lnTo>
                    <a:pt x="375" y="138"/>
                  </a:lnTo>
                  <a:cubicBezTo>
                    <a:pt x="375" y="144"/>
                    <a:pt x="381" y="150"/>
                    <a:pt x="388" y="150"/>
                  </a:cubicBezTo>
                  <a:lnTo>
                    <a:pt x="413" y="150"/>
                  </a:lnTo>
                  <a:lnTo>
                    <a:pt x="413" y="213"/>
                  </a:lnTo>
                  <a:cubicBezTo>
                    <a:pt x="413" y="219"/>
                    <a:pt x="407" y="225"/>
                    <a:pt x="400" y="225"/>
                  </a:cubicBezTo>
                  <a:lnTo>
                    <a:pt x="200" y="225"/>
                  </a:lnTo>
                  <a:cubicBezTo>
                    <a:pt x="193" y="225"/>
                    <a:pt x="188" y="219"/>
                    <a:pt x="188" y="213"/>
                  </a:cubicBezTo>
                  <a:lnTo>
                    <a:pt x="188" y="150"/>
                  </a:lnTo>
                  <a:lnTo>
                    <a:pt x="213" y="150"/>
                  </a:lnTo>
                  <a:close/>
                  <a:moveTo>
                    <a:pt x="550" y="725"/>
                  </a:moveTo>
                  <a:lnTo>
                    <a:pt x="25" y="725"/>
                  </a:lnTo>
                  <a:lnTo>
                    <a:pt x="25" y="150"/>
                  </a:lnTo>
                  <a:lnTo>
                    <a:pt x="163" y="150"/>
                  </a:lnTo>
                  <a:lnTo>
                    <a:pt x="163" y="213"/>
                  </a:lnTo>
                  <a:lnTo>
                    <a:pt x="163" y="238"/>
                  </a:lnTo>
                  <a:cubicBezTo>
                    <a:pt x="163" y="244"/>
                    <a:pt x="168" y="250"/>
                    <a:pt x="175" y="250"/>
                  </a:cubicBezTo>
                  <a:lnTo>
                    <a:pt x="200" y="250"/>
                  </a:lnTo>
                  <a:lnTo>
                    <a:pt x="400" y="250"/>
                  </a:lnTo>
                  <a:lnTo>
                    <a:pt x="425" y="250"/>
                  </a:lnTo>
                  <a:cubicBezTo>
                    <a:pt x="432" y="250"/>
                    <a:pt x="438" y="244"/>
                    <a:pt x="438" y="238"/>
                  </a:cubicBezTo>
                  <a:lnTo>
                    <a:pt x="438" y="213"/>
                  </a:lnTo>
                  <a:lnTo>
                    <a:pt x="438" y="150"/>
                  </a:lnTo>
                  <a:lnTo>
                    <a:pt x="488" y="150"/>
                  </a:lnTo>
                  <a:lnTo>
                    <a:pt x="488" y="200"/>
                  </a:lnTo>
                  <a:cubicBezTo>
                    <a:pt x="488" y="205"/>
                    <a:pt x="491" y="210"/>
                    <a:pt x="496" y="212"/>
                  </a:cubicBezTo>
                  <a:cubicBezTo>
                    <a:pt x="501" y="214"/>
                    <a:pt x="506" y="215"/>
                    <a:pt x="511" y="216"/>
                  </a:cubicBezTo>
                  <a:cubicBezTo>
                    <a:pt x="512" y="217"/>
                    <a:pt x="514" y="217"/>
                    <a:pt x="516" y="218"/>
                  </a:cubicBezTo>
                  <a:cubicBezTo>
                    <a:pt x="519" y="219"/>
                    <a:pt x="522" y="219"/>
                    <a:pt x="526" y="220"/>
                  </a:cubicBezTo>
                  <a:cubicBezTo>
                    <a:pt x="528" y="221"/>
                    <a:pt x="530" y="221"/>
                    <a:pt x="532" y="221"/>
                  </a:cubicBezTo>
                  <a:cubicBezTo>
                    <a:pt x="535" y="222"/>
                    <a:pt x="538" y="222"/>
                    <a:pt x="542" y="223"/>
                  </a:cubicBezTo>
                  <a:cubicBezTo>
                    <a:pt x="543" y="223"/>
                    <a:pt x="545" y="223"/>
                    <a:pt x="547" y="224"/>
                  </a:cubicBezTo>
                  <a:cubicBezTo>
                    <a:pt x="548" y="224"/>
                    <a:pt x="549" y="224"/>
                    <a:pt x="550" y="224"/>
                  </a:cubicBezTo>
                  <a:lnTo>
                    <a:pt x="550" y="725"/>
                  </a:lnTo>
                  <a:close/>
                  <a:moveTo>
                    <a:pt x="638" y="143"/>
                  </a:moveTo>
                  <a:lnTo>
                    <a:pt x="638" y="191"/>
                  </a:lnTo>
                  <a:cubicBezTo>
                    <a:pt x="613" y="198"/>
                    <a:pt x="588" y="201"/>
                    <a:pt x="563" y="200"/>
                  </a:cubicBezTo>
                  <a:cubicBezTo>
                    <a:pt x="546" y="199"/>
                    <a:pt x="529" y="196"/>
                    <a:pt x="513" y="191"/>
                  </a:cubicBezTo>
                  <a:lnTo>
                    <a:pt x="513" y="143"/>
                  </a:lnTo>
                  <a:lnTo>
                    <a:pt x="569" y="173"/>
                  </a:lnTo>
                  <a:cubicBezTo>
                    <a:pt x="571" y="174"/>
                    <a:pt x="573" y="175"/>
                    <a:pt x="575" y="175"/>
                  </a:cubicBezTo>
                  <a:cubicBezTo>
                    <a:pt x="577" y="175"/>
                    <a:pt x="579" y="174"/>
                    <a:pt x="581" y="173"/>
                  </a:cubicBezTo>
                  <a:lnTo>
                    <a:pt x="638" y="143"/>
                  </a:lnTo>
                  <a:close/>
                  <a:moveTo>
                    <a:pt x="575" y="148"/>
                  </a:moveTo>
                  <a:lnTo>
                    <a:pt x="569" y="145"/>
                  </a:lnTo>
                  <a:cubicBezTo>
                    <a:pt x="569" y="145"/>
                    <a:pt x="569" y="145"/>
                    <a:pt x="568" y="145"/>
                  </a:cubicBezTo>
                  <a:lnTo>
                    <a:pt x="535" y="127"/>
                  </a:lnTo>
                  <a:cubicBezTo>
                    <a:pt x="535" y="127"/>
                    <a:pt x="535" y="127"/>
                    <a:pt x="535" y="127"/>
                  </a:cubicBezTo>
                  <a:lnTo>
                    <a:pt x="464" y="88"/>
                  </a:lnTo>
                  <a:lnTo>
                    <a:pt x="575" y="27"/>
                  </a:lnTo>
                  <a:lnTo>
                    <a:pt x="686" y="88"/>
                  </a:lnTo>
                  <a:lnTo>
                    <a:pt x="575" y="148"/>
                  </a:lnTo>
                  <a:close/>
                  <a:moveTo>
                    <a:pt x="725" y="225"/>
                  </a:moveTo>
                  <a:lnTo>
                    <a:pt x="700" y="225"/>
                  </a:lnTo>
                  <a:lnTo>
                    <a:pt x="700" y="200"/>
                  </a:lnTo>
                  <a:cubicBezTo>
                    <a:pt x="700" y="193"/>
                    <a:pt x="706" y="188"/>
                    <a:pt x="713" y="188"/>
                  </a:cubicBezTo>
                  <a:cubicBezTo>
                    <a:pt x="719" y="188"/>
                    <a:pt x="725" y="193"/>
                    <a:pt x="725" y="200"/>
                  </a:cubicBezTo>
                  <a:lnTo>
                    <a:pt x="725" y="225"/>
                  </a:lnTo>
                  <a:close/>
                </a:path>
              </a:pathLst>
            </a:custGeom>
            <a:grp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39" name="Freeform 426">
              <a:extLst>
                <a:ext uri="{FF2B5EF4-FFF2-40B4-BE49-F238E27FC236}">
                  <a16:creationId xmlns:a16="http://schemas.microsoft.com/office/drawing/2014/main" id="{297778D4-B39B-3024-D44C-515EB753C2E2}"/>
                </a:ext>
              </a:extLst>
            </p:cNvPr>
            <p:cNvSpPr>
              <a:spLocks noEditPoints="1"/>
            </p:cNvSpPr>
            <p:nvPr/>
          </p:nvSpPr>
          <p:spPr bwMode="auto">
            <a:xfrm>
              <a:off x="1791733" y="1815437"/>
              <a:ext cx="331949" cy="404293"/>
            </a:xfrm>
            <a:custGeom>
              <a:avLst/>
              <a:gdLst>
                <a:gd name="T0" fmla="*/ 37 w 75"/>
                <a:gd name="T1" fmla="*/ 75 h 75"/>
                <a:gd name="T2" fmla="*/ 75 w 75"/>
                <a:gd name="T3" fmla="*/ 38 h 75"/>
                <a:gd name="T4" fmla="*/ 37 w 75"/>
                <a:gd name="T5" fmla="*/ 0 h 75"/>
                <a:gd name="T6" fmla="*/ 0 w 75"/>
                <a:gd name="T7" fmla="*/ 38 h 75"/>
                <a:gd name="T8" fmla="*/ 37 w 75"/>
                <a:gd name="T9" fmla="*/ 75 h 75"/>
                <a:gd name="T10" fmla="*/ 37 w 75"/>
                <a:gd name="T11" fmla="*/ 25 h 75"/>
                <a:gd name="T12" fmla="*/ 50 w 75"/>
                <a:gd name="T13" fmla="*/ 38 h 75"/>
                <a:gd name="T14" fmla="*/ 37 w 75"/>
                <a:gd name="T15" fmla="*/ 50 h 75"/>
                <a:gd name="T16" fmla="*/ 25 w 75"/>
                <a:gd name="T17" fmla="*/ 38 h 75"/>
                <a:gd name="T18" fmla="*/ 37 w 75"/>
                <a:gd name="T19"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7" y="75"/>
                  </a:moveTo>
                  <a:cubicBezTo>
                    <a:pt x="58" y="75"/>
                    <a:pt x="75" y="58"/>
                    <a:pt x="75" y="38"/>
                  </a:cubicBezTo>
                  <a:cubicBezTo>
                    <a:pt x="75" y="17"/>
                    <a:pt x="58" y="0"/>
                    <a:pt x="37" y="0"/>
                  </a:cubicBezTo>
                  <a:cubicBezTo>
                    <a:pt x="16" y="0"/>
                    <a:pt x="0" y="17"/>
                    <a:pt x="0" y="38"/>
                  </a:cubicBezTo>
                  <a:cubicBezTo>
                    <a:pt x="0" y="58"/>
                    <a:pt x="16" y="75"/>
                    <a:pt x="37" y="75"/>
                  </a:cubicBezTo>
                  <a:close/>
                  <a:moveTo>
                    <a:pt x="37" y="25"/>
                  </a:moveTo>
                  <a:cubicBezTo>
                    <a:pt x="44" y="25"/>
                    <a:pt x="50" y="31"/>
                    <a:pt x="50" y="38"/>
                  </a:cubicBezTo>
                  <a:cubicBezTo>
                    <a:pt x="50" y="44"/>
                    <a:pt x="44" y="50"/>
                    <a:pt x="37" y="50"/>
                  </a:cubicBezTo>
                  <a:cubicBezTo>
                    <a:pt x="30" y="50"/>
                    <a:pt x="25" y="44"/>
                    <a:pt x="25" y="38"/>
                  </a:cubicBezTo>
                  <a:cubicBezTo>
                    <a:pt x="25" y="31"/>
                    <a:pt x="30" y="25"/>
                    <a:pt x="37" y="25"/>
                  </a:cubicBezTo>
                  <a:close/>
                </a:path>
              </a:pathLst>
            </a:custGeom>
            <a:grp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40" name="Freeform 427">
              <a:extLst>
                <a:ext uri="{FF2B5EF4-FFF2-40B4-BE49-F238E27FC236}">
                  <a16:creationId xmlns:a16="http://schemas.microsoft.com/office/drawing/2014/main" id="{D42FF544-429B-21ED-FA7C-E411254DF8CD}"/>
                </a:ext>
              </a:extLst>
            </p:cNvPr>
            <p:cNvSpPr>
              <a:spLocks noEditPoints="1"/>
            </p:cNvSpPr>
            <p:nvPr/>
          </p:nvSpPr>
          <p:spPr bwMode="auto">
            <a:xfrm>
              <a:off x="906961" y="2893034"/>
              <a:ext cx="443024" cy="539576"/>
            </a:xfrm>
            <a:custGeom>
              <a:avLst/>
              <a:gdLst>
                <a:gd name="T0" fmla="*/ 87 w 100"/>
                <a:gd name="T1" fmla="*/ 0 h 100"/>
                <a:gd name="T2" fmla="*/ 12 w 100"/>
                <a:gd name="T3" fmla="*/ 0 h 100"/>
                <a:gd name="T4" fmla="*/ 0 w 100"/>
                <a:gd name="T5" fmla="*/ 13 h 100"/>
                <a:gd name="T6" fmla="*/ 0 w 100"/>
                <a:gd name="T7" fmla="*/ 88 h 100"/>
                <a:gd name="T8" fmla="*/ 12 w 100"/>
                <a:gd name="T9" fmla="*/ 100 h 100"/>
                <a:gd name="T10" fmla="*/ 87 w 100"/>
                <a:gd name="T11" fmla="*/ 100 h 100"/>
                <a:gd name="T12" fmla="*/ 100 w 100"/>
                <a:gd name="T13" fmla="*/ 88 h 100"/>
                <a:gd name="T14" fmla="*/ 100 w 100"/>
                <a:gd name="T15" fmla="*/ 13 h 100"/>
                <a:gd name="T16" fmla="*/ 87 w 100"/>
                <a:gd name="T17" fmla="*/ 0 h 100"/>
                <a:gd name="T18" fmla="*/ 75 w 100"/>
                <a:gd name="T19" fmla="*/ 75 h 100"/>
                <a:gd name="T20" fmla="*/ 25 w 100"/>
                <a:gd name="T21" fmla="*/ 75 h 100"/>
                <a:gd name="T22" fmla="*/ 25 w 100"/>
                <a:gd name="T23" fmla="*/ 25 h 100"/>
                <a:gd name="T24" fmla="*/ 75 w 100"/>
                <a:gd name="T25" fmla="*/ 25 h 100"/>
                <a:gd name="T26" fmla="*/ 75 w 100"/>
                <a:gd name="T27" fmla="*/ 7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0">
                  <a:moveTo>
                    <a:pt x="87" y="0"/>
                  </a:moveTo>
                  <a:lnTo>
                    <a:pt x="12" y="0"/>
                  </a:lnTo>
                  <a:cubicBezTo>
                    <a:pt x="5" y="0"/>
                    <a:pt x="0" y="6"/>
                    <a:pt x="0" y="13"/>
                  </a:cubicBezTo>
                  <a:lnTo>
                    <a:pt x="0" y="88"/>
                  </a:lnTo>
                  <a:cubicBezTo>
                    <a:pt x="0" y="94"/>
                    <a:pt x="5" y="100"/>
                    <a:pt x="12" y="100"/>
                  </a:cubicBezTo>
                  <a:lnTo>
                    <a:pt x="87" y="100"/>
                  </a:lnTo>
                  <a:cubicBezTo>
                    <a:pt x="94" y="100"/>
                    <a:pt x="100" y="94"/>
                    <a:pt x="100" y="88"/>
                  </a:cubicBezTo>
                  <a:lnTo>
                    <a:pt x="100" y="13"/>
                  </a:lnTo>
                  <a:cubicBezTo>
                    <a:pt x="100" y="6"/>
                    <a:pt x="94" y="0"/>
                    <a:pt x="87" y="0"/>
                  </a:cubicBezTo>
                  <a:close/>
                  <a:moveTo>
                    <a:pt x="75" y="75"/>
                  </a:moveTo>
                  <a:lnTo>
                    <a:pt x="25" y="75"/>
                  </a:lnTo>
                  <a:lnTo>
                    <a:pt x="25" y="25"/>
                  </a:lnTo>
                  <a:lnTo>
                    <a:pt x="75" y="25"/>
                  </a:lnTo>
                  <a:lnTo>
                    <a:pt x="75" y="75"/>
                  </a:lnTo>
                  <a:close/>
                </a:path>
              </a:pathLst>
            </a:custGeom>
            <a:grp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41" name="Rectangle 428">
              <a:extLst>
                <a:ext uri="{FF2B5EF4-FFF2-40B4-BE49-F238E27FC236}">
                  <a16:creationId xmlns:a16="http://schemas.microsoft.com/office/drawing/2014/main" id="{78BE2F78-6D1F-8820-E36C-9E17411E180A}"/>
                </a:ext>
              </a:extLst>
            </p:cNvPr>
            <p:cNvSpPr>
              <a:spLocks noChangeArrowheads="1"/>
            </p:cNvSpPr>
            <p:nvPr/>
          </p:nvSpPr>
          <p:spPr bwMode="auto">
            <a:xfrm>
              <a:off x="1459784" y="3233573"/>
              <a:ext cx="1438872" cy="135283"/>
            </a:xfrm>
            <a:prstGeom prst="rect">
              <a:avLst/>
            </a:prstGeom>
            <a:grpFill/>
            <a:ln w="0">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42" name="Freeform 429">
              <a:extLst>
                <a:ext uri="{FF2B5EF4-FFF2-40B4-BE49-F238E27FC236}">
                  <a16:creationId xmlns:a16="http://schemas.microsoft.com/office/drawing/2014/main" id="{65392DB3-F2E9-7923-50DE-B31D4AA9FEB0}"/>
                </a:ext>
              </a:extLst>
            </p:cNvPr>
            <p:cNvSpPr>
              <a:spLocks noEditPoints="1"/>
            </p:cNvSpPr>
            <p:nvPr/>
          </p:nvSpPr>
          <p:spPr bwMode="auto">
            <a:xfrm>
              <a:off x="906961" y="3703176"/>
              <a:ext cx="443024" cy="539576"/>
            </a:xfrm>
            <a:custGeom>
              <a:avLst/>
              <a:gdLst>
                <a:gd name="T0" fmla="*/ 87 w 100"/>
                <a:gd name="T1" fmla="*/ 0 h 100"/>
                <a:gd name="T2" fmla="*/ 12 w 100"/>
                <a:gd name="T3" fmla="*/ 0 h 100"/>
                <a:gd name="T4" fmla="*/ 0 w 100"/>
                <a:gd name="T5" fmla="*/ 13 h 100"/>
                <a:gd name="T6" fmla="*/ 0 w 100"/>
                <a:gd name="T7" fmla="*/ 88 h 100"/>
                <a:gd name="T8" fmla="*/ 12 w 100"/>
                <a:gd name="T9" fmla="*/ 100 h 100"/>
                <a:gd name="T10" fmla="*/ 87 w 100"/>
                <a:gd name="T11" fmla="*/ 100 h 100"/>
                <a:gd name="T12" fmla="*/ 100 w 100"/>
                <a:gd name="T13" fmla="*/ 88 h 100"/>
                <a:gd name="T14" fmla="*/ 100 w 100"/>
                <a:gd name="T15" fmla="*/ 13 h 100"/>
                <a:gd name="T16" fmla="*/ 87 w 100"/>
                <a:gd name="T17" fmla="*/ 0 h 100"/>
                <a:gd name="T18" fmla="*/ 75 w 100"/>
                <a:gd name="T19" fmla="*/ 75 h 100"/>
                <a:gd name="T20" fmla="*/ 25 w 100"/>
                <a:gd name="T21" fmla="*/ 75 h 100"/>
                <a:gd name="T22" fmla="*/ 25 w 100"/>
                <a:gd name="T23" fmla="*/ 25 h 100"/>
                <a:gd name="T24" fmla="*/ 75 w 100"/>
                <a:gd name="T25" fmla="*/ 25 h 100"/>
                <a:gd name="T26" fmla="*/ 75 w 100"/>
                <a:gd name="T27" fmla="*/ 7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0">
                  <a:moveTo>
                    <a:pt x="87" y="0"/>
                  </a:moveTo>
                  <a:lnTo>
                    <a:pt x="12" y="0"/>
                  </a:lnTo>
                  <a:cubicBezTo>
                    <a:pt x="5" y="0"/>
                    <a:pt x="0" y="6"/>
                    <a:pt x="0" y="13"/>
                  </a:cubicBezTo>
                  <a:lnTo>
                    <a:pt x="0" y="88"/>
                  </a:lnTo>
                  <a:cubicBezTo>
                    <a:pt x="0" y="94"/>
                    <a:pt x="5" y="100"/>
                    <a:pt x="12" y="100"/>
                  </a:cubicBezTo>
                  <a:lnTo>
                    <a:pt x="87" y="100"/>
                  </a:lnTo>
                  <a:cubicBezTo>
                    <a:pt x="94" y="100"/>
                    <a:pt x="100" y="94"/>
                    <a:pt x="100" y="88"/>
                  </a:cubicBezTo>
                  <a:lnTo>
                    <a:pt x="100" y="13"/>
                  </a:lnTo>
                  <a:cubicBezTo>
                    <a:pt x="100" y="6"/>
                    <a:pt x="94" y="0"/>
                    <a:pt x="87" y="0"/>
                  </a:cubicBezTo>
                  <a:close/>
                  <a:moveTo>
                    <a:pt x="75" y="75"/>
                  </a:moveTo>
                  <a:lnTo>
                    <a:pt x="25" y="75"/>
                  </a:lnTo>
                  <a:lnTo>
                    <a:pt x="25" y="25"/>
                  </a:lnTo>
                  <a:lnTo>
                    <a:pt x="75" y="25"/>
                  </a:lnTo>
                  <a:lnTo>
                    <a:pt x="75" y="75"/>
                  </a:lnTo>
                  <a:close/>
                </a:path>
              </a:pathLst>
            </a:custGeom>
            <a:grp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43" name="Rectangle 430">
              <a:extLst>
                <a:ext uri="{FF2B5EF4-FFF2-40B4-BE49-F238E27FC236}">
                  <a16:creationId xmlns:a16="http://schemas.microsoft.com/office/drawing/2014/main" id="{A4A008DE-578A-0E2E-9F74-B9D353E416DD}"/>
                </a:ext>
              </a:extLst>
            </p:cNvPr>
            <p:cNvSpPr>
              <a:spLocks noChangeArrowheads="1"/>
            </p:cNvSpPr>
            <p:nvPr/>
          </p:nvSpPr>
          <p:spPr bwMode="auto">
            <a:xfrm>
              <a:off x="1459784" y="4042160"/>
              <a:ext cx="1438872" cy="135283"/>
            </a:xfrm>
            <a:prstGeom prst="rect">
              <a:avLst/>
            </a:prstGeom>
            <a:grpFill/>
            <a:ln w="0">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44" name="Freeform 431">
              <a:extLst>
                <a:ext uri="{FF2B5EF4-FFF2-40B4-BE49-F238E27FC236}">
                  <a16:creationId xmlns:a16="http://schemas.microsoft.com/office/drawing/2014/main" id="{36B60B2E-5D40-84F1-8505-55CC868EBD0F}"/>
                </a:ext>
              </a:extLst>
            </p:cNvPr>
            <p:cNvSpPr>
              <a:spLocks noEditPoints="1"/>
            </p:cNvSpPr>
            <p:nvPr/>
          </p:nvSpPr>
          <p:spPr bwMode="auto">
            <a:xfrm>
              <a:off x="906961" y="4511762"/>
              <a:ext cx="443024" cy="539576"/>
            </a:xfrm>
            <a:custGeom>
              <a:avLst/>
              <a:gdLst>
                <a:gd name="T0" fmla="*/ 87 w 100"/>
                <a:gd name="T1" fmla="*/ 0 h 100"/>
                <a:gd name="T2" fmla="*/ 12 w 100"/>
                <a:gd name="T3" fmla="*/ 0 h 100"/>
                <a:gd name="T4" fmla="*/ 0 w 100"/>
                <a:gd name="T5" fmla="*/ 13 h 100"/>
                <a:gd name="T6" fmla="*/ 0 w 100"/>
                <a:gd name="T7" fmla="*/ 88 h 100"/>
                <a:gd name="T8" fmla="*/ 12 w 100"/>
                <a:gd name="T9" fmla="*/ 100 h 100"/>
                <a:gd name="T10" fmla="*/ 87 w 100"/>
                <a:gd name="T11" fmla="*/ 100 h 100"/>
                <a:gd name="T12" fmla="*/ 100 w 100"/>
                <a:gd name="T13" fmla="*/ 88 h 100"/>
                <a:gd name="T14" fmla="*/ 100 w 100"/>
                <a:gd name="T15" fmla="*/ 13 h 100"/>
                <a:gd name="T16" fmla="*/ 87 w 100"/>
                <a:gd name="T17" fmla="*/ 0 h 100"/>
                <a:gd name="T18" fmla="*/ 75 w 100"/>
                <a:gd name="T19" fmla="*/ 75 h 100"/>
                <a:gd name="T20" fmla="*/ 25 w 100"/>
                <a:gd name="T21" fmla="*/ 75 h 100"/>
                <a:gd name="T22" fmla="*/ 25 w 100"/>
                <a:gd name="T23" fmla="*/ 25 h 100"/>
                <a:gd name="T24" fmla="*/ 75 w 100"/>
                <a:gd name="T25" fmla="*/ 25 h 100"/>
                <a:gd name="T26" fmla="*/ 75 w 100"/>
                <a:gd name="T27" fmla="*/ 7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0">
                  <a:moveTo>
                    <a:pt x="87" y="0"/>
                  </a:moveTo>
                  <a:lnTo>
                    <a:pt x="12" y="0"/>
                  </a:lnTo>
                  <a:cubicBezTo>
                    <a:pt x="5" y="0"/>
                    <a:pt x="0" y="6"/>
                    <a:pt x="0" y="13"/>
                  </a:cubicBezTo>
                  <a:lnTo>
                    <a:pt x="0" y="88"/>
                  </a:lnTo>
                  <a:cubicBezTo>
                    <a:pt x="0" y="94"/>
                    <a:pt x="5" y="100"/>
                    <a:pt x="12" y="100"/>
                  </a:cubicBezTo>
                  <a:lnTo>
                    <a:pt x="87" y="100"/>
                  </a:lnTo>
                  <a:cubicBezTo>
                    <a:pt x="94" y="100"/>
                    <a:pt x="100" y="94"/>
                    <a:pt x="100" y="88"/>
                  </a:cubicBezTo>
                  <a:lnTo>
                    <a:pt x="100" y="13"/>
                  </a:lnTo>
                  <a:cubicBezTo>
                    <a:pt x="100" y="6"/>
                    <a:pt x="94" y="0"/>
                    <a:pt x="87" y="0"/>
                  </a:cubicBezTo>
                  <a:close/>
                  <a:moveTo>
                    <a:pt x="75" y="75"/>
                  </a:moveTo>
                  <a:lnTo>
                    <a:pt x="25" y="75"/>
                  </a:lnTo>
                  <a:lnTo>
                    <a:pt x="25" y="25"/>
                  </a:lnTo>
                  <a:lnTo>
                    <a:pt x="75" y="25"/>
                  </a:lnTo>
                  <a:lnTo>
                    <a:pt x="75" y="75"/>
                  </a:lnTo>
                  <a:close/>
                </a:path>
              </a:pathLst>
            </a:custGeom>
            <a:grp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45" name="Rectangle 432">
              <a:extLst>
                <a:ext uri="{FF2B5EF4-FFF2-40B4-BE49-F238E27FC236}">
                  <a16:creationId xmlns:a16="http://schemas.microsoft.com/office/drawing/2014/main" id="{7CF66A5E-626B-E99D-E688-5D9DE8BB7936}"/>
                </a:ext>
              </a:extLst>
            </p:cNvPr>
            <p:cNvSpPr>
              <a:spLocks noChangeArrowheads="1"/>
            </p:cNvSpPr>
            <p:nvPr/>
          </p:nvSpPr>
          <p:spPr bwMode="auto">
            <a:xfrm>
              <a:off x="1459784" y="4852302"/>
              <a:ext cx="1438872" cy="133728"/>
            </a:xfrm>
            <a:prstGeom prst="rect">
              <a:avLst/>
            </a:prstGeom>
            <a:grpFill/>
            <a:ln w="0">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8635413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101DB5-3C2C-4129-B0D3-0876D75458BD}"/>
              </a:ext>
            </a:extLst>
          </p:cNvPr>
          <p:cNvSpPr>
            <a:spLocks noGrp="1"/>
          </p:cNvSpPr>
          <p:nvPr>
            <p:ph type="title"/>
          </p:nvPr>
        </p:nvSpPr>
        <p:spPr/>
        <p:txBody>
          <a:bodyPr/>
          <a:lstStyle/>
          <a:p>
            <a:r>
              <a:rPr lang="fr-FR"/>
              <a:t>L’offre APS de Transports et Mobilités</a:t>
            </a:r>
          </a:p>
        </p:txBody>
      </p:sp>
      <p:sp>
        <p:nvSpPr>
          <p:cNvPr id="42" name="Espace réservé du contenu 1">
            <a:extLst>
              <a:ext uri="{FF2B5EF4-FFF2-40B4-BE49-F238E27FC236}">
                <a16:creationId xmlns:a16="http://schemas.microsoft.com/office/drawing/2014/main" id="{DE75694F-4B5C-407B-A1CD-064713131879}"/>
              </a:ext>
            </a:extLst>
          </p:cNvPr>
          <p:cNvSpPr txBox="1">
            <a:spLocks/>
          </p:cNvSpPr>
          <p:nvPr/>
        </p:nvSpPr>
        <p:spPr>
          <a:xfrm>
            <a:off x="350728" y="771801"/>
            <a:ext cx="11106586" cy="837686"/>
          </a:xfrm>
          <a:prstGeom prst="rect">
            <a:avLst/>
          </a:prstGeom>
        </p:spPr>
        <p:txBody>
          <a:bodyPr>
            <a:norm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Arial"/>
            </a:pPr>
            <a:r>
              <a:rPr lang="fr-FR" sz="1100" b="0" kern="0" cap="none">
                <a:solidFill>
                  <a:schemeClr val="tx2">
                    <a:lumMod val="10000"/>
                  </a:schemeClr>
                </a:solidFill>
                <a:latin typeface="+mj-lt"/>
                <a:ea typeface="Arial"/>
                <a:cs typeface="Arial"/>
              </a:rPr>
              <a:t>Les profils proposés bénéficierons des échanges et de l’appui </a:t>
            </a:r>
            <a:r>
              <a:rPr lang="fr-FR" sz="1100" kern="0" cap="none">
                <a:solidFill>
                  <a:schemeClr val="tx2">
                    <a:lumMod val="10000"/>
                  </a:schemeClr>
                </a:solidFill>
                <a:latin typeface="+mj-lt"/>
                <a:ea typeface="Arial"/>
                <a:cs typeface="Arial"/>
              </a:rPr>
              <a:t>du club APS de Talan Consulting</a:t>
            </a:r>
            <a:r>
              <a:rPr lang="fr-FR" sz="1100" b="0" kern="0" cap="none">
                <a:solidFill>
                  <a:schemeClr val="tx2">
                    <a:lumMod val="10000"/>
                  </a:schemeClr>
                </a:solidFill>
                <a:latin typeface="+mj-lt"/>
                <a:ea typeface="Arial"/>
                <a:cs typeface="Arial"/>
              </a:rPr>
              <a:t>. L’ensemble des consultants de cette communauté partage régulièrement autour des bonnes pratiques et de conseils applicables / réutilisables sur d’autres missions APS (en respectant la confidentialité de chaque projet).</a:t>
            </a:r>
          </a:p>
        </p:txBody>
      </p:sp>
      <p:grpSp>
        <p:nvGrpSpPr>
          <p:cNvPr id="43" name="Groupe 42">
            <a:extLst>
              <a:ext uri="{FF2B5EF4-FFF2-40B4-BE49-F238E27FC236}">
                <a16:creationId xmlns:a16="http://schemas.microsoft.com/office/drawing/2014/main" id="{A51D478F-7420-4434-884E-3A1771B1DFDA}"/>
              </a:ext>
            </a:extLst>
          </p:cNvPr>
          <p:cNvGrpSpPr/>
          <p:nvPr/>
        </p:nvGrpSpPr>
        <p:grpSpPr>
          <a:xfrm>
            <a:off x="6145787" y="1383927"/>
            <a:ext cx="5038046" cy="2448000"/>
            <a:chOff x="6164123" y="1152145"/>
            <a:chExt cx="5038046" cy="2448000"/>
          </a:xfrm>
        </p:grpSpPr>
        <p:sp>
          <p:nvSpPr>
            <p:cNvPr id="44" name="Rectangle : coins arrondis 43">
              <a:extLst>
                <a:ext uri="{FF2B5EF4-FFF2-40B4-BE49-F238E27FC236}">
                  <a16:creationId xmlns:a16="http://schemas.microsoft.com/office/drawing/2014/main" id="{0F4AB0AA-1BCD-4EAD-B7E1-9BE12B3FBDF0}"/>
                </a:ext>
              </a:extLst>
            </p:cNvPr>
            <p:cNvSpPr/>
            <p:nvPr/>
          </p:nvSpPr>
          <p:spPr>
            <a:xfrm>
              <a:off x="6164123" y="1152145"/>
              <a:ext cx="5038046" cy="2448000"/>
            </a:xfrm>
            <a:prstGeom prst="roundRect">
              <a:avLst/>
            </a:prstGeom>
            <a:solidFill>
              <a:srgbClr val="94DBF7"/>
            </a:solidFill>
            <a:ln w="12700" cap="flat" cmpd="sng" algn="ctr">
              <a:noFill/>
              <a:prstDash val="solid"/>
              <a:miter lim="800000"/>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43" b="0" i="0" u="none" strike="noStrike" kern="0" cap="none" spc="0" normalizeH="0" baseline="0" noProof="0">
                <a:ln>
                  <a:noFill/>
                </a:ln>
                <a:solidFill>
                  <a:srgbClr val="FFFFFF"/>
                </a:solidFill>
                <a:effectLst/>
                <a:uLnTx/>
                <a:uFillTx/>
                <a:latin typeface="+mn-lt"/>
                <a:ea typeface="+mn-ea"/>
                <a:cs typeface="+mn-cs"/>
              </a:endParaRPr>
            </a:p>
          </p:txBody>
        </p:sp>
        <p:sp>
          <p:nvSpPr>
            <p:cNvPr id="45" name="Rectangle 44">
              <a:extLst>
                <a:ext uri="{FF2B5EF4-FFF2-40B4-BE49-F238E27FC236}">
                  <a16:creationId xmlns:a16="http://schemas.microsoft.com/office/drawing/2014/main" id="{C20E01C3-5931-49AA-AA9B-F97B82FAFF71}"/>
                </a:ext>
              </a:extLst>
            </p:cNvPr>
            <p:cNvSpPr/>
            <p:nvPr/>
          </p:nvSpPr>
          <p:spPr>
            <a:xfrm>
              <a:off x="6299097" y="1284069"/>
              <a:ext cx="2148858" cy="230832"/>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algn="just" fontAlgn="base"/>
              <a:r>
                <a:rPr lang="fr-FR" sz="900">
                  <a:solidFill>
                    <a:srgbClr val="3F3F3F"/>
                  </a:solidFill>
                  <a:latin typeface="+mn-lt"/>
                </a:rPr>
                <a:t>Connaissance de l’APS</a:t>
              </a:r>
              <a:endParaRPr lang="en-US" sz="900">
                <a:latin typeface="+mn-lt"/>
              </a:endParaRPr>
            </a:p>
          </p:txBody>
        </p:sp>
        <p:pic>
          <p:nvPicPr>
            <p:cNvPr id="46" name="Image 45">
              <a:extLst>
                <a:ext uri="{FF2B5EF4-FFF2-40B4-BE49-F238E27FC236}">
                  <a16:creationId xmlns:a16="http://schemas.microsoft.com/office/drawing/2014/main" id="{FC1593D0-9AA3-4E8D-BAB8-0ED6D7FF7B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8232" y="2265848"/>
              <a:ext cx="774688" cy="436006"/>
            </a:xfrm>
            <a:prstGeom prst="rect">
              <a:avLst/>
            </a:prstGeom>
          </p:spPr>
        </p:pic>
        <p:pic>
          <p:nvPicPr>
            <p:cNvPr id="47" name="Image 46">
              <a:extLst>
                <a:ext uri="{FF2B5EF4-FFF2-40B4-BE49-F238E27FC236}">
                  <a16:creationId xmlns:a16="http://schemas.microsoft.com/office/drawing/2014/main" id="{AE530A8D-EBFF-458F-9733-A219B005606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3321" t="30570" r="14163" b="28462"/>
            <a:stretch/>
          </p:blipFill>
          <p:spPr>
            <a:xfrm>
              <a:off x="7903205" y="2730070"/>
              <a:ext cx="996355" cy="316628"/>
            </a:xfrm>
            <a:prstGeom prst="rect">
              <a:avLst/>
            </a:prstGeom>
          </p:spPr>
        </p:pic>
        <p:pic>
          <p:nvPicPr>
            <p:cNvPr id="48" name="Image 47">
              <a:extLst>
                <a:ext uri="{FF2B5EF4-FFF2-40B4-BE49-F238E27FC236}">
                  <a16:creationId xmlns:a16="http://schemas.microsoft.com/office/drawing/2014/main" id="{DFA5711D-030B-4394-A042-915D38C57D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91955" y="2488505"/>
              <a:ext cx="700452" cy="262669"/>
            </a:xfrm>
            <a:prstGeom prst="rect">
              <a:avLst/>
            </a:prstGeom>
          </p:spPr>
        </p:pic>
        <p:pic>
          <p:nvPicPr>
            <p:cNvPr id="49" name="Image 48">
              <a:extLst>
                <a:ext uri="{FF2B5EF4-FFF2-40B4-BE49-F238E27FC236}">
                  <a16:creationId xmlns:a16="http://schemas.microsoft.com/office/drawing/2014/main" id="{746268B1-6010-4F70-83A2-F58DC4F1027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22391" y="1963895"/>
              <a:ext cx="806173" cy="181163"/>
            </a:xfrm>
            <a:prstGeom prst="rect">
              <a:avLst/>
            </a:prstGeom>
          </p:spPr>
        </p:pic>
        <p:pic>
          <p:nvPicPr>
            <p:cNvPr id="50" name="Image 49">
              <a:extLst>
                <a:ext uri="{FF2B5EF4-FFF2-40B4-BE49-F238E27FC236}">
                  <a16:creationId xmlns:a16="http://schemas.microsoft.com/office/drawing/2014/main" id="{BD7521EC-F3AE-417B-BE56-E211082CEE7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97839" y="2718612"/>
              <a:ext cx="829777" cy="470801"/>
            </a:xfrm>
            <a:prstGeom prst="rect">
              <a:avLst/>
            </a:prstGeom>
          </p:spPr>
        </p:pic>
        <p:pic>
          <p:nvPicPr>
            <p:cNvPr id="51" name="Image 50" descr="Une image contenant texte, signe, clipart&#10;&#10;Description générée automatiquement">
              <a:extLst>
                <a:ext uri="{FF2B5EF4-FFF2-40B4-BE49-F238E27FC236}">
                  <a16:creationId xmlns:a16="http://schemas.microsoft.com/office/drawing/2014/main" id="{D94534EE-0E88-4A76-852C-D36B077AFA92}"/>
                </a:ext>
              </a:extLst>
            </p:cNvPr>
            <p:cNvPicPr>
              <a:picLocks noChangeAspect="1"/>
            </p:cNvPicPr>
            <p:nvPr/>
          </p:nvPicPr>
          <p:blipFill>
            <a:blip r:embed="rId7">
              <a:clrChange>
                <a:clrFrom>
                  <a:srgbClr val="000000"/>
                </a:clrFrom>
                <a:clrTo>
                  <a:srgbClr val="000000">
                    <a:alpha val="0"/>
                  </a:srgbClr>
                </a:clrTo>
              </a:clrChange>
            </a:blip>
            <a:stretch>
              <a:fillRect/>
            </a:stretch>
          </p:blipFill>
          <p:spPr>
            <a:xfrm>
              <a:off x="9634943" y="1465723"/>
              <a:ext cx="1208318" cy="334699"/>
            </a:xfrm>
            <a:prstGeom prst="rect">
              <a:avLst/>
            </a:prstGeom>
          </p:spPr>
        </p:pic>
        <p:pic>
          <p:nvPicPr>
            <p:cNvPr id="52" name="Picture 2" descr="Italian Firm Introduces Software Suite For Rail | Food Logistics">
              <a:extLst>
                <a:ext uri="{FF2B5EF4-FFF2-40B4-BE49-F238E27FC236}">
                  <a16:creationId xmlns:a16="http://schemas.microsoft.com/office/drawing/2014/main" id="{8B9AE518-B3D0-4A9A-BAA8-D0AC51E1FCB1}"/>
                </a:ext>
              </a:extLst>
            </p:cNvPr>
            <p:cNvPicPr>
              <a:picLocks noChangeAspect="1" noChangeArrowheads="1"/>
            </p:cNvPicPr>
            <p:nvPr/>
          </p:nvPicPr>
          <p:blipFill>
            <a:blip r:embed="rId8">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8349532" y="1385826"/>
              <a:ext cx="828827" cy="466215"/>
            </a:xfrm>
            <a:prstGeom prst="rect">
              <a:avLst/>
            </a:prstGeom>
            <a:noFill/>
            <a:extLst>
              <a:ext uri="{909E8E84-426E-40DD-AFC4-6F175D3DCCD1}">
                <a14:hiddenFill xmlns:a14="http://schemas.microsoft.com/office/drawing/2010/main">
                  <a:solidFill>
                    <a:srgbClr val="FFFFFF"/>
                  </a:solidFill>
                </a14:hiddenFill>
              </a:ext>
            </a:extLst>
          </p:spPr>
        </p:pic>
        <p:cxnSp>
          <p:nvCxnSpPr>
            <p:cNvPr id="53" name="Connecteur droit avec flèche 52">
              <a:extLst>
                <a:ext uri="{FF2B5EF4-FFF2-40B4-BE49-F238E27FC236}">
                  <a16:creationId xmlns:a16="http://schemas.microsoft.com/office/drawing/2014/main" id="{535599A8-905A-45B8-A069-BDA709A5621F}"/>
                </a:ext>
              </a:extLst>
            </p:cNvPr>
            <p:cNvCxnSpPr/>
            <p:nvPr/>
          </p:nvCxnSpPr>
          <p:spPr>
            <a:xfrm>
              <a:off x="7449132" y="3271231"/>
              <a:ext cx="3062264" cy="0"/>
            </a:xfrm>
            <a:prstGeom prst="straightConnector1">
              <a:avLst/>
            </a:prstGeom>
            <a:noFill/>
            <a:ln w="6350" cap="flat" cmpd="sng" algn="ctr">
              <a:solidFill>
                <a:srgbClr val="20408E"/>
              </a:solidFill>
              <a:prstDash val="solid"/>
              <a:miter lim="800000"/>
              <a:tailEnd type="triangle"/>
            </a:ln>
            <a:effectLst/>
          </p:spPr>
        </p:cxnSp>
        <p:cxnSp>
          <p:nvCxnSpPr>
            <p:cNvPr id="54" name="Connecteur droit avec flèche 53">
              <a:extLst>
                <a:ext uri="{FF2B5EF4-FFF2-40B4-BE49-F238E27FC236}">
                  <a16:creationId xmlns:a16="http://schemas.microsoft.com/office/drawing/2014/main" id="{0490D364-C2EB-4FAC-A1AD-0092E10AA137}"/>
                </a:ext>
              </a:extLst>
            </p:cNvPr>
            <p:cNvCxnSpPr>
              <a:cxnSpLocks/>
            </p:cNvCxnSpPr>
            <p:nvPr/>
          </p:nvCxnSpPr>
          <p:spPr>
            <a:xfrm flipV="1">
              <a:off x="6965730" y="1485563"/>
              <a:ext cx="0" cy="1099880"/>
            </a:xfrm>
            <a:prstGeom prst="straightConnector1">
              <a:avLst/>
            </a:prstGeom>
            <a:noFill/>
            <a:ln w="6350" cap="flat" cmpd="sng" algn="ctr">
              <a:solidFill>
                <a:srgbClr val="20408E"/>
              </a:solidFill>
              <a:prstDash val="solid"/>
              <a:miter lim="800000"/>
              <a:tailEnd type="triangle"/>
            </a:ln>
            <a:effectLst/>
          </p:spPr>
        </p:cxnSp>
        <p:sp>
          <p:nvSpPr>
            <p:cNvPr id="55" name="Rectangle 54">
              <a:extLst>
                <a:ext uri="{FF2B5EF4-FFF2-40B4-BE49-F238E27FC236}">
                  <a16:creationId xmlns:a16="http://schemas.microsoft.com/office/drawing/2014/main" id="{34118D06-49AB-4917-B2FC-93E9682CCFF4}"/>
                </a:ext>
              </a:extLst>
            </p:cNvPr>
            <p:cNvSpPr/>
            <p:nvPr/>
          </p:nvSpPr>
          <p:spPr>
            <a:xfrm>
              <a:off x="7743121" y="3323436"/>
              <a:ext cx="3129932" cy="230832"/>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algn="r" fontAlgn="base"/>
              <a:r>
                <a:rPr lang="fr-FR" sz="900">
                  <a:solidFill>
                    <a:srgbClr val="3F3F3F"/>
                  </a:solidFill>
                  <a:latin typeface="+mn-lt"/>
                </a:rPr>
                <a:t>Nombre de consultants maîtrisant l’APS</a:t>
              </a:r>
              <a:endParaRPr lang="en-US" sz="900">
                <a:latin typeface="+mn-lt"/>
              </a:endParaRPr>
            </a:p>
          </p:txBody>
        </p:sp>
      </p:grpSp>
      <p:grpSp>
        <p:nvGrpSpPr>
          <p:cNvPr id="56" name="Groupe 55">
            <a:extLst>
              <a:ext uri="{FF2B5EF4-FFF2-40B4-BE49-F238E27FC236}">
                <a16:creationId xmlns:a16="http://schemas.microsoft.com/office/drawing/2014/main" id="{5864B3CF-D896-4B6A-AA3B-D8A1CCBBD1E2}"/>
              </a:ext>
            </a:extLst>
          </p:cNvPr>
          <p:cNvGrpSpPr/>
          <p:nvPr/>
        </p:nvGrpSpPr>
        <p:grpSpPr>
          <a:xfrm>
            <a:off x="1008168" y="1383927"/>
            <a:ext cx="5038046" cy="2448000"/>
            <a:chOff x="960040" y="1152145"/>
            <a:chExt cx="5038046" cy="2448000"/>
          </a:xfrm>
        </p:grpSpPr>
        <p:sp>
          <p:nvSpPr>
            <p:cNvPr id="57" name="Rectangle : coins arrondis 56">
              <a:extLst>
                <a:ext uri="{FF2B5EF4-FFF2-40B4-BE49-F238E27FC236}">
                  <a16:creationId xmlns:a16="http://schemas.microsoft.com/office/drawing/2014/main" id="{A159AC0F-0537-4D50-8FCB-E11CE9E3E4AE}"/>
                </a:ext>
              </a:extLst>
            </p:cNvPr>
            <p:cNvSpPr/>
            <p:nvPr/>
          </p:nvSpPr>
          <p:spPr>
            <a:xfrm>
              <a:off x="960040" y="1152145"/>
              <a:ext cx="5038046" cy="2448000"/>
            </a:xfrm>
            <a:prstGeom prst="roundRect">
              <a:avLst/>
            </a:prstGeom>
            <a:solidFill>
              <a:srgbClr val="C6E9F7"/>
            </a:solidFill>
            <a:ln w="12700" cap="flat" cmpd="sng" algn="ctr">
              <a:noFill/>
              <a:prstDash val="solid"/>
              <a:miter lim="800000"/>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43" b="0" i="0" u="none" strike="noStrike" kern="0" cap="none" spc="0" normalizeH="0" baseline="0" noProof="0">
                <a:ln>
                  <a:noFill/>
                </a:ln>
                <a:solidFill>
                  <a:srgbClr val="FFFFFF"/>
                </a:solidFill>
                <a:effectLst/>
                <a:uLnTx/>
                <a:uFillTx/>
                <a:latin typeface="+mn-lt"/>
                <a:ea typeface="+mn-ea"/>
                <a:cs typeface="+mn-cs"/>
              </a:endParaRPr>
            </a:p>
          </p:txBody>
        </p:sp>
        <p:sp>
          <p:nvSpPr>
            <p:cNvPr id="58" name="Ellipse 57">
              <a:extLst>
                <a:ext uri="{FF2B5EF4-FFF2-40B4-BE49-F238E27FC236}">
                  <a16:creationId xmlns:a16="http://schemas.microsoft.com/office/drawing/2014/main" id="{CB8D9129-7855-4CEE-A416-5629360E974B}"/>
                </a:ext>
              </a:extLst>
            </p:cNvPr>
            <p:cNvSpPr/>
            <p:nvPr/>
          </p:nvSpPr>
          <p:spPr>
            <a:xfrm>
              <a:off x="3294874" y="2145058"/>
              <a:ext cx="1152000" cy="1152000"/>
            </a:xfrm>
            <a:prstGeom prst="ellipse">
              <a:avLst/>
            </a:prstGeom>
            <a:solidFill>
              <a:srgbClr val="20408E"/>
            </a:solidFill>
            <a:ln w="12700" cap="flat" cmpd="sng" algn="ctr">
              <a:noFill/>
              <a:prstDash val="solid"/>
              <a:miter lim="800000"/>
            </a:ln>
            <a:effectLst/>
          </p:spPr>
          <p:txBody>
            <a:bodyPr wrap="none"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schemeClr val="bg1"/>
                  </a:solidFill>
                  <a:effectLst/>
                  <a:uLnTx/>
                  <a:uFillTx/>
                  <a:latin typeface="+mn-lt"/>
                  <a:ea typeface="+mn-ea"/>
                  <a:cs typeface="+mn-cs"/>
                </a:rPr>
                <a:t>Présence à</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a:ln>
                    <a:noFill/>
                  </a:ln>
                  <a:solidFill>
                    <a:schemeClr val="bg1"/>
                  </a:solidFill>
                  <a:effectLst/>
                  <a:uLnTx/>
                  <a:uFillTx/>
                  <a:latin typeface="+mn-lt"/>
                  <a:ea typeface="+mn-ea"/>
                  <a:cs typeface="+mn-cs"/>
                </a:rPr>
                <a:t> Paris et Lyon</a:t>
              </a:r>
            </a:p>
          </p:txBody>
        </p:sp>
        <p:sp>
          <p:nvSpPr>
            <p:cNvPr id="59" name="Ellipse 58">
              <a:extLst>
                <a:ext uri="{FF2B5EF4-FFF2-40B4-BE49-F238E27FC236}">
                  <a16:creationId xmlns:a16="http://schemas.microsoft.com/office/drawing/2014/main" id="{35CF09A7-ECA1-435D-B7FC-9E1361BBE489}"/>
                </a:ext>
              </a:extLst>
            </p:cNvPr>
            <p:cNvSpPr/>
            <p:nvPr/>
          </p:nvSpPr>
          <p:spPr>
            <a:xfrm>
              <a:off x="1463016" y="1237991"/>
              <a:ext cx="1595707" cy="1595707"/>
            </a:xfrm>
            <a:prstGeom prst="ellipse">
              <a:avLst/>
            </a:prstGeom>
            <a:solidFill>
              <a:srgbClr val="20408E"/>
            </a:solidFill>
            <a:ln w="12700" cap="flat" cmpd="sng" algn="ctr">
              <a:noFill/>
              <a:prstDash val="solid"/>
              <a:miter lim="800000"/>
            </a:ln>
            <a:effectLst/>
          </p:spPr>
          <p:txBody>
            <a:bodyPr wrap="none"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3200" b="1">
                  <a:solidFill>
                    <a:schemeClr val="bg1"/>
                  </a:solidFill>
                  <a:latin typeface="+mn-lt"/>
                  <a:ea typeface="+mn-ea"/>
                  <a:cs typeface="+mn-cs"/>
                </a:rPr>
                <a:t>39</a:t>
              </a:r>
              <a:endParaRPr kumimoji="0" lang="fr-FR" sz="1600" b="1" i="0" u="none" strike="noStrike" kern="0" cap="none" spc="0" normalizeH="0" baseline="0" noProof="0">
                <a:ln>
                  <a:noFill/>
                </a:ln>
                <a:solidFill>
                  <a:schemeClr val="bg1"/>
                </a:solidFill>
                <a:effectLst/>
                <a:uLnTx/>
                <a:uFillTx/>
                <a:latin typeface="+mn-lt"/>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schemeClr val="bg1"/>
                  </a:solidFill>
                  <a:effectLst/>
                  <a:uLnTx/>
                  <a:uFillTx/>
                  <a:latin typeface="+mn-lt"/>
                  <a:ea typeface="+mn-ea"/>
                  <a:cs typeface="+mn-cs"/>
                </a:rPr>
                <a:t>consultant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schemeClr val="bg1"/>
                  </a:solidFill>
                  <a:effectLst/>
                  <a:uLnTx/>
                  <a:uFillTx/>
                  <a:latin typeface="+mn-lt"/>
                  <a:ea typeface="+mn-ea"/>
                  <a:cs typeface="+mn-cs"/>
                </a:rPr>
                <a:t>actuellement e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schemeClr val="bg1"/>
                  </a:solidFill>
                  <a:effectLst/>
                  <a:uLnTx/>
                  <a:uFillTx/>
                  <a:latin typeface="+mn-lt"/>
                  <a:ea typeface="+mn-ea"/>
                  <a:cs typeface="+mn-cs"/>
                </a:rPr>
                <a:t>mission APS</a:t>
              </a:r>
            </a:p>
          </p:txBody>
        </p:sp>
      </p:grpSp>
      <p:grpSp>
        <p:nvGrpSpPr>
          <p:cNvPr id="60" name="Groupe 59">
            <a:extLst>
              <a:ext uri="{FF2B5EF4-FFF2-40B4-BE49-F238E27FC236}">
                <a16:creationId xmlns:a16="http://schemas.microsoft.com/office/drawing/2014/main" id="{0E666ED9-F0BA-4217-B594-01987B243F08}"/>
              </a:ext>
            </a:extLst>
          </p:cNvPr>
          <p:cNvGrpSpPr/>
          <p:nvPr/>
        </p:nvGrpSpPr>
        <p:grpSpPr>
          <a:xfrm>
            <a:off x="6145787" y="3917194"/>
            <a:ext cx="5038046" cy="2448000"/>
            <a:chOff x="6193915" y="3865883"/>
            <a:chExt cx="5038046" cy="2577390"/>
          </a:xfrm>
        </p:grpSpPr>
        <p:sp>
          <p:nvSpPr>
            <p:cNvPr id="61" name="Rectangle : coins arrondis 60">
              <a:extLst>
                <a:ext uri="{FF2B5EF4-FFF2-40B4-BE49-F238E27FC236}">
                  <a16:creationId xmlns:a16="http://schemas.microsoft.com/office/drawing/2014/main" id="{5F7020DD-1669-40AE-AD1A-BFB341F08572}"/>
                </a:ext>
              </a:extLst>
            </p:cNvPr>
            <p:cNvSpPr/>
            <p:nvPr/>
          </p:nvSpPr>
          <p:spPr>
            <a:xfrm>
              <a:off x="6193915" y="3865883"/>
              <a:ext cx="5038046" cy="2577390"/>
            </a:xfrm>
            <a:prstGeom prst="roundRect">
              <a:avLst/>
            </a:prstGeom>
            <a:solidFill>
              <a:srgbClr val="C6E9F7"/>
            </a:solidFill>
            <a:ln w="12700" cap="flat" cmpd="sng" algn="ctr">
              <a:noFill/>
              <a:prstDash val="solid"/>
              <a:miter lim="800000"/>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43" b="0" i="0" u="none" strike="noStrike" kern="0" cap="none" spc="0" normalizeH="0" baseline="0" noProof="0">
                <a:ln>
                  <a:noFill/>
                </a:ln>
                <a:solidFill>
                  <a:srgbClr val="FFFFFF"/>
                </a:solidFill>
                <a:effectLst/>
                <a:uLnTx/>
                <a:uFillTx/>
                <a:latin typeface="+mn-lt"/>
                <a:ea typeface="+mn-ea"/>
                <a:cs typeface="+mn-cs"/>
              </a:endParaRPr>
            </a:p>
          </p:txBody>
        </p:sp>
        <p:pic>
          <p:nvPicPr>
            <p:cNvPr id="62" name="Picture 2" descr="Logo Microsoft Teams PNG transparents - StickPNG">
              <a:extLst>
                <a:ext uri="{FF2B5EF4-FFF2-40B4-BE49-F238E27FC236}">
                  <a16:creationId xmlns:a16="http://schemas.microsoft.com/office/drawing/2014/main" id="{A12A46CB-DE24-401E-87F9-98E932C9069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1109" t="20157" r="22138" b="21685"/>
            <a:stretch/>
          </p:blipFill>
          <p:spPr bwMode="auto">
            <a:xfrm>
              <a:off x="6800739" y="4147342"/>
              <a:ext cx="684062" cy="700992"/>
            </a:xfrm>
            <a:prstGeom prst="rect">
              <a:avLst/>
            </a:prstGeom>
            <a:noFill/>
            <a:extLst>
              <a:ext uri="{909E8E84-426E-40DD-AFC4-6F175D3DCCD1}">
                <a14:hiddenFill xmlns:a14="http://schemas.microsoft.com/office/drawing/2010/main">
                  <a:solidFill>
                    <a:srgbClr val="FFFFFF"/>
                  </a:solidFill>
                </a14:hiddenFill>
              </a:ext>
            </a:extLst>
          </p:spPr>
        </p:pic>
        <p:sp>
          <p:nvSpPr>
            <p:cNvPr id="63" name="Signe Plus 62">
              <a:extLst>
                <a:ext uri="{FF2B5EF4-FFF2-40B4-BE49-F238E27FC236}">
                  <a16:creationId xmlns:a16="http://schemas.microsoft.com/office/drawing/2014/main" id="{DEA37F88-0B38-4E70-B743-BE1EF42C29DE}"/>
                </a:ext>
              </a:extLst>
            </p:cNvPr>
            <p:cNvSpPr/>
            <p:nvPr/>
          </p:nvSpPr>
          <p:spPr>
            <a:xfrm>
              <a:off x="7700976" y="4394097"/>
              <a:ext cx="429715" cy="429715"/>
            </a:xfrm>
            <a:prstGeom prst="mathPlus">
              <a:avLst/>
            </a:prstGeom>
            <a:solidFill>
              <a:srgbClr val="EEEEEE">
                <a:lumMod val="10000"/>
              </a:srgbClr>
            </a:solidFill>
            <a:ln w="12700" cap="flat" cmpd="sng" algn="ctr">
              <a:noFill/>
              <a:prstDash val="solid"/>
              <a:miter lim="800000"/>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43" b="0" i="0" u="none" strike="noStrike" kern="0" cap="none" spc="0" normalizeH="0" baseline="0" noProof="0">
                <a:ln>
                  <a:noFill/>
                </a:ln>
                <a:solidFill>
                  <a:srgbClr val="FFFFFF"/>
                </a:solidFill>
                <a:effectLst/>
                <a:uLnTx/>
                <a:uFillTx/>
                <a:latin typeface="+mn-lt"/>
                <a:ea typeface="+mn-ea"/>
                <a:cs typeface="+mn-cs"/>
              </a:endParaRPr>
            </a:p>
          </p:txBody>
        </p:sp>
        <p:cxnSp>
          <p:nvCxnSpPr>
            <p:cNvPr id="64" name="Connecteur droit 63">
              <a:extLst>
                <a:ext uri="{FF2B5EF4-FFF2-40B4-BE49-F238E27FC236}">
                  <a16:creationId xmlns:a16="http://schemas.microsoft.com/office/drawing/2014/main" id="{821689A7-BA57-4B06-9ACA-E71800D6A393}"/>
                </a:ext>
              </a:extLst>
            </p:cNvPr>
            <p:cNvCxnSpPr/>
            <p:nvPr/>
          </p:nvCxnSpPr>
          <p:spPr>
            <a:xfrm>
              <a:off x="6707725" y="5307742"/>
              <a:ext cx="4165328" cy="0"/>
            </a:xfrm>
            <a:prstGeom prst="line">
              <a:avLst/>
            </a:prstGeom>
            <a:noFill/>
            <a:ln w="6350" cap="flat" cmpd="sng" algn="ctr">
              <a:solidFill>
                <a:srgbClr val="20408E"/>
              </a:solidFill>
              <a:prstDash val="solid"/>
              <a:miter lim="800000"/>
            </a:ln>
            <a:effectLst/>
          </p:spPr>
        </p:cxnSp>
        <p:sp>
          <p:nvSpPr>
            <p:cNvPr id="65" name="Rectangle 64">
              <a:extLst>
                <a:ext uri="{FF2B5EF4-FFF2-40B4-BE49-F238E27FC236}">
                  <a16:creationId xmlns:a16="http://schemas.microsoft.com/office/drawing/2014/main" id="{3F1BEFCE-510F-431D-B344-6F5DADCE9506}"/>
                </a:ext>
              </a:extLst>
            </p:cNvPr>
            <p:cNvSpPr/>
            <p:nvPr/>
          </p:nvSpPr>
          <p:spPr>
            <a:xfrm>
              <a:off x="6623650" y="5387315"/>
              <a:ext cx="4280590" cy="1036941"/>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algn="ctr" fontAlgn="base"/>
              <a:r>
                <a:rPr lang="fr-FR" sz="1100" b="1">
                  <a:solidFill>
                    <a:srgbClr val="3F3F3F"/>
                  </a:solidFill>
                  <a:latin typeface="+mn-lt"/>
                </a:rPr>
                <a:t>Une dynamique de capitalisation de connaissances, de veille et d’innovation</a:t>
              </a:r>
            </a:p>
            <a:p>
              <a:pPr algn="ctr" fontAlgn="base"/>
              <a:r>
                <a:rPr lang="en-US" sz="900" err="1">
                  <a:solidFill>
                    <a:srgbClr val="3F3F3F"/>
                  </a:solidFill>
                  <a:latin typeface="+mn-lt"/>
                </a:rPr>
                <a:t>Résultats</a:t>
              </a:r>
              <a:r>
                <a:rPr lang="en-US" sz="900">
                  <a:solidFill>
                    <a:srgbClr val="3F3F3F"/>
                  </a:solidFill>
                  <a:latin typeface="+mn-lt"/>
                </a:rPr>
                <a:t> </a:t>
              </a:r>
              <a:r>
                <a:rPr lang="en-US" sz="900" err="1">
                  <a:solidFill>
                    <a:srgbClr val="3F3F3F"/>
                  </a:solidFill>
                  <a:latin typeface="+mn-lt"/>
                </a:rPr>
                <a:t>obtenus</a:t>
              </a:r>
              <a:r>
                <a:rPr lang="en-US" sz="900">
                  <a:solidFill>
                    <a:srgbClr val="3F3F3F"/>
                  </a:solidFill>
                  <a:latin typeface="+mn-lt"/>
                </a:rPr>
                <a:t> : identification </a:t>
              </a:r>
              <a:r>
                <a:rPr lang="en-US" sz="900" err="1">
                  <a:solidFill>
                    <a:srgbClr val="3F3F3F"/>
                  </a:solidFill>
                  <a:latin typeface="+mn-lt"/>
                </a:rPr>
                <a:t>d’une</a:t>
              </a:r>
              <a:r>
                <a:rPr lang="en-US" sz="900">
                  <a:solidFill>
                    <a:srgbClr val="3F3F3F"/>
                  </a:solidFill>
                  <a:latin typeface="+mn-lt"/>
                </a:rPr>
                <a:t> </a:t>
              </a:r>
              <a:r>
                <a:rPr lang="en-US" sz="900" err="1">
                  <a:solidFill>
                    <a:srgbClr val="3F3F3F"/>
                  </a:solidFill>
                  <a:latin typeface="+mn-lt"/>
                </a:rPr>
                <a:t>méthode</a:t>
              </a:r>
              <a:r>
                <a:rPr lang="en-US" sz="900">
                  <a:solidFill>
                    <a:srgbClr val="3F3F3F"/>
                  </a:solidFill>
                  <a:latin typeface="+mn-lt"/>
                </a:rPr>
                <a:t> de </a:t>
              </a:r>
              <a:r>
                <a:rPr lang="en-US" sz="900" err="1">
                  <a:solidFill>
                    <a:srgbClr val="3F3F3F"/>
                  </a:solidFill>
                  <a:latin typeface="+mn-lt"/>
                </a:rPr>
                <a:t>mutualisation</a:t>
              </a:r>
              <a:r>
                <a:rPr lang="en-US" sz="900">
                  <a:solidFill>
                    <a:srgbClr val="3F3F3F"/>
                  </a:solidFill>
                  <a:latin typeface="+mn-lt"/>
                </a:rPr>
                <a:t> du </a:t>
              </a:r>
              <a:r>
                <a:rPr lang="en-US" sz="900" err="1">
                  <a:solidFill>
                    <a:srgbClr val="3F3F3F"/>
                  </a:solidFill>
                  <a:latin typeface="+mn-lt"/>
                </a:rPr>
                <a:t>périmètre</a:t>
              </a:r>
              <a:r>
                <a:rPr lang="en-US" sz="900">
                  <a:solidFill>
                    <a:srgbClr val="3F3F3F"/>
                  </a:solidFill>
                  <a:latin typeface="+mn-lt"/>
                </a:rPr>
                <a:t> </a:t>
              </a:r>
              <a:r>
                <a:rPr lang="en-US" sz="900" err="1">
                  <a:solidFill>
                    <a:srgbClr val="3F3F3F"/>
                  </a:solidFill>
                  <a:latin typeface="+mn-lt"/>
                </a:rPr>
                <a:t>Commande</a:t>
              </a:r>
              <a:r>
                <a:rPr lang="en-US" sz="900">
                  <a:solidFill>
                    <a:srgbClr val="3F3F3F"/>
                  </a:solidFill>
                  <a:latin typeface="+mn-lt"/>
                </a:rPr>
                <a:t> de Service pour 3 clients </a:t>
              </a:r>
              <a:r>
                <a:rPr lang="en-US" sz="900" err="1">
                  <a:solidFill>
                    <a:srgbClr val="3F3F3F"/>
                  </a:solidFill>
                  <a:latin typeface="+mn-lt"/>
                </a:rPr>
                <a:t>utilisant</a:t>
              </a:r>
              <a:r>
                <a:rPr lang="en-US" sz="900">
                  <a:solidFill>
                    <a:srgbClr val="3F3F3F"/>
                  </a:solidFill>
                  <a:latin typeface="+mn-lt"/>
                </a:rPr>
                <a:t> HASTUS, creation d’un </a:t>
              </a:r>
              <a:r>
                <a:rPr lang="en-US" sz="900" err="1">
                  <a:solidFill>
                    <a:srgbClr val="3F3F3F"/>
                  </a:solidFill>
                  <a:latin typeface="+mn-lt"/>
                </a:rPr>
                <a:t>parcours</a:t>
              </a:r>
              <a:r>
                <a:rPr lang="en-US" sz="900">
                  <a:solidFill>
                    <a:srgbClr val="3F3F3F"/>
                  </a:solidFill>
                  <a:latin typeface="+mn-lt"/>
                </a:rPr>
                <a:t> de formation HASTUS, identification </a:t>
              </a:r>
              <a:r>
                <a:rPr lang="en-US" sz="900" err="1">
                  <a:solidFill>
                    <a:srgbClr val="3F3F3F"/>
                  </a:solidFill>
                  <a:latin typeface="+mn-lt"/>
                </a:rPr>
                <a:t>d’une</a:t>
              </a:r>
              <a:r>
                <a:rPr lang="en-US" sz="900">
                  <a:solidFill>
                    <a:srgbClr val="3F3F3F"/>
                  </a:solidFill>
                  <a:latin typeface="+mn-lt"/>
                </a:rPr>
                <a:t> </a:t>
              </a:r>
              <a:r>
                <a:rPr lang="en-US" sz="900" err="1">
                  <a:solidFill>
                    <a:srgbClr val="3F3F3F"/>
                  </a:solidFill>
                  <a:latin typeface="+mn-lt"/>
                </a:rPr>
                <a:t>méthode</a:t>
              </a:r>
              <a:r>
                <a:rPr lang="en-US" sz="900">
                  <a:solidFill>
                    <a:srgbClr val="3F3F3F"/>
                  </a:solidFill>
                  <a:latin typeface="+mn-lt"/>
                </a:rPr>
                <a:t> de bascule Projet </a:t>
              </a:r>
              <a:r>
                <a:rPr lang="en-US" sz="900">
                  <a:solidFill>
                    <a:srgbClr val="3F3F3F"/>
                  </a:solidFill>
                  <a:latin typeface="+mn-lt"/>
                  <a:sym typeface="Wingdings" panose="05000000000000000000" pitchFamily="2" charset="2"/>
                </a:rPr>
                <a:t> Assistance </a:t>
              </a:r>
              <a:r>
                <a:rPr lang="en-US" sz="900" err="1">
                  <a:solidFill>
                    <a:srgbClr val="3F3F3F"/>
                  </a:solidFill>
                  <a:latin typeface="+mn-lt"/>
                  <a:sym typeface="Wingdings" panose="05000000000000000000" pitchFamily="2" charset="2"/>
                </a:rPr>
                <a:t>Utilisateurs</a:t>
              </a:r>
              <a:endParaRPr lang="fr-FR" sz="1100">
                <a:solidFill>
                  <a:srgbClr val="3F3F3F"/>
                </a:solidFill>
                <a:latin typeface="+mn-lt"/>
              </a:endParaRPr>
            </a:p>
          </p:txBody>
        </p:sp>
        <p:sp>
          <p:nvSpPr>
            <p:cNvPr id="66" name="Signe Plus 65">
              <a:extLst>
                <a:ext uri="{FF2B5EF4-FFF2-40B4-BE49-F238E27FC236}">
                  <a16:creationId xmlns:a16="http://schemas.microsoft.com/office/drawing/2014/main" id="{FFCD4789-7723-4DEF-9AF7-5C72EE2A1478}"/>
                </a:ext>
              </a:extLst>
            </p:cNvPr>
            <p:cNvSpPr/>
            <p:nvPr/>
          </p:nvSpPr>
          <p:spPr>
            <a:xfrm>
              <a:off x="9279324" y="4394097"/>
              <a:ext cx="429715" cy="429715"/>
            </a:xfrm>
            <a:prstGeom prst="mathPlus">
              <a:avLst/>
            </a:prstGeom>
            <a:solidFill>
              <a:srgbClr val="EEEEEE">
                <a:lumMod val="10000"/>
              </a:srgbClr>
            </a:solidFill>
            <a:ln w="12700" cap="flat" cmpd="sng" algn="ctr">
              <a:noFill/>
              <a:prstDash val="solid"/>
              <a:miter lim="800000"/>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43" b="0" i="0" u="none" strike="noStrike" kern="0" cap="none" spc="0" normalizeH="0" baseline="0" noProof="0">
                <a:ln>
                  <a:noFill/>
                </a:ln>
                <a:solidFill>
                  <a:srgbClr val="FFFFFF"/>
                </a:solidFill>
                <a:effectLst/>
                <a:uLnTx/>
                <a:uFillTx/>
                <a:latin typeface="+mn-lt"/>
                <a:ea typeface="+mn-ea"/>
                <a:cs typeface="+mn-cs"/>
              </a:endParaRPr>
            </a:p>
          </p:txBody>
        </p:sp>
        <p:pic>
          <p:nvPicPr>
            <p:cNvPr id="67" name="Picture 4" descr="La pause-café, un rituel sous-estimé par les managers">
              <a:extLst>
                <a:ext uri="{FF2B5EF4-FFF2-40B4-BE49-F238E27FC236}">
                  <a16:creationId xmlns:a16="http://schemas.microsoft.com/office/drawing/2014/main" id="{37416855-1CE6-4F54-B9D9-85219639CAE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64163" y="4105887"/>
              <a:ext cx="715805" cy="71580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8" name="Picture 6" descr="7 Conseils pour faire une bonne réunion">
              <a:extLst>
                <a:ext uri="{FF2B5EF4-FFF2-40B4-BE49-F238E27FC236}">
                  <a16:creationId xmlns:a16="http://schemas.microsoft.com/office/drawing/2014/main" id="{9473C432-2BD0-4DAB-9B01-1B6DA43A097D}"/>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8057" t="5398" r="9327" b="-1409"/>
            <a:stretch/>
          </p:blipFill>
          <p:spPr bwMode="auto">
            <a:xfrm>
              <a:off x="8322391" y="4105886"/>
              <a:ext cx="883111" cy="7158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9" name="Rectangle 68">
              <a:extLst>
                <a:ext uri="{FF2B5EF4-FFF2-40B4-BE49-F238E27FC236}">
                  <a16:creationId xmlns:a16="http://schemas.microsoft.com/office/drawing/2014/main" id="{1FFF26CC-6C21-475A-8351-BBA53AE5C192}"/>
                </a:ext>
              </a:extLst>
            </p:cNvPr>
            <p:cNvSpPr/>
            <p:nvPr/>
          </p:nvSpPr>
          <p:spPr>
            <a:xfrm>
              <a:off x="6529744" y="4928088"/>
              <a:ext cx="1305716" cy="243033"/>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algn="ctr" fontAlgn="base"/>
              <a:r>
                <a:rPr lang="fr-FR" sz="900" b="1">
                  <a:solidFill>
                    <a:srgbClr val="3F3F3F"/>
                  </a:solidFill>
                  <a:latin typeface="+mn-lt"/>
                </a:rPr>
                <a:t>Teams dédié</a:t>
              </a:r>
              <a:endParaRPr lang="en-US" sz="900" b="1">
                <a:latin typeface="+mn-lt"/>
              </a:endParaRPr>
            </a:p>
          </p:txBody>
        </p:sp>
        <p:sp>
          <p:nvSpPr>
            <p:cNvPr id="70" name="Rectangle 69">
              <a:extLst>
                <a:ext uri="{FF2B5EF4-FFF2-40B4-BE49-F238E27FC236}">
                  <a16:creationId xmlns:a16="http://schemas.microsoft.com/office/drawing/2014/main" id="{7EFC7859-67E0-4301-A72B-A6C94BEEC283}"/>
                </a:ext>
              </a:extLst>
            </p:cNvPr>
            <p:cNvSpPr/>
            <p:nvPr/>
          </p:nvSpPr>
          <p:spPr>
            <a:xfrm>
              <a:off x="8009397" y="4858838"/>
              <a:ext cx="1587448" cy="388853"/>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algn="ctr" fontAlgn="base"/>
              <a:r>
                <a:rPr lang="fr-FR" sz="900" b="1">
                  <a:solidFill>
                    <a:srgbClr val="3F3F3F"/>
                  </a:solidFill>
                  <a:latin typeface="+mn-lt"/>
                </a:rPr>
                <a:t>Réunion du club APS</a:t>
              </a:r>
            </a:p>
            <a:p>
              <a:pPr algn="ctr" fontAlgn="base"/>
              <a:r>
                <a:rPr lang="fr-FR" sz="900">
                  <a:solidFill>
                    <a:srgbClr val="3F3F3F"/>
                  </a:solidFill>
                  <a:latin typeface="+mn-lt"/>
                </a:rPr>
                <a:t>(tous les 2 mois)</a:t>
              </a:r>
              <a:endParaRPr lang="en-US" sz="900">
                <a:latin typeface="+mn-lt"/>
              </a:endParaRPr>
            </a:p>
          </p:txBody>
        </p:sp>
        <p:sp>
          <p:nvSpPr>
            <p:cNvPr id="71" name="Rectangle 70">
              <a:extLst>
                <a:ext uri="{FF2B5EF4-FFF2-40B4-BE49-F238E27FC236}">
                  <a16:creationId xmlns:a16="http://schemas.microsoft.com/office/drawing/2014/main" id="{3E884519-3661-4C95-B420-E06FA85A6C41}"/>
                </a:ext>
              </a:extLst>
            </p:cNvPr>
            <p:cNvSpPr/>
            <p:nvPr/>
          </p:nvSpPr>
          <p:spPr>
            <a:xfrm>
              <a:off x="9669208" y="4858838"/>
              <a:ext cx="1305716" cy="388853"/>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algn="ctr" fontAlgn="base"/>
              <a:r>
                <a:rPr lang="fr-FR" sz="900" b="1">
                  <a:solidFill>
                    <a:srgbClr val="3F3F3F"/>
                  </a:solidFill>
                  <a:latin typeface="+mn-lt"/>
                </a:rPr>
                <a:t>Café APS</a:t>
              </a:r>
            </a:p>
            <a:p>
              <a:pPr algn="ctr" fontAlgn="base"/>
              <a:r>
                <a:rPr lang="fr-FR" sz="900">
                  <a:solidFill>
                    <a:srgbClr val="3F3F3F"/>
                  </a:solidFill>
                  <a:latin typeface="+mn-lt"/>
                </a:rPr>
                <a:t>(tous les 2 mois)</a:t>
              </a:r>
              <a:endParaRPr lang="en-US" sz="900">
                <a:latin typeface="+mn-lt"/>
              </a:endParaRPr>
            </a:p>
          </p:txBody>
        </p:sp>
      </p:grpSp>
      <p:grpSp>
        <p:nvGrpSpPr>
          <p:cNvPr id="72" name="Groupe 71">
            <a:extLst>
              <a:ext uri="{FF2B5EF4-FFF2-40B4-BE49-F238E27FC236}">
                <a16:creationId xmlns:a16="http://schemas.microsoft.com/office/drawing/2014/main" id="{6C570A4C-A7A3-43E7-AB1E-B7A9056D00C9}"/>
              </a:ext>
            </a:extLst>
          </p:cNvPr>
          <p:cNvGrpSpPr/>
          <p:nvPr/>
        </p:nvGrpSpPr>
        <p:grpSpPr>
          <a:xfrm>
            <a:off x="1008168" y="3917194"/>
            <a:ext cx="5038046" cy="2448000"/>
            <a:chOff x="960040" y="3828849"/>
            <a:chExt cx="5038046" cy="2577390"/>
          </a:xfrm>
        </p:grpSpPr>
        <p:sp>
          <p:nvSpPr>
            <p:cNvPr id="73" name="Rectangle : coins arrondis 72">
              <a:extLst>
                <a:ext uri="{FF2B5EF4-FFF2-40B4-BE49-F238E27FC236}">
                  <a16:creationId xmlns:a16="http://schemas.microsoft.com/office/drawing/2014/main" id="{D906C02E-D37F-4417-81F7-8B0618A1A93D}"/>
                </a:ext>
              </a:extLst>
            </p:cNvPr>
            <p:cNvSpPr/>
            <p:nvPr/>
          </p:nvSpPr>
          <p:spPr>
            <a:xfrm>
              <a:off x="960040" y="3828849"/>
              <a:ext cx="5038046" cy="2577390"/>
            </a:xfrm>
            <a:prstGeom prst="roundRect">
              <a:avLst/>
            </a:prstGeom>
            <a:solidFill>
              <a:srgbClr val="94DBF7"/>
            </a:solidFill>
            <a:ln w="12700" cap="flat" cmpd="sng" algn="ctr">
              <a:noFill/>
              <a:prstDash val="solid"/>
              <a:miter lim="800000"/>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43" b="0" i="0" u="none" strike="noStrike" kern="0" cap="none" spc="0" normalizeH="0" baseline="0" noProof="0">
                <a:ln>
                  <a:noFill/>
                </a:ln>
                <a:solidFill>
                  <a:srgbClr val="FFFFFF"/>
                </a:solidFill>
                <a:effectLst/>
                <a:uLnTx/>
                <a:uFillTx/>
                <a:latin typeface="+mn-lt"/>
                <a:ea typeface="+mn-ea"/>
                <a:cs typeface="+mn-cs"/>
              </a:endParaRPr>
            </a:p>
          </p:txBody>
        </p:sp>
        <p:sp>
          <p:nvSpPr>
            <p:cNvPr id="74" name="Rectangle 73">
              <a:extLst>
                <a:ext uri="{FF2B5EF4-FFF2-40B4-BE49-F238E27FC236}">
                  <a16:creationId xmlns:a16="http://schemas.microsoft.com/office/drawing/2014/main" id="{ED9286DE-3BD8-472A-B85E-0B8D1E5BBAA9}"/>
                </a:ext>
              </a:extLst>
            </p:cNvPr>
            <p:cNvSpPr/>
            <p:nvPr/>
          </p:nvSpPr>
          <p:spPr>
            <a:xfrm>
              <a:off x="1381023" y="5780424"/>
              <a:ext cx="4295185" cy="437275"/>
            </a:xfrm>
            <a:prstGeom prst="rect">
              <a:avLst/>
            </a:prstGeom>
            <a:solidFill>
              <a:srgbClr val="20408E"/>
            </a:solidFill>
            <a:ln>
              <a:noFill/>
            </a:ln>
          </p:spPr>
          <p:txBody>
            <a:bodyPr wrap="square">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algn="ctr" fontAlgn="base"/>
              <a:r>
                <a:rPr lang="fr-FR" sz="1000" b="1">
                  <a:solidFill>
                    <a:srgbClr val="FFFFFF"/>
                  </a:solidFill>
                  <a:latin typeface="+mn-lt"/>
                </a:rPr>
                <a:t>15 ans d’accompagnement </a:t>
              </a:r>
              <a:r>
                <a:rPr lang="fr-FR" sz="1000">
                  <a:solidFill>
                    <a:srgbClr val="FFFFFF"/>
                  </a:solidFill>
                  <a:latin typeface="+mn-lt"/>
                </a:rPr>
                <a:t>sur les systèmes de gestion d’Exploitation (</a:t>
              </a:r>
              <a:r>
                <a:rPr lang="fr-FR" sz="1000" b="1">
                  <a:solidFill>
                    <a:srgbClr val="FFFFFF"/>
                  </a:solidFill>
                  <a:latin typeface="+mn-lt"/>
                </a:rPr>
                <a:t>6 ans sur les APS</a:t>
              </a:r>
              <a:r>
                <a:rPr lang="fr-FR" sz="1000">
                  <a:solidFill>
                    <a:srgbClr val="FFFFFF"/>
                  </a:solidFill>
                  <a:latin typeface="+mn-lt"/>
                </a:rPr>
                <a:t>)</a:t>
              </a:r>
            </a:p>
          </p:txBody>
        </p:sp>
        <p:sp>
          <p:nvSpPr>
            <p:cNvPr id="75" name="Rectangle 74">
              <a:extLst>
                <a:ext uri="{FF2B5EF4-FFF2-40B4-BE49-F238E27FC236}">
                  <a16:creationId xmlns:a16="http://schemas.microsoft.com/office/drawing/2014/main" id="{7ACA24C2-C423-4D2C-9F6E-A4A9530062D2}"/>
                </a:ext>
              </a:extLst>
            </p:cNvPr>
            <p:cNvSpPr/>
            <p:nvPr/>
          </p:nvSpPr>
          <p:spPr>
            <a:xfrm>
              <a:off x="2291264" y="4168663"/>
              <a:ext cx="2943157" cy="388853"/>
            </a:xfrm>
            <a:prstGeom prst="rect">
              <a:avLst/>
            </a:prstGeom>
          </p:spPr>
          <p:txBody>
            <a:bodyPr wrap="square" lIns="91440" tIns="45720" rIns="91440" bIns="4572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algn="just" fontAlgn="base"/>
              <a:r>
                <a:rPr lang="fr-FR" sz="900">
                  <a:solidFill>
                    <a:srgbClr val="3F3F3F"/>
                  </a:solidFill>
                  <a:latin typeface="+mn-lt"/>
                </a:rPr>
                <a:t>% de l’équipe avec des compétences </a:t>
              </a:r>
              <a:r>
                <a:rPr lang="fr-FR" sz="900" b="1">
                  <a:solidFill>
                    <a:srgbClr val="3F3F3F"/>
                  </a:solidFill>
                  <a:latin typeface="+mn-lt"/>
                </a:rPr>
                <a:t>interfaces et reprise de données</a:t>
              </a:r>
              <a:endParaRPr lang="en-US" sz="900" b="1">
                <a:latin typeface="+mn-lt"/>
              </a:endParaRPr>
            </a:p>
          </p:txBody>
        </p:sp>
        <p:sp>
          <p:nvSpPr>
            <p:cNvPr id="76" name="Organigramme : Procédé 75">
              <a:extLst>
                <a:ext uri="{FF2B5EF4-FFF2-40B4-BE49-F238E27FC236}">
                  <a16:creationId xmlns:a16="http://schemas.microsoft.com/office/drawing/2014/main" id="{FE57D390-B8B4-4D1B-B135-58901936840D}"/>
                </a:ext>
              </a:extLst>
            </p:cNvPr>
            <p:cNvSpPr/>
            <p:nvPr/>
          </p:nvSpPr>
          <p:spPr>
            <a:xfrm>
              <a:off x="1381023" y="5365596"/>
              <a:ext cx="3157265" cy="360000"/>
            </a:xfrm>
            <a:prstGeom prst="flowChartProcess">
              <a:avLst/>
            </a:prstGeom>
            <a:solidFill>
              <a:srgbClr val="C6E9F7"/>
            </a:solidFill>
            <a:ln w="12700" cap="flat" cmpd="sng" algn="ctr">
              <a:noFill/>
              <a:prstDash val="solid"/>
              <a:miter lim="800000"/>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43" b="0" i="0" u="none" strike="noStrike" kern="0" cap="none" spc="0" normalizeH="0" baseline="0" noProof="0">
                  <a:ln>
                    <a:noFill/>
                  </a:ln>
                  <a:solidFill>
                    <a:srgbClr val="44388A"/>
                  </a:solidFill>
                  <a:effectLst/>
                  <a:uLnTx/>
                  <a:uFillTx/>
                  <a:latin typeface="+mn-lt"/>
                  <a:ea typeface="+mn-ea"/>
                  <a:cs typeface="+mn-cs"/>
                </a:rPr>
                <a:t>75%</a:t>
              </a:r>
            </a:p>
          </p:txBody>
        </p:sp>
        <p:sp>
          <p:nvSpPr>
            <p:cNvPr id="77" name="Organigramme : Procédé 76">
              <a:extLst>
                <a:ext uri="{FF2B5EF4-FFF2-40B4-BE49-F238E27FC236}">
                  <a16:creationId xmlns:a16="http://schemas.microsoft.com/office/drawing/2014/main" id="{00679E6F-5DA0-4F52-82A9-EE5197B0B715}"/>
                </a:ext>
              </a:extLst>
            </p:cNvPr>
            <p:cNvSpPr/>
            <p:nvPr/>
          </p:nvSpPr>
          <p:spPr>
            <a:xfrm>
              <a:off x="1381024" y="4962092"/>
              <a:ext cx="911856" cy="360000"/>
            </a:xfrm>
            <a:prstGeom prst="flowChartProcess">
              <a:avLst/>
            </a:prstGeom>
            <a:solidFill>
              <a:srgbClr val="C6E9F7"/>
            </a:solidFill>
            <a:ln w="12700" cap="flat" cmpd="sng" algn="ctr">
              <a:noFill/>
              <a:prstDash val="solid"/>
              <a:miter lim="800000"/>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43" b="0" i="0" u="none" strike="noStrike" kern="0" cap="none" spc="0" normalizeH="0" baseline="0" noProof="0">
                  <a:ln>
                    <a:noFill/>
                  </a:ln>
                  <a:solidFill>
                    <a:srgbClr val="44388A"/>
                  </a:solidFill>
                  <a:effectLst/>
                  <a:uLnTx/>
                  <a:uFillTx/>
                  <a:latin typeface="+mn-lt"/>
                  <a:ea typeface="+mn-ea"/>
                  <a:cs typeface="+mn-cs"/>
                </a:rPr>
                <a:t>20%</a:t>
              </a:r>
            </a:p>
          </p:txBody>
        </p:sp>
        <p:sp>
          <p:nvSpPr>
            <p:cNvPr id="78" name="Organigramme : Procédé 77">
              <a:extLst>
                <a:ext uri="{FF2B5EF4-FFF2-40B4-BE49-F238E27FC236}">
                  <a16:creationId xmlns:a16="http://schemas.microsoft.com/office/drawing/2014/main" id="{823FF0C3-C713-4201-8B5D-1350AAE01623}"/>
                </a:ext>
              </a:extLst>
            </p:cNvPr>
            <p:cNvSpPr/>
            <p:nvPr/>
          </p:nvSpPr>
          <p:spPr>
            <a:xfrm>
              <a:off x="1381024" y="4558588"/>
              <a:ext cx="911856" cy="360000"/>
            </a:xfrm>
            <a:prstGeom prst="flowChartProcess">
              <a:avLst/>
            </a:prstGeom>
            <a:solidFill>
              <a:srgbClr val="C6E9F7"/>
            </a:solidFill>
            <a:ln w="12700" cap="flat" cmpd="sng" algn="ctr">
              <a:noFill/>
              <a:prstDash val="solid"/>
              <a:miter lim="800000"/>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43" b="0" i="0" u="none" strike="noStrike" kern="0" cap="none" spc="0" normalizeH="0" baseline="0" noProof="0">
                  <a:ln>
                    <a:noFill/>
                  </a:ln>
                  <a:solidFill>
                    <a:srgbClr val="44388A"/>
                  </a:solidFill>
                  <a:effectLst/>
                  <a:uLnTx/>
                  <a:uFillTx/>
                  <a:latin typeface="+mn-lt"/>
                  <a:ea typeface="+mn-ea"/>
                  <a:cs typeface="+mn-cs"/>
                </a:rPr>
                <a:t>20%</a:t>
              </a:r>
            </a:p>
          </p:txBody>
        </p:sp>
        <p:sp>
          <p:nvSpPr>
            <p:cNvPr id="79" name="Organigramme : Procédé 78">
              <a:extLst>
                <a:ext uri="{FF2B5EF4-FFF2-40B4-BE49-F238E27FC236}">
                  <a16:creationId xmlns:a16="http://schemas.microsoft.com/office/drawing/2014/main" id="{2EC4F2F5-C48B-4546-B08B-BCC2A3A74599}"/>
                </a:ext>
              </a:extLst>
            </p:cNvPr>
            <p:cNvSpPr/>
            <p:nvPr/>
          </p:nvSpPr>
          <p:spPr>
            <a:xfrm>
              <a:off x="1381024" y="4155084"/>
              <a:ext cx="911856" cy="360000"/>
            </a:xfrm>
            <a:prstGeom prst="flowChartProcess">
              <a:avLst/>
            </a:prstGeom>
            <a:solidFill>
              <a:srgbClr val="C6E9F7"/>
            </a:solidFill>
            <a:ln w="12700" cap="flat" cmpd="sng" algn="ctr">
              <a:noFill/>
              <a:prstDash val="solid"/>
              <a:miter lim="800000"/>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43" b="0" i="0" u="none" strike="noStrike" kern="0" cap="none" spc="0" normalizeH="0" baseline="0" noProof="0">
                  <a:ln>
                    <a:noFill/>
                  </a:ln>
                  <a:solidFill>
                    <a:srgbClr val="44388A"/>
                  </a:solidFill>
                  <a:effectLst/>
                  <a:uLnTx/>
                  <a:uFillTx/>
                  <a:latin typeface="+mn-lt"/>
                  <a:ea typeface="+mn-ea"/>
                  <a:cs typeface="+mn-cs"/>
                </a:rPr>
                <a:t>20%</a:t>
              </a:r>
            </a:p>
          </p:txBody>
        </p:sp>
        <p:sp>
          <p:nvSpPr>
            <p:cNvPr id="80" name="Rectangle 79">
              <a:extLst>
                <a:ext uri="{FF2B5EF4-FFF2-40B4-BE49-F238E27FC236}">
                  <a16:creationId xmlns:a16="http://schemas.microsoft.com/office/drawing/2014/main" id="{E989B42F-06E3-4911-9FCD-1F45A6B16613}"/>
                </a:ext>
              </a:extLst>
            </p:cNvPr>
            <p:cNvSpPr/>
            <p:nvPr/>
          </p:nvSpPr>
          <p:spPr>
            <a:xfrm>
              <a:off x="2292880" y="4647118"/>
              <a:ext cx="2943157" cy="243033"/>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algn="just" fontAlgn="base"/>
              <a:r>
                <a:rPr lang="fr-FR" sz="900">
                  <a:solidFill>
                    <a:srgbClr val="3F3F3F"/>
                  </a:solidFill>
                  <a:latin typeface="+mn-lt"/>
                </a:rPr>
                <a:t>Compétences </a:t>
              </a:r>
              <a:r>
                <a:rPr lang="fr-FR" sz="900" b="1">
                  <a:solidFill>
                    <a:srgbClr val="3F3F3F"/>
                  </a:solidFill>
                  <a:latin typeface="+mn-lt"/>
                </a:rPr>
                <a:t>Conduite du Changement</a:t>
              </a:r>
              <a:endParaRPr lang="en-US" sz="900" b="1">
                <a:latin typeface="+mn-lt"/>
              </a:endParaRPr>
            </a:p>
          </p:txBody>
        </p:sp>
        <p:sp>
          <p:nvSpPr>
            <p:cNvPr id="81" name="Rectangle 80">
              <a:extLst>
                <a:ext uri="{FF2B5EF4-FFF2-40B4-BE49-F238E27FC236}">
                  <a16:creationId xmlns:a16="http://schemas.microsoft.com/office/drawing/2014/main" id="{C485627B-818F-4703-B9AA-9A1565226247}"/>
                </a:ext>
              </a:extLst>
            </p:cNvPr>
            <p:cNvSpPr/>
            <p:nvPr/>
          </p:nvSpPr>
          <p:spPr>
            <a:xfrm>
              <a:off x="2292880" y="5023577"/>
              <a:ext cx="2943157" cy="243033"/>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algn="just" fontAlgn="base"/>
              <a:r>
                <a:rPr lang="fr-FR" sz="900">
                  <a:solidFill>
                    <a:srgbClr val="3F3F3F"/>
                  </a:solidFill>
                  <a:latin typeface="+mn-lt"/>
                </a:rPr>
                <a:t>Compétences </a:t>
              </a:r>
              <a:r>
                <a:rPr lang="fr-FR" sz="900" b="1">
                  <a:solidFill>
                    <a:srgbClr val="3F3F3F"/>
                  </a:solidFill>
                  <a:latin typeface="+mn-lt"/>
                </a:rPr>
                <a:t>Pilotage</a:t>
              </a:r>
              <a:endParaRPr lang="en-US" sz="900" b="1">
                <a:latin typeface="+mn-lt"/>
              </a:endParaRPr>
            </a:p>
          </p:txBody>
        </p:sp>
        <p:sp>
          <p:nvSpPr>
            <p:cNvPr id="82" name="Rectangle 81">
              <a:extLst>
                <a:ext uri="{FF2B5EF4-FFF2-40B4-BE49-F238E27FC236}">
                  <a16:creationId xmlns:a16="http://schemas.microsoft.com/office/drawing/2014/main" id="{4F5A04D8-19C1-463F-BD4C-B0AA12B1560B}"/>
                </a:ext>
              </a:extLst>
            </p:cNvPr>
            <p:cNvSpPr/>
            <p:nvPr/>
          </p:nvSpPr>
          <p:spPr>
            <a:xfrm>
              <a:off x="4538289" y="5370053"/>
              <a:ext cx="1398590" cy="388853"/>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algn="just" fontAlgn="base"/>
              <a:r>
                <a:rPr lang="fr-FR" sz="900">
                  <a:solidFill>
                    <a:srgbClr val="3F3F3F"/>
                  </a:solidFill>
                  <a:latin typeface="+mn-lt"/>
                </a:rPr>
                <a:t>Compétences </a:t>
              </a:r>
            </a:p>
            <a:p>
              <a:pPr algn="just" fontAlgn="base"/>
              <a:r>
                <a:rPr lang="fr-FR" sz="900" b="1">
                  <a:solidFill>
                    <a:srgbClr val="3F3F3F"/>
                  </a:solidFill>
                  <a:latin typeface="+mn-lt"/>
                </a:rPr>
                <a:t>AMOA</a:t>
              </a:r>
              <a:endParaRPr lang="en-US" sz="900" b="1">
                <a:latin typeface="+mn-lt"/>
              </a:endParaRPr>
            </a:p>
          </p:txBody>
        </p:sp>
      </p:grpSp>
      <p:sp>
        <p:nvSpPr>
          <p:cNvPr id="83" name="Ellipse 82">
            <a:extLst>
              <a:ext uri="{FF2B5EF4-FFF2-40B4-BE49-F238E27FC236}">
                <a16:creationId xmlns:a16="http://schemas.microsoft.com/office/drawing/2014/main" id="{6A0FDEBE-126E-4723-84F1-C1942BC45F44}"/>
              </a:ext>
            </a:extLst>
          </p:cNvPr>
          <p:cNvSpPr/>
          <p:nvPr/>
        </p:nvSpPr>
        <p:spPr>
          <a:xfrm>
            <a:off x="5178429" y="2948041"/>
            <a:ext cx="1835142" cy="1835142"/>
          </a:xfrm>
          <a:prstGeom prst="ellipse">
            <a:avLst/>
          </a:prstGeom>
          <a:solidFill>
            <a:srgbClr val="20408E"/>
          </a:solidFill>
          <a:ln w="12700" cap="flat" cmpd="sng" algn="ctr">
            <a:solidFill>
              <a:srgbClr val="3D00F2">
                <a:shade val="50000"/>
              </a:srgbClr>
            </a:solidFill>
            <a:prstDash val="solid"/>
            <a:miter lim="800000"/>
          </a:ln>
          <a:effectLst/>
        </p:spPr>
        <p:txBody>
          <a:bodyPr lIns="91440" tIns="45720" rIns="91440" bIns="45720"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2800" b="1">
                <a:solidFill>
                  <a:srgbClr val="FFFFFF"/>
                </a:solidFill>
                <a:latin typeface="+mn-lt"/>
                <a:ea typeface="+mn-ea"/>
                <a:cs typeface="+mn-cs"/>
              </a:rPr>
              <a:t>57</a:t>
            </a:r>
            <a:r>
              <a:rPr kumimoji="0" lang="fr-FR" sz="1600" b="0" i="0" u="none" strike="noStrike" kern="0" cap="none" spc="0" normalizeH="0" baseline="0" noProof="0">
                <a:ln>
                  <a:noFill/>
                </a:ln>
                <a:solidFill>
                  <a:srgbClr val="FFFFFF"/>
                </a:solidFill>
                <a:effectLst/>
                <a:uLnTx/>
                <a:uFillTx/>
                <a:latin typeface="+mn-lt"/>
                <a:ea typeface="+mn-ea"/>
                <a:cs typeface="+mn-cs"/>
              </a:rPr>
              <a:t> consultants avec une expérience APS</a:t>
            </a:r>
          </a:p>
        </p:txBody>
      </p:sp>
    </p:spTree>
    <p:extLst>
      <p:ext uri="{BB962C8B-B14F-4D97-AF65-F5344CB8AC3E}">
        <p14:creationId xmlns:p14="http://schemas.microsoft.com/office/powerpoint/2010/main" val="8146982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A6D258D3-15F8-41C0-9C67-0E67B47EDD42}"/>
              </a:ext>
            </a:extLst>
          </p:cNvPr>
          <p:cNvGraphicFramePr>
            <a:graphicFrameLocks noChangeAspect="1"/>
          </p:cNvGraphicFramePr>
          <p:nvPr>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11" name="Objet 10" hidden="1">
                        <a:extLst>
                          <a:ext uri="{FF2B5EF4-FFF2-40B4-BE49-F238E27FC236}">
                            <a16:creationId xmlns:a16="http://schemas.microsoft.com/office/drawing/2014/main" id="{A6D258D3-15F8-41C0-9C67-0E67B47EDD42}"/>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16" name="AutoShape 3">
            <a:extLst>
              <a:ext uri="{FF2B5EF4-FFF2-40B4-BE49-F238E27FC236}">
                <a16:creationId xmlns:a16="http://schemas.microsoft.com/office/drawing/2014/main" id="{E90C3A28-A470-44AA-BB06-43F6DD65AA41}"/>
              </a:ext>
            </a:extLst>
          </p:cNvPr>
          <p:cNvSpPr>
            <a:spLocks noChangeAspect="1" noChangeArrowheads="1" noTextEdit="1"/>
          </p:cNvSpPr>
          <p:nvPr/>
        </p:nvSpPr>
        <p:spPr bwMode="auto">
          <a:xfrm>
            <a:off x="5213354" y="336554"/>
            <a:ext cx="2112433" cy="1585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fr-FR" sz="1867">
              <a:ea typeface="+mn-ea"/>
            </a:endParaRPr>
          </a:p>
        </p:txBody>
      </p:sp>
      <p:sp>
        <p:nvSpPr>
          <p:cNvPr id="283" name="ZoneTexte 282">
            <a:extLst>
              <a:ext uri="{FF2B5EF4-FFF2-40B4-BE49-F238E27FC236}">
                <a16:creationId xmlns:a16="http://schemas.microsoft.com/office/drawing/2014/main" id="{ADA2507D-6452-4F83-AC6C-7338C3F91F85}"/>
              </a:ext>
            </a:extLst>
          </p:cNvPr>
          <p:cNvSpPr txBox="1"/>
          <p:nvPr/>
        </p:nvSpPr>
        <p:spPr>
          <a:xfrm>
            <a:off x="4102626" y="2380601"/>
            <a:ext cx="5260319" cy="318100"/>
          </a:xfrm>
          <a:prstGeom prst="rect">
            <a:avLst/>
          </a:prstGeom>
          <a:noFill/>
        </p:spPr>
        <p:txBody>
          <a:bodyPr wrap="square" rtlCol="0">
            <a:spAutoFit/>
          </a:bodyPr>
          <a:lstStyle/>
          <a:p>
            <a:pPr algn="just" defTabSz="1219110">
              <a:spcBef>
                <a:spcPts val="800"/>
              </a:spcBef>
              <a:buClr>
                <a:srgbClr val="00D7E2"/>
              </a:buClr>
            </a:pPr>
            <a:r>
              <a:rPr lang="fr-FR" sz="1467" b="1">
                <a:solidFill>
                  <a:schemeClr val="tx2"/>
                </a:solidFill>
                <a:latin typeface="+mj-lt"/>
                <a:ea typeface="+mn-ea"/>
              </a:rPr>
              <a:t>Nos 8 Domaines d’Offres à votre service</a:t>
            </a:r>
            <a:endParaRPr lang="fr-FR" sz="1467">
              <a:solidFill>
                <a:schemeClr val="tx2"/>
              </a:solidFill>
              <a:latin typeface="+mj-lt"/>
              <a:ea typeface="+mn-ea"/>
            </a:endParaRPr>
          </a:p>
        </p:txBody>
      </p:sp>
      <p:pic>
        <p:nvPicPr>
          <p:cNvPr id="17" name="Image 42">
            <a:extLst>
              <a:ext uri="{FF2B5EF4-FFF2-40B4-BE49-F238E27FC236}">
                <a16:creationId xmlns:a16="http://schemas.microsoft.com/office/drawing/2014/main" id="{D87AD4BC-D624-44C1-9651-CC9440DD0C4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55837" y="5564824"/>
            <a:ext cx="2185087" cy="807005"/>
          </a:xfrm>
          <a:prstGeom prst="rect">
            <a:avLst/>
          </a:prstGeom>
        </p:spPr>
      </p:pic>
      <p:sp>
        <p:nvSpPr>
          <p:cNvPr id="43" name="Rectangle 42">
            <a:extLst>
              <a:ext uri="{FF2B5EF4-FFF2-40B4-BE49-F238E27FC236}">
                <a16:creationId xmlns:a16="http://schemas.microsoft.com/office/drawing/2014/main" id="{6E0C743C-563C-4DAC-AB17-33635300D762}"/>
              </a:ext>
            </a:extLst>
          </p:cNvPr>
          <p:cNvSpPr/>
          <p:nvPr/>
        </p:nvSpPr>
        <p:spPr>
          <a:xfrm>
            <a:off x="489420" y="953551"/>
            <a:ext cx="10963673" cy="624268"/>
          </a:xfrm>
          <a:prstGeom prst="rect">
            <a:avLst/>
          </a:prstGeom>
          <a:solidFill>
            <a:schemeClr val="bg1">
              <a:alpha val="6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t"/>
          <a:lstStyle/>
          <a:p>
            <a:pPr rtl="0"/>
            <a:r>
              <a:rPr lang="fr-FR" sz="1200" b="1">
                <a:solidFill>
                  <a:schemeClr val="tx2"/>
                </a:solidFill>
              </a:rPr>
              <a:t>P&amp;C est une offre transverse dédiée à l'accompagnement humain des transformations </a:t>
            </a:r>
            <a:r>
              <a:rPr lang="fr-FR" sz="1200">
                <a:solidFill>
                  <a:schemeClr val="tx1"/>
                </a:solidFill>
              </a:rPr>
              <a:t>s'attachant - pour construire une expérience réellement transformante - au diagnostic d'entreprise 360, la stratégie de transformation (notamment via l'intelligence collective), enjeux culturels et comportementaux, programmes managériaux, coachings individuels et collectifs, la gouvernance décisionnelle des nouvelles organisations, nouveaux modes de travail, l'accompagnement d'usage lors de bascules technologiques, etc. </a:t>
            </a:r>
          </a:p>
          <a:p>
            <a:pPr rtl="0"/>
            <a:r>
              <a:rPr lang="fr-FR" sz="1200">
                <a:solidFill>
                  <a:schemeClr val="tx1"/>
                </a:solidFill>
              </a:rPr>
              <a:t>Les </a:t>
            </a:r>
            <a:r>
              <a:rPr lang="fr-FR" sz="1200" b="1">
                <a:solidFill>
                  <a:schemeClr val="tx2"/>
                </a:solidFill>
              </a:rPr>
              <a:t>35 consultants de P&amp;C </a:t>
            </a:r>
            <a:r>
              <a:rPr lang="fr-FR" sz="1200">
                <a:solidFill>
                  <a:schemeClr val="tx1"/>
                </a:solidFill>
              </a:rPr>
              <a:t>pratiquent le compagnonnage avec leur client dans un principe </a:t>
            </a:r>
            <a:r>
              <a:rPr lang="fr-FR" sz="1200" b="1">
                <a:solidFill>
                  <a:schemeClr val="tx2"/>
                </a:solidFill>
              </a:rPr>
              <a:t>de pas de côté innovant et de transfert de compétences</a:t>
            </a:r>
            <a:r>
              <a:rPr lang="fr-FR" sz="1200">
                <a:solidFill>
                  <a:schemeClr val="tx1"/>
                </a:solidFill>
              </a:rPr>
              <a:t>, en alliant vision systémique et pragmatisme opérationnel.</a:t>
            </a:r>
          </a:p>
        </p:txBody>
      </p:sp>
      <p:cxnSp>
        <p:nvCxnSpPr>
          <p:cNvPr id="116" name="Connecteur droit 115">
            <a:extLst>
              <a:ext uri="{FF2B5EF4-FFF2-40B4-BE49-F238E27FC236}">
                <a16:creationId xmlns:a16="http://schemas.microsoft.com/office/drawing/2014/main" id="{29046A99-EA55-40A3-B88C-FFDA107358D8}"/>
              </a:ext>
            </a:extLst>
          </p:cNvPr>
          <p:cNvCxnSpPr>
            <a:cxnSpLocks/>
          </p:cNvCxnSpPr>
          <p:nvPr/>
        </p:nvCxnSpPr>
        <p:spPr>
          <a:xfrm>
            <a:off x="4211294" y="2372411"/>
            <a:ext cx="21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2" name="Image 1">
            <a:extLst>
              <a:ext uri="{FF2B5EF4-FFF2-40B4-BE49-F238E27FC236}">
                <a16:creationId xmlns:a16="http://schemas.microsoft.com/office/drawing/2014/main" id="{951A93CE-97FC-B080-669A-CBA77F265002}"/>
              </a:ext>
            </a:extLst>
          </p:cNvPr>
          <p:cNvPicPr>
            <a:picLocks noChangeAspect="1"/>
          </p:cNvPicPr>
          <p:nvPr/>
        </p:nvPicPr>
        <p:blipFill>
          <a:blip r:embed="rId7"/>
          <a:stretch>
            <a:fillRect/>
          </a:stretch>
        </p:blipFill>
        <p:spPr>
          <a:xfrm>
            <a:off x="4102625" y="2922914"/>
            <a:ext cx="7726100" cy="3598532"/>
          </a:xfrm>
          <a:prstGeom prst="rect">
            <a:avLst/>
          </a:prstGeom>
        </p:spPr>
      </p:pic>
      <p:sp>
        <p:nvSpPr>
          <p:cNvPr id="4" name="Titre 3">
            <a:extLst>
              <a:ext uri="{FF2B5EF4-FFF2-40B4-BE49-F238E27FC236}">
                <a16:creationId xmlns:a16="http://schemas.microsoft.com/office/drawing/2014/main" id="{9114C565-46CB-C758-E778-CC1BA408E1B1}"/>
              </a:ext>
            </a:extLst>
          </p:cNvPr>
          <p:cNvSpPr>
            <a:spLocks noGrp="1"/>
          </p:cNvSpPr>
          <p:nvPr>
            <p:ph type="title"/>
          </p:nvPr>
        </p:nvSpPr>
        <p:spPr/>
        <p:txBody>
          <a:bodyPr/>
          <a:lstStyle/>
          <a:p>
            <a:r>
              <a:rPr lang="fr-FR">
                <a:sym typeface="Arial"/>
              </a:rPr>
              <a:t>Les expertises de People &amp; Culture</a:t>
            </a:r>
            <a:endParaRPr lang="fr-FR"/>
          </a:p>
        </p:txBody>
      </p:sp>
      <p:sp>
        <p:nvSpPr>
          <p:cNvPr id="5" name="Google Shape;72;p15">
            <a:extLst>
              <a:ext uri="{FF2B5EF4-FFF2-40B4-BE49-F238E27FC236}">
                <a16:creationId xmlns:a16="http://schemas.microsoft.com/office/drawing/2014/main" id="{F9807F2F-324B-0002-9FFC-6BD6A33DBDD5}"/>
              </a:ext>
            </a:extLst>
          </p:cNvPr>
          <p:cNvSpPr>
            <a:spLocks noChangeAspect="1"/>
          </p:cNvSpPr>
          <p:nvPr/>
        </p:nvSpPr>
        <p:spPr>
          <a:xfrm>
            <a:off x="655837" y="2494302"/>
            <a:ext cx="876314" cy="900000"/>
          </a:xfrm>
          <a:prstGeom prst="ellipse">
            <a:avLst/>
          </a:prstGeom>
          <a:solidFill>
            <a:schemeClr val="bg2"/>
          </a:solidFill>
          <a:ln>
            <a:noFill/>
          </a:ln>
        </p:spPr>
        <p:txBody>
          <a:bodyPr spcFirstLastPara="1" wrap="square" lIns="0" tIns="0" rIns="0" bIns="0" anchor="ctr" anchorCtr="1">
            <a:no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fr-FR" sz="933" b="0" i="0" u="none" strike="noStrike" kern="1200" cap="none" spc="0" normalizeH="0" baseline="0" noProof="0">
              <a:ln>
                <a:noFill/>
              </a:ln>
              <a:solidFill>
                <a:srgbClr val="FFFFFF"/>
              </a:solidFill>
              <a:effectLst/>
              <a:uLnTx/>
              <a:uFillTx/>
              <a:latin typeface="+mj-lt"/>
              <a:ea typeface="+mn-ea"/>
              <a:cs typeface="+mn-cs"/>
            </a:endParaRPr>
          </a:p>
        </p:txBody>
      </p:sp>
      <p:sp>
        <p:nvSpPr>
          <p:cNvPr id="6" name="Google Shape;77;p15">
            <a:extLst>
              <a:ext uri="{FF2B5EF4-FFF2-40B4-BE49-F238E27FC236}">
                <a16:creationId xmlns:a16="http://schemas.microsoft.com/office/drawing/2014/main" id="{1460F89F-D457-7062-B5C7-E677C0E6F14B}"/>
              </a:ext>
            </a:extLst>
          </p:cNvPr>
          <p:cNvSpPr txBox="1">
            <a:spLocks noChangeAspect="1"/>
          </p:cNvSpPr>
          <p:nvPr/>
        </p:nvSpPr>
        <p:spPr>
          <a:xfrm>
            <a:off x="489420" y="2590768"/>
            <a:ext cx="1189484" cy="503386"/>
          </a:xfrm>
          <a:prstGeom prst="rect">
            <a:avLst/>
          </a:prstGeom>
          <a:noFill/>
          <a:ln>
            <a:noFill/>
          </a:ln>
        </p:spPr>
        <p:txBody>
          <a:bodyPr spcFirstLastPara="1" wrap="square" lIns="121900" tIns="121900" rIns="121900" bIns="121900" anchor="t" anchorCtr="0">
            <a:no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1467" b="1" i="0" u="none" strike="noStrike" kern="1200" cap="none" spc="0" normalizeH="0" baseline="0" noProof="0">
                <a:ln>
                  <a:noFill/>
                </a:ln>
                <a:solidFill>
                  <a:srgbClr val="FFFFFF"/>
                </a:solidFill>
                <a:effectLst/>
                <a:uLnTx/>
                <a:uFillTx/>
                <a:latin typeface="+mj-lt"/>
                <a:ea typeface="Montserrat"/>
                <a:cs typeface="Montserrat"/>
                <a:sym typeface="Montserrat"/>
              </a:rPr>
              <a:t>35</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933" b="0" i="0" u="none" strike="noStrike" kern="1200" cap="none" spc="0" normalizeH="0" baseline="0" noProof="0">
                <a:ln>
                  <a:noFill/>
                </a:ln>
                <a:solidFill>
                  <a:srgbClr val="FFFFFF"/>
                </a:solidFill>
                <a:effectLst/>
                <a:uLnTx/>
                <a:uFillTx/>
                <a:latin typeface="+mj-lt"/>
                <a:ea typeface="Montserrat"/>
                <a:cs typeface="Montserrat"/>
                <a:sym typeface="Montserrat"/>
              </a:rPr>
              <a:t>Co</a:t>
            </a:r>
            <a:r>
              <a:rPr kumimoji="0" lang="fr-FR" sz="933" b="0" i="0" u="none" strike="noStrike" kern="1200" cap="none" spc="0" normalizeH="0" baseline="0" noProof="0" err="1">
                <a:ln>
                  <a:noFill/>
                </a:ln>
                <a:solidFill>
                  <a:srgbClr val="FFFFFF"/>
                </a:solidFill>
                <a:effectLst/>
                <a:uLnTx/>
                <a:uFillTx/>
                <a:latin typeface="+mj-lt"/>
                <a:ea typeface="Montserrat"/>
                <a:cs typeface="Montserrat"/>
                <a:sym typeface="Montserrat"/>
              </a:rPr>
              <a:t>nsultant.e.s</a:t>
            </a:r>
            <a:endParaRPr kumimoji="0" lang="fr-FR" sz="1200" b="1" i="0" u="none" strike="noStrike" kern="1200" cap="none" spc="0" normalizeH="0" baseline="0" noProof="0">
              <a:ln>
                <a:noFill/>
              </a:ln>
              <a:solidFill>
                <a:srgbClr val="FFFFFF"/>
              </a:solidFill>
              <a:effectLst/>
              <a:uLnTx/>
              <a:uFillTx/>
              <a:latin typeface="+mj-lt"/>
              <a:ea typeface="Montserrat"/>
              <a:cs typeface="Montserrat"/>
              <a:sym typeface="Montserrat"/>
            </a:endParaRPr>
          </a:p>
        </p:txBody>
      </p:sp>
      <p:sp>
        <p:nvSpPr>
          <p:cNvPr id="7" name="Google Shape;72;p15">
            <a:extLst>
              <a:ext uri="{FF2B5EF4-FFF2-40B4-BE49-F238E27FC236}">
                <a16:creationId xmlns:a16="http://schemas.microsoft.com/office/drawing/2014/main" id="{5DF68B03-E948-4851-77C3-78C349F0D6CB}"/>
              </a:ext>
            </a:extLst>
          </p:cNvPr>
          <p:cNvSpPr>
            <a:spLocks noChangeAspect="1"/>
          </p:cNvSpPr>
          <p:nvPr/>
        </p:nvSpPr>
        <p:spPr>
          <a:xfrm>
            <a:off x="655837" y="3534491"/>
            <a:ext cx="876314" cy="900000"/>
          </a:xfrm>
          <a:prstGeom prst="ellipse">
            <a:avLst/>
          </a:prstGeom>
          <a:solidFill>
            <a:schemeClr val="tx2"/>
          </a:solidFill>
          <a:ln>
            <a:noFill/>
          </a:ln>
        </p:spPr>
        <p:txBody>
          <a:bodyPr spcFirstLastPara="1" wrap="square" lIns="0" tIns="0" rIns="0" bIns="0" anchor="ctr" anchorCtr="1">
            <a:no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fr-FR" sz="933" b="0" i="0" u="none" strike="noStrike" kern="1200" cap="none" spc="0" normalizeH="0" baseline="0" noProof="0">
              <a:ln>
                <a:noFill/>
              </a:ln>
              <a:solidFill>
                <a:srgbClr val="FFFFFF"/>
              </a:solidFill>
              <a:effectLst/>
              <a:uLnTx/>
              <a:uFillTx/>
              <a:latin typeface="+mj-lt"/>
              <a:ea typeface="+mn-ea"/>
              <a:cs typeface="+mn-cs"/>
            </a:endParaRPr>
          </a:p>
        </p:txBody>
      </p:sp>
      <p:sp>
        <p:nvSpPr>
          <p:cNvPr id="8" name="Google Shape;77;p15">
            <a:extLst>
              <a:ext uri="{FF2B5EF4-FFF2-40B4-BE49-F238E27FC236}">
                <a16:creationId xmlns:a16="http://schemas.microsoft.com/office/drawing/2014/main" id="{1E9A9D18-79BE-0CD7-2673-AFF7DB5DFF44}"/>
              </a:ext>
            </a:extLst>
          </p:cNvPr>
          <p:cNvSpPr txBox="1">
            <a:spLocks noChangeAspect="1"/>
          </p:cNvSpPr>
          <p:nvPr/>
        </p:nvSpPr>
        <p:spPr>
          <a:xfrm>
            <a:off x="494971" y="3630957"/>
            <a:ext cx="1189484" cy="503386"/>
          </a:xfrm>
          <a:prstGeom prst="rect">
            <a:avLst/>
          </a:prstGeom>
          <a:noFill/>
          <a:ln>
            <a:noFill/>
          </a:ln>
        </p:spPr>
        <p:txBody>
          <a:bodyPr spcFirstLastPara="1" wrap="square" lIns="121900" tIns="121900" rIns="121900" bIns="121900" anchor="t" anchorCtr="0">
            <a:no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1467" b="1" i="0" u="none" strike="noStrike" kern="1200" cap="none" spc="0" normalizeH="0" baseline="0" noProof="0">
                <a:ln>
                  <a:noFill/>
                </a:ln>
                <a:solidFill>
                  <a:srgbClr val="FFFFFF"/>
                </a:solidFill>
                <a:effectLst/>
                <a:uLnTx/>
                <a:uFillTx/>
                <a:latin typeface="+mj-lt"/>
                <a:ea typeface="Montserrat"/>
                <a:cs typeface="Montserrat"/>
                <a:sym typeface="Montserrat"/>
              </a:rPr>
              <a:t>8</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933" b="0" i="0" u="none" strike="noStrike" kern="1200" cap="none" spc="0" normalizeH="0" baseline="0" noProof="0">
                <a:ln>
                  <a:noFill/>
                </a:ln>
                <a:solidFill>
                  <a:srgbClr val="FFFFFF"/>
                </a:solidFill>
                <a:effectLst/>
                <a:uLnTx/>
                <a:uFillTx/>
                <a:latin typeface="+mj-lt"/>
                <a:ea typeface="Montserrat"/>
                <a:cs typeface="Montserrat"/>
                <a:sym typeface="Montserrat"/>
              </a:rPr>
              <a:t>Domaines d’offres</a:t>
            </a:r>
            <a:endParaRPr kumimoji="0" lang="fr-FR" sz="1200" b="1" i="0" u="none" strike="noStrike" kern="1200" cap="none" spc="0" normalizeH="0" baseline="0" noProof="0">
              <a:ln>
                <a:noFill/>
              </a:ln>
              <a:solidFill>
                <a:srgbClr val="FFFFFF"/>
              </a:solidFill>
              <a:effectLst/>
              <a:uLnTx/>
              <a:uFillTx/>
              <a:latin typeface="+mj-lt"/>
              <a:ea typeface="Montserrat"/>
              <a:cs typeface="Montserrat"/>
              <a:sym typeface="Montserrat"/>
            </a:endParaRPr>
          </a:p>
        </p:txBody>
      </p:sp>
      <p:sp>
        <p:nvSpPr>
          <p:cNvPr id="9" name="Google Shape;72;p15">
            <a:extLst>
              <a:ext uri="{FF2B5EF4-FFF2-40B4-BE49-F238E27FC236}">
                <a16:creationId xmlns:a16="http://schemas.microsoft.com/office/drawing/2014/main" id="{2D320EB2-4423-B0D8-2612-D20126843255}"/>
              </a:ext>
            </a:extLst>
          </p:cNvPr>
          <p:cNvSpPr>
            <a:spLocks noChangeAspect="1"/>
          </p:cNvSpPr>
          <p:nvPr/>
        </p:nvSpPr>
        <p:spPr>
          <a:xfrm>
            <a:off x="655837" y="4574680"/>
            <a:ext cx="876314" cy="900000"/>
          </a:xfrm>
          <a:prstGeom prst="ellipse">
            <a:avLst/>
          </a:prstGeom>
          <a:solidFill>
            <a:schemeClr val="accent1"/>
          </a:solidFill>
          <a:ln>
            <a:noFill/>
          </a:ln>
        </p:spPr>
        <p:txBody>
          <a:bodyPr spcFirstLastPara="1" wrap="square" lIns="0" tIns="0" rIns="0" bIns="0" anchor="ctr" anchorCtr="1">
            <a:no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fr-FR" sz="933" b="0" i="0" u="none" strike="noStrike" kern="1200" cap="none" spc="0" normalizeH="0" baseline="0" noProof="0">
              <a:ln>
                <a:noFill/>
              </a:ln>
              <a:solidFill>
                <a:srgbClr val="FFFFFF"/>
              </a:solidFill>
              <a:effectLst/>
              <a:uLnTx/>
              <a:uFillTx/>
              <a:latin typeface="+mj-lt"/>
              <a:ea typeface="+mn-ea"/>
              <a:cs typeface="+mn-cs"/>
            </a:endParaRPr>
          </a:p>
        </p:txBody>
      </p:sp>
      <p:sp>
        <p:nvSpPr>
          <p:cNvPr id="10" name="Google Shape;77;p15">
            <a:extLst>
              <a:ext uri="{FF2B5EF4-FFF2-40B4-BE49-F238E27FC236}">
                <a16:creationId xmlns:a16="http://schemas.microsoft.com/office/drawing/2014/main" id="{3D298E1A-4CC4-1C28-4853-F048ED689294}"/>
              </a:ext>
            </a:extLst>
          </p:cNvPr>
          <p:cNvSpPr txBox="1">
            <a:spLocks noChangeAspect="1"/>
          </p:cNvSpPr>
          <p:nvPr/>
        </p:nvSpPr>
        <p:spPr>
          <a:xfrm>
            <a:off x="489420" y="4671146"/>
            <a:ext cx="1189484" cy="503386"/>
          </a:xfrm>
          <a:prstGeom prst="rect">
            <a:avLst/>
          </a:prstGeom>
          <a:noFill/>
          <a:ln>
            <a:noFill/>
          </a:ln>
        </p:spPr>
        <p:txBody>
          <a:bodyPr spcFirstLastPara="1" wrap="square" lIns="121900" tIns="121900" rIns="121900" bIns="121900" anchor="t" anchorCtr="0">
            <a:no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1467" b="1" i="0" u="none" strike="noStrike" kern="1200" cap="none" spc="0" normalizeH="0" baseline="0" noProof="0">
                <a:ln>
                  <a:noFill/>
                </a:ln>
                <a:solidFill>
                  <a:srgbClr val="FFFFFF"/>
                </a:solidFill>
                <a:effectLst/>
                <a:uLnTx/>
                <a:uFillTx/>
                <a:latin typeface="+mj-lt"/>
                <a:ea typeface="Montserrat"/>
                <a:cs typeface="Montserrat"/>
                <a:sym typeface="Montserrat"/>
              </a:rPr>
              <a:t>4</a:t>
            </a: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fr-FR" sz="933" b="0" i="0" u="none" strike="noStrike" kern="1200" cap="none" spc="0" normalizeH="0" baseline="0" noProof="0">
                <a:ln>
                  <a:noFill/>
                </a:ln>
                <a:solidFill>
                  <a:srgbClr val="FFFFFF"/>
                </a:solidFill>
                <a:effectLst/>
                <a:uLnTx/>
                <a:uFillTx/>
                <a:latin typeface="+mj-lt"/>
                <a:ea typeface="+mn-ea"/>
                <a:cs typeface="+mn-cs"/>
                <a:sym typeface="Montserrat"/>
              </a:rPr>
              <a:t>M€ CA</a:t>
            </a:r>
          </a:p>
        </p:txBody>
      </p:sp>
      <p:sp>
        <p:nvSpPr>
          <p:cNvPr id="12" name="ZoneTexte 11">
            <a:extLst>
              <a:ext uri="{FF2B5EF4-FFF2-40B4-BE49-F238E27FC236}">
                <a16:creationId xmlns:a16="http://schemas.microsoft.com/office/drawing/2014/main" id="{78C2CC30-2F9B-0CB6-20DF-84143FD855FE}"/>
              </a:ext>
            </a:extLst>
          </p:cNvPr>
          <p:cNvSpPr txBox="1"/>
          <p:nvPr/>
        </p:nvSpPr>
        <p:spPr>
          <a:xfrm>
            <a:off x="1678904" y="4280854"/>
            <a:ext cx="2205033" cy="14876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203F8D"/>
                </a:solidFill>
                <a:effectLst/>
                <a:uLnTx/>
                <a:uFillTx/>
                <a:latin typeface="+mj-lt"/>
                <a:ea typeface="+mn-ea"/>
                <a:cs typeface="+mn-cs"/>
              </a:rPr>
              <a:t>Nos clients :</a:t>
            </a: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000000"/>
                </a:solidFill>
                <a:effectLst/>
                <a:uLnTx/>
                <a:uFillTx/>
                <a:latin typeface="+mj-lt"/>
                <a:ea typeface="Montserrat" panose="00000500000000000000"/>
                <a:cs typeface="Montserrat" panose="00000500000000000000"/>
                <a:sym typeface="Montserrat"/>
              </a:rPr>
              <a:t>Directions générales </a:t>
            </a: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000000"/>
                </a:solidFill>
                <a:effectLst/>
                <a:uLnTx/>
                <a:uFillTx/>
                <a:latin typeface="+mj-lt"/>
                <a:ea typeface="Montserrat" panose="00000500000000000000"/>
                <a:cs typeface="Montserrat" panose="00000500000000000000"/>
                <a:sym typeface="Montserrat"/>
              </a:rPr>
              <a:t>Directions métiers</a:t>
            </a: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000000"/>
                </a:solidFill>
                <a:effectLst/>
                <a:uLnTx/>
                <a:uFillTx/>
                <a:latin typeface="+mj-lt"/>
                <a:ea typeface="Montserrat" panose="00000500000000000000"/>
                <a:cs typeface="Montserrat" panose="00000500000000000000"/>
                <a:sym typeface="Montserrat"/>
              </a:rPr>
              <a:t>DSI</a:t>
            </a: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000000"/>
                </a:solidFill>
                <a:effectLst/>
                <a:uLnTx/>
                <a:uFillTx/>
                <a:latin typeface="+mj-lt"/>
                <a:ea typeface="Montserrat" panose="00000500000000000000"/>
                <a:cs typeface="Montserrat" panose="00000500000000000000"/>
                <a:sym typeface="Montserrat"/>
              </a:rPr>
              <a:t>Direction de l’organisation </a:t>
            </a:r>
            <a:endParaRPr kumimoji="0" lang="fr-FR" sz="1200" b="0" i="0" u="none" strike="noStrike" kern="1200" cap="none" spc="0" normalizeH="0" baseline="0" noProof="0">
              <a:ln>
                <a:noFill/>
              </a:ln>
              <a:solidFill>
                <a:srgbClr val="000000"/>
              </a:solidFill>
              <a:effectLst/>
              <a:uLnTx/>
              <a:uFillTx/>
              <a:latin typeface="+mj-lt"/>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000000"/>
                </a:solidFill>
                <a:effectLst/>
                <a:uLnTx/>
                <a:uFillTx/>
                <a:latin typeface="+mj-lt"/>
                <a:ea typeface="Montserrat" panose="00000500000000000000"/>
                <a:cs typeface="Montserrat" panose="00000500000000000000"/>
                <a:sym typeface="Montserrat"/>
              </a:rPr>
              <a:t>DR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67" b="0" i="0" u="none" strike="noStrike" kern="1200" cap="none" spc="0" normalizeH="0" baseline="0" noProof="0">
              <a:ln>
                <a:noFill/>
              </a:ln>
              <a:solidFill>
                <a:srgbClr val="000000"/>
              </a:solidFill>
              <a:effectLst/>
              <a:uLnTx/>
              <a:uFillTx/>
              <a:latin typeface="+mj-lt"/>
              <a:ea typeface="+mn-ea"/>
              <a:cs typeface="+mn-cs"/>
            </a:endParaRPr>
          </a:p>
        </p:txBody>
      </p:sp>
    </p:spTree>
    <p:extLst>
      <p:ext uri="{BB962C8B-B14F-4D97-AF65-F5344CB8AC3E}">
        <p14:creationId xmlns:p14="http://schemas.microsoft.com/office/powerpoint/2010/main" val="16291023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CED5CC6-D44D-46CF-87ED-9F93BCBA6175}"/>
              </a:ext>
            </a:extLst>
          </p:cNvPr>
          <p:cNvSpPr>
            <a:spLocks noGrp="1"/>
          </p:cNvSpPr>
          <p:nvPr>
            <p:ph type="title"/>
          </p:nvPr>
        </p:nvSpPr>
        <p:spPr/>
        <p:txBody>
          <a:bodyPr/>
          <a:lstStyle/>
          <a:p>
            <a:r>
              <a:rPr lang="fr-FR"/>
              <a:t>Le dispositif proposé</a:t>
            </a:r>
          </a:p>
        </p:txBody>
      </p:sp>
      <p:sp>
        <p:nvSpPr>
          <p:cNvPr id="4" name="Espace réservé du contenu 1">
            <a:extLst>
              <a:ext uri="{FF2B5EF4-FFF2-40B4-BE49-F238E27FC236}">
                <a16:creationId xmlns:a16="http://schemas.microsoft.com/office/drawing/2014/main" id="{4A508FF4-FB7F-1647-9EC4-35A7CFA8AA2E}"/>
              </a:ext>
            </a:extLst>
          </p:cNvPr>
          <p:cNvSpPr txBox="1">
            <a:spLocks/>
          </p:cNvSpPr>
          <p:nvPr/>
        </p:nvSpPr>
        <p:spPr>
          <a:xfrm>
            <a:off x="444499" y="975567"/>
            <a:ext cx="11337925" cy="702876"/>
          </a:xfrm>
          <a:prstGeom prst="rect">
            <a:avLst/>
          </a:prstGeom>
        </p:spPr>
        <p:txBody>
          <a:bodyPr>
            <a:normAutofit lnSpcReduction="10000"/>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Arial"/>
            </a:pPr>
            <a:r>
              <a:rPr lang="fr-FR" b="0" kern="0" cap="none">
                <a:solidFill>
                  <a:srgbClr val="EEEEEE">
                    <a:lumMod val="10000"/>
                  </a:srgbClr>
                </a:solidFill>
                <a:latin typeface="+mj-lt"/>
                <a:cs typeface="Arial"/>
              </a:rPr>
              <a:t>Compte tenu des </a:t>
            </a:r>
            <a:r>
              <a:rPr lang="fr-FR" kern="0" cap="none">
                <a:solidFill>
                  <a:srgbClr val="EEEEEE">
                    <a:lumMod val="10000"/>
                  </a:srgbClr>
                </a:solidFill>
                <a:latin typeface="+mj-lt"/>
                <a:cs typeface="Arial"/>
              </a:rPr>
              <a:t>enjeux courts termes de la formation auprès </a:t>
            </a:r>
            <a:r>
              <a:rPr lang="fr-FR" b="0" kern="0" cap="none">
                <a:solidFill>
                  <a:srgbClr val="EEEEEE">
                    <a:lumMod val="10000"/>
                  </a:srgbClr>
                </a:solidFill>
                <a:latin typeface="+mj-lt"/>
                <a:cs typeface="Arial"/>
              </a:rPr>
              <a:t>des agents de Transilien et des compétences à mobiliser, - </a:t>
            </a:r>
            <a:r>
              <a:rPr lang="fr-FR" kern="0" cap="none">
                <a:solidFill>
                  <a:srgbClr val="EEEEEE">
                    <a:lumMod val="10000"/>
                  </a:srgbClr>
                </a:solidFill>
                <a:latin typeface="+mj-lt"/>
                <a:cs typeface="Arial"/>
              </a:rPr>
              <a:t>Conduite de changement, pilotage de projet et expertise ferroviaire </a:t>
            </a:r>
            <a:r>
              <a:rPr lang="fr-FR" b="0" kern="0" cap="none">
                <a:solidFill>
                  <a:srgbClr val="EEEEEE">
                    <a:lumMod val="10000"/>
                  </a:srgbClr>
                </a:solidFill>
                <a:latin typeface="+mj-lt"/>
                <a:cs typeface="Arial"/>
              </a:rPr>
              <a:t>- nous proposons des profils adapté au niveau d’exigences, s’inscrivant dans le dispositif Talan Consulting déjà présent chez SNCF Transilien (et notamment chez POGS Transilien et NET).</a:t>
            </a:r>
          </a:p>
        </p:txBody>
      </p:sp>
      <p:grpSp>
        <p:nvGrpSpPr>
          <p:cNvPr id="164" name="Groupe 163">
            <a:extLst>
              <a:ext uri="{FF2B5EF4-FFF2-40B4-BE49-F238E27FC236}">
                <a16:creationId xmlns:a16="http://schemas.microsoft.com/office/drawing/2014/main" id="{88C70AD6-680D-0CD9-01A0-D31B5A16096B}"/>
              </a:ext>
            </a:extLst>
          </p:cNvPr>
          <p:cNvGrpSpPr/>
          <p:nvPr/>
        </p:nvGrpSpPr>
        <p:grpSpPr>
          <a:xfrm>
            <a:off x="421767" y="2122635"/>
            <a:ext cx="4464001" cy="4283999"/>
            <a:chOff x="3862665" y="1893888"/>
            <a:chExt cx="4629150" cy="4437062"/>
          </a:xfrm>
        </p:grpSpPr>
        <p:sp>
          <p:nvSpPr>
            <p:cNvPr id="146" name="Freeform 5">
              <a:extLst>
                <a:ext uri="{FF2B5EF4-FFF2-40B4-BE49-F238E27FC236}">
                  <a16:creationId xmlns:a16="http://schemas.microsoft.com/office/drawing/2014/main" id="{5C9C28A3-3DBA-EB07-5DEC-21F727F50E46}"/>
                </a:ext>
              </a:extLst>
            </p:cNvPr>
            <p:cNvSpPr>
              <a:spLocks/>
            </p:cNvSpPr>
            <p:nvPr/>
          </p:nvSpPr>
          <p:spPr bwMode="blackWhite">
            <a:xfrm>
              <a:off x="4613062" y="2545027"/>
              <a:ext cx="3140012" cy="2664277"/>
            </a:xfrm>
            <a:custGeom>
              <a:avLst/>
              <a:gdLst>
                <a:gd name="T0" fmla="*/ 3827 w 1009"/>
                <a:gd name="T1" fmla="*/ 16313 h 881"/>
                <a:gd name="T2" fmla="*/ 17479 w 1009"/>
                <a:gd name="T3" fmla="*/ 16313 h 881"/>
                <a:gd name="T4" fmla="*/ 20973 w 1009"/>
                <a:gd name="T5" fmla="*/ 6673 h 881"/>
                <a:gd name="T6" fmla="*/ 10482 w 1009"/>
                <a:gd name="T7" fmla="*/ 0 h 881"/>
                <a:gd name="T8" fmla="*/ 0 w 1009"/>
                <a:gd name="T9" fmla="*/ 6673 h 881"/>
                <a:gd name="T10" fmla="*/ 3827 w 1009"/>
                <a:gd name="T11" fmla="*/ 16313 h 881"/>
                <a:gd name="T12" fmla="*/ 0 60000 65536"/>
                <a:gd name="T13" fmla="*/ 0 60000 65536"/>
                <a:gd name="T14" fmla="*/ 0 60000 65536"/>
                <a:gd name="T15" fmla="*/ 0 60000 65536"/>
                <a:gd name="T16" fmla="*/ 0 60000 65536"/>
                <a:gd name="T17" fmla="*/ 0 60000 65536"/>
                <a:gd name="T18" fmla="*/ 0 w 1009"/>
                <a:gd name="T19" fmla="*/ 0 h 881"/>
                <a:gd name="T20" fmla="*/ 1009 w 1009"/>
                <a:gd name="T21" fmla="*/ 881 h 881"/>
              </a:gdLst>
              <a:ahLst/>
              <a:cxnLst>
                <a:cxn ang="T12">
                  <a:pos x="T0" y="T1"/>
                </a:cxn>
                <a:cxn ang="T13">
                  <a:pos x="T2" y="T3"/>
                </a:cxn>
                <a:cxn ang="T14">
                  <a:pos x="T4" y="T5"/>
                </a:cxn>
                <a:cxn ang="T15">
                  <a:pos x="T6" y="T7"/>
                </a:cxn>
                <a:cxn ang="T16">
                  <a:pos x="T8" y="T9"/>
                </a:cxn>
                <a:cxn ang="T17">
                  <a:pos x="T10" y="T11"/>
                </a:cxn>
              </a:cxnLst>
              <a:rect l="T18" t="T19" r="T20" b="T21"/>
              <a:pathLst>
                <a:path w="1009" h="881">
                  <a:moveTo>
                    <a:pt x="184" y="880"/>
                  </a:moveTo>
                  <a:lnTo>
                    <a:pt x="840" y="880"/>
                  </a:lnTo>
                  <a:lnTo>
                    <a:pt x="1008" y="360"/>
                  </a:lnTo>
                  <a:lnTo>
                    <a:pt x="504" y="0"/>
                  </a:lnTo>
                  <a:lnTo>
                    <a:pt x="0" y="360"/>
                  </a:lnTo>
                  <a:lnTo>
                    <a:pt x="184" y="880"/>
                  </a:lnTo>
                </a:path>
              </a:pathLst>
            </a:custGeom>
            <a:solidFill>
              <a:schemeClr val="bg1"/>
            </a:solidFill>
            <a:ln w="6350" cap="rnd">
              <a:solidFill>
                <a:srgbClr val="BBBCBC"/>
              </a:solidFill>
              <a:round/>
              <a:headEnd/>
              <a:tailEnd/>
            </a:ln>
          </p:spPr>
          <p:txBody>
            <a:bodyPr lIns="0" tIns="0" rIns="0" bIns="0">
              <a:noAutofit/>
            </a:bodyPr>
            <a:lstStyle/>
            <a:p>
              <a:pPr>
                <a:defRPr/>
              </a:pPr>
              <a:endParaRPr lang="en-GB">
                <a:latin typeface="+mj-lt"/>
                <a:cs typeface="Arial" charset="0"/>
              </a:endParaRPr>
            </a:p>
          </p:txBody>
        </p:sp>
        <p:sp>
          <p:nvSpPr>
            <p:cNvPr id="147" name="Arc 6">
              <a:extLst>
                <a:ext uri="{FF2B5EF4-FFF2-40B4-BE49-F238E27FC236}">
                  <a16:creationId xmlns:a16="http://schemas.microsoft.com/office/drawing/2014/main" id="{B3D1DAE3-58E2-CBC9-3D55-190B5DB1D0CA}"/>
                </a:ext>
              </a:extLst>
            </p:cNvPr>
            <p:cNvSpPr>
              <a:spLocks/>
            </p:cNvSpPr>
            <p:nvPr/>
          </p:nvSpPr>
          <p:spPr bwMode="blackWhite">
            <a:xfrm>
              <a:off x="3862665" y="1893888"/>
              <a:ext cx="4629150" cy="4437062"/>
            </a:xfrm>
            <a:custGeom>
              <a:avLst/>
              <a:gdLst>
                <a:gd name="T0" fmla="*/ 0 w 43200"/>
                <a:gd name="T1" fmla="*/ 0 h 40309"/>
                <a:gd name="T2" fmla="*/ 0 w 43200"/>
                <a:gd name="T3" fmla="*/ 0 h 40309"/>
                <a:gd name="T4" fmla="*/ 0 w 43200"/>
                <a:gd name="T5" fmla="*/ 0 h 40309"/>
                <a:gd name="T6" fmla="*/ 0 60000 65536"/>
                <a:gd name="T7" fmla="*/ 0 60000 65536"/>
                <a:gd name="T8" fmla="*/ 0 60000 65536"/>
                <a:gd name="T9" fmla="*/ 0 w 43200"/>
                <a:gd name="T10" fmla="*/ 0 h 40309"/>
                <a:gd name="T11" fmla="*/ 43200 w 43200"/>
                <a:gd name="T12" fmla="*/ 40309 h 40309"/>
              </a:gdLst>
              <a:ahLst/>
              <a:cxnLst>
                <a:cxn ang="T6">
                  <a:pos x="T0" y="T1"/>
                </a:cxn>
                <a:cxn ang="T7">
                  <a:pos x="T2" y="T3"/>
                </a:cxn>
                <a:cxn ang="T8">
                  <a:pos x="T4" y="T5"/>
                </a:cxn>
              </a:cxnLst>
              <a:rect l="T9" t="T10" r="T11" b="T12"/>
              <a:pathLst>
                <a:path w="43200" h="40309" fill="none"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path>
                <a:path w="43200" h="40309" stroke="0"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lnTo>
                    <a:pt x="21600" y="18709"/>
                  </a:lnTo>
                  <a:close/>
                </a:path>
              </a:pathLst>
            </a:custGeom>
            <a:noFill/>
            <a:ln w="6350" cap="rnd">
              <a:solidFill>
                <a:schemeClr val="accent5"/>
              </a:solidFill>
              <a:round/>
              <a:headEnd type="triangle" w="lg" len="lg"/>
              <a:tailEnd type="none" w="sm" len="sm"/>
            </a:ln>
          </p:spPr>
          <p:txBody>
            <a:bodyPr lIns="0" tIns="0" rIns="0" bIns="0">
              <a:noAutofit/>
            </a:bodyPr>
            <a:lstStyle/>
            <a:p>
              <a:pPr algn="ctr">
                <a:defRPr/>
              </a:pPr>
              <a:endParaRPr lang="en-GB">
                <a:latin typeface="+mj-lt"/>
                <a:cs typeface="Arial" charset="0"/>
              </a:endParaRPr>
            </a:p>
          </p:txBody>
        </p:sp>
        <p:sp>
          <p:nvSpPr>
            <p:cNvPr id="154" name="Freeform 552">
              <a:extLst>
                <a:ext uri="{FF2B5EF4-FFF2-40B4-BE49-F238E27FC236}">
                  <a16:creationId xmlns:a16="http://schemas.microsoft.com/office/drawing/2014/main" id="{8F9C9522-1398-0475-9CA8-B94FD0B5091E}"/>
                </a:ext>
              </a:extLst>
            </p:cNvPr>
            <p:cNvSpPr>
              <a:spLocks noEditPoints="1"/>
            </p:cNvSpPr>
            <p:nvPr/>
          </p:nvSpPr>
          <p:spPr bwMode="auto">
            <a:xfrm>
              <a:off x="5777159" y="2189343"/>
              <a:ext cx="800162" cy="80016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55" name="Freeform 552">
              <a:extLst>
                <a:ext uri="{FF2B5EF4-FFF2-40B4-BE49-F238E27FC236}">
                  <a16:creationId xmlns:a16="http://schemas.microsoft.com/office/drawing/2014/main" id="{CCF5CAE9-ABD9-9925-17B0-2202F5880A55}"/>
                </a:ext>
              </a:extLst>
            </p:cNvPr>
            <p:cNvSpPr>
              <a:spLocks noEditPoints="1"/>
            </p:cNvSpPr>
            <p:nvPr/>
          </p:nvSpPr>
          <p:spPr bwMode="auto">
            <a:xfrm>
              <a:off x="4330532" y="3204536"/>
              <a:ext cx="800162" cy="80016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56" name="Freeform 552">
              <a:extLst>
                <a:ext uri="{FF2B5EF4-FFF2-40B4-BE49-F238E27FC236}">
                  <a16:creationId xmlns:a16="http://schemas.microsoft.com/office/drawing/2014/main" id="{13405765-BAC4-9FDA-C0FC-E886B81F2937}"/>
                </a:ext>
              </a:extLst>
            </p:cNvPr>
            <p:cNvSpPr>
              <a:spLocks noEditPoints="1"/>
            </p:cNvSpPr>
            <p:nvPr/>
          </p:nvSpPr>
          <p:spPr bwMode="auto">
            <a:xfrm>
              <a:off x="7234157" y="3204536"/>
              <a:ext cx="800162" cy="80016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57" name="Freeform 552">
              <a:extLst>
                <a:ext uri="{FF2B5EF4-FFF2-40B4-BE49-F238E27FC236}">
                  <a16:creationId xmlns:a16="http://schemas.microsoft.com/office/drawing/2014/main" id="{FB695D2B-A96C-D215-6E4E-69A789765C73}"/>
                </a:ext>
              </a:extLst>
            </p:cNvPr>
            <p:cNvSpPr>
              <a:spLocks noEditPoints="1"/>
            </p:cNvSpPr>
            <p:nvPr/>
          </p:nvSpPr>
          <p:spPr bwMode="auto">
            <a:xfrm>
              <a:off x="6693454" y="4683725"/>
              <a:ext cx="800162" cy="80016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58" name="Freeform 552">
              <a:extLst>
                <a:ext uri="{FF2B5EF4-FFF2-40B4-BE49-F238E27FC236}">
                  <a16:creationId xmlns:a16="http://schemas.microsoft.com/office/drawing/2014/main" id="{FF3EDC27-8389-461C-056F-FF6BE8421C9C}"/>
                </a:ext>
              </a:extLst>
            </p:cNvPr>
            <p:cNvSpPr>
              <a:spLocks noEditPoints="1"/>
            </p:cNvSpPr>
            <p:nvPr/>
          </p:nvSpPr>
          <p:spPr bwMode="auto">
            <a:xfrm>
              <a:off x="4876796" y="4682261"/>
              <a:ext cx="800162" cy="80016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59" name="Half Frame 38">
              <a:extLst>
                <a:ext uri="{FF2B5EF4-FFF2-40B4-BE49-F238E27FC236}">
                  <a16:creationId xmlns:a16="http://schemas.microsoft.com/office/drawing/2014/main" id="{840B3C15-1810-E749-0C17-7C6CDB5F39B8}"/>
                </a:ext>
              </a:extLst>
            </p:cNvPr>
            <p:cNvSpPr/>
            <p:nvPr/>
          </p:nvSpPr>
          <p:spPr bwMode="gray">
            <a:xfrm rot="5400000" flipH="1">
              <a:off x="6845945" y="2970956"/>
              <a:ext cx="139967" cy="139968"/>
            </a:xfrm>
            <a:prstGeom prst="halfFrame">
              <a:avLst>
                <a:gd name="adj1" fmla="val 15530"/>
                <a:gd name="adj2" fmla="val 15319"/>
              </a:avLst>
            </a:prstGeom>
            <a:solidFill>
              <a:srgbClr val="00D998"/>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srgbClr val="FFFFFF"/>
                </a:solidFill>
                <a:effectLst/>
                <a:uLnTx/>
                <a:uFillTx/>
                <a:latin typeface="+mj-lt"/>
                <a:ea typeface="+mn-ea"/>
                <a:cs typeface="+mn-cs"/>
              </a:endParaRPr>
            </a:p>
          </p:txBody>
        </p:sp>
        <p:sp>
          <p:nvSpPr>
            <p:cNvPr id="160" name="Half Frame 38">
              <a:extLst>
                <a:ext uri="{FF2B5EF4-FFF2-40B4-BE49-F238E27FC236}">
                  <a16:creationId xmlns:a16="http://schemas.microsoft.com/office/drawing/2014/main" id="{4052F555-59DB-0DCE-7C1A-0788F1D9AB95}"/>
                </a:ext>
              </a:extLst>
            </p:cNvPr>
            <p:cNvSpPr/>
            <p:nvPr/>
          </p:nvSpPr>
          <p:spPr bwMode="gray">
            <a:xfrm rot="468088" flipH="1">
              <a:off x="5295254" y="3040939"/>
              <a:ext cx="139967" cy="139968"/>
            </a:xfrm>
            <a:prstGeom prst="halfFrame">
              <a:avLst>
                <a:gd name="adj1" fmla="val 15530"/>
                <a:gd name="adj2" fmla="val 15319"/>
              </a:avLst>
            </a:prstGeom>
            <a:solidFill>
              <a:srgbClr val="00D998"/>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srgbClr val="FFFFFF"/>
                </a:solidFill>
                <a:effectLst/>
                <a:uLnTx/>
                <a:uFillTx/>
                <a:latin typeface="+mj-lt"/>
                <a:ea typeface="+mn-ea"/>
                <a:cs typeface="+mn-cs"/>
              </a:endParaRPr>
            </a:p>
          </p:txBody>
        </p:sp>
        <p:sp>
          <p:nvSpPr>
            <p:cNvPr id="161" name="Half Frame 38">
              <a:extLst>
                <a:ext uri="{FF2B5EF4-FFF2-40B4-BE49-F238E27FC236}">
                  <a16:creationId xmlns:a16="http://schemas.microsoft.com/office/drawing/2014/main" id="{7DE08DC3-D2B9-34F4-9AEE-9345B8CBB0C9}"/>
                </a:ext>
              </a:extLst>
            </p:cNvPr>
            <p:cNvSpPr/>
            <p:nvPr/>
          </p:nvSpPr>
          <p:spPr bwMode="gray">
            <a:xfrm rot="17440012" flipH="1">
              <a:off x="4844551" y="4358977"/>
              <a:ext cx="139967" cy="139968"/>
            </a:xfrm>
            <a:prstGeom prst="halfFrame">
              <a:avLst>
                <a:gd name="adj1" fmla="val 15530"/>
                <a:gd name="adj2" fmla="val 15319"/>
              </a:avLst>
            </a:prstGeom>
            <a:solidFill>
              <a:srgbClr val="00D998"/>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srgbClr val="FFFFFF"/>
                </a:solidFill>
                <a:effectLst/>
                <a:uLnTx/>
                <a:uFillTx/>
                <a:latin typeface="+mj-lt"/>
                <a:ea typeface="+mn-ea"/>
                <a:cs typeface="+mn-cs"/>
              </a:endParaRPr>
            </a:p>
          </p:txBody>
        </p:sp>
        <p:sp>
          <p:nvSpPr>
            <p:cNvPr id="162" name="Half Frame 38">
              <a:extLst>
                <a:ext uri="{FF2B5EF4-FFF2-40B4-BE49-F238E27FC236}">
                  <a16:creationId xmlns:a16="http://schemas.microsoft.com/office/drawing/2014/main" id="{B28ECEAE-035B-4661-C406-40F681B40376}"/>
                </a:ext>
              </a:extLst>
            </p:cNvPr>
            <p:cNvSpPr/>
            <p:nvPr/>
          </p:nvSpPr>
          <p:spPr bwMode="gray">
            <a:xfrm rot="9407875" flipH="1">
              <a:off x="7442682" y="4306400"/>
              <a:ext cx="139967" cy="139968"/>
            </a:xfrm>
            <a:prstGeom prst="halfFrame">
              <a:avLst>
                <a:gd name="adj1" fmla="val 15530"/>
                <a:gd name="adj2" fmla="val 15319"/>
              </a:avLst>
            </a:prstGeom>
            <a:solidFill>
              <a:srgbClr val="00D998"/>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srgbClr val="FFFFFF"/>
                </a:solidFill>
                <a:effectLst/>
                <a:uLnTx/>
                <a:uFillTx/>
                <a:latin typeface="+mj-lt"/>
                <a:ea typeface="+mn-ea"/>
                <a:cs typeface="+mn-cs"/>
              </a:endParaRPr>
            </a:p>
          </p:txBody>
        </p:sp>
        <p:sp>
          <p:nvSpPr>
            <p:cNvPr id="163" name="Half Frame 38">
              <a:extLst>
                <a:ext uri="{FF2B5EF4-FFF2-40B4-BE49-F238E27FC236}">
                  <a16:creationId xmlns:a16="http://schemas.microsoft.com/office/drawing/2014/main" id="{148B66DA-1BB9-8FDD-814A-9E902DB1BC79}"/>
                </a:ext>
              </a:extLst>
            </p:cNvPr>
            <p:cNvSpPr/>
            <p:nvPr/>
          </p:nvSpPr>
          <p:spPr bwMode="gray">
            <a:xfrm rot="13132555" flipH="1">
              <a:off x="6149865" y="5139319"/>
              <a:ext cx="139967" cy="139968"/>
            </a:xfrm>
            <a:prstGeom prst="halfFrame">
              <a:avLst>
                <a:gd name="adj1" fmla="val 15530"/>
                <a:gd name="adj2" fmla="val 15319"/>
              </a:avLst>
            </a:prstGeom>
            <a:solidFill>
              <a:srgbClr val="00D998"/>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srgbClr val="FFFFFF"/>
                </a:solidFill>
                <a:effectLst/>
                <a:uLnTx/>
                <a:uFillTx/>
                <a:latin typeface="+mj-lt"/>
                <a:ea typeface="+mn-ea"/>
                <a:cs typeface="+mn-cs"/>
              </a:endParaRPr>
            </a:p>
          </p:txBody>
        </p:sp>
      </p:grpSp>
      <p:sp>
        <p:nvSpPr>
          <p:cNvPr id="174" name="Freeform 552">
            <a:extLst>
              <a:ext uri="{FF2B5EF4-FFF2-40B4-BE49-F238E27FC236}">
                <a16:creationId xmlns:a16="http://schemas.microsoft.com/office/drawing/2014/main" id="{9EDCDA73-CF95-BA08-4751-C40979072A4D}"/>
              </a:ext>
            </a:extLst>
          </p:cNvPr>
          <p:cNvSpPr>
            <a:spLocks noEditPoints="1"/>
          </p:cNvSpPr>
          <p:nvPr/>
        </p:nvSpPr>
        <p:spPr bwMode="auto">
          <a:xfrm>
            <a:off x="3908789" y="2068154"/>
            <a:ext cx="800162" cy="80016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75" name="Espace réservé du contenu 1">
            <a:extLst>
              <a:ext uri="{FF2B5EF4-FFF2-40B4-BE49-F238E27FC236}">
                <a16:creationId xmlns:a16="http://schemas.microsoft.com/office/drawing/2014/main" id="{82C9C8E9-95AD-A43A-9725-68B89FB66ABC}"/>
              </a:ext>
            </a:extLst>
          </p:cNvPr>
          <p:cNvSpPr txBox="1">
            <a:spLocks/>
          </p:cNvSpPr>
          <p:nvPr/>
        </p:nvSpPr>
        <p:spPr>
          <a:xfrm>
            <a:off x="4549271" y="2008405"/>
            <a:ext cx="1288155" cy="504603"/>
          </a:xfrm>
          <a:prstGeom prst="rect">
            <a:avLst/>
          </a:prstGeom>
        </p:spPr>
        <p:txBody>
          <a:bodyPr anchor="ctr">
            <a:normAutofit fontScale="40000" lnSpcReduction="20000"/>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Font typeface="Arial"/>
            </a:pPr>
            <a:r>
              <a:rPr lang="fr-FR" sz="2000" kern="0" cap="none">
                <a:solidFill>
                  <a:schemeClr val="accent6"/>
                </a:solidFill>
                <a:latin typeface="+mj-lt"/>
                <a:cs typeface="Arial"/>
              </a:rPr>
              <a:t>15 consultants, déjà présents chez Transilien, en appui</a:t>
            </a:r>
          </a:p>
        </p:txBody>
      </p:sp>
      <p:sp>
        <p:nvSpPr>
          <p:cNvPr id="182" name="Espace réservé du contenu 1">
            <a:extLst>
              <a:ext uri="{FF2B5EF4-FFF2-40B4-BE49-F238E27FC236}">
                <a16:creationId xmlns:a16="http://schemas.microsoft.com/office/drawing/2014/main" id="{399B1F8B-7642-6EBA-1CA1-3BD719B10579}"/>
              </a:ext>
            </a:extLst>
          </p:cNvPr>
          <p:cNvSpPr txBox="1">
            <a:spLocks/>
          </p:cNvSpPr>
          <p:nvPr/>
        </p:nvSpPr>
        <p:spPr>
          <a:xfrm>
            <a:off x="1761454" y="3849072"/>
            <a:ext cx="1931070" cy="339694"/>
          </a:xfrm>
          <a:prstGeom prst="rect">
            <a:avLst/>
          </a:prstGeom>
        </p:spPr>
        <p:txBody>
          <a:bodyPr anchor="ctr">
            <a:no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Font typeface="Arial"/>
            </a:pPr>
            <a:r>
              <a:rPr lang="fr-FR" sz="1600" kern="0" cap="none">
                <a:solidFill>
                  <a:schemeClr val="tx1"/>
                </a:solidFill>
                <a:latin typeface="+mj-lt"/>
                <a:cs typeface="Arial"/>
              </a:rPr>
              <a:t>UNE ÉQUIPE DE 5 CONSULTANTS </a:t>
            </a:r>
            <a:r>
              <a:rPr lang="fr-FR" sz="1600" b="0" kern="0" cap="none">
                <a:solidFill>
                  <a:schemeClr val="tx1"/>
                </a:solidFill>
                <a:latin typeface="+mj-lt"/>
                <a:cs typeface="Arial"/>
              </a:rPr>
              <a:t>AU CŒUR DE LA FORMATION</a:t>
            </a:r>
          </a:p>
        </p:txBody>
      </p:sp>
      <p:sp>
        <p:nvSpPr>
          <p:cNvPr id="183" name="Espace réservé du contenu 1">
            <a:extLst>
              <a:ext uri="{FF2B5EF4-FFF2-40B4-BE49-F238E27FC236}">
                <a16:creationId xmlns:a16="http://schemas.microsoft.com/office/drawing/2014/main" id="{D319A40A-D3DD-533C-9C1A-34DD5E26ED6D}"/>
              </a:ext>
            </a:extLst>
          </p:cNvPr>
          <p:cNvSpPr txBox="1">
            <a:spLocks/>
          </p:cNvSpPr>
          <p:nvPr/>
        </p:nvSpPr>
        <p:spPr>
          <a:xfrm>
            <a:off x="7244228" y="2654075"/>
            <a:ext cx="4379618" cy="774925"/>
          </a:xfrm>
          <a:prstGeom prst="rect">
            <a:avLst/>
          </a:prstGeom>
        </p:spPr>
        <p:txBody>
          <a:bodyPr>
            <a:no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Arial"/>
            </a:pPr>
            <a:r>
              <a:rPr lang="fr-FR" sz="1200" b="0" kern="0" cap="none">
                <a:solidFill>
                  <a:srgbClr val="EEEEEE">
                    <a:lumMod val="10000"/>
                  </a:srgbClr>
                </a:solidFill>
                <a:latin typeface="+mj-lt"/>
                <a:cs typeface="Arial"/>
              </a:rPr>
              <a:t>Une expertise en gestion de projet qui aidera à réaligner le planning, à instruire les risques et à surveiller le déroulé de la formation en mode « </a:t>
            </a:r>
            <a:r>
              <a:rPr lang="fr-FR" sz="1200" kern="0" cap="none">
                <a:solidFill>
                  <a:srgbClr val="EEEEEE">
                    <a:lumMod val="10000"/>
                  </a:srgbClr>
                </a:solidFill>
                <a:latin typeface="+mj-lt"/>
                <a:cs typeface="Arial"/>
              </a:rPr>
              <a:t>tour de contrôle </a:t>
            </a:r>
            <a:r>
              <a:rPr lang="fr-FR" sz="1200" b="0" kern="0" cap="none">
                <a:solidFill>
                  <a:srgbClr val="EEEEEE">
                    <a:lumMod val="10000"/>
                  </a:srgbClr>
                </a:solidFill>
                <a:latin typeface="+mj-lt"/>
                <a:cs typeface="Arial"/>
              </a:rPr>
              <a:t>»</a:t>
            </a:r>
          </a:p>
        </p:txBody>
      </p:sp>
      <p:sp>
        <p:nvSpPr>
          <p:cNvPr id="188" name="Freeform 552">
            <a:extLst>
              <a:ext uri="{FF2B5EF4-FFF2-40B4-BE49-F238E27FC236}">
                <a16:creationId xmlns:a16="http://schemas.microsoft.com/office/drawing/2014/main" id="{54538CF1-F291-A8D9-20A1-8BD083FAC185}"/>
              </a:ext>
            </a:extLst>
          </p:cNvPr>
          <p:cNvSpPr>
            <a:spLocks noEditPoints="1"/>
          </p:cNvSpPr>
          <p:nvPr/>
        </p:nvSpPr>
        <p:spPr bwMode="auto">
          <a:xfrm>
            <a:off x="6365196" y="2668187"/>
            <a:ext cx="648000" cy="684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89" name="Freeform 552">
            <a:extLst>
              <a:ext uri="{FF2B5EF4-FFF2-40B4-BE49-F238E27FC236}">
                <a16:creationId xmlns:a16="http://schemas.microsoft.com/office/drawing/2014/main" id="{3EB916B9-A83F-9A16-EA67-076D39DB2E60}"/>
              </a:ext>
            </a:extLst>
          </p:cNvPr>
          <p:cNvSpPr>
            <a:spLocks noEditPoints="1"/>
          </p:cNvSpPr>
          <p:nvPr/>
        </p:nvSpPr>
        <p:spPr bwMode="auto">
          <a:xfrm>
            <a:off x="10102923" y="3589828"/>
            <a:ext cx="648000" cy="64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90" name="Freeform 552">
            <a:extLst>
              <a:ext uri="{FF2B5EF4-FFF2-40B4-BE49-F238E27FC236}">
                <a16:creationId xmlns:a16="http://schemas.microsoft.com/office/drawing/2014/main" id="{1D84F161-1E47-8DF4-D818-6DA36E041C70}"/>
              </a:ext>
            </a:extLst>
          </p:cNvPr>
          <p:cNvSpPr>
            <a:spLocks noEditPoints="1"/>
          </p:cNvSpPr>
          <p:nvPr/>
        </p:nvSpPr>
        <p:spPr bwMode="auto">
          <a:xfrm>
            <a:off x="10975846" y="3589828"/>
            <a:ext cx="648000" cy="64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91" name="Freeform 552">
            <a:extLst>
              <a:ext uri="{FF2B5EF4-FFF2-40B4-BE49-F238E27FC236}">
                <a16:creationId xmlns:a16="http://schemas.microsoft.com/office/drawing/2014/main" id="{2C44FE29-3C3D-C7FE-B92C-7C93684EFEC9}"/>
              </a:ext>
            </a:extLst>
          </p:cNvPr>
          <p:cNvSpPr>
            <a:spLocks noEditPoints="1"/>
          </p:cNvSpPr>
          <p:nvPr/>
        </p:nvSpPr>
        <p:spPr bwMode="auto">
          <a:xfrm>
            <a:off x="10975846" y="4426033"/>
            <a:ext cx="648000" cy="64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92" name="Freeform 552">
            <a:extLst>
              <a:ext uri="{FF2B5EF4-FFF2-40B4-BE49-F238E27FC236}">
                <a16:creationId xmlns:a16="http://schemas.microsoft.com/office/drawing/2014/main" id="{9471BBAE-37A4-F385-4642-775F9AE2AC13}"/>
              </a:ext>
            </a:extLst>
          </p:cNvPr>
          <p:cNvSpPr>
            <a:spLocks noEditPoints="1"/>
          </p:cNvSpPr>
          <p:nvPr/>
        </p:nvSpPr>
        <p:spPr bwMode="auto">
          <a:xfrm>
            <a:off x="10102923" y="4427628"/>
            <a:ext cx="648000" cy="64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93" name="Espace réservé du contenu 1">
            <a:extLst>
              <a:ext uri="{FF2B5EF4-FFF2-40B4-BE49-F238E27FC236}">
                <a16:creationId xmlns:a16="http://schemas.microsoft.com/office/drawing/2014/main" id="{C76F6737-62DF-1C1A-2E27-2CA8BDA6206A}"/>
              </a:ext>
            </a:extLst>
          </p:cNvPr>
          <p:cNvSpPr txBox="1">
            <a:spLocks/>
          </p:cNvSpPr>
          <p:nvPr/>
        </p:nvSpPr>
        <p:spPr>
          <a:xfrm>
            <a:off x="6252979" y="3582526"/>
            <a:ext cx="3704536" cy="1525405"/>
          </a:xfrm>
          <a:prstGeom prst="rect">
            <a:avLst/>
          </a:prstGeom>
        </p:spPr>
        <p:txBody>
          <a:bodyPr>
            <a:no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Arial"/>
            </a:pPr>
            <a:r>
              <a:rPr lang="fr-FR" sz="1200" b="0" kern="0" cap="none">
                <a:solidFill>
                  <a:srgbClr val="EEEEEE">
                    <a:lumMod val="10000"/>
                  </a:srgbClr>
                </a:solidFill>
                <a:latin typeface="+mj-lt"/>
                <a:cs typeface="Arial"/>
              </a:rPr>
              <a:t>Une équipe </a:t>
            </a:r>
            <a:r>
              <a:rPr lang="fr-FR" sz="1200" kern="0" cap="none">
                <a:solidFill>
                  <a:srgbClr val="EEEEEE">
                    <a:lumMod val="10000"/>
                  </a:srgbClr>
                </a:solidFill>
                <a:latin typeface="+mj-lt"/>
                <a:cs typeface="Arial"/>
              </a:rPr>
              <a:t>dynamique</a:t>
            </a:r>
            <a:r>
              <a:rPr lang="fr-FR" sz="1200" b="0" kern="0" cap="none">
                <a:solidFill>
                  <a:srgbClr val="EEEEEE">
                    <a:lumMod val="10000"/>
                  </a:srgbClr>
                </a:solidFill>
                <a:latin typeface="+mj-lt"/>
                <a:cs typeface="Arial"/>
              </a:rPr>
              <a:t> et </a:t>
            </a:r>
            <a:r>
              <a:rPr lang="fr-FR" sz="1200" kern="0" cap="none">
                <a:solidFill>
                  <a:srgbClr val="EEEEEE">
                    <a:lumMod val="10000"/>
                  </a:srgbClr>
                </a:solidFill>
                <a:latin typeface="+mj-lt"/>
                <a:cs typeface="Arial"/>
              </a:rPr>
              <a:t>complémentaire </a:t>
            </a:r>
            <a:r>
              <a:rPr lang="fr-FR" sz="1200" b="0" kern="0" cap="none">
                <a:solidFill>
                  <a:srgbClr val="EEEEEE">
                    <a:lumMod val="10000"/>
                  </a:srgbClr>
                </a:solidFill>
                <a:latin typeface="+mj-lt"/>
                <a:cs typeface="Arial"/>
              </a:rPr>
              <a:t>prête à animer tout type de formation et à faire front aux changements de trajectoire.</a:t>
            </a:r>
          </a:p>
          <a:p>
            <a:pPr algn="just">
              <a:buFont typeface="Arial"/>
            </a:pPr>
            <a:endParaRPr lang="fr-FR" sz="1200" b="0" kern="0" cap="none">
              <a:solidFill>
                <a:srgbClr val="EEEEEE">
                  <a:lumMod val="10000"/>
                </a:srgbClr>
              </a:solidFill>
              <a:latin typeface="+mj-lt"/>
              <a:cs typeface="Arial"/>
            </a:endParaRPr>
          </a:p>
          <a:p>
            <a:pPr algn="just">
              <a:buFont typeface="Arial"/>
            </a:pPr>
            <a:r>
              <a:rPr lang="fr-FR" sz="1200" b="0" kern="0" cap="none">
                <a:solidFill>
                  <a:srgbClr val="EEEEEE">
                    <a:lumMod val="10000"/>
                  </a:srgbClr>
                </a:solidFill>
                <a:latin typeface="+mj-lt"/>
                <a:cs typeface="Arial"/>
              </a:rPr>
              <a:t>L’équipe sera en capacité de faire face aux </a:t>
            </a:r>
            <a:r>
              <a:rPr lang="fr-FR" sz="1200" kern="0" cap="none">
                <a:solidFill>
                  <a:srgbClr val="EEEEEE">
                    <a:lumMod val="10000"/>
                  </a:srgbClr>
                </a:solidFill>
                <a:latin typeface="+mj-lt"/>
                <a:cs typeface="Arial"/>
              </a:rPr>
              <a:t>pics de charge </a:t>
            </a:r>
            <a:r>
              <a:rPr lang="fr-FR" sz="1200" b="0" kern="0" cap="none">
                <a:solidFill>
                  <a:srgbClr val="EEEEEE">
                    <a:lumMod val="10000"/>
                  </a:srgbClr>
                </a:solidFill>
                <a:latin typeface="+mj-lt"/>
                <a:cs typeface="Arial"/>
              </a:rPr>
              <a:t>et à assurer l’évaluation et l’amélioration continue dans les moments les moins pris par des sessions de formation.</a:t>
            </a:r>
          </a:p>
          <a:p>
            <a:pPr algn="just">
              <a:buFont typeface="Arial"/>
            </a:pPr>
            <a:endParaRPr lang="fr-FR" sz="1200" b="0" kern="0" cap="none">
              <a:solidFill>
                <a:srgbClr val="EEEEEE">
                  <a:lumMod val="10000"/>
                </a:srgbClr>
              </a:solidFill>
              <a:latin typeface="+mj-lt"/>
              <a:cs typeface="Arial"/>
            </a:endParaRPr>
          </a:p>
          <a:p>
            <a:pPr algn="just">
              <a:buFont typeface="Arial"/>
            </a:pPr>
            <a:endParaRPr lang="fr-FR" sz="1200" b="0" kern="0" cap="none">
              <a:solidFill>
                <a:srgbClr val="EEEEEE">
                  <a:lumMod val="10000"/>
                </a:srgbClr>
              </a:solidFill>
              <a:latin typeface="+mj-lt"/>
              <a:cs typeface="Arial"/>
            </a:endParaRPr>
          </a:p>
        </p:txBody>
      </p:sp>
      <p:cxnSp>
        <p:nvCxnSpPr>
          <p:cNvPr id="195" name="Connecteur droit 194">
            <a:extLst>
              <a:ext uri="{FF2B5EF4-FFF2-40B4-BE49-F238E27FC236}">
                <a16:creationId xmlns:a16="http://schemas.microsoft.com/office/drawing/2014/main" id="{F5BF65C0-3F2F-45CF-7A07-57C3EA2A89E3}"/>
              </a:ext>
            </a:extLst>
          </p:cNvPr>
          <p:cNvCxnSpPr>
            <a:cxnSpLocks/>
          </p:cNvCxnSpPr>
          <p:nvPr/>
        </p:nvCxnSpPr>
        <p:spPr>
          <a:xfrm>
            <a:off x="6367846" y="3483467"/>
            <a:ext cx="525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8" name="Connecteur droit 207">
            <a:extLst>
              <a:ext uri="{FF2B5EF4-FFF2-40B4-BE49-F238E27FC236}">
                <a16:creationId xmlns:a16="http://schemas.microsoft.com/office/drawing/2014/main" id="{F148327F-5E63-F171-0BFF-8EBEC1F7B792}"/>
              </a:ext>
            </a:extLst>
          </p:cNvPr>
          <p:cNvCxnSpPr>
            <a:cxnSpLocks/>
          </p:cNvCxnSpPr>
          <p:nvPr/>
        </p:nvCxnSpPr>
        <p:spPr>
          <a:xfrm>
            <a:off x="5951167" y="1932135"/>
            <a:ext cx="0" cy="442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2" name="Picture 2" descr="C:\Users\PATD04192\SNCF\Projet POGS Transilien - POGS TN\3. Conduite du changement\1 - PRESENTATION POGS\2 - Logo POGS\LOGO-11.png">
            <a:extLst>
              <a:ext uri="{FF2B5EF4-FFF2-40B4-BE49-F238E27FC236}">
                <a16:creationId xmlns:a16="http://schemas.microsoft.com/office/drawing/2014/main" id="{A87DFF64-C970-FE23-20F7-8C7A48308486}"/>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295" t="36245" r="16985" b="28342"/>
          <a:stretch/>
        </p:blipFill>
        <p:spPr bwMode="auto">
          <a:xfrm>
            <a:off x="4827164" y="2460709"/>
            <a:ext cx="751417" cy="224344"/>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 6">
            <a:extLst>
              <a:ext uri="{FF2B5EF4-FFF2-40B4-BE49-F238E27FC236}">
                <a16:creationId xmlns:a16="http://schemas.microsoft.com/office/drawing/2014/main" id="{6A1CB753-DF93-0663-FE4F-BB450C8BFD23}"/>
              </a:ext>
            </a:extLst>
          </p:cNvPr>
          <p:cNvPicPr>
            <a:picLocks noChangeAspect="1"/>
          </p:cNvPicPr>
          <p:nvPr/>
        </p:nvPicPr>
        <p:blipFill>
          <a:blip r:embed="rId4"/>
          <a:stretch>
            <a:fillRect/>
          </a:stretch>
        </p:blipFill>
        <p:spPr>
          <a:xfrm>
            <a:off x="4997766" y="2745575"/>
            <a:ext cx="417112" cy="417112"/>
          </a:xfrm>
          <a:prstGeom prst="rect">
            <a:avLst/>
          </a:prstGeom>
        </p:spPr>
      </p:pic>
    </p:spTree>
    <p:extLst>
      <p:ext uri="{BB962C8B-B14F-4D97-AF65-F5344CB8AC3E}">
        <p14:creationId xmlns:p14="http://schemas.microsoft.com/office/powerpoint/2010/main" val="37798208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CED5CC6-D44D-46CF-87ED-9F93BCBA6175}"/>
              </a:ext>
            </a:extLst>
          </p:cNvPr>
          <p:cNvSpPr>
            <a:spLocks noGrp="1"/>
          </p:cNvSpPr>
          <p:nvPr>
            <p:ph type="title"/>
          </p:nvPr>
        </p:nvSpPr>
        <p:spPr/>
        <p:txBody>
          <a:bodyPr/>
          <a:lstStyle/>
          <a:p>
            <a:r>
              <a:rPr lang="fr-FR"/>
              <a:t>Le dispositif proposé</a:t>
            </a:r>
          </a:p>
        </p:txBody>
      </p:sp>
      <p:sp>
        <p:nvSpPr>
          <p:cNvPr id="154" name="Freeform 552">
            <a:extLst>
              <a:ext uri="{FF2B5EF4-FFF2-40B4-BE49-F238E27FC236}">
                <a16:creationId xmlns:a16="http://schemas.microsoft.com/office/drawing/2014/main" id="{8F9C9522-1398-0475-9CA8-B94FD0B5091E}"/>
              </a:ext>
            </a:extLst>
          </p:cNvPr>
          <p:cNvSpPr>
            <a:spLocks noEditPoints="1"/>
          </p:cNvSpPr>
          <p:nvPr/>
        </p:nvSpPr>
        <p:spPr bwMode="auto">
          <a:xfrm>
            <a:off x="1274287" y="2005655"/>
            <a:ext cx="595808" cy="5958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55" name="Freeform 552">
            <a:extLst>
              <a:ext uri="{FF2B5EF4-FFF2-40B4-BE49-F238E27FC236}">
                <a16:creationId xmlns:a16="http://schemas.microsoft.com/office/drawing/2014/main" id="{CCF5CAE9-ABD9-9925-17B0-2202F5880A55}"/>
              </a:ext>
            </a:extLst>
          </p:cNvPr>
          <p:cNvSpPr>
            <a:spLocks noEditPoints="1"/>
          </p:cNvSpPr>
          <p:nvPr/>
        </p:nvSpPr>
        <p:spPr bwMode="auto">
          <a:xfrm>
            <a:off x="1274287" y="2817629"/>
            <a:ext cx="595808" cy="5958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56" name="Freeform 552">
            <a:extLst>
              <a:ext uri="{FF2B5EF4-FFF2-40B4-BE49-F238E27FC236}">
                <a16:creationId xmlns:a16="http://schemas.microsoft.com/office/drawing/2014/main" id="{13405765-BAC4-9FDA-C0FC-E886B81F2937}"/>
              </a:ext>
            </a:extLst>
          </p:cNvPr>
          <p:cNvSpPr>
            <a:spLocks noEditPoints="1"/>
          </p:cNvSpPr>
          <p:nvPr/>
        </p:nvSpPr>
        <p:spPr bwMode="auto">
          <a:xfrm>
            <a:off x="1274287" y="3629603"/>
            <a:ext cx="595808" cy="5958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57" name="Freeform 552">
            <a:extLst>
              <a:ext uri="{FF2B5EF4-FFF2-40B4-BE49-F238E27FC236}">
                <a16:creationId xmlns:a16="http://schemas.microsoft.com/office/drawing/2014/main" id="{FB695D2B-A96C-D215-6E4E-69A789765C73}"/>
              </a:ext>
            </a:extLst>
          </p:cNvPr>
          <p:cNvSpPr>
            <a:spLocks noEditPoints="1"/>
          </p:cNvSpPr>
          <p:nvPr/>
        </p:nvSpPr>
        <p:spPr bwMode="auto">
          <a:xfrm>
            <a:off x="1274287" y="4441577"/>
            <a:ext cx="595808" cy="5958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58" name="Freeform 552">
            <a:extLst>
              <a:ext uri="{FF2B5EF4-FFF2-40B4-BE49-F238E27FC236}">
                <a16:creationId xmlns:a16="http://schemas.microsoft.com/office/drawing/2014/main" id="{FF3EDC27-8389-461C-056F-FF6BE8421C9C}"/>
              </a:ext>
            </a:extLst>
          </p:cNvPr>
          <p:cNvSpPr>
            <a:spLocks noEditPoints="1"/>
          </p:cNvSpPr>
          <p:nvPr/>
        </p:nvSpPr>
        <p:spPr bwMode="auto">
          <a:xfrm>
            <a:off x="1274287" y="5253552"/>
            <a:ext cx="595808" cy="5958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83" name="Espace réservé du contenu 1">
            <a:extLst>
              <a:ext uri="{FF2B5EF4-FFF2-40B4-BE49-F238E27FC236}">
                <a16:creationId xmlns:a16="http://schemas.microsoft.com/office/drawing/2014/main" id="{D319A40A-D3DD-533C-9C1A-34DD5E26ED6D}"/>
              </a:ext>
            </a:extLst>
          </p:cNvPr>
          <p:cNvSpPr txBox="1">
            <a:spLocks/>
          </p:cNvSpPr>
          <p:nvPr/>
        </p:nvSpPr>
        <p:spPr>
          <a:xfrm>
            <a:off x="2308861" y="1894245"/>
            <a:ext cx="8469262" cy="800161"/>
          </a:xfrm>
          <a:prstGeom prst="rect">
            <a:avLst/>
          </a:prstGeom>
        </p:spPr>
        <p:txBody>
          <a:bodyPr anchor="ctr">
            <a:no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Arial"/>
            </a:pPr>
            <a:r>
              <a:rPr lang="fr-FR" sz="1100" kern="0" cap="none">
                <a:solidFill>
                  <a:schemeClr val="accent1"/>
                </a:solidFill>
                <a:latin typeface="+mj-lt"/>
                <a:cs typeface="Arial"/>
              </a:rPr>
              <a:t>SMA</a:t>
            </a:r>
            <a:r>
              <a:rPr lang="fr-FR" sz="1100" b="0" kern="0" cap="none">
                <a:solidFill>
                  <a:srgbClr val="EEEEEE">
                    <a:lumMod val="10000"/>
                  </a:srgbClr>
                </a:solidFill>
                <a:latin typeface="+mj-lt"/>
                <a:cs typeface="Arial"/>
              </a:rPr>
              <a:t> - Disposant d’une riche expérience et un fort intérêt pour les outils, SMA intervient auprès de ses clients sur les différentes étapes d’un projet et en run. Les compétences qu’elle a acquises au fil des années, au sein de grands groupes internationaux lui permettent aujourd’hui d’intervenir sur des problématiques d’organisation transverses.</a:t>
            </a:r>
          </a:p>
        </p:txBody>
      </p:sp>
      <p:sp>
        <p:nvSpPr>
          <p:cNvPr id="10" name="Espace réservé du contenu 1">
            <a:extLst>
              <a:ext uri="{FF2B5EF4-FFF2-40B4-BE49-F238E27FC236}">
                <a16:creationId xmlns:a16="http://schemas.microsoft.com/office/drawing/2014/main" id="{375F12B8-CD82-2AD4-2D2B-3720397E73BD}"/>
              </a:ext>
            </a:extLst>
          </p:cNvPr>
          <p:cNvSpPr txBox="1">
            <a:spLocks/>
          </p:cNvSpPr>
          <p:nvPr/>
        </p:nvSpPr>
        <p:spPr>
          <a:xfrm>
            <a:off x="2308861" y="2707526"/>
            <a:ext cx="8469262" cy="800161"/>
          </a:xfrm>
          <a:prstGeom prst="rect">
            <a:avLst/>
          </a:prstGeom>
        </p:spPr>
        <p:txBody>
          <a:bodyPr anchor="ctr">
            <a:no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Arial"/>
            </a:pPr>
            <a:r>
              <a:rPr lang="fr-FR" sz="1100" kern="0" cap="none">
                <a:solidFill>
                  <a:schemeClr val="bg2">
                    <a:lumMod val="60000"/>
                    <a:lumOff val="40000"/>
                  </a:schemeClr>
                </a:solidFill>
                <a:latin typeface="+mj-lt"/>
                <a:cs typeface="Arial"/>
              </a:rPr>
              <a:t>ABT</a:t>
            </a:r>
            <a:r>
              <a:rPr lang="fr-FR" sz="1100" b="0" kern="0" cap="none">
                <a:solidFill>
                  <a:srgbClr val="EEEEEE">
                    <a:lumMod val="10000"/>
                  </a:srgbClr>
                </a:solidFill>
                <a:latin typeface="+mj-lt"/>
                <a:cs typeface="Arial"/>
              </a:rPr>
              <a:t> est un consultant spécialisé dans le secteur de l’Energie &amp; l’Industrie. Avec plus de 2 années d’expérience, ABT possède des compétences en tant que PMO, mais aussi en tant que responsable d’un portefeuille clients. Ses dernières expériences dans le monde du conseil consolident ses compétences dans le pilotage de projets et lui permettent de s’adapter aux différentes problématiques d’entreprise, aussi bien d’optimisation stratégique, qu’organisationnelle. </a:t>
            </a:r>
          </a:p>
        </p:txBody>
      </p:sp>
      <p:sp>
        <p:nvSpPr>
          <p:cNvPr id="11" name="Espace réservé du contenu 1">
            <a:extLst>
              <a:ext uri="{FF2B5EF4-FFF2-40B4-BE49-F238E27FC236}">
                <a16:creationId xmlns:a16="http://schemas.microsoft.com/office/drawing/2014/main" id="{604A5F2E-24AF-639D-66DD-B8C9E75598AA}"/>
              </a:ext>
            </a:extLst>
          </p:cNvPr>
          <p:cNvSpPr txBox="1">
            <a:spLocks/>
          </p:cNvSpPr>
          <p:nvPr/>
        </p:nvSpPr>
        <p:spPr>
          <a:xfrm>
            <a:off x="2308861" y="3520807"/>
            <a:ext cx="8469262" cy="800161"/>
          </a:xfrm>
          <a:prstGeom prst="rect">
            <a:avLst/>
          </a:prstGeom>
        </p:spPr>
        <p:txBody>
          <a:bodyPr anchor="ctr">
            <a:no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Arial"/>
            </a:pPr>
            <a:r>
              <a:rPr lang="fr-FR" sz="1100" kern="0" cap="none">
                <a:solidFill>
                  <a:schemeClr val="accent3"/>
                </a:solidFill>
                <a:latin typeface="+mj-lt"/>
                <a:cs typeface="Arial"/>
              </a:rPr>
              <a:t>BNU</a:t>
            </a:r>
            <a:r>
              <a:rPr lang="fr-FR" sz="1100" b="0" kern="0" cap="none">
                <a:solidFill>
                  <a:srgbClr val="EEEEEE">
                    <a:lumMod val="10000"/>
                  </a:srgbClr>
                </a:solidFill>
                <a:latin typeface="+mj-lt"/>
                <a:cs typeface="Arial"/>
              </a:rPr>
              <a:t> - Spécialisé dans le management des organisations et la transformation des modes de travail, BNU a accompagné des transformations digitales et organisationnelles, et a acquis une solide expérience en gestion de projet, en création de contenus et en animation d’ateliers.</a:t>
            </a:r>
          </a:p>
        </p:txBody>
      </p:sp>
      <p:sp>
        <p:nvSpPr>
          <p:cNvPr id="12" name="Espace réservé du contenu 1">
            <a:extLst>
              <a:ext uri="{FF2B5EF4-FFF2-40B4-BE49-F238E27FC236}">
                <a16:creationId xmlns:a16="http://schemas.microsoft.com/office/drawing/2014/main" id="{5C063A95-5460-6FEB-8403-55523AD57979}"/>
              </a:ext>
            </a:extLst>
          </p:cNvPr>
          <p:cNvSpPr txBox="1">
            <a:spLocks/>
          </p:cNvSpPr>
          <p:nvPr/>
        </p:nvSpPr>
        <p:spPr>
          <a:xfrm>
            <a:off x="2308861" y="4334088"/>
            <a:ext cx="8469262" cy="800161"/>
          </a:xfrm>
          <a:prstGeom prst="rect">
            <a:avLst/>
          </a:prstGeom>
        </p:spPr>
        <p:txBody>
          <a:bodyPr anchor="ctr">
            <a:no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Arial"/>
            </a:pPr>
            <a:r>
              <a:rPr lang="fr-FR" sz="1100" kern="0" cap="none">
                <a:latin typeface="+mj-lt"/>
                <a:cs typeface="Arial"/>
              </a:rPr>
              <a:t>LMO</a:t>
            </a:r>
            <a:r>
              <a:rPr lang="fr-FR" sz="1100" b="0" kern="0" cap="none">
                <a:solidFill>
                  <a:srgbClr val="EEEEEE">
                    <a:lumMod val="10000"/>
                  </a:srgbClr>
                </a:solidFill>
                <a:latin typeface="+mj-lt"/>
                <a:cs typeface="Arial"/>
              </a:rPr>
              <a:t> – LMO a assisté au pilotage de projets en Transformation digitale &amp; Change management dans différents secteurs, la réactivité, l’organisation, ses qualités relationnelles et aptitudes techniques ont permit de fluidifier les projets et de livrer en temps et en heure dans la cible qualitative attendue.</a:t>
            </a:r>
          </a:p>
        </p:txBody>
      </p:sp>
      <p:sp>
        <p:nvSpPr>
          <p:cNvPr id="13" name="Espace réservé du contenu 1">
            <a:extLst>
              <a:ext uri="{FF2B5EF4-FFF2-40B4-BE49-F238E27FC236}">
                <a16:creationId xmlns:a16="http://schemas.microsoft.com/office/drawing/2014/main" id="{074F9F41-BFF6-2D58-000D-120824B7A00C}"/>
              </a:ext>
            </a:extLst>
          </p:cNvPr>
          <p:cNvSpPr txBox="1">
            <a:spLocks/>
          </p:cNvSpPr>
          <p:nvPr/>
        </p:nvSpPr>
        <p:spPr>
          <a:xfrm>
            <a:off x="2308861" y="5147368"/>
            <a:ext cx="8469262" cy="800161"/>
          </a:xfrm>
          <a:prstGeom prst="rect">
            <a:avLst/>
          </a:prstGeom>
        </p:spPr>
        <p:txBody>
          <a:bodyPr anchor="ctr">
            <a:no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Arial"/>
            </a:pPr>
            <a:r>
              <a:rPr lang="fr-FR" sz="1100" kern="0" cap="none">
                <a:solidFill>
                  <a:schemeClr val="accent5"/>
                </a:solidFill>
                <a:latin typeface="+mj-lt"/>
                <a:cs typeface="Arial"/>
              </a:rPr>
              <a:t>ALR</a:t>
            </a:r>
            <a:r>
              <a:rPr lang="fr-FR" sz="1100" b="0" kern="0" cap="none">
                <a:solidFill>
                  <a:srgbClr val="EEEEEE">
                    <a:lumMod val="10000"/>
                  </a:srgbClr>
                </a:solidFill>
                <a:latin typeface="+mj-lt"/>
                <a:cs typeface="Arial"/>
              </a:rPr>
              <a:t> - ALR est une consultante spécialisée dans la conduite et l’accompagnement au changement dans le cadre de transformations organisationnelles. Elle a acquis de solides compétences en communication, en formation de collaborateurs, et en création de contenus. </a:t>
            </a:r>
          </a:p>
        </p:txBody>
      </p:sp>
      <p:sp>
        <p:nvSpPr>
          <p:cNvPr id="14" name="Flèche : pentagone 13">
            <a:extLst>
              <a:ext uri="{FF2B5EF4-FFF2-40B4-BE49-F238E27FC236}">
                <a16:creationId xmlns:a16="http://schemas.microsoft.com/office/drawing/2014/main" id="{60A671D1-4975-0B93-7C5E-7A5940F1D32F}"/>
              </a:ext>
            </a:extLst>
          </p:cNvPr>
          <p:cNvSpPr/>
          <p:nvPr/>
        </p:nvSpPr>
        <p:spPr>
          <a:xfrm>
            <a:off x="4010154" y="1080672"/>
            <a:ext cx="5291161" cy="201375"/>
          </a:xfrm>
          <a:prstGeom prst="homePlate">
            <a:avLst/>
          </a:prstGeom>
          <a:solidFill>
            <a:schemeClr val="bg1"/>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a:solidFill>
                  <a:schemeClr val="tx1"/>
                </a:solidFill>
              </a:rPr>
              <a:t>Organiser et piloter les formations et l’appropriation</a:t>
            </a:r>
          </a:p>
        </p:txBody>
      </p:sp>
      <p:sp>
        <p:nvSpPr>
          <p:cNvPr id="15" name="Flèche : pentagone 14">
            <a:extLst>
              <a:ext uri="{FF2B5EF4-FFF2-40B4-BE49-F238E27FC236}">
                <a16:creationId xmlns:a16="http://schemas.microsoft.com/office/drawing/2014/main" id="{41ACB8FA-C9A9-F599-8CC1-1BBC7F36FFB9}"/>
              </a:ext>
            </a:extLst>
          </p:cNvPr>
          <p:cNvSpPr/>
          <p:nvPr/>
        </p:nvSpPr>
        <p:spPr>
          <a:xfrm>
            <a:off x="4338204" y="1376145"/>
            <a:ext cx="4963111" cy="201375"/>
          </a:xfrm>
          <a:prstGeom prst="homePlate">
            <a:avLst/>
          </a:prstGeom>
          <a:solidFill>
            <a:schemeClr val="bg1"/>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a:solidFill>
                  <a:schemeClr val="tx1"/>
                </a:solidFill>
              </a:rPr>
              <a:t>Préparer et animer les formations</a:t>
            </a:r>
          </a:p>
        </p:txBody>
      </p:sp>
      <p:sp>
        <p:nvSpPr>
          <p:cNvPr id="16" name="Ellipse 15">
            <a:extLst>
              <a:ext uri="{FF2B5EF4-FFF2-40B4-BE49-F238E27FC236}">
                <a16:creationId xmlns:a16="http://schemas.microsoft.com/office/drawing/2014/main" id="{63392D91-17C9-2A74-E5B2-2739F7F9CD58}"/>
              </a:ext>
            </a:extLst>
          </p:cNvPr>
          <p:cNvSpPr/>
          <p:nvPr/>
        </p:nvSpPr>
        <p:spPr>
          <a:xfrm>
            <a:off x="3856955" y="1018445"/>
            <a:ext cx="229684" cy="229684"/>
          </a:xfrm>
          <a:prstGeom prst="ellips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chemeClr val="bg1"/>
                </a:solidFill>
              </a:rPr>
              <a:t>1</a:t>
            </a:r>
          </a:p>
        </p:txBody>
      </p:sp>
      <p:sp>
        <p:nvSpPr>
          <p:cNvPr id="17" name="Ellipse 16">
            <a:extLst>
              <a:ext uri="{FF2B5EF4-FFF2-40B4-BE49-F238E27FC236}">
                <a16:creationId xmlns:a16="http://schemas.microsoft.com/office/drawing/2014/main" id="{F2CD8F7E-9F9C-3121-97E4-1E0EB0236888}"/>
              </a:ext>
            </a:extLst>
          </p:cNvPr>
          <p:cNvSpPr/>
          <p:nvPr/>
        </p:nvSpPr>
        <p:spPr>
          <a:xfrm>
            <a:off x="4177901" y="1315115"/>
            <a:ext cx="229684" cy="229684"/>
          </a:xfrm>
          <a:prstGeom prst="ellips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chemeClr val="bg1"/>
                </a:solidFill>
              </a:rPr>
              <a:t>2</a:t>
            </a:r>
          </a:p>
        </p:txBody>
      </p:sp>
      <p:sp>
        <p:nvSpPr>
          <p:cNvPr id="18" name="Flèche : pentagone 17">
            <a:extLst>
              <a:ext uri="{FF2B5EF4-FFF2-40B4-BE49-F238E27FC236}">
                <a16:creationId xmlns:a16="http://schemas.microsoft.com/office/drawing/2014/main" id="{8C3EDB63-204B-AC31-5BD7-1DBEF1FE4C26}"/>
              </a:ext>
            </a:extLst>
          </p:cNvPr>
          <p:cNvSpPr/>
          <p:nvPr/>
        </p:nvSpPr>
        <p:spPr>
          <a:xfrm>
            <a:off x="4795405" y="1671617"/>
            <a:ext cx="4505910" cy="201375"/>
          </a:xfrm>
          <a:prstGeom prst="homePlate">
            <a:avLst/>
          </a:prstGeom>
          <a:solidFill>
            <a:schemeClr val="bg1"/>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a:solidFill>
                  <a:schemeClr val="tx1"/>
                </a:solidFill>
              </a:rPr>
              <a:t>Évaluer et améliorer le dispositif</a:t>
            </a:r>
          </a:p>
        </p:txBody>
      </p:sp>
      <p:sp>
        <p:nvSpPr>
          <p:cNvPr id="19" name="Ellipse 18">
            <a:extLst>
              <a:ext uri="{FF2B5EF4-FFF2-40B4-BE49-F238E27FC236}">
                <a16:creationId xmlns:a16="http://schemas.microsoft.com/office/drawing/2014/main" id="{769754AF-748C-FB38-DD4B-9FCD3B3B0513}"/>
              </a:ext>
            </a:extLst>
          </p:cNvPr>
          <p:cNvSpPr/>
          <p:nvPr/>
        </p:nvSpPr>
        <p:spPr>
          <a:xfrm>
            <a:off x="4614363" y="1620189"/>
            <a:ext cx="229684" cy="229684"/>
          </a:xfrm>
          <a:prstGeom prst="ellips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chemeClr val="bg1"/>
                </a:solidFill>
              </a:rPr>
              <a:t>3</a:t>
            </a:r>
          </a:p>
        </p:txBody>
      </p:sp>
      <p:sp>
        <p:nvSpPr>
          <p:cNvPr id="20" name="Rectangle 19">
            <a:extLst>
              <a:ext uri="{FF2B5EF4-FFF2-40B4-BE49-F238E27FC236}">
                <a16:creationId xmlns:a16="http://schemas.microsoft.com/office/drawing/2014/main" id="{5F1D5235-08E1-EA3F-C4C1-55458EAD3B56}"/>
              </a:ext>
            </a:extLst>
          </p:cNvPr>
          <p:cNvSpPr/>
          <p:nvPr/>
        </p:nvSpPr>
        <p:spPr>
          <a:xfrm>
            <a:off x="1014689" y="768870"/>
            <a:ext cx="10023034" cy="1153639"/>
          </a:xfrm>
          <a:prstGeom prst="rect">
            <a:avLst/>
          </a:prstGeom>
          <a:noFill/>
          <a:ln w="3175" cap="flat" cmpd="sng" algn="ctr">
            <a:solidFill>
              <a:srgbClr val="FFFFFF">
                <a:lumMod val="75000"/>
                <a:alpha val="84000"/>
              </a:srgbClr>
            </a:solidFill>
            <a:prstDash val="solid"/>
            <a:miter lim="800000"/>
          </a:ln>
          <a:effectLst/>
        </p:spPr>
        <p:txBody>
          <a:bodyPr rtlCol="0" anchor="t"/>
          <a:lstStyle/>
          <a:p>
            <a:pPr marL="0" marR="0" lvl="0" indent="0" algn="ctr" defTabSz="422041" eaLnBrk="0" fontAlgn="base" latinLnBrk="0" hangingPunct="0">
              <a:lnSpc>
                <a:spcPct val="100000"/>
              </a:lnSpc>
              <a:spcBef>
                <a:spcPct val="0"/>
              </a:spcBef>
              <a:spcAft>
                <a:spcPct val="0"/>
              </a:spcAft>
              <a:buClrTx/>
              <a:buSzTx/>
              <a:buFontTx/>
              <a:buNone/>
              <a:tabLst/>
              <a:defRPr/>
            </a:pPr>
            <a:r>
              <a:rPr kumimoji="0" lang="fr-FR" sz="1050" b="1" i="0" u="none" strike="noStrike" kern="0" cap="none" spc="0" normalizeH="0" baseline="0" noProof="0">
                <a:ln>
                  <a:noFill/>
                </a:ln>
                <a:solidFill>
                  <a:srgbClr val="000000">
                    <a:lumMod val="65000"/>
                    <a:lumOff val="35000"/>
                  </a:srgbClr>
                </a:solidFill>
                <a:effectLst/>
                <a:uLnTx/>
                <a:uFillTx/>
                <a:latin typeface="Montserrat"/>
                <a:ea typeface="+mn-ea"/>
                <a:cs typeface="+mn-cs"/>
              </a:rPr>
              <a:t>DEMARCHE ET CONTRIBUTIONS</a:t>
            </a:r>
          </a:p>
        </p:txBody>
      </p:sp>
      <p:sp>
        <p:nvSpPr>
          <p:cNvPr id="21" name="Textframe 2096406,5332">
            <a:extLst>
              <a:ext uri="{FF2B5EF4-FFF2-40B4-BE49-F238E27FC236}">
                <a16:creationId xmlns:a16="http://schemas.microsoft.com/office/drawing/2014/main" id="{326F2EB0-1944-8884-D726-6C5D926A3187}"/>
              </a:ext>
            </a:extLst>
          </p:cNvPr>
          <p:cNvSpPr txBox="1"/>
          <p:nvPr/>
        </p:nvSpPr>
        <p:spPr>
          <a:xfrm flipH="1">
            <a:off x="3009123" y="1080672"/>
            <a:ext cx="703204" cy="757617"/>
          </a:xfrm>
          <a:prstGeom prst="rect">
            <a:avLst/>
          </a:prstGeom>
          <a:solidFill>
            <a:schemeClr val="bg2"/>
          </a:solidFill>
          <a:ln w="9525">
            <a:noFill/>
          </a:ln>
          <a:effectLst/>
        </p:spPr>
        <p:txBody>
          <a:bodyPr vert="horz" wrap="square" lIns="33231" tIns="33231" rIns="33231" bIns="33231" rtlCol="0" anchor="ctr" anchorCtr="0">
            <a:noAutofit/>
          </a:bodyPr>
          <a:lstStyle/>
          <a:p>
            <a:pPr marL="0" marR="0" lvl="0" indent="0" algn="ctr" defTabSz="844083" eaLnBrk="0" fontAlgn="base" latinLnBrk="0" hangingPunct="0">
              <a:lnSpc>
                <a:spcPct val="90000"/>
              </a:lnSpc>
              <a:spcBef>
                <a:spcPts val="369"/>
              </a:spcBef>
              <a:spcAft>
                <a:spcPct val="0"/>
              </a:spcAft>
              <a:buClrTx/>
              <a:buSzPct val="100000"/>
              <a:buFontTx/>
              <a:buNone/>
              <a:tabLst/>
              <a:defRPr/>
            </a:pPr>
            <a:r>
              <a:rPr kumimoji="0" lang="fr-FR" sz="1000" b="1" i="0" u="none" strike="noStrike" kern="0" cap="none" spc="0" normalizeH="0" baseline="0" noProof="0">
                <a:ln>
                  <a:noFill/>
                </a:ln>
                <a:solidFill>
                  <a:prstClr val="white"/>
                </a:solidFill>
                <a:effectLst/>
                <a:uLnTx/>
                <a:uFillTx/>
                <a:latin typeface="+mj-lt"/>
                <a:cs typeface="Arial Narrow" pitchFamily="34" charset="0"/>
              </a:rPr>
              <a:t>MISSIONS</a:t>
            </a:r>
          </a:p>
        </p:txBody>
      </p:sp>
      <p:sp>
        <p:nvSpPr>
          <p:cNvPr id="22" name="Freeform 552">
            <a:extLst>
              <a:ext uri="{FF2B5EF4-FFF2-40B4-BE49-F238E27FC236}">
                <a16:creationId xmlns:a16="http://schemas.microsoft.com/office/drawing/2014/main" id="{E4B6E63B-CDC1-5261-8A03-5CD139B0132E}"/>
              </a:ext>
            </a:extLst>
          </p:cNvPr>
          <p:cNvSpPr>
            <a:spLocks noEditPoints="1"/>
          </p:cNvSpPr>
          <p:nvPr/>
        </p:nvSpPr>
        <p:spPr bwMode="auto">
          <a:xfrm>
            <a:off x="8716732" y="1059049"/>
            <a:ext cx="256066" cy="25606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23" name="Freeform 552">
            <a:extLst>
              <a:ext uri="{FF2B5EF4-FFF2-40B4-BE49-F238E27FC236}">
                <a16:creationId xmlns:a16="http://schemas.microsoft.com/office/drawing/2014/main" id="{EB75A6E2-B5B4-62FF-9191-7ACD1CA5B19B}"/>
              </a:ext>
            </a:extLst>
          </p:cNvPr>
          <p:cNvSpPr>
            <a:spLocks noEditPoints="1"/>
          </p:cNvSpPr>
          <p:nvPr/>
        </p:nvSpPr>
        <p:spPr bwMode="auto">
          <a:xfrm>
            <a:off x="7897456" y="1351647"/>
            <a:ext cx="256066" cy="25606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24" name="Freeform 552">
            <a:extLst>
              <a:ext uri="{FF2B5EF4-FFF2-40B4-BE49-F238E27FC236}">
                <a16:creationId xmlns:a16="http://schemas.microsoft.com/office/drawing/2014/main" id="{8585D6E8-13A8-D773-F8CC-7A6DB3492147}"/>
              </a:ext>
            </a:extLst>
          </p:cNvPr>
          <p:cNvSpPr>
            <a:spLocks noEditPoints="1"/>
          </p:cNvSpPr>
          <p:nvPr/>
        </p:nvSpPr>
        <p:spPr bwMode="auto">
          <a:xfrm>
            <a:off x="8170548" y="1351647"/>
            <a:ext cx="256066" cy="25606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25" name="Freeform 552">
            <a:extLst>
              <a:ext uri="{FF2B5EF4-FFF2-40B4-BE49-F238E27FC236}">
                <a16:creationId xmlns:a16="http://schemas.microsoft.com/office/drawing/2014/main" id="{075FCC2D-058A-68FA-D8BF-89B4D113C561}"/>
              </a:ext>
            </a:extLst>
          </p:cNvPr>
          <p:cNvSpPr>
            <a:spLocks noEditPoints="1"/>
          </p:cNvSpPr>
          <p:nvPr/>
        </p:nvSpPr>
        <p:spPr bwMode="auto">
          <a:xfrm>
            <a:off x="8443640" y="1351647"/>
            <a:ext cx="256066" cy="25606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26" name="Freeform 552">
            <a:extLst>
              <a:ext uri="{FF2B5EF4-FFF2-40B4-BE49-F238E27FC236}">
                <a16:creationId xmlns:a16="http://schemas.microsoft.com/office/drawing/2014/main" id="{C89D9409-047A-5F83-6F0C-9F9943B95411}"/>
              </a:ext>
            </a:extLst>
          </p:cNvPr>
          <p:cNvSpPr>
            <a:spLocks noEditPoints="1"/>
          </p:cNvSpPr>
          <p:nvPr/>
        </p:nvSpPr>
        <p:spPr bwMode="auto">
          <a:xfrm>
            <a:off x="8716732" y="1351647"/>
            <a:ext cx="256066" cy="25606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27" name="Freeform 552">
            <a:extLst>
              <a:ext uri="{FF2B5EF4-FFF2-40B4-BE49-F238E27FC236}">
                <a16:creationId xmlns:a16="http://schemas.microsoft.com/office/drawing/2014/main" id="{FD22B111-BF92-D9F8-444A-B9275B539FB4}"/>
              </a:ext>
            </a:extLst>
          </p:cNvPr>
          <p:cNvSpPr>
            <a:spLocks noEditPoints="1"/>
          </p:cNvSpPr>
          <p:nvPr/>
        </p:nvSpPr>
        <p:spPr bwMode="auto">
          <a:xfrm>
            <a:off x="7893883" y="1646309"/>
            <a:ext cx="256066" cy="25606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28" name="Freeform 552">
            <a:extLst>
              <a:ext uri="{FF2B5EF4-FFF2-40B4-BE49-F238E27FC236}">
                <a16:creationId xmlns:a16="http://schemas.microsoft.com/office/drawing/2014/main" id="{3FC5C124-5F2C-F30A-469D-F5846D47B1E1}"/>
              </a:ext>
            </a:extLst>
          </p:cNvPr>
          <p:cNvSpPr>
            <a:spLocks noEditPoints="1"/>
          </p:cNvSpPr>
          <p:nvPr/>
        </p:nvSpPr>
        <p:spPr bwMode="auto">
          <a:xfrm>
            <a:off x="8166975" y="1646309"/>
            <a:ext cx="256066" cy="25606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29" name="Freeform 552">
            <a:extLst>
              <a:ext uri="{FF2B5EF4-FFF2-40B4-BE49-F238E27FC236}">
                <a16:creationId xmlns:a16="http://schemas.microsoft.com/office/drawing/2014/main" id="{FC621807-D8B9-F547-AFFF-FDE0DEBF0159}"/>
              </a:ext>
            </a:extLst>
          </p:cNvPr>
          <p:cNvSpPr>
            <a:spLocks noEditPoints="1"/>
          </p:cNvSpPr>
          <p:nvPr/>
        </p:nvSpPr>
        <p:spPr bwMode="auto">
          <a:xfrm>
            <a:off x="8440067" y="1646309"/>
            <a:ext cx="256066" cy="25606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30" name="Freeform 552">
            <a:extLst>
              <a:ext uri="{FF2B5EF4-FFF2-40B4-BE49-F238E27FC236}">
                <a16:creationId xmlns:a16="http://schemas.microsoft.com/office/drawing/2014/main" id="{E3A7E036-B90F-D2B5-DAD0-06DCC7C6CD0E}"/>
              </a:ext>
            </a:extLst>
          </p:cNvPr>
          <p:cNvSpPr>
            <a:spLocks noEditPoints="1"/>
          </p:cNvSpPr>
          <p:nvPr/>
        </p:nvSpPr>
        <p:spPr bwMode="auto">
          <a:xfrm>
            <a:off x="8713159" y="1646309"/>
            <a:ext cx="256066" cy="25606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31" name="Rectangle 30">
            <a:extLst>
              <a:ext uri="{FF2B5EF4-FFF2-40B4-BE49-F238E27FC236}">
                <a16:creationId xmlns:a16="http://schemas.microsoft.com/office/drawing/2014/main" id="{89C8DC94-3D65-107F-F08D-C862DA951647}"/>
              </a:ext>
            </a:extLst>
          </p:cNvPr>
          <p:cNvSpPr/>
          <p:nvPr/>
        </p:nvSpPr>
        <p:spPr>
          <a:xfrm>
            <a:off x="1014689" y="1921436"/>
            <a:ext cx="10023034" cy="4025988"/>
          </a:xfrm>
          <a:prstGeom prst="rect">
            <a:avLst/>
          </a:prstGeom>
          <a:noFill/>
          <a:ln w="3175" cap="flat" cmpd="sng" algn="ctr">
            <a:solidFill>
              <a:srgbClr val="FFFFFF">
                <a:lumMod val="75000"/>
                <a:alpha val="84000"/>
              </a:srgbClr>
            </a:solidFill>
            <a:prstDash val="solid"/>
            <a:miter lim="800000"/>
          </a:ln>
          <a:effectLst/>
        </p:spPr>
        <p:txBody>
          <a:bodyPr rtlCol="0" anchor="t"/>
          <a:lstStyle/>
          <a:p>
            <a:pPr marL="0" marR="0" lvl="0" indent="0" algn="ctr" defTabSz="422041" eaLnBrk="0" fontAlgn="base" latinLnBrk="0" hangingPunct="0">
              <a:lnSpc>
                <a:spcPct val="100000"/>
              </a:lnSpc>
              <a:spcBef>
                <a:spcPct val="0"/>
              </a:spcBef>
              <a:spcAft>
                <a:spcPct val="0"/>
              </a:spcAft>
              <a:buClrTx/>
              <a:buSzTx/>
              <a:buFontTx/>
              <a:buNone/>
              <a:tabLst/>
              <a:defRPr/>
            </a:pPr>
            <a:endParaRPr kumimoji="0" lang="fr-FR" sz="1050" b="1" i="0" u="none" strike="noStrike" kern="0" cap="none" spc="0" normalizeH="0" baseline="0" noProof="0">
              <a:ln>
                <a:noFill/>
              </a:ln>
              <a:solidFill>
                <a:srgbClr val="000000">
                  <a:lumMod val="65000"/>
                  <a:lumOff val="35000"/>
                </a:srgbClr>
              </a:solidFill>
              <a:effectLst/>
              <a:uLnTx/>
              <a:uFillTx/>
              <a:latin typeface="Montserrat"/>
              <a:ea typeface="+mn-ea"/>
              <a:cs typeface="+mn-cs"/>
            </a:endParaRPr>
          </a:p>
        </p:txBody>
      </p:sp>
      <p:sp>
        <p:nvSpPr>
          <p:cNvPr id="32" name="Espace réservé du contenu 7">
            <a:extLst>
              <a:ext uri="{FF2B5EF4-FFF2-40B4-BE49-F238E27FC236}">
                <a16:creationId xmlns:a16="http://schemas.microsoft.com/office/drawing/2014/main" id="{6220B362-D7EC-1D35-64B8-1026221F8A06}"/>
              </a:ext>
            </a:extLst>
          </p:cNvPr>
          <p:cNvSpPr txBox="1">
            <a:spLocks/>
          </p:cNvSpPr>
          <p:nvPr/>
        </p:nvSpPr>
        <p:spPr bwMode="gray">
          <a:xfrm>
            <a:off x="1014689" y="6055638"/>
            <a:ext cx="10023034" cy="319141"/>
          </a:xfrm>
          <a:prstGeom prst="rect">
            <a:avLst/>
          </a:prstGeom>
          <a:solidFill>
            <a:schemeClr val="bg2"/>
          </a:solidFill>
          <a:ln w="12700">
            <a:solidFill>
              <a:schemeClr val="bg2"/>
            </a:solidFill>
          </a:ln>
        </p:spPr>
        <p:txBody>
          <a:bodyPr vert="horz" wrap="square" lIns="0" tIns="3810" rIns="0" bIns="0" rtlCol="0" anchor="ctr">
            <a:noAutofit/>
          </a:bodyPr>
          <a:lstStyle>
            <a:defPPr marR="0" lvl="0" algn="l" rtl="0">
              <a:lnSpc>
                <a:spcPct val="100000"/>
              </a:lnSpc>
              <a:spcBef>
                <a:spcPts val="0"/>
              </a:spcBef>
              <a:spcAft>
                <a:spcPts val="0"/>
              </a:spcAft>
            </a:defPPr>
            <a:lvl1pPr algn="ctr">
              <a:defRPr sz="1200" spc="-5">
                <a:solidFill>
                  <a:srgbClr val="FFFFFF"/>
                </a:solidFill>
                <a:latin typeface="+mj-lt"/>
                <a:cs typeface="Verdana"/>
              </a:defRPr>
            </a:lvl1pPr>
            <a:lvl2pPr marL="0" indent="0" algn="l" defTabSz="1072866" rtl="0" eaLnBrk="1" fontAlgn="base" latinLnBrk="0" hangingPunct="1">
              <a:lnSpc>
                <a:spcPct val="100000"/>
              </a:lnSpc>
              <a:spcBef>
                <a:spcPts val="0"/>
              </a:spcBef>
              <a:spcAft>
                <a:spcPct val="0"/>
              </a:spcAft>
              <a:buFont typeface="Arial" pitchFamily="34" charset="0"/>
              <a:buNone/>
              <a:defRPr lang="fr-FR" sz="1400" kern="1200" dirty="0" smtClean="0">
                <a:solidFill>
                  <a:schemeClr val="tx1"/>
                </a:solidFill>
                <a:latin typeface="Avenir LT Std 55 Roman" pitchFamily="34" charset="0"/>
                <a:ea typeface="+mn-ea"/>
                <a:cs typeface="+mn-cs"/>
              </a:defRPr>
            </a:lvl2pPr>
            <a:lvl3pPr marL="168955" indent="-168955" algn="l" defTabSz="1072866" rtl="0" eaLnBrk="1" fontAlgn="base" latinLnBrk="0" hangingPunct="1">
              <a:lnSpc>
                <a:spcPct val="100000"/>
              </a:lnSpc>
              <a:spcBef>
                <a:spcPts val="0"/>
              </a:spcBef>
              <a:spcAft>
                <a:spcPct val="0"/>
              </a:spcAft>
              <a:buClr>
                <a:schemeClr val="accent1"/>
              </a:buClr>
              <a:buSzPct val="100000"/>
              <a:buFont typeface="Avenir LT Std 65 Medium" pitchFamily="34" charset="0"/>
              <a:buChar char="+"/>
              <a:defRPr lang="fr-FR" sz="1400" kern="1200" dirty="0" smtClean="0">
                <a:solidFill>
                  <a:schemeClr val="tx1"/>
                </a:solidFill>
                <a:latin typeface="Avenir LT Std 55 Roman" pitchFamily="34" charset="0"/>
                <a:ea typeface="+mn-ea"/>
                <a:cs typeface="+mn-cs"/>
              </a:defRPr>
            </a:lvl3pPr>
            <a:lvl4pPr marL="253433" indent="-84478" algn="l" defTabSz="1072866" rtl="0" eaLnBrk="1" fontAlgn="base" latinLnBrk="0" hangingPunct="1">
              <a:lnSpc>
                <a:spcPct val="100000"/>
              </a:lnSpc>
              <a:spcBef>
                <a:spcPts val="0"/>
              </a:spcBef>
              <a:spcAft>
                <a:spcPct val="0"/>
              </a:spcAft>
              <a:buClr>
                <a:schemeClr val="tx1"/>
              </a:buClr>
              <a:buSzPct val="75000"/>
              <a:buFont typeface="Arial" pitchFamily="34" charset="0"/>
              <a:buChar char="•"/>
              <a:defRPr lang="fr-FR" sz="1400" kern="1200" dirty="0" smtClean="0">
                <a:solidFill>
                  <a:schemeClr val="tx1"/>
                </a:solidFill>
                <a:latin typeface="Avenir LT Std 55 Roman" pitchFamily="34" charset="0"/>
                <a:ea typeface="+mn-ea"/>
                <a:cs typeface="+mn-cs"/>
              </a:defRPr>
            </a:lvl4pPr>
            <a:lvl5pPr marL="253433" indent="0" algn="l" defTabSz="1072866" rtl="0" eaLnBrk="1" fontAlgn="base" latinLnBrk="0" hangingPunct="1">
              <a:lnSpc>
                <a:spcPct val="100000"/>
              </a:lnSpc>
              <a:spcBef>
                <a:spcPts val="0"/>
              </a:spcBef>
              <a:spcAft>
                <a:spcPct val="0"/>
              </a:spcAft>
              <a:buSzPct val="100000"/>
              <a:buFont typeface="Arial" pitchFamily="34" charset="0"/>
              <a:buNone/>
              <a:defRPr lang="fr-FR" sz="1400" kern="1200" dirty="0">
                <a:solidFill>
                  <a:schemeClr val="tx1"/>
                </a:solidFill>
                <a:latin typeface="Avenir LT Std 55 Roman" pitchFamily="34" charset="0"/>
                <a:ea typeface="+mn-ea"/>
                <a:cs typeface="+mn-cs"/>
              </a:defRPr>
            </a:lvl5pPr>
            <a:lvl6pPr marL="2950380"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6813"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3246"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59678"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fr-FR" sz="1100"/>
              <a:t>Les CV détaillés sont fournis dans le document des annexes.</a:t>
            </a:r>
          </a:p>
        </p:txBody>
      </p:sp>
    </p:spTree>
    <p:extLst>
      <p:ext uri="{BB962C8B-B14F-4D97-AF65-F5344CB8AC3E}">
        <p14:creationId xmlns:p14="http://schemas.microsoft.com/office/powerpoint/2010/main" val="2170037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D08F257-FAF1-4C5B-B639-8861F68A7A30}"/>
              </a:ext>
            </a:extLst>
          </p:cNvPr>
          <p:cNvSpPr>
            <a:spLocks noGrp="1"/>
          </p:cNvSpPr>
          <p:nvPr>
            <p:ph type="title"/>
          </p:nvPr>
        </p:nvSpPr>
        <p:spPr/>
        <p:txBody>
          <a:bodyPr/>
          <a:lstStyle/>
          <a:p>
            <a:r>
              <a:rPr lang="fr-FR"/>
              <a:t>NOTE DE SYNTHÈSE</a:t>
            </a:r>
            <a:br>
              <a:rPr lang="fr-FR"/>
            </a:br>
            <a:endParaRPr lang="fr-FR"/>
          </a:p>
        </p:txBody>
      </p:sp>
      <p:sp>
        <p:nvSpPr>
          <p:cNvPr id="3" name="Espace réservé du texte 9">
            <a:extLst>
              <a:ext uri="{FF2B5EF4-FFF2-40B4-BE49-F238E27FC236}">
                <a16:creationId xmlns:a16="http://schemas.microsoft.com/office/drawing/2014/main" id="{4D2DE1AD-B527-53FE-10FF-0ACE360C6AEE}"/>
              </a:ext>
            </a:extLst>
          </p:cNvPr>
          <p:cNvSpPr>
            <a:spLocks noGrp="1"/>
          </p:cNvSpPr>
          <p:nvPr>
            <p:ph type="body" idx="1"/>
          </p:nvPr>
        </p:nvSpPr>
        <p:spPr>
          <a:xfrm>
            <a:off x="396655" y="816969"/>
            <a:ext cx="11574945" cy="5581067"/>
          </a:xfrm>
        </p:spPr>
        <p:txBody>
          <a:bodyPr/>
          <a:lstStyle/>
          <a:p>
            <a:pPr algn="just"/>
            <a:r>
              <a:rPr lang="fr-FR" sz="1300">
                <a:latin typeface="+mj-lt"/>
              </a:rPr>
              <a:t>Lancé en 2019, le programme POGS Transilien doit permettre à Transilien de répondre aux enjeux d’aujourd’hui et de demain : exigences Île-de-France Mobilités, amélioration de la qualité de service dans un contexte notamment d’ouverture à la concurrence, amélioration de l’engagement collaborateur,…</a:t>
            </a:r>
          </a:p>
          <a:p>
            <a:pPr algn="just"/>
            <a:endParaRPr lang="fr-FR" sz="1300">
              <a:latin typeface="+mj-lt"/>
            </a:endParaRPr>
          </a:p>
          <a:p>
            <a:pPr algn="just"/>
            <a:endParaRPr lang="fr-FR" sz="1300">
              <a:latin typeface="+mj-lt"/>
            </a:endParaRPr>
          </a:p>
          <a:p>
            <a:pPr algn="just"/>
            <a:endParaRPr lang="fr-FR" sz="1300">
              <a:latin typeface="+mj-lt"/>
            </a:endParaRPr>
          </a:p>
          <a:p>
            <a:pPr algn="just"/>
            <a:endParaRPr lang="fr-FR" sz="1300">
              <a:latin typeface="+mj-lt"/>
            </a:endParaRPr>
          </a:p>
          <a:p>
            <a:pPr algn="just"/>
            <a:endParaRPr lang="fr-FR" sz="1300">
              <a:latin typeface="+mj-lt"/>
            </a:endParaRPr>
          </a:p>
          <a:p>
            <a:pPr algn="just"/>
            <a:endParaRPr lang="fr-FR" sz="1300">
              <a:latin typeface="+mj-lt"/>
            </a:endParaRPr>
          </a:p>
          <a:p>
            <a:pPr algn="just"/>
            <a:endParaRPr lang="fr-FR" sz="1300">
              <a:latin typeface="+mj-lt"/>
            </a:endParaRPr>
          </a:p>
          <a:p>
            <a:pPr algn="just"/>
            <a:endParaRPr lang="fr-FR" sz="1300">
              <a:latin typeface="+mj-lt"/>
            </a:endParaRPr>
          </a:p>
          <a:p>
            <a:pPr algn="just"/>
            <a:endParaRPr lang="fr-FR" sz="1300">
              <a:latin typeface="+mj-lt"/>
            </a:endParaRPr>
          </a:p>
          <a:p>
            <a:pPr algn="just"/>
            <a:endParaRPr lang="fr-FR" sz="1300">
              <a:latin typeface="+mj-lt"/>
            </a:endParaRPr>
          </a:p>
          <a:p>
            <a:pPr algn="just"/>
            <a:endParaRPr lang="fr-FR" sz="1300">
              <a:latin typeface="+mj-lt"/>
            </a:endParaRPr>
          </a:p>
          <a:p>
            <a:pPr algn="just"/>
            <a:endParaRPr lang="fr-FR" sz="1300">
              <a:latin typeface="+mj-lt"/>
            </a:endParaRPr>
          </a:p>
          <a:p>
            <a:pPr algn="just"/>
            <a:r>
              <a:rPr lang="fr-FR" sz="1300">
                <a:latin typeface="+mj-lt"/>
              </a:rPr>
              <a:t>Fort de notre </a:t>
            </a:r>
            <a:r>
              <a:rPr lang="fr-FR" sz="1300" b="1">
                <a:latin typeface="+mj-lt"/>
              </a:rPr>
              <a:t>connaissance de l’exploitation Transilien, en particulier sur le projet ORION (périmètres POGS-TN et NET), et d’expériences de dispense de formation</a:t>
            </a:r>
            <a:r>
              <a:rPr lang="fr-FR" sz="1300">
                <a:latin typeface="+mj-lt"/>
              </a:rPr>
              <a:t>, Talan Consulting propose à Transilien la réalisation des formations à l’outil ORION. Notre proposition de valeur est la suivante : </a:t>
            </a:r>
          </a:p>
          <a:p>
            <a:pPr algn="just"/>
            <a:endParaRPr lang="fr-FR" sz="1300">
              <a:latin typeface="+mj-lt"/>
            </a:endParaRPr>
          </a:p>
          <a:p>
            <a:pPr algn="just"/>
            <a:endParaRPr lang="fr-FR" sz="1300">
              <a:latin typeface="+mj-lt"/>
            </a:endParaRPr>
          </a:p>
        </p:txBody>
      </p:sp>
      <p:sp>
        <p:nvSpPr>
          <p:cNvPr id="4" name="Rectangle 3">
            <a:extLst>
              <a:ext uri="{FF2B5EF4-FFF2-40B4-BE49-F238E27FC236}">
                <a16:creationId xmlns:a16="http://schemas.microsoft.com/office/drawing/2014/main" id="{9B1F2532-D901-5314-8B90-028F7A75E45B}"/>
              </a:ext>
            </a:extLst>
          </p:cNvPr>
          <p:cNvSpPr/>
          <p:nvPr/>
        </p:nvSpPr>
        <p:spPr>
          <a:xfrm>
            <a:off x="4369327" y="1853770"/>
            <a:ext cx="2391321" cy="1597306"/>
          </a:xfrm>
          <a:prstGeom prst="rect">
            <a:avLst/>
          </a:prstGeom>
          <a:solidFill>
            <a:srgbClr val="20408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buClr>
                <a:schemeClr val="bg1"/>
              </a:buClr>
            </a:pPr>
            <a:r>
              <a:rPr lang="fr-FR" sz="900"/>
              <a:t>Planification &amp; Ordonnancement : </a:t>
            </a:r>
          </a:p>
          <a:p>
            <a:pPr marL="92075" indent="-92075" algn="just">
              <a:buClr>
                <a:schemeClr val="bg1"/>
              </a:buClr>
              <a:buFont typeface="Arial" panose="020B0604020202020204" pitchFamily="34" charset="0"/>
              <a:buChar char="•"/>
            </a:pPr>
            <a:r>
              <a:rPr lang="fr-FR" sz="900"/>
              <a:t>Fonctions support </a:t>
            </a:r>
          </a:p>
          <a:p>
            <a:pPr marL="92075" indent="-92075" algn="just">
              <a:buClr>
                <a:schemeClr val="bg1"/>
              </a:buClr>
              <a:buFont typeface="Arial" panose="020B0604020202020204" pitchFamily="34" charset="0"/>
              <a:buChar char="•"/>
            </a:pPr>
            <a:r>
              <a:rPr lang="fr-FR" sz="900"/>
              <a:t>Agents commerciaux des gares</a:t>
            </a:r>
          </a:p>
          <a:p>
            <a:pPr marL="92075" indent="-92075" algn="just">
              <a:buClr>
                <a:schemeClr val="bg1"/>
              </a:buClr>
              <a:buFont typeface="Arial" panose="020B0604020202020204" pitchFamily="34" charset="0"/>
              <a:buChar char="•"/>
            </a:pPr>
            <a:r>
              <a:rPr lang="fr-FR" sz="900"/>
              <a:t>Agents des </a:t>
            </a:r>
            <a:r>
              <a:rPr lang="fr-FR" sz="900" err="1"/>
              <a:t>technicentres</a:t>
            </a:r>
            <a:r>
              <a:rPr lang="fr-FR" sz="900"/>
              <a:t> de maintenance</a:t>
            </a:r>
          </a:p>
          <a:p>
            <a:pPr marL="92075" indent="-92075" algn="just">
              <a:buClr>
                <a:schemeClr val="bg1"/>
              </a:buClr>
              <a:buFont typeface="Arial" panose="020B0604020202020204" pitchFamily="34" charset="0"/>
              <a:buChar char="•"/>
            </a:pPr>
            <a:r>
              <a:rPr lang="fr-FR" sz="900"/>
              <a:t>Agents de contrôle</a:t>
            </a:r>
          </a:p>
          <a:p>
            <a:pPr marL="92075" indent="-92075" algn="just">
              <a:buClr>
                <a:schemeClr val="bg1"/>
              </a:buClr>
              <a:buFont typeface="Arial" panose="020B0604020202020204" pitchFamily="34" charset="0"/>
              <a:buChar char="•"/>
            </a:pPr>
            <a:r>
              <a:rPr lang="fr-FR" sz="900"/>
              <a:t>Agents du produit train</a:t>
            </a:r>
          </a:p>
          <a:p>
            <a:pPr marL="92075" indent="-92075" algn="just">
              <a:buClr>
                <a:schemeClr val="bg1"/>
              </a:buClr>
              <a:buFont typeface="Arial" panose="020B0604020202020204" pitchFamily="34" charset="0"/>
              <a:buChar char="•"/>
            </a:pPr>
            <a:r>
              <a:rPr lang="fr-FR" sz="900"/>
              <a:t>Agents de l’information voyageurs</a:t>
            </a:r>
          </a:p>
        </p:txBody>
      </p:sp>
      <p:sp>
        <p:nvSpPr>
          <p:cNvPr id="5" name="Rectangle 4">
            <a:extLst>
              <a:ext uri="{FF2B5EF4-FFF2-40B4-BE49-F238E27FC236}">
                <a16:creationId xmlns:a16="http://schemas.microsoft.com/office/drawing/2014/main" id="{E33F71B4-C046-98B8-43D5-DE44C8EC5268}"/>
              </a:ext>
            </a:extLst>
          </p:cNvPr>
          <p:cNvSpPr/>
          <p:nvPr/>
        </p:nvSpPr>
        <p:spPr>
          <a:xfrm>
            <a:off x="2058102" y="1853770"/>
            <a:ext cx="1849423" cy="1597306"/>
          </a:xfrm>
          <a:prstGeom prst="rect">
            <a:avLst/>
          </a:prstGeom>
          <a:solidFill>
            <a:srgbClr val="2040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indent="-92075" algn="just">
              <a:buClr>
                <a:schemeClr val="bg1"/>
              </a:buClr>
              <a:buFont typeface="Arial" panose="020B0604020202020204" pitchFamily="34" charset="0"/>
              <a:buChar char="•"/>
            </a:pPr>
            <a:r>
              <a:rPr lang="fr-FR" sz="900"/>
              <a:t>Permettre l’excellence opérationnelle dans la gestion des ressources de Transilien (hormis pour les agents de conduite, objet du projet NET)</a:t>
            </a:r>
          </a:p>
        </p:txBody>
      </p:sp>
      <p:cxnSp>
        <p:nvCxnSpPr>
          <p:cNvPr id="6" name="Connecteur droit 5">
            <a:extLst>
              <a:ext uri="{FF2B5EF4-FFF2-40B4-BE49-F238E27FC236}">
                <a16:creationId xmlns:a16="http://schemas.microsoft.com/office/drawing/2014/main" id="{3F2BC393-83CB-4B9E-7C41-FBCB430CCFA6}"/>
              </a:ext>
            </a:extLst>
          </p:cNvPr>
          <p:cNvCxnSpPr/>
          <p:nvPr/>
        </p:nvCxnSpPr>
        <p:spPr>
          <a:xfrm>
            <a:off x="1938241" y="1853770"/>
            <a:ext cx="0" cy="1597306"/>
          </a:xfrm>
          <a:prstGeom prst="line">
            <a:avLst/>
          </a:prstGeom>
        </p:spPr>
        <p:style>
          <a:lnRef idx="1">
            <a:schemeClr val="accent1"/>
          </a:lnRef>
          <a:fillRef idx="0">
            <a:schemeClr val="accent1"/>
          </a:fillRef>
          <a:effectRef idx="0">
            <a:schemeClr val="accent1"/>
          </a:effectRef>
          <a:fontRef idx="minor">
            <a:schemeClr val="tx1"/>
          </a:fontRef>
        </p:style>
      </p:cxnSp>
      <p:sp>
        <p:nvSpPr>
          <p:cNvPr id="7" name="ZoneTexte 6">
            <a:extLst>
              <a:ext uri="{FF2B5EF4-FFF2-40B4-BE49-F238E27FC236}">
                <a16:creationId xmlns:a16="http://schemas.microsoft.com/office/drawing/2014/main" id="{72CFDD98-C303-B246-7482-B03D637021D8}"/>
              </a:ext>
            </a:extLst>
          </p:cNvPr>
          <p:cNvSpPr txBox="1"/>
          <p:nvPr/>
        </p:nvSpPr>
        <p:spPr>
          <a:xfrm>
            <a:off x="412495" y="2483713"/>
            <a:ext cx="1529586" cy="307777"/>
          </a:xfrm>
          <a:prstGeom prst="rect">
            <a:avLst/>
          </a:prstGeom>
          <a:noFill/>
        </p:spPr>
        <p:txBody>
          <a:bodyPr wrap="none" rtlCol="0">
            <a:spAutoFit/>
          </a:bodyPr>
          <a:lstStyle/>
          <a:p>
            <a:r>
              <a:rPr lang="fr-FR"/>
              <a:t>POGS Transilien</a:t>
            </a:r>
          </a:p>
        </p:txBody>
      </p:sp>
      <p:cxnSp>
        <p:nvCxnSpPr>
          <p:cNvPr id="8" name="Connecteur droit 7">
            <a:extLst>
              <a:ext uri="{FF2B5EF4-FFF2-40B4-BE49-F238E27FC236}">
                <a16:creationId xmlns:a16="http://schemas.microsoft.com/office/drawing/2014/main" id="{E5A90866-C485-0D02-53F8-17F37813924E}"/>
              </a:ext>
            </a:extLst>
          </p:cNvPr>
          <p:cNvCxnSpPr>
            <a:cxnSpLocks/>
          </p:cNvCxnSpPr>
          <p:nvPr/>
        </p:nvCxnSpPr>
        <p:spPr>
          <a:xfrm>
            <a:off x="2058102" y="1738023"/>
            <a:ext cx="180000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9746C02B-99E1-5123-7191-A73F711393D6}"/>
              </a:ext>
            </a:extLst>
          </p:cNvPr>
          <p:cNvSpPr txBox="1"/>
          <p:nvPr/>
        </p:nvSpPr>
        <p:spPr>
          <a:xfrm>
            <a:off x="2563130" y="1380983"/>
            <a:ext cx="792205" cy="307777"/>
          </a:xfrm>
          <a:prstGeom prst="rect">
            <a:avLst/>
          </a:prstGeom>
          <a:noFill/>
        </p:spPr>
        <p:txBody>
          <a:bodyPr wrap="none" rtlCol="0">
            <a:spAutoFit/>
          </a:bodyPr>
          <a:lstStyle/>
          <a:p>
            <a:pPr algn="ctr"/>
            <a:r>
              <a:rPr lang="fr-FR"/>
              <a:t>Objectif</a:t>
            </a:r>
          </a:p>
        </p:txBody>
      </p:sp>
      <p:cxnSp>
        <p:nvCxnSpPr>
          <p:cNvPr id="10" name="Connecteur droit 9">
            <a:extLst>
              <a:ext uri="{FF2B5EF4-FFF2-40B4-BE49-F238E27FC236}">
                <a16:creationId xmlns:a16="http://schemas.microsoft.com/office/drawing/2014/main" id="{31D51D3E-415E-BD9F-316C-4419D85E3577}"/>
              </a:ext>
            </a:extLst>
          </p:cNvPr>
          <p:cNvCxnSpPr>
            <a:cxnSpLocks/>
          </p:cNvCxnSpPr>
          <p:nvPr/>
        </p:nvCxnSpPr>
        <p:spPr>
          <a:xfrm>
            <a:off x="4384127" y="1738023"/>
            <a:ext cx="2340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ZoneTexte 10">
            <a:extLst>
              <a:ext uri="{FF2B5EF4-FFF2-40B4-BE49-F238E27FC236}">
                <a16:creationId xmlns:a16="http://schemas.microsoft.com/office/drawing/2014/main" id="{09014BD0-F3D8-FC02-1D97-C3F555D54B95}"/>
              </a:ext>
            </a:extLst>
          </p:cNvPr>
          <p:cNvSpPr txBox="1"/>
          <p:nvPr/>
        </p:nvSpPr>
        <p:spPr>
          <a:xfrm>
            <a:off x="4438235" y="1356143"/>
            <a:ext cx="2107579" cy="307777"/>
          </a:xfrm>
          <a:prstGeom prst="rect">
            <a:avLst/>
          </a:prstGeom>
          <a:noFill/>
        </p:spPr>
        <p:txBody>
          <a:bodyPr wrap="square" rtlCol="0">
            <a:spAutoFit/>
          </a:bodyPr>
          <a:lstStyle/>
          <a:p>
            <a:pPr algn="ctr"/>
            <a:r>
              <a:rPr lang="fr-FR"/>
              <a:t>Périmètres gérés</a:t>
            </a:r>
          </a:p>
        </p:txBody>
      </p:sp>
      <p:sp>
        <p:nvSpPr>
          <p:cNvPr id="12" name="Flèche : pentagone 11">
            <a:extLst>
              <a:ext uri="{FF2B5EF4-FFF2-40B4-BE49-F238E27FC236}">
                <a16:creationId xmlns:a16="http://schemas.microsoft.com/office/drawing/2014/main" id="{C23FA211-632F-3313-64B9-937C27CDB373}"/>
              </a:ext>
            </a:extLst>
          </p:cNvPr>
          <p:cNvSpPr/>
          <p:nvPr/>
        </p:nvSpPr>
        <p:spPr>
          <a:xfrm>
            <a:off x="7245144" y="1853770"/>
            <a:ext cx="3697606" cy="629943"/>
          </a:xfrm>
          <a:prstGeom prst="homePlate">
            <a:avLst/>
          </a:prstGeom>
          <a:solidFill>
            <a:srgbClr val="DEE3EE"/>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a:solidFill>
                  <a:srgbClr val="44388A"/>
                </a:solidFill>
              </a:rPr>
              <a:t>TRANSFORMATION MÉTIER</a:t>
            </a:r>
          </a:p>
          <a:p>
            <a:pPr algn="ctr"/>
            <a:r>
              <a:rPr lang="fr-FR" sz="1000">
                <a:solidFill>
                  <a:srgbClr val="44388A"/>
                </a:solidFill>
              </a:rPr>
              <a:t>Piloté par TN-DMS</a:t>
            </a:r>
          </a:p>
        </p:txBody>
      </p:sp>
      <p:sp>
        <p:nvSpPr>
          <p:cNvPr id="13" name="Flèche : pentagone 12">
            <a:extLst>
              <a:ext uri="{FF2B5EF4-FFF2-40B4-BE49-F238E27FC236}">
                <a16:creationId xmlns:a16="http://schemas.microsoft.com/office/drawing/2014/main" id="{ACA975F1-11D8-DA05-24ED-50B1698908EE}"/>
              </a:ext>
            </a:extLst>
          </p:cNvPr>
          <p:cNvSpPr/>
          <p:nvPr/>
        </p:nvSpPr>
        <p:spPr>
          <a:xfrm>
            <a:off x="7252822" y="2821133"/>
            <a:ext cx="3721543" cy="629943"/>
          </a:xfrm>
          <a:prstGeom prst="homePlate">
            <a:avLst/>
          </a:prstGeom>
          <a:solidFill>
            <a:srgbClr val="DEE3EE"/>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a:solidFill>
                  <a:srgbClr val="44388A"/>
                </a:solidFill>
              </a:rPr>
              <a:t>TRANSFORMATION OUTIL</a:t>
            </a:r>
          </a:p>
          <a:p>
            <a:pPr algn="ctr"/>
            <a:r>
              <a:rPr lang="fr-FR" sz="1000">
                <a:solidFill>
                  <a:srgbClr val="44388A"/>
                </a:solidFill>
              </a:rPr>
              <a:t>Piloté par TN-IE</a:t>
            </a:r>
          </a:p>
        </p:txBody>
      </p:sp>
      <p:pic>
        <p:nvPicPr>
          <p:cNvPr id="14" name="Image 13">
            <a:extLst>
              <a:ext uri="{FF2B5EF4-FFF2-40B4-BE49-F238E27FC236}">
                <a16:creationId xmlns:a16="http://schemas.microsoft.com/office/drawing/2014/main" id="{D6856616-6AEC-A685-8062-FF4AAF7553D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25946" y="1545993"/>
            <a:ext cx="527595" cy="527595"/>
          </a:xfrm>
          <a:prstGeom prst="rect">
            <a:avLst/>
          </a:prstGeom>
        </p:spPr>
      </p:pic>
      <p:pic>
        <p:nvPicPr>
          <p:cNvPr id="15" name="Image 14">
            <a:extLst>
              <a:ext uri="{FF2B5EF4-FFF2-40B4-BE49-F238E27FC236}">
                <a16:creationId xmlns:a16="http://schemas.microsoft.com/office/drawing/2014/main" id="{C82D58AE-FA64-1000-E349-F482F28668A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5946" y="2527692"/>
            <a:ext cx="527595" cy="527595"/>
          </a:xfrm>
          <a:prstGeom prst="rect">
            <a:avLst/>
          </a:prstGeom>
        </p:spPr>
      </p:pic>
      <p:cxnSp>
        <p:nvCxnSpPr>
          <p:cNvPr id="28" name="Connecteur droit 27">
            <a:extLst>
              <a:ext uri="{FF2B5EF4-FFF2-40B4-BE49-F238E27FC236}">
                <a16:creationId xmlns:a16="http://schemas.microsoft.com/office/drawing/2014/main" id="{1D71A94B-2998-471C-38DC-C6B1F21698F5}"/>
              </a:ext>
            </a:extLst>
          </p:cNvPr>
          <p:cNvCxnSpPr/>
          <p:nvPr/>
        </p:nvCxnSpPr>
        <p:spPr>
          <a:xfrm>
            <a:off x="1104155" y="4718961"/>
            <a:ext cx="2989943" cy="0"/>
          </a:xfrm>
          <a:prstGeom prst="line">
            <a:avLst/>
          </a:prstGeom>
          <a:ln w="28575">
            <a:solidFill>
              <a:srgbClr val="44388A"/>
            </a:solidFill>
          </a:ln>
        </p:spPr>
        <p:style>
          <a:lnRef idx="1">
            <a:schemeClr val="accent1"/>
          </a:lnRef>
          <a:fillRef idx="0">
            <a:schemeClr val="accent1"/>
          </a:fillRef>
          <a:effectRef idx="0">
            <a:schemeClr val="accent1"/>
          </a:effectRef>
          <a:fontRef idx="minor">
            <a:schemeClr val="tx1"/>
          </a:fontRef>
        </p:style>
      </p:cxnSp>
      <p:cxnSp>
        <p:nvCxnSpPr>
          <p:cNvPr id="29" name="Connecteur droit 28">
            <a:extLst>
              <a:ext uri="{FF2B5EF4-FFF2-40B4-BE49-F238E27FC236}">
                <a16:creationId xmlns:a16="http://schemas.microsoft.com/office/drawing/2014/main" id="{A4F65EBB-4530-EA8C-47AD-F395AE547315}"/>
              </a:ext>
            </a:extLst>
          </p:cNvPr>
          <p:cNvCxnSpPr/>
          <p:nvPr/>
        </p:nvCxnSpPr>
        <p:spPr>
          <a:xfrm>
            <a:off x="4645641" y="4718961"/>
            <a:ext cx="2989943" cy="0"/>
          </a:xfrm>
          <a:prstGeom prst="line">
            <a:avLst/>
          </a:prstGeom>
          <a:ln w="28575">
            <a:solidFill>
              <a:srgbClr val="44388A"/>
            </a:solidFill>
          </a:ln>
        </p:spPr>
        <p:style>
          <a:lnRef idx="1">
            <a:schemeClr val="accent1"/>
          </a:lnRef>
          <a:fillRef idx="0">
            <a:schemeClr val="accent1"/>
          </a:fillRef>
          <a:effectRef idx="0">
            <a:schemeClr val="accent1"/>
          </a:effectRef>
          <a:fontRef idx="minor">
            <a:schemeClr val="tx1"/>
          </a:fontRef>
        </p:style>
      </p:cxnSp>
      <p:cxnSp>
        <p:nvCxnSpPr>
          <p:cNvPr id="30" name="Connecteur droit 29">
            <a:extLst>
              <a:ext uri="{FF2B5EF4-FFF2-40B4-BE49-F238E27FC236}">
                <a16:creationId xmlns:a16="http://schemas.microsoft.com/office/drawing/2014/main" id="{757F82DD-9664-4FD2-E6F2-DEA7D5C4E57F}"/>
              </a:ext>
            </a:extLst>
          </p:cNvPr>
          <p:cNvCxnSpPr/>
          <p:nvPr/>
        </p:nvCxnSpPr>
        <p:spPr>
          <a:xfrm>
            <a:off x="8396260" y="4718961"/>
            <a:ext cx="2989943" cy="0"/>
          </a:xfrm>
          <a:prstGeom prst="line">
            <a:avLst/>
          </a:prstGeom>
          <a:ln w="28575">
            <a:solidFill>
              <a:srgbClr val="44388A"/>
            </a:solidFill>
          </a:ln>
        </p:spPr>
        <p:style>
          <a:lnRef idx="1">
            <a:schemeClr val="accent1"/>
          </a:lnRef>
          <a:fillRef idx="0">
            <a:schemeClr val="accent1"/>
          </a:fillRef>
          <a:effectRef idx="0">
            <a:schemeClr val="accent1"/>
          </a:effectRef>
          <a:fontRef idx="minor">
            <a:schemeClr val="tx1"/>
          </a:fontRef>
        </p:style>
      </p:cxnSp>
      <p:sp>
        <p:nvSpPr>
          <p:cNvPr id="31" name="ZoneTexte 30">
            <a:extLst>
              <a:ext uri="{FF2B5EF4-FFF2-40B4-BE49-F238E27FC236}">
                <a16:creationId xmlns:a16="http://schemas.microsoft.com/office/drawing/2014/main" id="{654D61A4-8399-FF1F-07BB-D3C7678E2C99}"/>
              </a:ext>
            </a:extLst>
          </p:cNvPr>
          <p:cNvSpPr txBox="1"/>
          <p:nvPr/>
        </p:nvSpPr>
        <p:spPr>
          <a:xfrm>
            <a:off x="808610" y="4280629"/>
            <a:ext cx="3392275" cy="307777"/>
          </a:xfrm>
          <a:prstGeom prst="rect">
            <a:avLst/>
          </a:prstGeom>
          <a:noFill/>
        </p:spPr>
        <p:txBody>
          <a:bodyPr wrap="none" rtlCol="0">
            <a:spAutoFit/>
          </a:bodyPr>
          <a:lstStyle/>
          <a:p>
            <a:pPr algn="ctr"/>
            <a:r>
              <a:rPr lang="fr-FR" b="1"/>
              <a:t>Une prestation déclinée en 3 objectifs</a:t>
            </a:r>
          </a:p>
        </p:txBody>
      </p:sp>
      <p:sp>
        <p:nvSpPr>
          <p:cNvPr id="32" name="ZoneTexte 31">
            <a:extLst>
              <a:ext uri="{FF2B5EF4-FFF2-40B4-BE49-F238E27FC236}">
                <a16:creationId xmlns:a16="http://schemas.microsoft.com/office/drawing/2014/main" id="{020CB1B0-83B0-7935-7342-5FE81A9F728C}"/>
              </a:ext>
            </a:extLst>
          </p:cNvPr>
          <p:cNvSpPr txBox="1"/>
          <p:nvPr/>
        </p:nvSpPr>
        <p:spPr>
          <a:xfrm>
            <a:off x="4567440" y="4186311"/>
            <a:ext cx="3086101" cy="523220"/>
          </a:xfrm>
          <a:prstGeom prst="rect">
            <a:avLst/>
          </a:prstGeom>
          <a:noFill/>
        </p:spPr>
        <p:txBody>
          <a:bodyPr wrap="none" rtlCol="0">
            <a:spAutoFit/>
          </a:bodyPr>
          <a:lstStyle/>
          <a:p>
            <a:pPr algn="ctr"/>
            <a:r>
              <a:rPr lang="fr-FR" b="1"/>
              <a:t>Nos compétences s’appuyant sur </a:t>
            </a:r>
          </a:p>
          <a:p>
            <a:pPr algn="ctr"/>
            <a:r>
              <a:rPr lang="fr-FR" b="1"/>
              <a:t>2 pôles Talan Consulting</a:t>
            </a:r>
          </a:p>
        </p:txBody>
      </p:sp>
      <p:sp>
        <p:nvSpPr>
          <p:cNvPr id="34" name="ZoneTexte 33">
            <a:extLst>
              <a:ext uri="{FF2B5EF4-FFF2-40B4-BE49-F238E27FC236}">
                <a16:creationId xmlns:a16="http://schemas.microsoft.com/office/drawing/2014/main" id="{273E1CEA-E561-2EE7-55F2-B445F739303E}"/>
              </a:ext>
            </a:extLst>
          </p:cNvPr>
          <p:cNvSpPr txBox="1"/>
          <p:nvPr/>
        </p:nvSpPr>
        <p:spPr>
          <a:xfrm>
            <a:off x="4461329" y="5294827"/>
            <a:ext cx="3245757" cy="523220"/>
          </a:xfrm>
          <a:prstGeom prst="rect">
            <a:avLst/>
          </a:prstGeom>
          <a:noFill/>
        </p:spPr>
        <p:txBody>
          <a:bodyPr wrap="square">
            <a:spAutoFit/>
          </a:bodyPr>
          <a:lstStyle/>
          <a:p>
            <a:pPr marL="0" marR="0" lvl="1" indent="0" algn="ctr" defTabSz="914400" eaLnBrk="1" fontAlgn="auto" latinLnBrk="0" hangingPunct="1">
              <a:lnSpc>
                <a:spcPct val="100000"/>
              </a:lnSpc>
              <a:spcBef>
                <a:spcPts val="0"/>
              </a:spcBef>
              <a:spcAft>
                <a:spcPts val="0"/>
              </a:spcAft>
              <a:buClr>
                <a:srgbClr val="000000"/>
              </a:buClr>
              <a:buSzPts val="1200"/>
              <a:buFont typeface="Arial"/>
              <a:buNone/>
              <a:tabLst/>
              <a:defRPr/>
            </a:pPr>
            <a:r>
              <a:rPr kumimoji="0" lang="fr-FR" sz="1400" b="1" i="0" u="none" strike="noStrike" kern="0" cap="none" spc="0" normalizeH="0" baseline="0" noProof="0">
                <a:ln>
                  <a:noFill/>
                </a:ln>
                <a:solidFill>
                  <a:srgbClr val="000000"/>
                </a:solidFill>
                <a:effectLst/>
                <a:uLnTx/>
                <a:uFillTx/>
                <a:latin typeface="+mj-lt"/>
                <a:ea typeface="Open Sans Light"/>
                <a:cs typeface="Open Sans Light"/>
                <a:sym typeface="Open Sans Light"/>
              </a:rPr>
              <a:t>Transports &amp; Mobilités </a:t>
            </a:r>
          </a:p>
          <a:p>
            <a:pPr marL="0" marR="0" lvl="1" indent="0" algn="ctr" defTabSz="914400" eaLnBrk="1" fontAlgn="auto" latinLnBrk="0" hangingPunct="1">
              <a:lnSpc>
                <a:spcPct val="100000"/>
              </a:lnSpc>
              <a:spcBef>
                <a:spcPts val="0"/>
              </a:spcBef>
              <a:spcAft>
                <a:spcPts val="0"/>
              </a:spcAft>
              <a:buClr>
                <a:srgbClr val="000000"/>
              </a:buClr>
              <a:buSzPts val="1200"/>
              <a:buFont typeface="Arial"/>
              <a:buNone/>
              <a:tabLst/>
              <a:defRPr/>
            </a:pPr>
            <a:r>
              <a:rPr kumimoji="0" lang="fr-FR" sz="1400" b="1" i="0" u="none" strike="noStrike" kern="0" cap="none" spc="0" normalizeH="0" baseline="0" noProof="0">
                <a:ln>
                  <a:noFill/>
                </a:ln>
                <a:solidFill>
                  <a:srgbClr val="000000"/>
                </a:solidFill>
                <a:effectLst/>
                <a:uLnTx/>
                <a:uFillTx/>
                <a:latin typeface="+mj-lt"/>
                <a:ea typeface="Open Sans Light"/>
                <a:cs typeface="Open Sans Light"/>
                <a:sym typeface="Open Sans Light"/>
              </a:rPr>
              <a:t>et People &amp; Culture</a:t>
            </a:r>
            <a:endParaRPr lang="fr-FR" sz="1400" b="1" kern="0">
              <a:solidFill>
                <a:srgbClr val="000000"/>
              </a:solidFill>
              <a:latin typeface="+mj-lt"/>
              <a:ea typeface="Open Sans Light"/>
              <a:cs typeface="Open Sans Light"/>
              <a:sym typeface="Open Sans Light"/>
            </a:endParaRPr>
          </a:p>
        </p:txBody>
      </p:sp>
      <p:sp>
        <p:nvSpPr>
          <p:cNvPr id="35" name="ZoneTexte 34">
            <a:extLst>
              <a:ext uri="{FF2B5EF4-FFF2-40B4-BE49-F238E27FC236}">
                <a16:creationId xmlns:a16="http://schemas.microsoft.com/office/drawing/2014/main" id="{CFCF35D4-1075-37D4-B0CA-A94354BC669C}"/>
              </a:ext>
            </a:extLst>
          </p:cNvPr>
          <p:cNvSpPr txBox="1"/>
          <p:nvPr/>
        </p:nvSpPr>
        <p:spPr>
          <a:xfrm>
            <a:off x="8342207" y="4280629"/>
            <a:ext cx="2888932" cy="307777"/>
          </a:xfrm>
          <a:prstGeom prst="rect">
            <a:avLst/>
          </a:prstGeom>
          <a:noFill/>
        </p:spPr>
        <p:txBody>
          <a:bodyPr wrap="none" rtlCol="0">
            <a:spAutoFit/>
          </a:bodyPr>
          <a:lstStyle/>
          <a:p>
            <a:pPr algn="ctr"/>
            <a:r>
              <a:rPr lang="fr-FR" b="1"/>
              <a:t>Notre dispositif de 5 formateurs</a:t>
            </a:r>
          </a:p>
        </p:txBody>
      </p:sp>
      <p:grpSp>
        <p:nvGrpSpPr>
          <p:cNvPr id="27" name="Groupe 26">
            <a:extLst>
              <a:ext uri="{FF2B5EF4-FFF2-40B4-BE49-F238E27FC236}">
                <a16:creationId xmlns:a16="http://schemas.microsoft.com/office/drawing/2014/main" id="{A13D1A47-9B54-EBFE-ECF6-A76549B5344D}"/>
              </a:ext>
            </a:extLst>
          </p:cNvPr>
          <p:cNvGrpSpPr/>
          <p:nvPr/>
        </p:nvGrpSpPr>
        <p:grpSpPr>
          <a:xfrm>
            <a:off x="670156" y="5099350"/>
            <a:ext cx="3785947" cy="787742"/>
            <a:chOff x="4122851" y="1442204"/>
            <a:chExt cx="5950101" cy="1238038"/>
          </a:xfrm>
        </p:grpSpPr>
        <p:sp>
          <p:nvSpPr>
            <p:cNvPr id="16" name="Flèche : pentagone 15">
              <a:extLst>
                <a:ext uri="{FF2B5EF4-FFF2-40B4-BE49-F238E27FC236}">
                  <a16:creationId xmlns:a16="http://schemas.microsoft.com/office/drawing/2014/main" id="{C59CD93B-D894-1D40-6C2F-3F5E615D5616}"/>
                </a:ext>
              </a:extLst>
            </p:cNvPr>
            <p:cNvSpPr/>
            <p:nvPr/>
          </p:nvSpPr>
          <p:spPr>
            <a:xfrm>
              <a:off x="4276052" y="1647306"/>
              <a:ext cx="5796900" cy="283893"/>
            </a:xfrm>
            <a:prstGeom prst="homePlate">
              <a:avLst/>
            </a:prstGeom>
            <a:solidFill>
              <a:schemeClr val="bg1"/>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a:solidFill>
                    <a:schemeClr val="tx1"/>
                  </a:solidFill>
                </a:rPr>
                <a:t>Organiser et piloter les formations et l’appropriation</a:t>
              </a:r>
            </a:p>
          </p:txBody>
        </p:sp>
        <p:sp>
          <p:nvSpPr>
            <p:cNvPr id="18" name="Flèche : pentagone 17">
              <a:extLst>
                <a:ext uri="{FF2B5EF4-FFF2-40B4-BE49-F238E27FC236}">
                  <a16:creationId xmlns:a16="http://schemas.microsoft.com/office/drawing/2014/main" id="{C0DA3F0E-A9C7-9DF5-040C-9778BCB95D12}"/>
                </a:ext>
              </a:extLst>
            </p:cNvPr>
            <p:cNvSpPr/>
            <p:nvPr/>
          </p:nvSpPr>
          <p:spPr>
            <a:xfrm>
              <a:off x="5037103" y="2021829"/>
              <a:ext cx="5035848" cy="283893"/>
            </a:xfrm>
            <a:prstGeom prst="homePlate">
              <a:avLst/>
            </a:prstGeom>
            <a:solidFill>
              <a:schemeClr val="bg1"/>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a:solidFill>
                    <a:schemeClr val="tx1"/>
                  </a:solidFill>
                </a:rPr>
                <a:t>Préparer et animer les formations</a:t>
              </a:r>
            </a:p>
          </p:txBody>
        </p:sp>
        <p:sp>
          <p:nvSpPr>
            <p:cNvPr id="19" name="Ellipse 18">
              <a:extLst>
                <a:ext uri="{FF2B5EF4-FFF2-40B4-BE49-F238E27FC236}">
                  <a16:creationId xmlns:a16="http://schemas.microsoft.com/office/drawing/2014/main" id="{6DE291A9-1D8F-470A-1EB9-B6A574092981}"/>
                </a:ext>
              </a:extLst>
            </p:cNvPr>
            <p:cNvSpPr/>
            <p:nvPr/>
          </p:nvSpPr>
          <p:spPr>
            <a:xfrm>
              <a:off x="4122851" y="1442204"/>
              <a:ext cx="323801" cy="323801"/>
            </a:xfrm>
            <a:prstGeom prst="ellips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chemeClr val="bg1"/>
                  </a:solidFill>
                </a:rPr>
                <a:t>1</a:t>
              </a:r>
            </a:p>
          </p:txBody>
        </p:sp>
        <p:sp>
          <p:nvSpPr>
            <p:cNvPr id="21" name="Ellipse 20">
              <a:extLst>
                <a:ext uri="{FF2B5EF4-FFF2-40B4-BE49-F238E27FC236}">
                  <a16:creationId xmlns:a16="http://schemas.microsoft.com/office/drawing/2014/main" id="{0E319491-7025-1A4D-1FD2-D9FF088795A3}"/>
                </a:ext>
              </a:extLst>
            </p:cNvPr>
            <p:cNvSpPr/>
            <p:nvPr/>
          </p:nvSpPr>
          <p:spPr>
            <a:xfrm>
              <a:off x="4895146" y="1853875"/>
              <a:ext cx="323801" cy="323801"/>
            </a:xfrm>
            <a:prstGeom prst="ellips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chemeClr val="bg1"/>
                  </a:solidFill>
                </a:rPr>
                <a:t>2</a:t>
              </a:r>
            </a:p>
          </p:txBody>
        </p:sp>
        <p:sp>
          <p:nvSpPr>
            <p:cNvPr id="22" name="Flèche : pentagone 21">
              <a:extLst>
                <a:ext uri="{FF2B5EF4-FFF2-40B4-BE49-F238E27FC236}">
                  <a16:creationId xmlns:a16="http://schemas.microsoft.com/office/drawing/2014/main" id="{0EEA1D41-A002-3448-6740-C02B1C0408C8}"/>
                </a:ext>
              </a:extLst>
            </p:cNvPr>
            <p:cNvSpPr/>
            <p:nvPr/>
          </p:nvSpPr>
          <p:spPr>
            <a:xfrm>
              <a:off x="5964754" y="2396349"/>
              <a:ext cx="4108198" cy="283893"/>
            </a:xfrm>
            <a:prstGeom prst="homePlate">
              <a:avLst/>
            </a:prstGeom>
            <a:solidFill>
              <a:schemeClr val="bg1"/>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a:solidFill>
                    <a:schemeClr val="tx1"/>
                  </a:solidFill>
                </a:rPr>
                <a:t>Évaluer et améliorer le dispositif</a:t>
              </a:r>
            </a:p>
          </p:txBody>
        </p:sp>
        <p:sp>
          <p:nvSpPr>
            <p:cNvPr id="24" name="Ellipse 23">
              <a:extLst>
                <a:ext uri="{FF2B5EF4-FFF2-40B4-BE49-F238E27FC236}">
                  <a16:creationId xmlns:a16="http://schemas.microsoft.com/office/drawing/2014/main" id="{BA56F45A-E3AE-5853-84A6-AE49FDA2ED57}"/>
                </a:ext>
              </a:extLst>
            </p:cNvPr>
            <p:cNvSpPr/>
            <p:nvPr/>
          </p:nvSpPr>
          <p:spPr>
            <a:xfrm>
              <a:off x="5802854" y="2265546"/>
              <a:ext cx="323801" cy="323801"/>
            </a:xfrm>
            <a:prstGeom prst="ellipse">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chemeClr val="bg1"/>
                  </a:solidFill>
                </a:rPr>
                <a:t>3</a:t>
              </a:r>
            </a:p>
          </p:txBody>
        </p:sp>
      </p:grpSp>
      <p:grpSp>
        <p:nvGrpSpPr>
          <p:cNvPr id="48" name="Groupe 47">
            <a:extLst>
              <a:ext uri="{FF2B5EF4-FFF2-40B4-BE49-F238E27FC236}">
                <a16:creationId xmlns:a16="http://schemas.microsoft.com/office/drawing/2014/main" id="{90A7017A-3EE0-4D25-5FA1-E2C8DE1D17E6}"/>
              </a:ext>
            </a:extLst>
          </p:cNvPr>
          <p:cNvGrpSpPr/>
          <p:nvPr/>
        </p:nvGrpSpPr>
        <p:grpSpPr>
          <a:xfrm>
            <a:off x="8195004" y="4736336"/>
            <a:ext cx="3243675" cy="1867502"/>
            <a:chOff x="6388873" y="2289824"/>
            <a:chExt cx="4803035" cy="2765284"/>
          </a:xfrm>
        </p:grpSpPr>
        <p:sp>
          <p:nvSpPr>
            <p:cNvPr id="33" name="Espace réservé du contenu 1">
              <a:extLst>
                <a:ext uri="{FF2B5EF4-FFF2-40B4-BE49-F238E27FC236}">
                  <a16:creationId xmlns:a16="http://schemas.microsoft.com/office/drawing/2014/main" id="{1661981C-B1AF-7679-24CC-571C79CCAEAA}"/>
                </a:ext>
              </a:extLst>
            </p:cNvPr>
            <p:cNvSpPr txBox="1">
              <a:spLocks/>
            </p:cNvSpPr>
            <p:nvPr/>
          </p:nvSpPr>
          <p:spPr>
            <a:xfrm>
              <a:off x="7514301" y="2289824"/>
              <a:ext cx="3677607" cy="774925"/>
            </a:xfrm>
            <a:prstGeom prst="rect">
              <a:avLst/>
            </a:prstGeom>
          </p:spPr>
          <p:txBody>
            <a:bodyPr>
              <a:no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Arial"/>
              </a:pPr>
              <a:r>
                <a:rPr lang="fr-FR" sz="900" b="0" kern="0" cap="none">
                  <a:solidFill>
                    <a:srgbClr val="EEEEEE">
                      <a:lumMod val="10000"/>
                    </a:srgbClr>
                  </a:solidFill>
                  <a:latin typeface="+mj-lt"/>
                  <a:cs typeface="Arial"/>
                </a:rPr>
                <a:t>Une expertise en gestion de projet qui aidera à réaligner le planning, à instruire les risques et à surveiller le déroulé de la formation en mode « </a:t>
              </a:r>
              <a:r>
                <a:rPr lang="fr-FR" sz="900" kern="0" cap="none">
                  <a:solidFill>
                    <a:srgbClr val="EEEEEE">
                      <a:lumMod val="10000"/>
                    </a:srgbClr>
                  </a:solidFill>
                  <a:latin typeface="+mj-lt"/>
                  <a:cs typeface="Arial"/>
                </a:rPr>
                <a:t>tour de contrôle </a:t>
              </a:r>
              <a:r>
                <a:rPr lang="fr-FR" sz="900" b="0" kern="0" cap="none">
                  <a:solidFill>
                    <a:srgbClr val="EEEEEE">
                      <a:lumMod val="10000"/>
                    </a:srgbClr>
                  </a:solidFill>
                  <a:latin typeface="+mj-lt"/>
                  <a:cs typeface="Arial"/>
                </a:rPr>
                <a:t>»</a:t>
              </a:r>
            </a:p>
          </p:txBody>
        </p:sp>
        <p:sp>
          <p:nvSpPr>
            <p:cNvPr id="39" name="Freeform 552">
              <a:extLst>
                <a:ext uri="{FF2B5EF4-FFF2-40B4-BE49-F238E27FC236}">
                  <a16:creationId xmlns:a16="http://schemas.microsoft.com/office/drawing/2014/main" id="{C7BCDB27-0913-EAAC-F916-9360F80C0C51}"/>
                </a:ext>
              </a:extLst>
            </p:cNvPr>
            <p:cNvSpPr>
              <a:spLocks noEditPoints="1"/>
            </p:cNvSpPr>
            <p:nvPr/>
          </p:nvSpPr>
          <p:spPr bwMode="auto">
            <a:xfrm>
              <a:off x="6725184" y="2434674"/>
              <a:ext cx="624037" cy="62403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171616"/>
                </a:solidFill>
                <a:effectLst/>
                <a:uLnTx/>
                <a:uFillTx/>
                <a:latin typeface="+mj-lt"/>
                <a:ea typeface="+mn-ea"/>
                <a:cs typeface="+mn-cs"/>
              </a:endParaRPr>
            </a:p>
          </p:txBody>
        </p:sp>
        <p:sp>
          <p:nvSpPr>
            <p:cNvPr id="41" name="Freeform 552">
              <a:extLst>
                <a:ext uri="{FF2B5EF4-FFF2-40B4-BE49-F238E27FC236}">
                  <a16:creationId xmlns:a16="http://schemas.microsoft.com/office/drawing/2014/main" id="{7AC9D4FA-A925-D7C4-055F-B49C3CDF6F3F}"/>
                </a:ext>
              </a:extLst>
            </p:cNvPr>
            <p:cNvSpPr>
              <a:spLocks noEditPoints="1"/>
            </p:cNvSpPr>
            <p:nvPr/>
          </p:nvSpPr>
          <p:spPr bwMode="auto">
            <a:xfrm>
              <a:off x="9521898" y="3400125"/>
              <a:ext cx="624037" cy="62403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171616"/>
                </a:solidFill>
                <a:effectLst/>
                <a:uLnTx/>
                <a:uFillTx/>
                <a:latin typeface="+mj-lt"/>
                <a:ea typeface="+mn-ea"/>
                <a:cs typeface="+mn-cs"/>
              </a:endParaRPr>
            </a:p>
          </p:txBody>
        </p:sp>
        <p:sp>
          <p:nvSpPr>
            <p:cNvPr id="42" name="Freeform 552">
              <a:extLst>
                <a:ext uri="{FF2B5EF4-FFF2-40B4-BE49-F238E27FC236}">
                  <a16:creationId xmlns:a16="http://schemas.microsoft.com/office/drawing/2014/main" id="{71CD929A-5C25-CE61-32B0-A0608D0EE8D9}"/>
                </a:ext>
              </a:extLst>
            </p:cNvPr>
            <p:cNvSpPr>
              <a:spLocks noEditPoints="1"/>
            </p:cNvSpPr>
            <p:nvPr/>
          </p:nvSpPr>
          <p:spPr bwMode="auto">
            <a:xfrm>
              <a:off x="10246670" y="3400125"/>
              <a:ext cx="624037" cy="62403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171616"/>
                </a:solidFill>
                <a:effectLst/>
                <a:uLnTx/>
                <a:uFillTx/>
                <a:latin typeface="+mj-lt"/>
                <a:ea typeface="+mn-ea"/>
                <a:cs typeface="+mn-cs"/>
              </a:endParaRPr>
            </a:p>
          </p:txBody>
        </p:sp>
        <p:sp>
          <p:nvSpPr>
            <p:cNvPr id="44" name="Freeform 552">
              <a:extLst>
                <a:ext uri="{FF2B5EF4-FFF2-40B4-BE49-F238E27FC236}">
                  <a16:creationId xmlns:a16="http://schemas.microsoft.com/office/drawing/2014/main" id="{513F0FC4-565B-F933-E5A3-18EFF45B3F32}"/>
                </a:ext>
              </a:extLst>
            </p:cNvPr>
            <p:cNvSpPr>
              <a:spLocks noEditPoints="1"/>
            </p:cNvSpPr>
            <p:nvPr/>
          </p:nvSpPr>
          <p:spPr bwMode="auto">
            <a:xfrm>
              <a:off x="10246670" y="4110800"/>
              <a:ext cx="624037" cy="62403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171616"/>
                </a:solidFill>
                <a:effectLst/>
                <a:uLnTx/>
                <a:uFillTx/>
                <a:latin typeface="+mj-lt"/>
                <a:ea typeface="+mn-ea"/>
                <a:cs typeface="+mn-cs"/>
              </a:endParaRPr>
            </a:p>
          </p:txBody>
        </p:sp>
        <p:sp>
          <p:nvSpPr>
            <p:cNvPr id="45" name="Freeform 552">
              <a:extLst>
                <a:ext uri="{FF2B5EF4-FFF2-40B4-BE49-F238E27FC236}">
                  <a16:creationId xmlns:a16="http://schemas.microsoft.com/office/drawing/2014/main" id="{144BE61F-9E2E-C052-E094-8E238A5B06C6}"/>
                </a:ext>
              </a:extLst>
            </p:cNvPr>
            <p:cNvSpPr>
              <a:spLocks noEditPoints="1"/>
            </p:cNvSpPr>
            <p:nvPr/>
          </p:nvSpPr>
          <p:spPr bwMode="auto">
            <a:xfrm>
              <a:off x="9521898" y="4112397"/>
              <a:ext cx="624037" cy="62403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171616"/>
                </a:solidFill>
                <a:effectLst/>
                <a:uLnTx/>
                <a:uFillTx/>
                <a:latin typeface="+mj-lt"/>
                <a:ea typeface="+mn-ea"/>
                <a:cs typeface="+mn-cs"/>
              </a:endParaRPr>
            </a:p>
          </p:txBody>
        </p:sp>
        <p:sp>
          <p:nvSpPr>
            <p:cNvPr id="46" name="Espace réservé du contenu 1">
              <a:extLst>
                <a:ext uri="{FF2B5EF4-FFF2-40B4-BE49-F238E27FC236}">
                  <a16:creationId xmlns:a16="http://schemas.microsoft.com/office/drawing/2014/main" id="{67DA3964-9068-5A6C-C7BD-24EE37B8F799}"/>
                </a:ext>
              </a:extLst>
            </p:cNvPr>
            <p:cNvSpPr txBox="1">
              <a:spLocks/>
            </p:cNvSpPr>
            <p:nvPr/>
          </p:nvSpPr>
          <p:spPr>
            <a:xfrm>
              <a:off x="6388873" y="3342286"/>
              <a:ext cx="3032290" cy="1712822"/>
            </a:xfrm>
            <a:prstGeom prst="rect">
              <a:avLst/>
            </a:prstGeom>
          </p:spPr>
          <p:txBody>
            <a:bodyPr>
              <a:no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Arial"/>
              </a:pPr>
              <a:r>
                <a:rPr lang="fr-FR" sz="900" b="0" kern="0" cap="none">
                  <a:solidFill>
                    <a:srgbClr val="EEEEEE">
                      <a:lumMod val="10000"/>
                    </a:srgbClr>
                  </a:solidFill>
                  <a:latin typeface="+mj-lt"/>
                  <a:cs typeface="Arial"/>
                </a:rPr>
                <a:t>Une équipe </a:t>
              </a:r>
              <a:r>
                <a:rPr lang="fr-FR" sz="900" kern="0" cap="none">
                  <a:solidFill>
                    <a:srgbClr val="EEEEEE">
                      <a:lumMod val="10000"/>
                    </a:srgbClr>
                  </a:solidFill>
                  <a:latin typeface="+mj-lt"/>
                  <a:cs typeface="Arial"/>
                </a:rPr>
                <a:t>dynamique</a:t>
              </a:r>
              <a:r>
                <a:rPr lang="fr-FR" sz="900" b="0" kern="0" cap="none">
                  <a:solidFill>
                    <a:srgbClr val="EEEEEE">
                      <a:lumMod val="10000"/>
                    </a:srgbClr>
                  </a:solidFill>
                  <a:latin typeface="+mj-lt"/>
                  <a:cs typeface="Arial"/>
                </a:rPr>
                <a:t> et </a:t>
              </a:r>
              <a:r>
                <a:rPr lang="fr-FR" sz="900" kern="0" cap="none">
                  <a:solidFill>
                    <a:srgbClr val="EEEEEE">
                      <a:lumMod val="10000"/>
                    </a:srgbClr>
                  </a:solidFill>
                  <a:latin typeface="+mj-lt"/>
                  <a:cs typeface="Arial"/>
                </a:rPr>
                <a:t>complémentaire </a:t>
              </a:r>
              <a:r>
                <a:rPr lang="fr-FR" sz="900" b="0" kern="0" cap="none">
                  <a:solidFill>
                    <a:srgbClr val="EEEEEE">
                      <a:lumMod val="10000"/>
                    </a:srgbClr>
                  </a:solidFill>
                  <a:latin typeface="+mj-lt"/>
                  <a:cs typeface="Arial"/>
                </a:rPr>
                <a:t>en capacité de faire face aux </a:t>
              </a:r>
              <a:r>
                <a:rPr lang="fr-FR" sz="900" kern="0" cap="none">
                  <a:solidFill>
                    <a:srgbClr val="EEEEEE">
                      <a:lumMod val="10000"/>
                    </a:srgbClr>
                  </a:solidFill>
                  <a:latin typeface="+mj-lt"/>
                  <a:cs typeface="Arial"/>
                </a:rPr>
                <a:t>pics de charge </a:t>
              </a:r>
              <a:r>
                <a:rPr lang="fr-FR" sz="900" b="0" kern="0" cap="none">
                  <a:solidFill>
                    <a:srgbClr val="EEEEEE">
                      <a:lumMod val="10000"/>
                    </a:srgbClr>
                  </a:solidFill>
                  <a:latin typeface="+mj-lt"/>
                  <a:cs typeface="Arial"/>
                </a:rPr>
                <a:t>et à assurer l’évaluation et l’amélioration continue dans les moments les moins pris par des sessions de formation.</a:t>
              </a:r>
            </a:p>
          </p:txBody>
        </p:sp>
        <p:cxnSp>
          <p:nvCxnSpPr>
            <p:cNvPr id="47" name="Connecteur droit 46">
              <a:extLst>
                <a:ext uri="{FF2B5EF4-FFF2-40B4-BE49-F238E27FC236}">
                  <a16:creationId xmlns:a16="http://schemas.microsoft.com/office/drawing/2014/main" id="{1A2780FD-923A-98E1-3D0B-2873F075B1ED}"/>
                </a:ext>
              </a:extLst>
            </p:cNvPr>
            <p:cNvCxnSpPr>
              <a:cxnSpLocks/>
            </p:cNvCxnSpPr>
            <p:nvPr/>
          </p:nvCxnSpPr>
          <p:spPr>
            <a:xfrm>
              <a:off x="6497992" y="3259955"/>
              <a:ext cx="469344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642567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7E520E0-776F-50C2-B4CB-590037576451}"/>
              </a:ext>
            </a:extLst>
          </p:cNvPr>
          <p:cNvSpPr/>
          <p:nvPr/>
        </p:nvSpPr>
        <p:spPr>
          <a:xfrm>
            <a:off x="550761" y="2459225"/>
            <a:ext cx="7240388" cy="4084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algn="ctr"/>
            <a:endParaRPr lang="fr-FR" sz="800" b="1">
              <a:solidFill>
                <a:schemeClr val="tx1">
                  <a:lumMod val="50000"/>
                  <a:lumOff val="50000"/>
                </a:schemeClr>
              </a:solidFill>
            </a:endParaRPr>
          </a:p>
        </p:txBody>
      </p:sp>
      <p:sp>
        <p:nvSpPr>
          <p:cNvPr id="19" name="Rectangle 18">
            <a:extLst>
              <a:ext uri="{FF2B5EF4-FFF2-40B4-BE49-F238E27FC236}">
                <a16:creationId xmlns:a16="http://schemas.microsoft.com/office/drawing/2014/main" id="{B88E91BA-0AAB-6EB6-FAF0-03FE9B84F683}"/>
              </a:ext>
            </a:extLst>
          </p:cNvPr>
          <p:cNvSpPr/>
          <p:nvPr/>
        </p:nvSpPr>
        <p:spPr>
          <a:xfrm>
            <a:off x="7877471" y="2459225"/>
            <a:ext cx="4218773" cy="4084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algn="ctr"/>
            <a:endParaRPr lang="fr-FR" sz="800" b="1">
              <a:solidFill>
                <a:schemeClr val="tx1">
                  <a:lumMod val="50000"/>
                  <a:lumOff val="50000"/>
                </a:schemeClr>
              </a:solidFill>
            </a:endParaRPr>
          </a:p>
        </p:txBody>
      </p:sp>
      <p:pic>
        <p:nvPicPr>
          <p:cNvPr id="9" name="Image 8">
            <a:extLst>
              <a:ext uri="{FF2B5EF4-FFF2-40B4-BE49-F238E27FC236}">
                <a16:creationId xmlns:a16="http://schemas.microsoft.com/office/drawing/2014/main" id="{CDB70F00-91C3-95D6-4425-042CA8AFC7F5}"/>
              </a:ext>
            </a:extLst>
          </p:cNvPr>
          <p:cNvPicPr>
            <a:picLocks noChangeAspect="1"/>
          </p:cNvPicPr>
          <p:nvPr/>
        </p:nvPicPr>
        <p:blipFill>
          <a:blip r:embed="rId3"/>
          <a:stretch>
            <a:fillRect/>
          </a:stretch>
        </p:blipFill>
        <p:spPr>
          <a:xfrm>
            <a:off x="3838053" y="4255360"/>
            <a:ext cx="3828925" cy="2153770"/>
          </a:xfrm>
          <a:prstGeom prst="rect">
            <a:avLst/>
          </a:prstGeom>
          <a:ln>
            <a:noFill/>
          </a:ln>
          <a:effectLst>
            <a:outerShdw blurRad="292100" dist="139700" dir="2700000" algn="tl" rotWithShape="0">
              <a:srgbClr val="333333">
                <a:alpha val="65000"/>
              </a:srgbClr>
            </a:outerShdw>
          </a:effectLst>
        </p:spPr>
      </p:pic>
      <p:sp>
        <p:nvSpPr>
          <p:cNvPr id="3" name="Titre 2">
            <a:extLst>
              <a:ext uri="{FF2B5EF4-FFF2-40B4-BE49-F238E27FC236}">
                <a16:creationId xmlns:a16="http://schemas.microsoft.com/office/drawing/2014/main" id="{4CED5CC6-D44D-46CF-87ED-9F93BCBA6175}"/>
              </a:ext>
            </a:extLst>
          </p:cNvPr>
          <p:cNvSpPr>
            <a:spLocks noGrp="1"/>
          </p:cNvSpPr>
          <p:nvPr>
            <p:ph type="title"/>
          </p:nvPr>
        </p:nvSpPr>
        <p:spPr/>
        <p:txBody>
          <a:bodyPr/>
          <a:lstStyle/>
          <a:p>
            <a:r>
              <a:rPr lang="fr-FR"/>
              <a:t>Continuité de service</a:t>
            </a:r>
          </a:p>
        </p:txBody>
      </p:sp>
      <p:sp>
        <p:nvSpPr>
          <p:cNvPr id="6" name="Espace réservé du contenu 1">
            <a:extLst>
              <a:ext uri="{FF2B5EF4-FFF2-40B4-BE49-F238E27FC236}">
                <a16:creationId xmlns:a16="http://schemas.microsoft.com/office/drawing/2014/main" id="{41F19866-8FCB-EFB3-15DD-FD1243AABC64}"/>
              </a:ext>
            </a:extLst>
          </p:cNvPr>
          <p:cNvSpPr txBox="1">
            <a:spLocks/>
          </p:cNvSpPr>
          <p:nvPr/>
        </p:nvSpPr>
        <p:spPr>
          <a:xfrm>
            <a:off x="479894" y="832418"/>
            <a:ext cx="11106291" cy="1198401"/>
          </a:xfrm>
          <a:prstGeom prst="rect">
            <a:avLst/>
          </a:prstGeom>
        </p:spPr>
        <p:txBody>
          <a:bodyPr>
            <a:no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Arial"/>
            </a:pPr>
            <a:r>
              <a:rPr lang="fr-FR" sz="1200" b="0" kern="0" cap="none">
                <a:solidFill>
                  <a:srgbClr val="EEEEEE">
                    <a:lumMod val="10000"/>
                  </a:srgbClr>
                </a:solidFill>
                <a:highlight>
                  <a:srgbClr val="FFFF00"/>
                </a:highlight>
                <a:latin typeface="+mj-lt"/>
                <a:cs typeface="Arial"/>
              </a:rPr>
              <a:t>La planification des sessions ne devra pas prévoir plus de 3 (voire 4, grand maximum) sessions en parallèle. </a:t>
            </a:r>
          </a:p>
          <a:p>
            <a:pPr algn="just">
              <a:buFont typeface="Arial"/>
            </a:pPr>
            <a:endParaRPr lang="fr-FR" sz="1200" b="0" kern="0" cap="none">
              <a:solidFill>
                <a:srgbClr val="EEEEEE">
                  <a:lumMod val="10000"/>
                </a:srgbClr>
              </a:solidFill>
              <a:highlight>
                <a:srgbClr val="FFFF00"/>
              </a:highlight>
              <a:latin typeface="+mj-lt"/>
              <a:cs typeface="Arial"/>
            </a:endParaRPr>
          </a:p>
          <a:p>
            <a:pPr algn="just">
              <a:buFont typeface="Arial"/>
            </a:pPr>
            <a:r>
              <a:rPr lang="fr-FR" sz="1200" b="0" kern="0" cap="none">
                <a:solidFill>
                  <a:srgbClr val="EEEEEE">
                    <a:lumMod val="10000"/>
                  </a:srgbClr>
                </a:solidFill>
                <a:highlight>
                  <a:srgbClr val="FFFF00"/>
                </a:highlight>
                <a:latin typeface="+mj-lt"/>
                <a:cs typeface="Arial"/>
              </a:rPr>
              <a:t>Cela permettra, en cas de </a:t>
            </a:r>
            <a:r>
              <a:rPr lang="fr-FR" sz="1200" kern="0" cap="none">
                <a:solidFill>
                  <a:srgbClr val="EEEEEE">
                    <a:lumMod val="10000"/>
                  </a:srgbClr>
                </a:solidFill>
                <a:highlight>
                  <a:srgbClr val="FFFF00"/>
                </a:highlight>
                <a:latin typeface="+mj-lt"/>
                <a:cs typeface="Arial"/>
              </a:rPr>
              <a:t>mobilité impérative </a:t>
            </a:r>
            <a:r>
              <a:rPr lang="fr-FR" sz="1200" b="0" kern="0" cap="none">
                <a:solidFill>
                  <a:srgbClr val="EEEEEE">
                    <a:lumMod val="10000"/>
                  </a:srgbClr>
                </a:solidFill>
                <a:highlight>
                  <a:srgbClr val="FFFF00"/>
                </a:highlight>
                <a:latin typeface="+mj-lt"/>
                <a:cs typeface="Arial"/>
              </a:rPr>
              <a:t>(démission, absence programmée de longue durée…), de : </a:t>
            </a:r>
          </a:p>
          <a:p>
            <a:pPr marL="171450" indent="-171450" algn="just">
              <a:buFont typeface="Arial" panose="020B0604020202020204" pitchFamily="34" charset="0"/>
              <a:buChar char="•"/>
            </a:pPr>
            <a:r>
              <a:rPr lang="fr-FR" sz="1200" b="0" kern="0" cap="none">
                <a:solidFill>
                  <a:srgbClr val="EEEEEE">
                    <a:lumMod val="10000"/>
                  </a:srgbClr>
                </a:solidFill>
                <a:highlight>
                  <a:srgbClr val="FFFF00"/>
                </a:highlight>
                <a:latin typeface="+mj-lt"/>
                <a:cs typeface="Arial"/>
              </a:rPr>
              <a:t>à très court terme, </a:t>
            </a:r>
            <a:r>
              <a:rPr lang="fr-FR" sz="1200" kern="0" cap="none">
                <a:solidFill>
                  <a:srgbClr val="EEEEEE">
                    <a:lumMod val="10000"/>
                  </a:srgbClr>
                </a:solidFill>
                <a:highlight>
                  <a:srgbClr val="FFFF00"/>
                </a:highlight>
                <a:latin typeface="+mj-lt"/>
                <a:cs typeface="Arial"/>
              </a:rPr>
              <a:t>remplacer</a:t>
            </a:r>
            <a:r>
              <a:rPr lang="fr-FR" sz="1200" b="0" kern="0" cap="none">
                <a:solidFill>
                  <a:srgbClr val="EEEEEE">
                    <a:lumMod val="10000"/>
                  </a:srgbClr>
                </a:solidFill>
                <a:highlight>
                  <a:srgbClr val="FFFF00"/>
                </a:highlight>
                <a:latin typeface="+mj-lt"/>
                <a:cs typeface="Arial"/>
              </a:rPr>
              <a:t> le formateur par l’un des </a:t>
            </a:r>
            <a:r>
              <a:rPr lang="fr-FR" sz="1200" kern="0" cap="none">
                <a:solidFill>
                  <a:srgbClr val="EEEEEE">
                    <a:lumMod val="10000"/>
                  </a:srgbClr>
                </a:solidFill>
                <a:highlight>
                  <a:srgbClr val="FFFF00"/>
                </a:highlight>
                <a:latin typeface="+mj-lt"/>
                <a:cs typeface="Arial"/>
              </a:rPr>
              <a:t>4 autres </a:t>
            </a:r>
            <a:r>
              <a:rPr lang="fr-FR" sz="1200" b="0" kern="0" cap="none">
                <a:solidFill>
                  <a:srgbClr val="EEEEEE">
                    <a:lumMod val="10000"/>
                  </a:srgbClr>
                </a:solidFill>
                <a:highlight>
                  <a:srgbClr val="FFFF00"/>
                </a:highlight>
                <a:latin typeface="+mj-lt"/>
                <a:cs typeface="Arial"/>
              </a:rPr>
              <a:t>: c’est également une des raisons de former les 5 intervenants à l’ensemble des modules </a:t>
            </a:r>
          </a:p>
          <a:p>
            <a:pPr marL="171450" indent="-171450" algn="just">
              <a:buFont typeface="Arial" panose="020B0604020202020204" pitchFamily="34" charset="0"/>
              <a:buChar char="•"/>
            </a:pPr>
            <a:r>
              <a:rPr lang="fr-FR" sz="1200" b="0" kern="0" cap="none">
                <a:solidFill>
                  <a:srgbClr val="EEEEEE">
                    <a:lumMod val="10000"/>
                  </a:srgbClr>
                </a:solidFill>
                <a:highlight>
                  <a:srgbClr val="FFFF00"/>
                </a:highlight>
                <a:latin typeface="+mj-lt"/>
                <a:cs typeface="Arial"/>
              </a:rPr>
              <a:t>Intégrer un </a:t>
            </a:r>
            <a:r>
              <a:rPr lang="fr-FR" sz="1200" kern="0" cap="none">
                <a:solidFill>
                  <a:srgbClr val="EEEEEE">
                    <a:lumMod val="10000"/>
                  </a:srgbClr>
                </a:solidFill>
                <a:highlight>
                  <a:srgbClr val="FFFF00"/>
                </a:highlight>
                <a:latin typeface="+mj-lt"/>
                <a:cs typeface="Arial"/>
              </a:rPr>
              <a:t>nouvel intervenant en parallèle et le former</a:t>
            </a:r>
            <a:r>
              <a:rPr lang="fr-FR" sz="1200" b="0" kern="0" cap="none">
                <a:solidFill>
                  <a:srgbClr val="EEEEEE">
                    <a:lumMod val="10000"/>
                  </a:srgbClr>
                </a:solidFill>
                <a:highlight>
                  <a:srgbClr val="FFFF00"/>
                </a:highlight>
                <a:latin typeface="+mj-lt"/>
                <a:cs typeface="Arial"/>
              </a:rPr>
              <a:t>, à notre charge, en nous fondant sur le </a:t>
            </a:r>
            <a:r>
              <a:rPr lang="fr-FR" sz="1200" kern="0" cap="none">
                <a:solidFill>
                  <a:srgbClr val="EEEEEE">
                    <a:lumMod val="10000"/>
                  </a:srgbClr>
                </a:solidFill>
                <a:highlight>
                  <a:srgbClr val="FFFF00"/>
                </a:highlight>
                <a:latin typeface="+mj-lt"/>
                <a:cs typeface="Arial"/>
              </a:rPr>
              <a:t>plan de montée en compétence </a:t>
            </a:r>
            <a:r>
              <a:rPr lang="fr-FR" sz="1200" b="0" kern="0" cap="none">
                <a:solidFill>
                  <a:srgbClr val="EEEEEE">
                    <a:lumMod val="10000"/>
                  </a:srgbClr>
                </a:solidFill>
                <a:highlight>
                  <a:srgbClr val="FFFF00"/>
                </a:highlight>
                <a:latin typeface="+mj-lt"/>
                <a:cs typeface="Arial"/>
              </a:rPr>
              <a:t>proposé plus haut dans ce document</a:t>
            </a:r>
          </a:p>
          <a:p>
            <a:pPr marL="171450" indent="-171450" algn="just">
              <a:buFont typeface="Arial" panose="020B0604020202020204" pitchFamily="34" charset="0"/>
              <a:buChar char="•"/>
            </a:pPr>
            <a:endParaRPr lang="fr-FR" sz="1200" b="0" kern="0" cap="none">
              <a:solidFill>
                <a:srgbClr val="EEEEEE">
                  <a:lumMod val="10000"/>
                </a:srgbClr>
              </a:solidFill>
              <a:highlight>
                <a:srgbClr val="FFFF00"/>
              </a:highlight>
              <a:latin typeface="+mj-lt"/>
              <a:cs typeface="Arial"/>
            </a:endParaRPr>
          </a:p>
          <a:p>
            <a:pPr algn="just"/>
            <a:r>
              <a:rPr lang="fr-FR" sz="1200" b="0" kern="0" cap="none">
                <a:solidFill>
                  <a:srgbClr val="EEEEEE">
                    <a:lumMod val="10000"/>
                  </a:srgbClr>
                </a:solidFill>
                <a:highlight>
                  <a:srgbClr val="FFFF00"/>
                </a:highlight>
                <a:latin typeface="+mj-lt"/>
                <a:cs typeface="Arial"/>
              </a:rPr>
              <a:t>Nous disposons notamment d’un « </a:t>
            </a:r>
            <a:r>
              <a:rPr lang="fr-FR" sz="1200" kern="0" cap="none">
                <a:solidFill>
                  <a:srgbClr val="EEEEEE">
                    <a:lumMod val="10000"/>
                  </a:srgbClr>
                </a:solidFill>
                <a:highlight>
                  <a:srgbClr val="FFFF00"/>
                </a:highlight>
                <a:latin typeface="+mj-lt"/>
                <a:cs typeface="Arial"/>
              </a:rPr>
              <a:t>Parcours d’apprentissage</a:t>
            </a:r>
            <a:r>
              <a:rPr lang="fr-FR" sz="1200" b="0" kern="0" cap="none">
                <a:solidFill>
                  <a:srgbClr val="EEEEEE">
                    <a:lumMod val="10000"/>
                  </a:srgbClr>
                </a:solidFill>
                <a:highlight>
                  <a:srgbClr val="FFFF00"/>
                </a:highlight>
                <a:latin typeface="+mj-lt"/>
                <a:cs typeface="Arial"/>
              </a:rPr>
              <a:t> » interne :</a:t>
            </a:r>
            <a:endParaRPr lang="fr-FR" sz="1200" kern="0" cap="none">
              <a:solidFill>
                <a:srgbClr val="EEEEEE">
                  <a:lumMod val="10000"/>
                </a:srgbClr>
              </a:solidFill>
              <a:highlight>
                <a:srgbClr val="FFFF00"/>
              </a:highlight>
              <a:latin typeface="+mj-lt"/>
              <a:cs typeface="Arial"/>
            </a:endParaRPr>
          </a:p>
          <a:p>
            <a:pPr algn="just">
              <a:buFont typeface="Arial"/>
            </a:pPr>
            <a:endParaRPr lang="fr-FR" sz="1200" b="0" kern="0" cap="none">
              <a:solidFill>
                <a:srgbClr val="EEEEEE">
                  <a:lumMod val="10000"/>
                </a:srgbClr>
              </a:solidFill>
              <a:latin typeface="+mj-lt"/>
              <a:cs typeface="Arial"/>
            </a:endParaRPr>
          </a:p>
        </p:txBody>
      </p:sp>
      <p:pic>
        <p:nvPicPr>
          <p:cNvPr id="8" name="Image 7">
            <a:extLst>
              <a:ext uri="{FF2B5EF4-FFF2-40B4-BE49-F238E27FC236}">
                <a16:creationId xmlns:a16="http://schemas.microsoft.com/office/drawing/2014/main" id="{D09FB417-C3F3-535E-3C21-47EA0B7D0126}"/>
              </a:ext>
            </a:extLst>
          </p:cNvPr>
          <p:cNvPicPr>
            <a:picLocks noChangeAspect="1"/>
          </p:cNvPicPr>
          <p:nvPr/>
        </p:nvPicPr>
        <p:blipFill>
          <a:blip r:embed="rId4"/>
          <a:stretch>
            <a:fillRect/>
          </a:stretch>
        </p:blipFill>
        <p:spPr>
          <a:xfrm>
            <a:off x="665450" y="2650661"/>
            <a:ext cx="4767260" cy="2681584"/>
          </a:xfrm>
          <a:prstGeom prst="rect">
            <a:avLst/>
          </a:prstGeom>
          <a:ln>
            <a:noFill/>
          </a:ln>
          <a:effectLst>
            <a:outerShdw blurRad="292100" dist="139700" dir="2700000" algn="tl" rotWithShape="0">
              <a:srgbClr val="333333">
                <a:alpha val="65000"/>
              </a:srgbClr>
            </a:outerShdw>
          </a:effectLst>
        </p:spPr>
      </p:pic>
      <p:pic>
        <p:nvPicPr>
          <p:cNvPr id="10" name="Image 9">
            <a:extLst>
              <a:ext uri="{FF2B5EF4-FFF2-40B4-BE49-F238E27FC236}">
                <a16:creationId xmlns:a16="http://schemas.microsoft.com/office/drawing/2014/main" id="{E333BC7B-D1F8-381F-FDA6-85F007C6919F}"/>
              </a:ext>
            </a:extLst>
          </p:cNvPr>
          <p:cNvPicPr>
            <a:picLocks noChangeAspect="1"/>
          </p:cNvPicPr>
          <p:nvPr/>
        </p:nvPicPr>
        <p:blipFill>
          <a:blip r:embed="rId5"/>
          <a:stretch>
            <a:fillRect/>
          </a:stretch>
        </p:blipFill>
        <p:spPr>
          <a:xfrm>
            <a:off x="8301208" y="2650661"/>
            <a:ext cx="2581625" cy="1452164"/>
          </a:xfrm>
          <a:prstGeom prst="rect">
            <a:avLst/>
          </a:prstGeom>
          <a:ln>
            <a:noFill/>
          </a:ln>
          <a:effectLst>
            <a:outerShdw blurRad="292100" dist="139700" dir="2700000" algn="tl" rotWithShape="0">
              <a:srgbClr val="333333">
                <a:alpha val="65000"/>
              </a:srgbClr>
            </a:outerShdw>
          </a:effectLst>
        </p:spPr>
      </p:pic>
      <p:pic>
        <p:nvPicPr>
          <p:cNvPr id="14" name="Image 13">
            <a:extLst>
              <a:ext uri="{FF2B5EF4-FFF2-40B4-BE49-F238E27FC236}">
                <a16:creationId xmlns:a16="http://schemas.microsoft.com/office/drawing/2014/main" id="{091BD10D-A565-CF3C-6F26-9DF41C292617}"/>
              </a:ext>
            </a:extLst>
          </p:cNvPr>
          <p:cNvPicPr>
            <a:picLocks noChangeAspect="1"/>
          </p:cNvPicPr>
          <p:nvPr/>
        </p:nvPicPr>
        <p:blipFill>
          <a:blip r:embed="rId6"/>
          <a:stretch>
            <a:fillRect/>
          </a:stretch>
        </p:blipFill>
        <p:spPr>
          <a:xfrm>
            <a:off x="9160747" y="3330857"/>
            <a:ext cx="2581626" cy="1452165"/>
          </a:xfrm>
          <a:prstGeom prst="rect">
            <a:avLst/>
          </a:prstGeom>
          <a:ln>
            <a:noFill/>
          </a:ln>
          <a:effectLst>
            <a:outerShdw blurRad="292100" dist="139700" dir="2700000" algn="tl" rotWithShape="0">
              <a:srgbClr val="333333">
                <a:alpha val="65000"/>
              </a:srgbClr>
            </a:outerShdw>
          </a:effectLst>
        </p:spPr>
      </p:pic>
      <p:pic>
        <p:nvPicPr>
          <p:cNvPr id="15" name="Image 14">
            <a:extLst>
              <a:ext uri="{FF2B5EF4-FFF2-40B4-BE49-F238E27FC236}">
                <a16:creationId xmlns:a16="http://schemas.microsoft.com/office/drawing/2014/main" id="{46CA5FDD-1871-3975-B823-90876F549AA9}"/>
              </a:ext>
            </a:extLst>
          </p:cNvPr>
          <p:cNvPicPr>
            <a:picLocks noChangeAspect="1"/>
          </p:cNvPicPr>
          <p:nvPr/>
        </p:nvPicPr>
        <p:blipFill>
          <a:blip r:embed="rId7"/>
          <a:stretch>
            <a:fillRect/>
          </a:stretch>
        </p:blipFill>
        <p:spPr>
          <a:xfrm>
            <a:off x="8061214" y="4011053"/>
            <a:ext cx="2581626" cy="1452165"/>
          </a:xfrm>
          <a:prstGeom prst="rect">
            <a:avLst/>
          </a:prstGeom>
          <a:ln>
            <a:noFill/>
          </a:ln>
          <a:effectLst>
            <a:outerShdw blurRad="292100" dist="139700" dir="2700000" algn="tl" rotWithShape="0">
              <a:srgbClr val="333333">
                <a:alpha val="65000"/>
              </a:srgbClr>
            </a:outerShdw>
          </a:effectLst>
        </p:spPr>
      </p:pic>
      <p:pic>
        <p:nvPicPr>
          <p:cNvPr id="16" name="Image 15">
            <a:extLst>
              <a:ext uri="{FF2B5EF4-FFF2-40B4-BE49-F238E27FC236}">
                <a16:creationId xmlns:a16="http://schemas.microsoft.com/office/drawing/2014/main" id="{5FA94198-64BD-1F61-13F4-61AB2F9F23B5}"/>
              </a:ext>
            </a:extLst>
          </p:cNvPr>
          <p:cNvPicPr>
            <a:picLocks noChangeAspect="1"/>
          </p:cNvPicPr>
          <p:nvPr/>
        </p:nvPicPr>
        <p:blipFill>
          <a:blip r:embed="rId8"/>
          <a:stretch>
            <a:fillRect/>
          </a:stretch>
        </p:blipFill>
        <p:spPr>
          <a:xfrm>
            <a:off x="9004558" y="4956965"/>
            <a:ext cx="2581627" cy="1452165"/>
          </a:xfrm>
          <a:prstGeom prst="rect">
            <a:avLst/>
          </a:prstGeom>
          <a:ln>
            <a:noFill/>
          </a:ln>
          <a:effectLst>
            <a:outerShdw blurRad="292100" dist="139700" dir="2700000" algn="tl" rotWithShape="0">
              <a:srgbClr val="333333">
                <a:alpha val="65000"/>
              </a:srgbClr>
            </a:outerShdw>
          </a:effectLst>
        </p:spPr>
      </p:pic>
      <p:sp>
        <p:nvSpPr>
          <p:cNvPr id="21" name="ZoneTexte 20">
            <a:extLst>
              <a:ext uri="{FF2B5EF4-FFF2-40B4-BE49-F238E27FC236}">
                <a16:creationId xmlns:a16="http://schemas.microsoft.com/office/drawing/2014/main" id="{B9ED46B5-0572-3C4C-E5EA-EE83E5A64215}"/>
              </a:ext>
            </a:extLst>
          </p:cNvPr>
          <p:cNvSpPr txBox="1"/>
          <p:nvPr/>
        </p:nvSpPr>
        <p:spPr>
          <a:xfrm>
            <a:off x="665450" y="5392876"/>
            <a:ext cx="2264805" cy="2616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u="none" strike="noStrike" kern="0" cap="none" spc="0" normalizeH="0" baseline="0" noProof="0">
                <a:ln>
                  <a:noFill/>
                </a:ln>
                <a:solidFill>
                  <a:srgbClr val="7F7F7F">
                    <a:lumMod val="75000"/>
                  </a:srgbClr>
                </a:solidFill>
                <a:effectLst/>
                <a:uLnTx/>
                <a:uFillTx/>
                <a:latin typeface="Arial"/>
                <a:ea typeface="+mn-ea"/>
                <a:cs typeface="Arial"/>
                <a:sym typeface="Arial"/>
              </a:rPr>
              <a:t>Les axes de travail</a:t>
            </a:r>
          </a:p>
        </p:txBody>
      </p:sp>
      <p:sp>
        <p:nvSpPr>
          <p:cNvPr id="22" name="ZoneTexte 21">
            <a:extLst>
              <a:ext uri="{FF2B5EF4-FFF2-40B4-BE49-F238E27FC236}">
                <a16:creationId xmlns:a16="http://schemas.microsoft.com/office/drawing/2014/main" id="{BB830EBE-E9D5-6C4C-3789-03C20D725B8C}"/>
              </a:ext>
            </a:extLst>
          </p:cNvPr>
          <p:cNvSpPr txBox="1"/>
          <p:nvPr/>
        </p:nvSpPr>
        <p:spPr>
          <a:xfrm>
            <a:off x="5402173" y="3953701"/>
            <a:ext cx="2264805"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u="none" strike="noStrike" kern="0" cap="none" spc="0" normalizeH="0" baseline="0" noProof="0">
                <a:ln>
                  <a:noFill/>
                </a:ln>
                <a:solidFill>
                  <a:srgbClr val="7F7F7F">
                    <a:lumMod val="75000"/>
                  </a:srgbClr>
                </a:solidFill>
                <a:effectLst/>
                <a:uLnTx/>
                <a:uFillTx/>
                <a:latin typeface="Arial"/>
                <a:ea typeface="+mn-ea"/>
                <a:cs typeface="Arial"/>
                <a:sym typeface="Arial"/>
              </a:rPr>
              <a:t>Les modules connus</a:t>
            </a:r>
          </a:p>
        </p:txBody>
      </p:sp>
    </p:spTree>
    <p:extLst>
      <p:ext uri="{BB962C8B-B14F-4D97-AF65-F5344CB8AC3E}">
        <p14:creationId xmlns:p14="http://schemas.microsoft.com/office/powerpoint/2010/main" val="34178080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e 39">
            <a:extLst>
              <a:ext uri="{FF2B5EF4-FFF2-40B4-BE49-F238E27FC236}">
                <a16:creationId xmlns:a16="http://schemas.microsoft.com/office/drawing/2014/main" id="{56706D40-930D-753B-C1D7-D2117A8A4AFB}"/>
              </a:ext>
            </a:extLst>
          </p:cNvPr>
          <p:cNvGrpSpPr/>
          <p:nvPr/>
        </p:nvGrpSpPr>
        <p:grpSpPr>
          <a:xfrm>
            <a:off x="7513689" y="4794305"/>
            <a:ext cx="4411613" cy="1200610"/>
            <a:chOff x="6601485" y="2134552"/>
            <a:chExt cx="3794363" cy="1200610"/>
          </a:xfrm>
        </p:grpSpPr>
        <p:sp>
          <p:nvSpPr>
            <p:cNvPr id="41" name="Triangle rectangle 40">
              <a:extLst>
                <a:ext uri="{FF2B5EF4-FFF2-40B4-BE49-F238E27FC236}">
                  <a16:creationId xmlns:a16="http://schemas.microsoft.com/office/drawing/2014/main" id="{395D4C78-4481-80DC-7692-8368CCED6625}"/>
                </a:ext>
              </a:extLst>
            </p:cNvPr>
            <p:cNvSpPr/>
            <p:nvPr/>
          </p:nvSpPr>
          <p:spPr>
            <a:xfrm flipH="1" flipV="1">
              <a:off x="6601485" y="2134552"/>
              <a:ext cx="397450" cy="1200610"/>
            </a:xfrm>
            <a:prstGeom prst="rtTriangl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id="{AA831D26-A8B5-0902-8DF7-C4637B0715D4}"/>
                </a:ext>
              </a:extLst>
            </p:cNvPr>
            <p:cNvSpPr/>
            <p:nvPr/>
          </p:nvSpPr>
          <p:spPr>
            <a:xfrm>
              <a:off x="6998935" y="2134552"/>
              <a:ext cx="3396913" cy="1178255"/>
            </a:xfrm>
            <a:prstGeom prst="rect">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5350" marR="0" lvl="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900" b="0" i="0" u="none" strike="noStrike" kern="0" cap="none" spc="0" normalizeH="0" baseline="0" noProof="0">
                  <a:ln>
                    <a:noFill/>
                  </a:ln>
                  <a:solidFill>
                    <a:srgbClr val="000000"/>
                  </a:solidFill>
                  <a:effectLst/>
                  <a:uLnTx/>
                  <a:uFillTx/>
                  <a:latin typeface="Arial"/>
                  <a:ea typeface="+mn-ea"/>
                  <a:cs typeface="+mn-cs"/>
                  <a:sym typeface="Arial"/>
                </a:rPr>
                <a:t>Durant les formations, surtout durant les 1ères sessions et d’autant plus qu’ORION risque de ne pas être définitivement stabilisé, un certain nombre d’événements seront identifiés : anomalie, instabilité des environnements,… et aussi ressenti terrain.</a:t>
              </a:r>
            </a:p>
            <a:p>
              <a:pPr marL="895350" marR="0" lvl="0" algn="just" defTabSz="914400" rtl="0" eaLnBrk="1" fontAlgn="auto" latinLnBrk="0" hangingPunct="1">
                <a:lnSpc>
                  <a:spcPct val="100000"/>
                </a:lnSpc>
                <a:spcBef>
                  <a:spcPts val="0"/>
                </a:spcBef>
                <a:spcAft>
                  <a:spcPts val="0"/>
                </a:spcAft>
                <a:buClr>
                  <a:srgbClr val="000000"/>
                </a:buClr>
                <a:buSzTx/>
                <a:buFont typeface="Arial"/>
                <a:buNone/>
                <a:tabLst/>
                <a:defRPr/>
              </a:pPr>
              <a:r>
                <a:rPr lang="fr-FR" sz="900">
                  <a:solidFill>
                    <a:srgbClr val="000000"/>
                  </a:solidFill>
                  <a:latin typeface="Arial"/>
                </a:rPr>
                <a:t>Cette instance permettra un échange avec le pilote de la formation, des formateurs, un représentant du chantier Recette, un expert Métier, un référent NET</a:t>
              </a:r>
              <a:endParaRPr kumimoji="0" lang="fr-FR" sz="900" b="0" i="0" u="none" strike="noStrike" kern="0" cap="none" spc="0" normalizeH="0" baseline="0" noProof="0">
                <a:ln>
                  <a:noFill/>
                </a:ln>
                <a:solidFill>
                  <a:srgbClr val="000000"/>
                </a:solidFill>
                <a:effectLst/>
                <a:uLnTx/>
                <a:uFillTx/>
                <a:latin typeface="Arial"/>
                <a:ea typeface="+mn-ea"/>
                <a:cs typeface="+mn-cs"/>
                <a:sym typeface="Arial"/>
              </a:endParaRPr>
            </a:p>
          </p:txBody>
        </p:sp>
      </p:grpSp>
      <p:sp>
        <p:nvSpPr>
          <p:cNvPr id="3" name="Titre 2">
            <a:extLst>
              <a:ext uri="{FF2B5EF4-FFF2-40B4-BE49-F238E27FC236}">
                <a16:creationId xmlns:a16="http://schemas.microsoft.com/office/drawing/2014/main" id="{4CED5CC6-D44D-46CF-87ED-9F93BCBA6175}"/>
              </a:ext>
            </a:extLst>
          </p:cNvPr>
          <p:cNvSpPr>
            <a:spLocks noGrp="1"/>
          </p:cNvSpPr>
          <p:nvPr>
            <p:ph type="title"/>
          </p:nvPr>
        </p:nvSpPr>
        <p:spPr/>
        <p:txBody>
          <a:bodyPr/>
          <a:lstStyle/>
          <a:p>
            <a:r>
              <a:rPr lang="fr-FR">
                <a:highlight>
                  <a:srgbClr val="FFFF00"/>
                </a:highlight>
              </a:rPr>
              <a:t>Disponibilité des profils et comitologie</a:t>
            </a:r>
          </a:p>
        </p:txBody>
      </p:sp>
      <p:sp>
        <p:nvSpPr>
          <p:cNvPr id="2" name="Espace réservé du contenu 7">
            <a:extLst>
              <a:ext uri="{FF2B5EF4-FFF2-40B4-BE49-F238E27FC236}">
                <a16:creationId xmlns:a16="http://schemas.microsoft.com/office/drawing/2014/main" id="{8B5101D2-DAF7-CF90-395F-8B61660FF303}"/>
              </a:ext>
            </a:extLst>
          </p:cNvPr>
          <p:cNvSpPr txBox="1">
            <a:spLocks/>
          </p:cNvSpPr>
          <p:nvPr/>
        </p:nvSpPr>
        <p:spPr bwMode="gray">
          <a:xfrm>
            <a:off x="589392" y="1591462"/>
            <a:ext cx="3846923" cy="407795"/>
          </a:xfrm>
          <a:prstGeom prst="rect">
            <a:avLst/>
          </a:prstGeom>
          <a:solidFill>
            <a:schemeClr val="bg2"/>
          </a:solidFill>
          <a:ln w="12700">
            <a:solidFill>
              <a:schemeClr val="bg2"/>
            </a:solidFill>
          </a:ln>
        </p:spPr>
        <p:txBody>
          <a:bodyPr vert="horz" wrap="square" lIns="72000" tIns="3810" rIns="72000" bIns="0" rtlCol="0" anchor="ctr">
            <a:noAutofit/>
          </a:bodyPr>
          <a:lstStyle>
            <a:defPPr marR="0" lvl="0" algn="l" rtl="0">
              <a:lnSpc>
                <a:spcPct val="100000"/>
              </a:lnSpc>
              <a:spcBef>
                <a:spcPts val="0"/>
              </a:spcBef>
              <a:spcAft>
                <a:spcPts val="0"/>
              </a:spcAft>
            </a:defPPr>
            <a:lvl1pPr algn="ctr">
              <a:defRPr sz="1200" spc="-5">
                <a:solidFill>
                  <a:srgbClr val="FFFFFF"/>
                </a:solidFill>
                <a:latin typeface="+mj-lt"/>
                <a:cs typeface="Verdana"/>
              </a:defRPr>
            </a:lvl1pPr>
            <a:lvl2pPr marL="0" indent="0" algn="l" defTabSz="1072866" rtl="0" eaLnBrk="1" fontAlgn="base" latinLnBrk="0" hangingPunct="1">
              <a:lnSpc>
                <a:spcPct val="100000"/>
              </a:lnSpc>
              <a:spcBef>
                <a:spcPts val="0"/>
              </a:spcBef>
              <a:spcAft>
                <a:spcPct val="0"/>
              </a:spcAft>
              <a:buFont typeface="Arial" pitchFamily="34" charset="0"/>
              <a:buNone/>
              <a:defRPr lang="fr-FR" sz="1400" kern="1200" dirty="0" smtClean="0">
                <a:solidFill>
                  <a:schemeClr val="tx1"/>
                </a:solidFill>
                <a:latin typeface="Avenir LT Std 55 Roman" pitchFamily="34" charset="0"/>
                <a:ea typeface="+mn-ea"/>
                <a:cs typeface="+mn-cs"/>
              </a:defRPr>
            </a:lvl2pPr>
            <a:lvl3pPr marL="168955" indent="-168955" algn="l" defTabSz="1072866" rtl="0" eaLnBrk="1" fontAlgn="base" latinLnBrk="0" hangingPunct="1">
              <a:lnSpc>
                <a:spcPct val="100000"/>
              </a:lnSpc>
              <a:spcBef>
                <a:spcPts val="0"/>
              </a:spcBef>
              <a:spcAft>
                <a:spcPct val="0"/>
              </a:spcAft>
              <a:buClr>
                <a:schemeClr val="accent1"/>
              </a:buClr>
              <a:buSzPct val="100000"/>
              <a:buFont typeface="Avenir LT Std 65 Medium" pitchFamily="34" charset="0"/>
              <a:buChar char="+"/>
              <a:defRPr lang="fr-FR" sz="1400" kern="1200" dirty="0" smtClean="0">
                <a:solidFill>
                  <a:schemeClr val="tx1"/>
                </a:solidFill>
                <a:latin typeface="Avenir LT Std 55 Roman" pitchFamily="34" charset="0"/>
                <a:ea typeface="+mn-ea"/>
                <a:cs typeface="+mn-cs"/>
              </a:defRPr>
            </a:lvl3pPr>
            <a:lvl4pPr marL="253433" indent="-84478" algn="l" defTabSz="1072866" rtl="0" eaLnBrk="1" fontAlgn="base" latinLnBrk="0" hangingPunct="1">
              <a:lnSpc>
                <a:spcPct val="100000"/>
              </a:lnSpc>
              <a:spcBef>
                <a:spcPts val="0"/>
              </a:spcBef>
              <a:spcAft>
                <a:spcPct val="0"/>
              </a:spcAft>
              <a:buClr>
                <a:schemeClr val="tx1"/>
              </a:buClr>
              <a:buSzPct val="75000"/>
              <a:buFont typeface="Arial" pitchFamily="34" charset="0"/>
              <a:buChar char="•"/>
              <a:defRPr lang="fr-FR" sz="1400" kern="1200" dirty="0" smtClean="0">
                <a:solidFill>
                  <a:schemeClr val="tx1"/>
                </a:solidFill>
                <a:latin typeface="Avenir LT Std 55 Roman" pitchFamily="34" charset="0"/>
                <a:ea typeface="+mn-ea"/>
                <a:cs typeface="+mn-cs"/>
              </a:defRPr>
            </a:lvl4pPr>
            <a:lvl5pPr marL="253433" indent="0" algn="l" defTabSz="1072866" rtl="0" eaLnBrk="1" fontAlgn="base" latinLnBrk="0" hangingPunct="1">
              <a:lnSpc>
                <a:spcPct val="100000"/>
              </a:lnSpc>
              <a:spcBef>
                <a:spcPts val="0"/>
              </a:spcBef>
              <a:spcAft>
                <a:spcPct val="0"/>
              </a:spcAft>
              <a:buSzPct val="100000"/>
              <a:buFont typeface="Arial" pitchFamily="34" charset="0"/>
              <a:buNone/>
              <a:defRPr lang="fr-FR" sz="1400" kern="1200" dirty="0">
                <a:solidFill>
                  <a:schemeClr val="tx1"/>
                </a:solidFill>
                <a:latin typeface="Avenir LT Std 55 Roman" pitchFamily="34" charset="0"/>
                <a:ea typeface="+mn-ea"/>
                <a:cs typeface="+mn-cs"/>
              </a:defRPr>
            </a:lvl5pPr>
            <a:lvl6pPr marL="2950380"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6813"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3246"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59678"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fr-FR" sz="1400"/>
              <a:t>Disponibilité des profils</a:t>
            </a:r>
          </a:p>
        </p:txBody>
      </p:sp>
      <p:sp>
        <p:nvSpPr>
          <p:cNvPr id="6" name="Espace réservé du contenu 7">
            <a:extLst>
              <a:ext uri="{FF2B5EF4-FFF2-40B4-BE49-F238E27FC236}">
                <a16:creationId xmlns:a16="http://schemas.microsoft.com/office/drawing/2014/main" id="{AC61C03A-299B-5F5F-8A52-1DB050430CF7}"/>
              </a:ext>
            </a:extLst>
          </p:cNvPr>
          <p:cNvSpPr txBox="1">
            <a:spLocks/>
          </p:cNvSpPr>
          <p:nvPr/>
        </p:nvSpPr>
        <p:spPr bwMode="gray">
          <a:xfrm>
            <a:off x="4979055" y="1591462"/>
            <a:ext cx="6946246" cy="407795"/>
          </a:xfrm>
          <a:prstGeom prst="rect">
            <a:avLst/>
          </a:prstGeom>
          <a:solidFill>
            <a:schemeClr val="bg2"/>
          </a:solidFill>
          <a:ln w="12700">
            <a:solidFill>
              <a:schemeClr val="bg2"/>
            </a:solidFill>
          </a:ln>
        </p:spPr>
        <p:txBody>
          <a:bodyPr vert="horz" wrap="square" lIns="72000" tIns="3810" rIns="72000" bIns="0" rtlCol="0" anchor="ctr">
            <a:noAutofit/>
          </a:bodyPr>
          <a:lstStyle>
            <a:defPPr marR="0" lvl="0" algn="l" rtl="0">
              <a:lnSpc>
                <a:spcPct val="100000"/>
              </a:lnSpc>
              <a:spcBef>
                <a:spcPts val="0"/>
              </a:spcBef>
              <a:spcAft>
                <a:spcPts val="0"/>
              </a:spcAft>
            </a:defPPr>
            <a:lvl1pPr algn="ctr">
              <a:defRPr sz="1200" spc="-5">
                <a:solidFill>
                  <a:srgbClr val="FFFFFF"/>
                </a:solidFill>
                <a:latin typeface="+mj-lt"/>
                <a:cs typeface="Verdana"/>
              </a:defRPr>
            </a:lvl1pPr>
            <a:lvl2pPr marL="0" indent="0" algn="l" defTabSz="1072866" rtl="0" eaLnBrk="1" fontAlgn="base" latinLnBrk="0" hangingPunct="1">
              <a:lnSpc>
                <a:spcPct val="100000"/>
              </a:lnSpc>
              <a:spcBef>
                <a:spcPts val="0"/>
              </a:spcBef>
              <a:spcAft>
                <a:spcPct val="0"/>
              </a:spcAft>
              <a:buFont typeface="Arial" pitchFamily="34" charset="0"/>
              <a:buNone/>
              <a:defRPr lang="fr-FR" sz="1400" kern="1200" dirty="0" smtClean="0">
                <a:solidFill>
                  <a:schemeClr val="tx1"/>
                </a:solidFill>
                <a:latin typeface="Avenir LT Std 55 Roman" pitchFamily="34" charset="0"/>
                <a:ea typeface="+mn-ea"/>
                <a:cs typeface="+mn-cs"/>
              </a:defRPr>
            </a:lvl2pPr>
            <a:lvl3pPr marL="168955" indent="-168955" algn="l" defTabSz="1072866" rtl="0" eaLnBrk="1" fontAlgn="base" latinLnBrk="0" hangingPunct="1">
              <a:lnSpc>
                <a:spcPct val="100000"/>
              </a:lnSpc>
              <a:spcBef>
                <a:spcPts val="0"/>
              </a:spcBef>
              <a:spcAft>
                <a:spcPct val="0"/>
              </a:spcAft>
              <a:buClr>
                <a:schemeClr val="accent1"/>
              </a:buClr>
              <a:buSzPct val="100000"/>
              <a:buFont typeface="Avenir LT Std 65 Medium" pitchFamily="34" charset="0"/>
              <a:buChar char="+"/>
              <a:defRPr lang="fr-FR" sz="1400" kern="1200" dirty="0" smtClean="0">
                <a:solidFill>
                  <a:schemeClr val="tx1"/>
                </a:solidFill>
                <a:latin typeface="Avenir LT Std 55 Roman" pitchFamily="34" charset="0"/>
                <a:ea typeface="+mn-ea"/>
                <a:cs typeface="+mn-cs"/>
              </a:defRPr>
            </a:lvl3pPr>
            <a:lvl4pPr marL="253433" indent="-84478" algn="l" defTabSz="1072866" rtl="0" eaLnBrk="1" fontAlgn="base" latinLnBrk="0" hangingPunct="1">
              <a:lnSpc>
                <a:spcPct val="100000"/>
              </a:lnSpc>
              <a:spcBef>
                <a:spcPts val="0"/>
              </a:spcBef>
              <a:spcAft>
                <a:spcPct val="0"/>
              </a:spcAft>
              <a:buClr>
                <a:schemeClr val="tx1"/>
              </a:buClr>
              <a:buSzPct val="75000"/>
              <a:buFont typeface="Arial" pitchFamily="34" charset="0"/>
              <a:buChar char="•"/>
              <a:defRPr lang="fr-FR" sz="1400" kern="1200" dirty="0" smtClean="0">
                <a:solidFill>
                  <a:schemeClr val="tx1"/>
                </a:solidFill>
                <a:latin typeface="Avenir LT Std 55 Roman" pitchFamily="34" charset="0"/>
                <a:ea typeface="+mn-ea"/>
                <a:cs typeface="+mn-cs"/>
              </a:defRPr>
            </a:lvl4pPr>
            <a:lvl5pPr marL="253433" indent="0" algn="l" defTabSz="1072866" rtl="0" eaLnBrk="1" fontAlgn="base" latinLnBrk="0" hangingPunct="1">
              <a:lnSpc>
                <a:spcPct val="100000"/>
              </a:lnSpc>
              <a:spcBef>
                <a:spcPts val="0"/>
              </a:spcBef>
              <a:spcAft>
                <a:spcPct val="0"/>
              </a:spcAft>
              <a:buSzPct val="100000"/>
              <a:buFont typeface="Arial" pitchFamily="34" charset="0"/>
              <a:buNone/>
              <a:defRPr lang="fr-FR" sz="1400" kern="1200" dirty="0">
                <a:solidFill>
                  <a:schemeClr val="tx1"/>
                </a:solidFill>
                <a:latin typeface="Avenir LT Std 55 Roman" pitchFamily="34" charset="0"/>
                <a:ea typeface="+mn-ea"/>
                <a:cs typeface="+mn-cs"/>
              </a:defRPr>
            </a:lvl5pPr>
            <a:lvl6pPr marL="2950380"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6813"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3246"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59678"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fr-FR" sz="1400"/>
              <a:t>Comitologie de suivi de la formation avec l’équipe Projet</a:t>
            </a:r>
          </a:p>
        </p:txBody>
      </p:sp>
      <p:graphicFrame>
        <p:nvGraphicFramePr>
          <p:cNvPr id="7" name="Tableau 7">
            <a:extLst>
              <a:ext uri="{FF2B5EF4-FFF2-40B4-BE49-F238E27FC236}">
                <a16:creationId xmlns:a16="http://schemas.microsoft.com/office/drawing/2014/main" id="{D24DC548-A6DF-9E5F-5B40-7DF0177890F2}"/>
              </a:ext>
            </a:extLst>
          </p:cNvPr>
          <p:cNvGraphicFramePr>
            <a:graphicFrameLocks noGrp="1"/>
          </p:cNvGraphicFramePr>
          <p:nvPr>
            <p:extLst>
              <p:ext uri="{D42A27DB-BD31-4B8C-83A1-F6EECF244321}">
                <p14:modId xmlns:p14="http://schemas.microsoft.com/office/powerpoint/2010/main" val="1906593432"/>
              </p:ext>
            </p:extLst>
          </p:nvPr>
        </p:nvGraphicFramePr>
        <p:xfrm>
          <a:off x="589394" y="2618615"/>
          <a:ext cx="3846922" cy="2280920"/>
        </p:xfrm>
        <a:graphic>
          <a:graphicData uri="http://schemas.openxmlformats.org/drawingml/2006/table">
            <a:tbl>
              <a:tblPr firstRow="1" bandRow="1">
                <a:tableStyleId>{B301B821-A1FF-4177-AEE7-76D212191A09}</a:tableStyleId>
              </a:tblPr>
              <a:tblGrid>
                <a:gridCol w="1628352">
                  <a:extLst>
                    <a:ext uri="{9D8B030D-6E8A-4147-A177-3AD203B41FA5}">
                      <a16:colId xmlns:a16="http://schemas.microsoft.com/office/drawing/2014/main" val="3965760172"/>
                    </a:ext>
                  </a:extLst>
                </a:gridCol>
                <a:gridCol w="936263">
                  <a:extLst>
                    <a:ext uri="{9D8B030D-6E8A-4147-A177-3AD203B41FA5}">
                      <a16:colId xmlns:a16="http://schemas.microsoft.com/office/drawing/2014/main" val="847139741"/>
                    </a:ext>
                  </a:extLst>
                </a:gridCol>
                <a:gridCol w="1282307">
                  <a:extLst>
                    <a:ext uri="{9D8B030D-6E8A-4147-A177-3AD203B41FA5}">
                      <a16:colId xmlns:a16="http://schemas.microsoft.com/office/drawing/2014/main" val="3250059012"/>
                    </a:ext>
                  </a:extLst>
                </a:gridCol>
              </a:tblGrid>
              <a:tr h="370840">
                <a:tc>
                  <a:txBody>
                    <a:bodyPr/>
                    <a:lstStyle/>
                    <a:p>
                      <a:pPr algn="l"/>
                      <a:r>
                        <a:rPr lang="fr-FR">
                          <a:latin typeface="+mj-lt"/>
                        </a:rPr>
                        <a:t>Rôle</a:t>
                      </a:r>
                    </a:p>
                  </a:txBody>
                  <a:tcPr>
                    <a:solidFill>
                      <a:srgbClr val="44388A"/>
                    </a:solidFill>
                  </a:tcPr>
                </a:tc>
                <a:tc>
                  <a:txBody>
                    <a:bodyPr/>
                    <a:lstStyle/>
                    <a:p>
                      <a:pPr algn="l"/>
                      <a:r>
                        <a:rPr lang="fr-FR">
                          <a:latin typeface="+mj-lt"/>
                        </a:rPr>
                        <a:t>Profil</a:t>
                      </a:r>
                    </a:p>
                  </a:txBody>
                  <a:tcPr>
                    <a:solidFill>
                      <a:srgbClr val="44388A"/>
                    </a:solidFill>
                  </a:tcPr>
                </a:tc>
                <a:tc>
                  <a:txBody>
                    <a:bodyPr/>
                    <a:lstStyle/>
                    <a:p>
                      <a:pPr algn="l"/>
                      <a:r>
                        <a:rPr lang="fr-FR">
                          <a:latin typeface="+mj-lt"/>
                        </a:rPr>
                        <a:t>Charge</a:t>
                      </a:r>
                    </a:p>
                  </a:txBody>
                  <a:tcPr>
                    <a:solidFill>
                      <a:srgbClr val="44388A"/>
                    </a:solidFill>
                  </a:tcPr>
                </a:tc>
                <a:extLst>
                  <a:ext uri="{0D108BD9-81ED-4DB2-BD59-A6C34878D82A}">
                    <a16:rowId xmlns:a16="http://schemas.microsoft.com/office/drawing/2014/main" val="3660878250"/>
                  </a:ext>
                </a:extLst>
              </a:tr>
              <a:tr h="370840">
                <a:tc>
                  <a:txBody>
                    <a:bodyPr/>
                    <a:lstStyle/>
                    <a:p>
                      <a:pPr algn="l"/>
                      <a:r>
                        <a:rPr lang="fr-FR" sz="1100">
                          <a:latin typeface="+mj-lt"/>
                        </a:rPr>
                        <a:t>Pilote de la formation, capable de former</a:t>
                      </a:r>
                    </a:p>
                  </a:txBody>
                  <a:tcPr anchor="ctr"/>
                </a:tc>
                <a:tc>
                  <a:txBody>
                    <a:bodyPr/>
                    <a:lstStyle/>
                    <a:p>
                      <a:pPr algn="l"/>
                      <a:r>
                        <a:rPr lang="fr-FR" sz="1100">
                          <a:latin typeface="+mj-lt"/>
                        </a:rPr>
                        <a:t>SMA</a:t>
                      </a:r>
                    </a:p>
                  </a:txBody>
                  <a:tcPr anchor="ctr"/>
                </a:tc>
                <a:tc>
                  <a:txBody>
                    <a:bodyPr/>
                    <a:lstStyle/>
                    <a:p>
                      <a:pPr algn="l"/>
                      <a:r>
                        <a:rPr lang="fr-FR" sz="1100">
                          <a:latin typeface="+mj-lt"/>
                        </a:rPr>
                        <a:t>4/5</a:t>
                      </a:r>
                      <a:r>
                        <a:rPr lang="fr-FR" sz="1100" baseline="30000">
                          <a:latin typeface="+mj-lt"/>
                        </a:rPr>
                        <a:t>ème</a:t>
                      </a:r>
                      <a:r>
                        <a:rPr lang="fr-FR" sz="1100">
                          <a:latin typeface="+mj-lt"/>
                        </a:rPr>
                        <a:t> </a:t>
                      </a:r>
                    </a:p>
                  </a:txBody>
                  <a:tcPr anchor="ctr"/>
                </a:tc>
                <a:extLst>
                  <a:ext uri="{0D108BD9-81ED-4DB2-BD59-A6C34878D82A}">
                    <a16:rowId xmlns:a16="http://schemas.microsoft.com/office/drawing/2014/main" val="562998327"/>
                  </a:ext>
                </a:extLst>
              </a:tr>
              <a:tr h="370840">
                <a:tc>
                  <a:txBody>
                    <a:bodyPr/>
                    <a:lstStyle/>
                    <a:p>
                      <a:pPr algn="l"/>
                      <a:r>
                        <a:rPr lang="fr-FR" sz="1100">
                          <a:latin typeface="+mj-lt"/>
                        </a:rPr>
                        <a:t>Formateur</a:t>
                      </a:r>
                    </a:p>
                  </a:txBody>
                  <a:tcPr anchor="ctr"/>
                </a:tc>
                <a:tc>
                  <a:txBody>
                    <a:bodyPr/>
                    <a:lstStyle/>
                    <a:p>
                      <a:pPr algn="l"/>
                      <a:r>
                        <a:rPr lang="fr-FR" sz="1100">
                          <a:latin typeface="+mj-lt"/>
                        </a:rPr>
                        <a:t>ABT</a:t>
                      </a:r>
                    </a:p>
                  </a:txBody>
                  <a:tcPr anchor="ctr"/>
                </a:tc>
                <a:tc>
                  <a:txBody>
                    <a:bodyPr/>
                    <a:lstStyle/>
                    <a:p>
                      <a:pPr algn="l"/>
                      <a:r>
                        <a:rPr lang="fr-FR" sz="1100">
                          <a:latin typeface="+mj-lt"/>
                        </a:rPr>
                        <a:t>Temps plein</a:t>
                      </a:r>
                    </a:p>
                  </a:txBody>
                  <a:tcPr anchor="ctr"/>
                </a:tc>
                <a:extLst>
                  <a:ext uri="{0D108BD9-81ED-4DB2-BD59-A6C34878D82A}">
                    <a16:rowId xmlns:a16="http://schemas.microsoft.com/office/drawing/2014/main" val="3381168743"/>
                  </a:ext>
                </a:extLst>
              </a:tr>
              <a:tr h="370840">
                <a:tc>
                  <a:txBody>
                    <a:bodyPr/>
                    <a:lstStyle/>
                    <a:p>
                      <a:pPr algn="l"/>
                      <a:r>
                        <a:rPr lang="fr-FR" sz="1100">
                          <a:latin typeface="+mj-lt"/>
                        </a:rPr>
                        <a:t>Formateur</a:t>
                      </a:r>
                    </a:p>
                  </a:txBody>
                  <a:tcPr anchor="ctr"/>
                </a:tc>
                <a:tc>
                  <a:txBody>
                    <a:bodyPr/>
                    <a:lstStyle/>
                    <a:p>
                      <a:pPr algn="l"/>
                      <a:r>
                        <a:rPr lang="fr-FR" sz="1100">
                          <a:latin typeface="+mj-lt"/>
                        </a:rPr>
                        <a:t>BNU</a:t>
                      </a:r>
                    </a:p>
                  </a:txBody>
                  <a:tcPr anchor="ctr"/>
                </a:tc>
                <a:tc>
                  <a:txBody>
                    <a:bodyPr/>
                    <a:lstStyle/>
                    <a:p>
                      <a:pPr algn="l"/>
                      <a:r>
                        <a:rPr lang="fr-FR" sz="1100">
                          <a:latin typeface="+mj-lt"/>
                        </a:rPr>
                        <a:t>Temps plein</a:t>
                      </a:r>
                    </a:p>
                  </a:txBody>
                  <a:tcPr anchor="ctr"/>
                </a:tc>
                <a:extLst>
                  <a:ext uri="{0D108BD9-81ED-4DB2-BD59-A6C34878D82A}">
                    <a16:rowId xmlns:a16="http://schemas.microsoft.com/office/drawing/2014/main" val="3676161895"/>
                  </a:ext>
                </a:extLst>
              </a:tr>
              <a:tr h="370840">
                <a:tc>
                  <a:txBody>
                    <a:bodyPr/>
                    <a:lstStyle/>
                    <a:p>
                      <a:pPr algn="l"/>
                      <a:r>
                        <a:rPr lang="fr-FR" sz="1100">
                          <a:latin typeface="+mj-lt"/>
                        </a:rPr>
                        <a:t>Formateur</a:t>
                      </a:r>
                    </a:p>
                  </a:txBody>
                  <a:tcPr anchor="ctr"/>
                </a:tc>
                <a:tc>
                  <a:txBody>
                    <a:bodyPr/>
                    <a:lstStyle/>
                    <a:p>
                      <a:pPr algn="l"/>
                      <a:r>
                        <a:rPr lang="fr-FR" sz="1100">
                          <a:latin typeface="+mj-lt"/>
                        </a:rPr>
                        <a:t>LMO</a:t>
                      </a:r>
                    </a:p>
                  </a:txBody>
                  <a:tcPr anchor="ctr"/>
                </a:tc>
                <a:tc>
                  <a:txBody>
                    <a:bodyPr/>
                    <a:lstStyle/>
                    <a:p>
                      <a:pPr algn="l"/>
                      <a:r>
                        <a:rPr lang="fr-FR" sz="1100">
                          <a:latin typeface="+mj-lt"/>
                        </a:rPr>
                        <a:t>Temps plein</a:t>
                      </a:r>
                    </a:p>
                  </a:txBody>
                  <a:tcPr anchor="ctr"/>
                </a:tc>
                <a:extLst>
                  <a:ext uri="{0D108BD9-81ED-4DB2-BD59-A6C34878D82A}">
                    <a16:rowId xmlns:a16="http://schemas.microsoft.com/office/drawing/2014/main" val="2437673039"/>
                  </a:ext>
                </a:extLst>
              </a:tr>
              <a:tr h="370840">
                <a:tc>
                  <a:txBody>
                    <a:bodyPr/>
                    <a:lstStyle/>
                    <a:p>
                      <a:pPr algn="l"/>
                      <a:r>
                        <a:rPr lang="fr-FR" sz="1100">
                          <a:latin typeface="+mj-lt"/>
                        </a:rPr>
                        <a:t>Formateur</a:t>
                      </a:r>
                    </a:p>
                  </a:txBody>
                  <a:tcPr anchor="ctr"/>
                </a:tc>
                <a:tc>
                  <a:txBody>
                    <a:bodyPr/>
                    <a:lstStyle/>
                    <a:p>
                      <a:pPr algn="l"/>
                      <a:r>
                        <a:rPr lang="fr-FR" sz="1100">
                          <a:latin typeface="+mj-lt"/>
                        </a:rPr>
                        <a:t>ALR</a:t>
                      </a:r>
                    </a:p>
                  </a:txBody>
                  <a:tcPr anchor="ctr"/>
                </a:tc>
                <a:tc>
                  <a:txBody>
                    <a:bodyPr/>
                    <a:lstStyle/>
                    <a:p>
                      <a:pPr algn="l"/>
                      <a:r>
                        <a:rPr lang="fr-FR" sz="1100">
                          <a:latin typeface="+mj-lt"/>
                        </a:rPr>
                        <a:t>Temps plein</a:t>
                      </a:r>
                    </a:p>
                  </a:txBody>
                  <a:tcPr anchor="ctr"/>
                </a:tc>
                <a:extLst>
                  <a:ext uri="{0D108BD9-81ED-4DB2-BD59-A6C34878D82A}">
                    <a16:rowId xmlns:a16="http://schemas.microsoft.com/office/drawing/2014/main" val="3290037732"/>
                  </a:ext>
                </a:extLst>
              </a:tr>
            </a:tbl>
          </a:graphicData>
        </a:graphic>
      </p:graphicFrame>
      <p:sp>
        <p:nvSpPr>
          <p:cNvPr id="8" name="Freeform 552">
            <a:extLst>
              <a:ext uri="{FF2B5EF4-FFF2-40B4-BE49-F238E27FC236}">
                <a16:creationId xmlns:a16="http://schemas.microsoft.com/office/drawing/2014/main" id="{A496CFCB-9EC3-0B3D-0AD6-652CB291C56B}"/>
              </a:ext>
            </a:extLst>
          </p:cNvPr>
          <p:cNvSpPr>
            <a:spLocks noEditPoints="1"/>
          </p:cNvSpPr>
          <p:nvPr/>
        </p:nvSpPr>
        <p:spPr bwMode="auto">
          <a:xfrm>
            <a:off x="2754564" y="3027082"/>
            <a:ext cx="293256" cy="29325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9" name="Freeform 552">
            <a:extLst>
              <a:ext uri="{FF2B5EF4-FFF2-40B4-BE49-F238E27FC236}">
                <a16:creationId xmlns:a16="http://schemas.microsoft.com/office/drawing/2014/main" id="{D99DAC38-0BCA-A129-C0BF-35EE235920F3}"/>
              </a:ext>
            </a:extLst>
          </p:cNvPr>
          <p:cNvSpPr>
            <a:spLocks noEditPoints="1"/>
          </p:cNvSpPr>
          <p:nvPr/>
        </p:nvSpPr>
        <p:spPr bwMode="auto">
          <a:xfrm>
            <a:off x="2754564" y="3434514"/>
            <a:ext cx="293256" cy="29325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0" name="Freeform 552">
            <a:extLst>
              <a:ext uri="{FF2B5EF4-FFF2-40B4-BE49-F238E27FC236}">
                <a16:creationId xmlns:a16="http://schemas.microsoft.com/office/drawing/2014/main" id="{DADBC813-1279-0F78-D618-067B31E4284A}"/>
              </a:ext>
            </a:extLst>
          </p:cNvPr>
          <p:cNvSpPr>
            <a:spLocks noEditPoints="1"/>
          </p:cNvSpPr>
          <p:nvPr/>
        </p:nvSpPr>
        <p:spPr bwMode="auto">
          <a:xfrm>
            <a:off x="2754564" y="3808455"/>
            <a:ext cx="293256" cy="29325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1" name="Freeform 552">
            <a:extLst>
              <a:ext uri="{FF2B5EF4-FFF2-40B4-BE49-F238E27FC236}">
                <a16:creationId xmlns:a16="http://schemas.microsoft.com/office/drawing/2014/main" id="{F3CA07DA-DE90-A3F4-E1DC-FBE5CA174BEC}"/>
              </a:ext>
            </a:extLst>
          </p:cNvPr>
          <p:cNvSpPr>
            <a:spLocks noEditPoints="1"/>
          </p:cNvSpPr>
          <p:nvPr/>
        </p:nvSpPr>
        <p:spPr bwMode="auto">
          <a:xfrm>
            <a:off x="2754564" y="4182304"/>
            <a:ext cx="293256" cy="29325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sp>
        <p:nvSpPr>
          <p:cNvPr id="12" name="Freeform 552">
            <a:extLst>
              <a:ext uri="{FF2B5EF4-FFF2-40B4-BE49-F238E27FC236}">
                <a16:creationId xmlns:a16="http://schemas.microsoft.com/office/drawing/2014/main" id="{323FEF41-E459-3776-1ABE-CCD92D9EC380}"/>
              </a:ext>
            </a:extLst>
          </p:cNvPr>
          <p:cNvSpPr>
            <a:spLocks noEditPoints="1"/>
          </p:cNvSpPr>
          <p:nvPr/>
        </p:nvSpPr>
        <p:spPr bwMode="auto">
          <a:xfrm>
            <a:off x="2754564" y="4539339"/>
            <a:ext cx="293256" cy="29325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71616"/>
              </a:solidFill>
              <a:effectLst/>
              <a:uLnTx/>
              <a:uFillTx/>
              <a:latin typeface="+mj-lt"/>
              <a:ea typeface="+mn-ea"/>
              <a:cs typeface="+mn-cs"/>
            </a:endParaRPr>
          </a:p>
        </p:txBody>
      </p:sp>
      <p:graphicFrame>
        <p:nvGraphicFramePr>
          <p:cNvPr id="21" name="Diagramme 20">
            <a:extLst>
              <a:ext uri="{FF2B5EF4-FFF2-40B4-BE49-F238E27FC236}">
                <a16:creationId xmlns:a16="http://schemas.microsoft.com/office/drawing/2014/main" id="{CFB67227-3164-05B2-FD12-B25C7589BB01}"/>
              </a:ext>
            </a:extLst>
          </p:cNvPr>
          <p:cNvGraphicFramePr/>
          <p:nvPr>
            <p:extLst>
              <p:ext uri="{D42A27DB-BD31-4B8C-83A1-F6EECF244321}">
                <p14:modId xmlns:p14="http://schemas.microsoft.com/office/powerpoint/2010/main" val="941107974"/>
              </p:ext>
            </p:extLst>
          </p:nvPr>
        </p:nvGraphicFramePr>
        <p:xfrm>
          <a:off x="4752418" y="2108325"/>
          <a:ext cx="2964160" cy="39326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5" name="Groupe 24">
            <a:extLst>
              <a:ext uri="{FF2B5EF4-FFF2-40B4-BE49-F238E27FC236}">
                <a16:creationId xmlns:a16="http://schemas.microsoft.com/office/drawing/2014/main" id="{E2A74D82-5088-6DC3-BB6B-D48AE9CA9BE6}"/>
              </a:ext>
            </a:extLst>
          </p:cNvPr>
          <p:cNvGrpSpPr/>
          <p:nvPr/>
        </p:nvGrpSpPr>
        <p:grpSpPr>
          <a:xfrm>
            <a:off x="6531632" y="2134552"/>
            <a:ext cx="5393668" cy="1200610"/>
            <a:chOff x="6601485" y="2134552"/>
            <a:chExt cx="4700074" cy="1200610"/>
          </a:xfrm>
        </p:grpSpPr>
        <p:sp>
          <p:nvSpPr>
            <p:cNvPr id="22" name="Triangle rectangle 21">
              <a:extLst>
                <a:ext uri="{FF2B5EF4-FFF2-40B4-BE49-F238E27FC236}">
                  <a16:creationId xmlns:a16="http://schemas.microsoft.com/office/drawing/2014/main" id="{CD878F96-3DB0-C17F-8077-986F7D793AA7}"/>
                </a:ext>
              </a:extLst>
            </p:cNvPr>
            <p:cNvSpPr/>
            <p:nvPr/>
          </p:nvSpPr>
          <p:spPr>
            <a:xfrm flipH="1" flipV="1">
              <a:off x="6601485" y="2134552"/>
              <a:ext cx="397450" cy="1200610"/>
            </a:xfrm>
            <a:prstGeom prst="rtTriangl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627063FE-AD88-C6D6-F3F2-5371A5B00E27}"/>
                </a:ext>
              </a:extLst>
            </p:cNvPr>
            <p:cNvSpPr/>
            <p:nvPr/>
          </p:nvSpPr>
          <p:spPr>
            <a:xfrm>
              <a:off x="6998934" y="2134552"/>
              <a:ext cx="4302625" cy="1178255"/>
            </a:xfrm>
            <a:prstGeom prst="rect">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73150" algn="just"/>
              <a:r>
                <a:rPr lang="fr-FR" sz="900">
                  <a:solidFill>
                    <a:schemeClr val="tx1"/>
                  </a:solidFill>
                </a:rPr>
                <a:t>Nous proposons de partager l’avancement du chantier formation dans les instances existantes du projet, durant 5-10min (ordre de grandeur), au même titre que les autres chantiers du programme.</a:t>
              </a:r>
            </a:p>
            <a:p>
              <a:pPr marL="1073150" algn="just"/>
              <a:endParaRPr lang="fr-FR" sz="900">
                <a:solidFill>
                  <a:schemeClr val="tx1"/>
                </a:solidFill>
              </a:endParaRPr>
            </a:p>
            <a:p>
              <a:pPr marL="1073150" algn="just"/>
              <a:r>
                <a:rPr lang="fr-FR" sz="900">
                  <a:solidFill>
                    <a:schemeClr val="tx1"/>
                  </a:solidFill>
                </a:rPr>
                <a:t>Ces instances permettront d’acter les décisions nécessaires.</a:t>
              </a:r>
            </a:p>
          </p:txBody>
        </p:sp>
      </p:grpSp>
      <p:grpSp>
        <p:nvGrpSpPr>
          <p:cNvPr id="34" name="Groupe 33">
            <a:extLst>
              <a:ext uri="{FF2B5EF4-FFF2-40B4-BE49-F238E27FC236}">
                <a16:creationId xmlns:a16="http://schemas.microsoft.com/office/drawing/2014/main" id="{657A2EA6-0ACA-27DE-0A81-81BFBD9787C4}"/>
              </a:ext>
            </a:extLst>
          </p:cNvPr>
          <p:cNvGrpSpPr/>
          <p:nvPr/>
        </p:nvGrpSpPr>
        <p:grpSpPr>
          <a:xfrm>
            <a:off x="7032234" y="3458205"/>
            <a:ext cx="4893067" cy="1200610"/>
            <a:chOff x="6601485" y="2134552"/>
            <a:chExt cx="4208455" cy="1200610"/>
          </a:xfrm>
        </p:grpSpPr>
        <p:sp>
          <p:nvSpPr>
            <p:cNvPr id="35" name="Triangle rectangle 34">
              <a:extLst>
                <a:ext uri="{FF2B5EF4-FFF2-40B4-BE49-F238E27FC236}">
                  <a16:creationId xmlns:a16="http://schemas.microsoft.com/office/drawing/2014/main" id="{FFE541DF-8273-D437-120B-753657BF8A8A}"/>
                </a:ext>
              </a:extLst>
            </p:cNvPr>
            <p:cNvSpPr/>
            <p:nvPr/>
          </p:nvSpPr>
          <p:spPr>
            <a:xfrm flipH="1" flipV="1">
              <a:off x="6601485" y="2134552"/>
              <a:ext cx="397450" cy="1200610"/>
            </a:xfrm>
            <a:prstGeom prst="rtTriangle">
              <a:avLst/>
            </a:prstGeom>
            <a:solidFill>
              <a:schemeClr val="bg1">
                <a:lumMod val="6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1F3FCBA8-C840-C8BC-383B-38157C13F334}"/>
                </a:ext>
              </a:extLst>
            </p:cNvPr>
            <p:cNvSpPr/>
            <p:nvPr/>
          </p:nvSpPr>
          <p:spPr>
            <a:xfrm>
              <a:off x="6998936" y="2134552"/>
              <a:ext cx="3811004" cy="1178255"/>
            </a:xfrm>
            <a:prstGeom prst="rect">
              <a:avLst/>
            </a:prstGeom>
            <a:solidFill>
              <a:schemeClr val="bg1">
                <a:lumMod val="6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6450" marR="0" lvl="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900" b="0" i="0" u="none" strike="noStrike" kern="0" cap="none" spc="0" normalizeH="0" baseline="0" noProof="0">
                  <a:ln>
                    <a:noFill/>
                  </a:ln>
                  <a:solidFill>
                    <a:srgbClr val="000000"/>
                  </a:solidFill>
                  <a:effectLst/>
                  <a:uLnTx/>
                  <a:uFillTx/>
                  <a:latin typeface="Arial"/>
                  <a:ea typeface="+mn-ea"/>
                  <a:cs typeface="+mn-cs"/>
                  <a:sym typeface="Arial"/>
                </a:rPr>
                <a:t>Ce comité réunira le pilote du chantier Formation ainsi que des représentants de l’équipe pilotage et change. Les objectifs seront de partager l’avancement, les faits marquants, les risques et de piloter les actions de mise sous contrôles des risques.</a:t>
              </a:r>
            </a:p>
            <a:p>
              <a:pPr marL="806450" marR="0" lvl="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900" b="0" i="0" u="none" strike="noStrike" kern="0" cap="none" spc="0" normalizeH="0" baseline="0" noProof="0">
                  <a:ln>
                    <a:noFill/>
                  </a:ln>
                  <a:solidFill>
                    <a:srgbClr val="000000"/>
                  </a:solidFill>
                  <a:effectLst/>
                  <a:uLnTx/>
                  <a:uFillTx/>
                  <a:latin typeface="Arial"/>
                  <a:ea typeface="+mn-ea"/>
                  <a:cs typeface="+mn-cs"/>
                  <a:sym typeface="Wingdings" panose="05000000000000000000" pitchFamily="2" charset="2"/>
                </a:rPr>
                <a:t> Nous préconisons de créer une instance spécifique mais elle pourrait être fusionnée avec le Comité de Coordination du lundi matin (en fonction des activités restantes du programme</a:t>
              </a:r>
              <a:r>
                <a:rPr kumimoji="0" lang="fr-FR" sz="1000" b="0" i="0" u="none" strike="noStrike" kern="0" cap="none" spc="0" normalizeH="0" baseline="0" noProof="0">
                  <a:ln>
                    <a:noFill/>
                  </a:ln>
                  <a:solidFill>
                    <a:srgbClr val="000000"/>
                  </a:solidFill>
                  <a:effectLst/>
                  <a:uLnTx/>
                  <a:uFillTx/>
                  <a:latin typeface="Arial"/>
                  <a:ea typeface="+mn-ea"/>
                  <a:cs typeface="+mn-cs"/>
                  <a:sym typeface="Wingdings" panose="05000000000000000000" pitchFamily="2" charset="2"/>
                </a:rPr>
                <a:t>)</a:t>
              </a:r>
              <a:endParaRPr kumimoji="0" lang="fr-FR" sz="1000" b="0" i="0" u="none" strike="noStrike" kern="0" cap="none" spc="0" normalizeH="0" baseline="0" noProof="0">
                <a:ln>
                  <a:noFill/>
                </a:ln>
                <a:solidFill>
                  <a:srgbClr val="000000"/>
                </a:solidFill>
                <a:effectLst/>
                <a:uLnTx/>
                <a:uFillTx/>
                <a:latin typeface="Arial"/>
                <a:ea typeface="+mn-ea"/>
                <a:cs typeface="+mn-cs"/>
                <a:sym typeface="Arial"/>
              </a:endParaRPr>
            </a:p>
          </p:txBody>
        </p:sp>
      </p:grpSp>
      <p:sp>
        <p:nvSpPr>
          <p:cNvPr id="37" name="ZoneTexte 36">
            <a:extLst>
              <a:ext uri="{FF2B5EF4-FFF2-40B4-BE49-F238E27FC236}">
                <a16:creationId xmlns:a16="http://schemas.microsoft.com/office/drawing/2014/main" id="{5FEB1869-0EED-C294-9727-93147EDAE732}"/>
              </a:ext>
            </a:extLst>
          </p:cNvPr>
          <p:cNvSpPr txBox="1"/>
          <p:nvPr/>
        </p:nvSpPr>
        <p:spPr>
          <a:xfrm>
            <a:off x="6601945" y="2170167"/>
            <a:ext cx="1373849" cy="338554"/>
          </a:xfrm>
          <a:prstGeom prst="rect">
            <a:avLst/>
          </a:prstGeom>
          <a:noFill/>
        </p:spPr>
        <p:txBody>
          <a:bodyPr wrap="square" rtlCol="0">
            <a:spAutoFit/>
          </a:bodyPr>
          <a:lstStyle/>
          <a:p>
            <a:r>
              <a:rPr lang="fr-FR" sz="800" b="1"/>
              <a:t>INSTANCES DÉCISIONNELLES </a:t>
            </a:r>
          </a:p>
        </p:txBody>
      </p:sp>
      <p:sp>
        <p:nvSpPr>
          <p:cNvPr id="38" name="ZoneTexte 37">
            <a:extLst>
              <a:ext uri="{FF2B5EF4-FFF2-40B4-BE49-F238E27FC236}">
                <a16:creationId xmlns:a16="http://schemas.microsoft.com/office/drawing/2014/main" id="{002D94F9-D96D-1B43-DE80-5EB82DF8F000}"/>
              </a:ext>
            </a:extLst>
          </p:cNvPr>
          <p:cNvSpPr txBox="1"/>
          <p:nvPr/>
        </p:nvSpPr>
        <p:spPr>
          <a:xfrm>
            <a:off x="6900765" y="2862319"/>
            <a:ext cx="1180235" cy="461665"/>
          </a:xfrm>
          <a:prstGeom prst="rect">
            <a:avLst/>
          </a:prstGeom>
          <a:noFill/>
        </p:spPr>
        <p:txBody>
          <a:bodyPr wrap="square" rtlCol="0">
            <a:spAutoFit/>
          </a:bodyPr>
          <a:lstStyle/>
          <a:p>
            <a:r>
              <a:rPr lang="fr-FR" sz="800" b="1"/>
              <a:t>Respectivement Trimestrielle et Hebdomadaire</a:t>
            </a:r>
          </a:p>
        </p:txBody>
      </p:sp>
      <p:sp>
        <p:nvSpPr>
          <p:cNvPr id="39" name="ZoneTexte 38">
            <a:extLst>
              <a:ext uri="{FF2B5EF4-FFF2-40B4-BE49-F238E27FC236}">
                <a16:creationId xmlns:a16="http://schemas.microsoft.com/office/drawing/2014/main" id="{33C54485-DEE3-4D61-D382-D2B842F1C065}"/>
              </a:ext>
            </a:extLst>
          </p:cNvPr>
          <p:cNvSpPr txBox="1"/>
          <p:nvPr/>
        </p:nvSpPr>
        <p:spPr>
          <a:xfrm>
            <a:off x="7126460" y="3464215"/>
            <a:ext cx="1180235" cy="338554"/>
          </a:xfrm>
          <a:prstGeom prst="rect">
            <a:avLst/>
          </a:prstGeom>
          <a:noFill/>
        </p:spPr>
        <p:txBody>
          <a:bodyPr wrap="square" rtlCol="0">
            <a:spAutoFit/>
          </a:bodyPr>
          <a:lstStyle/>
          <a:p>
            <a:r>
              <a:rPr lang="fr-FR" sz="800" b="1"/>
              <a:t>INSTANCE DE PILOTAGE</a:t>
            </a:r>
          </a:p>
        </p:txBody>
      </p:sp>
      <p:sp>
        <p:nvSpPr>
          <p:cNvPr id="43" name="ZoneTexte 42">
            <a:extLst>
              <a:ext uri="{FF2B5EF4-FFF2-40B4-BE49-F238E27FC236}">
                <a16:creationId xmlns:a16="http://schemas.microsoft.com/office/drawing/2014/main" id="{E12CF6D4-577F-A0BB-6DD8-355F2E3A2995}"/>
              </a:ext>
            </a:extLst>
          </p:cNvPr>
          <p:cNvSpPr txBox="1"/>
          <p:nvPr/>
        </p:nvSpPr>
        <p:spPr>
          <a:xfrm>
            <a:off x="7605783" y="4804873"/>
            <a:ext cx="1390366" cy="461665"/>
          </a:xfrm>
          <a:prstGeom prst="rect">
            <a:avLst/>
          </a:prstGeom>
          <a:noFill/>
        </p:spPr>
        <p:txBody>
          <a:bodyPr wrap="square" rtlCol="0">
            <a:spAutoFit/>
          </a:bodyPr>
          <a:lstStyle/>
          <a:p>
            <a:r>
              <a:rPr lang="fr-FR" sz="800" b="1"/>
              <a:t>INSTANCE D’APPROFONDIS-SEMENT DES SUJETS</a:t>
            </a:r>
          </a:p>
        </p:txBody>
      </p:sp>
      <p:sp>
        <p:nvSpPr>
          <p:cNvPr id="44" name="ZoneTexte 43">
            <a:extLst>
              <a:ext uri="{FF2B5EF4-FFF2-40B4-BE49-F238E27FC236}">
                <a16:creationId xmlns:a16="http://schemas.microsoft.com/office/drawing/2014/main" id="{28211847-3CDA-1EE9-405C-00C2224494D0}"/>
              </a:ext>
            </a:extLst>
          </p:cNvPr>
          <p:cNvSpPr txBox="1"/>
          <p:nvPr/>
        </p:nvSpPr>
        <p:spPr>
          <a:xfrm>
            <a:off x="7385817" y="4414572"/>
            <a:ext cx="1390366" cy="215444"/>
          </a:xfrm>
          <a:prstGeom prst="rect">
            <a:avLst/>
          </a:prstGeom>
          <a:noFill/>
        </p:spPr>
        <p:txBody>
          <a:bodyPr wrap="square" rtlCol="0">
            <a:spAutoFit/>
          </a:bodyPr>
          <a:lstStyle/>
          <a:p>
            <a:r>
              <a:rPr lang="fr-FR" sz="800" b="1"/>
              <a:t>Hebdomadaire</a:t>
            </a:r>
          </a:p>
        </p:txBody>
      </p:sp>
      <p:sp>
        <p:nvSpPr>
          <p:cNvPr id="45" name="ZoneTexte 44">
            <a:extLst>
              <a:ext uri="{FF2B5EF4-FFF2-40B4-BE49-F238E27FC236}">
                <a16:creationId xmlns:a16="http://schemas.microsoft.com/office/drawing/2014/main" id="{70912063-8410-1C01-380E-F547555C1060}"/>
              </a:ext>
            </a:extLst>
          </p:cNvPr>
          <p:cNvSpPr txBox="1"/>
          <p:nvPr/>
        </p:nvSpPr>
        <p:spPr>
          <a:xfrm>
            <a:off x="7879026" y="5780128"/>
            <a:ext cx="1390366" cy="215444"/>
          </a:xfrm>
          <a:prstGeom prst="rect">
            <a:avLst/>
          </a:prstGeom>
          <a:noFill/>
        </p:spPr>
        <p:txBody>
          <a:bodyPr wrap="square" rtlCol="0">
            <a:spAutoFit/>
          </a:bodyPr>
          <a:lstStyle/>
          <a:p>
            <a:r>
              <a:rPr lang="fr-FR" sz="800" b="1"/>
              <a:t>Hebdomadaire</a:t>
            </a:r>
          </a:p>
        </p:txBody>
      </p:sp>
    </p:spTree>
    <p:extLst>
      <p:ext uri="{BB962C8B-B14F-4D97-AF65-F5344CB8AC3E}">
        <p14:creationId xmlns:p14="http://schemas.microsoft.com/office/powerpoint/2010/main" val="6607313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EC726EFD-207E-D242-96A7-386378208842}"/>
              </a:ext>
            </a:extLst>
          </p:cNvPr>
          <p:cNvSpPr>
            <a:spLocks noGrp="1"/>
          </p:cNvSpPr>
          <p:nvPr>
            <p:ph type="title"/>
          </p:nvPr>
        </p:nvSpPr>
        <p:spPr/>
        <p:txBody>
          <a:bodyPr/>
          <a:lstStyle/>
          <a:p>
            <a:r>
              <a:rPr lang="fr-FR"/>
              <a:t>MODALITÉS D’APPROPRIATION ET DE TRANSFERT DE COMPÉTENCES</a:t>
            </a:r>
            <a:br>
              <a:rPr lang="fr-FR"/>
            </a:br>
            <a:r>
              <a:rPr lang="fr-FR"/>
              <a:t> AUX ÉQUIPES SNCF</a:t>
            </a:r>
          </a:p>
        </p:txBody>
      </p:sp>
      <p:sp>
        <p:nvSpPr>
          <p:cNvPr id="3" name="Espace réservé du pied de page 2">
            <a:extLst>
              <a:ext uri="{FF2B5EF4-FFF2-40B4-BE49-F238E27FC236}">
                <a16:creationId xmlns:a16="http://schemas.microsoft.com/office/drawing/2014/main" id="{5143277C-8A2D-274A-88DA-45F78F8B01D0}"/>
              </a:ext>
            </a:extLst>
          </p:cNvPr>
          <p:cNvSpPr>
            <a:spLocks noGrp="1"/>
          </p:cNvSpPr>
          <p:nvPr>
            <p:ph type="ftr" idx="11"/>
          </p:nvPr>
        </p:nvSpPr>
        <p:spPr/>
        <p:txBody>
          <a:bodyPr/>
          <a:lstStyle/>
          <a:p>
            <a:endParaRPr lang="fr-FR"/>
          </a:p>
        </p:txBody>
      </p:sp>
    </p:spTree>
    <p:extLst>
      <p:ext uri="{BB962C8B-B14F-4D97-AF65-F5344CB8AC3E}">
        <p14:creationId xmlns:p14="http://schemas.microsoft.com/office/powerpoint/2010/main" val="866620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61F32EC6-6B52-4A9D-A8BE-B5306938E2A4}"/>
              </a:ext>
            </a:extLst>
          </p:cNvPr>
          <p:cNvSpPr>
            <a:spLocks noGrp="1"/>
          </p:cNvSpPr>
          <p:nvPr>
            <p:ph type="title"/>
          </p:nvPr>
        </p:nvSpPr>
        <p:spPr/>
        <p:txBody>
          <a:bodyPr/>
          <a:lstStyle/>
          <a:p>
            <a:r>
              <a:rPr lang="fr-FR"/>
              <a:t>Organisation et moyens </a:t>
            </a:r>
          </a:p>
        </p:txBody>
      </p:sp>
      <p:sp>
        <p:nvSpPr>
          <p:cNvPr id="5" name="Espace réservé du texte 2">
            <a:extLst>
              <a:ext uri="{FF2B5EF4-FFF2-40B4-BE49-F238E27FC236}">
                <a16:creationId xmlns:a16="http://schemas.microsoft.com/office/drawing/2014/main" id="{F5781F5D-A46B-498D-9BCE-84C0FDBA25EE}"/>
              </a:ext>
            </a:extLst>
          </p:cNvPr>
          <p:cNvSpPr>
            <a:spLocks noGrp="1"/>
          </p:cNvSpPr>
          <p:nvPr>
            <p:ph type="body" idx="1"/>
          </p:nvPr>
        </p:nvSpPr>
        <p:spPr/>
        <p:txBody>
          <a:bodyPr/>
          <a:lstStyle/>
          <a:p>
            <a:pPr algn="just"/>
            <a:r>
              <a:rPr lang="fr-FR" sz="1200"/>
              <a:t>Tout au long de la phase de Réversibilité, TALAN Consulting poursuit ses activités courantes et veille au respect de ses engagements.</a:t>
            </a:r>
          </a:p>
          <a:p>
            <a:pPr algn="just"/>
            <a:r>
              <a:rPr lang="fr-FR" sz="1200"/>
              <a:t>Un suivi particulier de la phase de Réversibilité est effectué par le Responsable de la Réversibilité et le responsable de mission TALAN Consulting, afin de concilier les besoins de transfert de connaissances et d’accompagnement avec les besoins opérationnels courants.</a:t>
            </a:r>
          </a:p>
          <a:p>
            <a:pPr algn="just"/>
            <a:r>
              <a:rPr lang="fr-FR" sz="1200"/>
              <a:t>La réversibilité mobilise les équipes </a:t>
            </a:r>
            <a:r>
              <a:rPr lang="fr-FR" sz="1200" err="1"/>
              <a:t>sachantes</a:t>
            </a:r>
            <a:r>
              <a:rPr lang="fr-FR" sz="1200"/>
              <a:t> TALAN Consulting afin de garantir la qualité du transfert de connaissances. Le suivi de la Réversibilité se fait au travers de réunions hebdomadaires de Suivi Opérationnel et des Comités de Pilotage.</a:t>
            </a:r>
          </a:p>
          <a:p>
            <a:pPr marL="342900" lvl="0" indent="-342900" algn="just">
              <a:buFont typeface="Arial" panose="020B0604020202020204" pitchFamily="34" charset="0"/>
              <a:buChar char="●"/>
            </a:pPr>
            <a:endParaRPr lang="fr-FR" sz="1200"/>
          </a:p>
          <a:p>
            <a:pPr algn="just"/>
            <a:r>
              <a:rPr lang="fr-FR" sz="1200"/>
              <a:t>En particulier, au titre de cette prestation et autant que titulaire sortant, nous nous engageons à :</a:t>
            </a:r>
          </a:p>
          <a:p>
            <a:pPr marL="342900" indent="-342900" algn="just">
              <a:buFont typeface="Arial" panose="020B0604020202020204" pitchFamily="34" charset="0"/>
              <a:buChar char="•"/>
            </a:pPr>
            <a:r>
              <a:rPr lang="fr-FR" sz="1200"/>
              <a:t>lancer la prestation avec le futur titulaire et les représentants du donneur d’ordres. Il s’agit, au plus, de deux jours de réunion en vue de valider le planning et les modalités pratiques de cette phase, </a:t>
            </a:r>
          </a:p>
          <a:p>
            <a:pPr marL="342900" indent="-342900" algn="just">
              <a:buFont typeface="Arial" panose="020B0604020202020204" pitchFamily="34" charset="0"/>
              <a:buChar char="•"/>
            </a:pPr>
            <a:r>
              <a:rPr lang="fr-FR" sz="1200"/>
              <a:t>préparer et participer à la réunion de lancement, aux Comités de Pilotage et Opérationnels,</a:t>
            </a:r>
          </a:p>
          <a:p>
            <a:pPr marL="342900" indent="-342900" algn="just">
              <a:buFont typeface="Arial" panose="020B0604020202020204" pitchFamily="34" charset="0"/>
              <a:buChar char="•"/>
            </a:pPr>
            <a:r>
              <a:rPr lang="fr-FR" sz="1200"/>
              <a:t>suivre les risques, actions et arbitrages,</a:t>
            </a:r>
          </a:p>
          <a:p>
            <a:pPr marL="342900" indent="-342900" algn="just">
              <a:buFont typeface="Arial" panose="020B0604020202020204" pitchFamily="34" charset="0"/>
              <a:buChar char="•"/>
            </a:pPr>
            <a:r>
              <a:rPr lang="fr-FR" sz="1200"/>
              <a:t>mettre à disposition tous les éléments et documents produits,</a:t>
            </a:r>
          </a:p>
          <a:p>
            <a:pPr marL="342900" indent="-342900" algn="just">
              <a:buFont typeface="Arial" panose="020B0604020202020204" pitchFamily="34" charset="0"/>
              <a:buChar char="•"/>
            </a:pPr>
            <a:r>
              <a:rPr lang="fr-FR" sz="1200"/>
              <a:t>transférer à l’équipe SNCF chargée de la reprise des activités les informations sur le contexte fonctionnel et technique de l’ensemble des missions 1 et 2 ainsi que sur les aspects de suivi du projet,</a:t>
            </a:r>
          </a:p>
          <a:p>
            <a:pPr marL="342900" indent="-342900" algn="just">
              <a:buFont typeface="Arial" panose="020B0604020202020204" pitchFamily="34" charset="0"/>
              <a:buChar char="•"/>
            </a:pPr>
            <a:r>
              <a:rPr lang="fr-FR" sz="1200"/>
              <a:t>suivre les indicateurs (définis lors de la planification du projet de Réversibilité).</a:t>
            </a:r>
          </a:p>
          <a:p>
            <a:pPr algn="just"/>
            <a:endParaRPr lang="fr-FR" sz="1200"/>
          </a:p>
          <a:p>
            <a:pPr algn="just"/>
            <a:endParaRPr lang="fr-FR" sz="1200"/>
          </a:p>
          <a:p>
            <a:pPr algn="just"/>
            <a:endParaRPr lang="fr-FR" sz="1200"/>
          </a:p>
          <a:p>
            <a:pPr algn="just"/>
            <a:endParaRPr lang="fr-FR" sz="1200"/>
          </a:p>
          <a:p>
            <a:pPr algn="just"/>
            <a:endParaRPr lang="fr-FR" sz="1200"/>
          </a:p>
          <a:p>
            <a:pPr algn="just"/>
            <a:endParaRPr lang="fr-FR" sz="1200"/>
          </a:p>
          <a:p>
            <a:endParaRPr lang="fr-FR" sz="1200">
              <a:latin typeface="+mj-lt"/>
            </a:endParaRPr>
          </a:p>
        </p:txBody>
      </p:sp>
      <p:pic>
        <p:nvPicPr>
          <p:cNvPr id="6" name="image22.png">
            <a:extLst>
              <a:ext uri="{FF2B5EF4-FFF2-40B4-BE49-F238E27FC236}">
                <a16:creationId xmlns:a16="http://schemas.microsoft.com/office/drawing/2014/main" id="{05BFBC4D-0343-4193-8BC6-20BD19B06099}"/>
              </a:ext>
            </a:extLst>
          </p:cNvPr>
          <p:cNvPicPr/>
          <p:nvPr/>
        </p:nvPicPr>
        <p:blipFill rotWithShape="1">
          <a:blip r:embed="rId2"/>
          <a:srcRect b="7885"/>
          <a:stretch/>
        </p:blipFill>
        <p:spPr>
          <a:xfrm>
            <a:off x="6085413" y="3617259"/>
            <a:ext cx="5819139" cy="2799560"/>
          </a:xfrm>
          <a:prstGeom prst="rect">
            <a:avLst/>
          </a:prstGeom>
          <a:ln/>
        </p:spPr>
      </p:pic>
      <p:sp>
        <p:nvSpPr>
          <p:cNvPr id="7" name="Flèche : pentagone 6">
            <a:extLst>
              <a:ext uri="{FF2B5EF4-FFF2-40B4-BE49-F238E27FC236}">
                <a16:creationId xmlns:a16="http://schemas.microsoft.com/office/drawing/2014/main" id="{BF722C8C-EC88-4E46-BEF1-12CF6405CF7B}"/>
              </a:ext>
            </a:extLst>
          </p:cNvPr>
          <p:cNvSpPr/>
          <p:nvPr/>
        </p:nvSpPr>
        <p:spPr>
          <a:xfrm>
            <a:off x="6085414" y="4025075"/>
            <a:ext cx="108000" cy="2391744"/>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ZoneTexte 7">
            <a:extLst>
              <a:ext uri="{FF2B5EF4-FFF2-40B4-BE49-F238E27FC236}">
                <a16:creationId xmlns:a16="http://schemas.microsoft.com/office/drawing/2014/main" id="{6F2760A1-FA44-4D13-AF2A-408BC1CC6D92}"/>
              </a:ext>
            </a:extLst>
          </p:cNvPr>
          <p:cNvSpPr txBox="1"/>
          <p:nvPr/>
        </p:nvSpPr>
        <p:spPr>
          <a:xfrm>
            <a:off x="681465" y="4818974"/>
            <a:ext cx="5347315" cy="461665"/>
          </a:xfrm>
          <a:prstGeom prst="rect">
            <a:avLst/>
          </a:prstGeom>
          <a:noFill/>
        </p:spPr>
        <p:txBody>
          <a:bodyPr wrap="square" rtlCol="0">
            <a:spAutoFit/>
          </a:bodyPr>
          <a:lstStyle/>
          <a:p>
            <a:pPr algn="r"/>
            <a:r>
              <a:rPr lang="fr-FR" sz="1200" b="1">
                <a:solidFill>
                  <a:schemeClr val="tx2"/>
                </a:solidFill>
              </a:rPr>
              <a:t>Le schéma suivant présente le planning prévisionnel de réversibilité, le calendrier réel sera revu avec le repreneur.</a:t>
            </a:r>
          </a:p>
        </p:txBody>
      </p:sp>
    </p:spTree>
    <p:extLst>
      <p:ext uri="{BB962C8B-B14F-4D97-AF65-F5344CB8AC3E}">
        <p14:creationId xmlns:p14="http://schemas.microsoft.com/office/powerpoint/2010/main" val="25361832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0EC68A1-BE0C-4245-A29F-41E6D2ABD170}"/>
              </a:ext>
            </a:extLst>
          </p:cNvPr>
          <p:cNvSpPr>
            <a:spLocks noGrp="1"/>
          </p:cNvSpPr>
          <p:nvPr>
            <p:ph type="title"/>
          </p:nvPr>
        </p:nvSpPr>
        <p:spPr/>
        <p:txBody>
          <a:bodyPr/>
          <a:lstStyle/>
          <a:p>
            <a:r>
              <a:rPr lang="fr-FR"/>
              <a:t>Méthodologie et jalons 1/2</a:t>
            </a:r>
          </a:p>
        </p:txBody>
      </p:sp>
      <p:sp>
        <p:nvSpPr>
          <p:cNvPr id="4" name="Espace réservé du texte 2">
            <a:extLst>
              <a:ext uri="{FF2B5EF4-FFF2-40B4-BE49-F238E27FC236}">
                <a16:creationId xmlns:a16="http://schemas.microsoft.com/office/drawing/2014/main" id="{C5EE2D1F-6A72-4C17-B44A-C84E47A1D174}"/>
              </a:ext>
            </a:extLst>
          </p:cNvPr>
          <p:cNvSpPr>
            <a:spLocks noGrp="1"/>
          </p:cNvSpPr>
          <p:nvPr>
            <p:ph type="body" idx="1"/>
          </p:nvPr>
        </p:nvSpPr>
        <p:spPr/>
        <p:txBody>
          <a:bodyPr/>
          <a:lstStyle/>
          <a:p>
            <a:pPr algn="just"/>
            <a:r>
              <a:rPr lang="fr-FR" sz="1200"/>
              <a:t>L’ensemble du dispositif mis en œuvre a pour objectif de former les nouvelles équipes aux connaissances spécifiques nécessaires à la bonne réalisation des services du contrat.</a:t>
            </a:r>
          </a:p>
          <a:p>
            <a:pPr algn="just"/>
            <a:endParaRPr lang="fr-FR" sz="1200"/>
          </a:p>
          <a:p>
            <a:pPr algn="just"/>
            <a:r>
              <a:rPr lang="fr-FR" sz="1200"/>
              <a:t>Le calendrier est établi et validé par le Responsable de la Réversibilité et le directeur de mission TALAN Consulting en accord avec SNCF Transilien et le repreneur. Le calendrier du transfert de connaissances précise les dates de sessions et les contenus de chaque session en tenant compte des priorités de transfert de connaissances fixées par SNCF Transilien et le repreneur. </a:t>
            </a:r>
          </a:p>
          <a:p>
            <a:pPr algn="just"/>
            <a:r>
              <a:rPr lang="fr-FR" sz="1200"/>
              <a:t>Des sessions d’activités différentes peuvent être réalisées en parallèle. TALAN Consulting met à disposition une ressource « </a:t>
            </a:r>
            <a:r>
              <a:rPr lang="fr-FR" sz="1200" err="1"/>
              <a:t>sachante</a:t>
            </a:r>
            <a:r>
              <a:rPr lang="fr-FR" sz="1200"/>
              <a:t> » pour chaque session. Le transfert de connaissances porte sur l’ensemble des activités.</a:t>
            </a:r>
          </a:p>
          <a:p>
            <a:pPr algn="just"/>
            <a:endParaRPr lang="fr-FR" sz="1200"/>
          </a:p>
          <a:p>
            <a:pPr algn="just"/>
            <a:r>
              <a:rPr lang="fr-FR" sz="1200"/>
              <a:t>Afin d’assurer une réversibilité sans le moindre figeage d’activité, nous mettons à disposition une méthodologie éprouvée garante d’une transition fluide déclinée en 4 étapes :</a:t>
            </a:r>
          </a:p>
          <a:p>
            <a:pPr algn="just"/>
            <a:endParaRPr lang="fr-FR" sz="1200"/>
          </a:p>
        </p:txBody>
      </p:sp>
      <p:grpSp>
        <p:nvGrpSpPr>
          <p:cNvPr id="5" name="Groupe 4">
            <a:extLst>
              <a:ext uri="{FF2B5EF4-FFF2-40B4-BE49-F238E27FC236}">
                <a16:creationId xmlns:a16="http://schemas.microsoft.com/office/drawing/2014/main" id="{E1BFDF5A-2347-4D30-B282-C564ED89CA2C}"/>
              </a:ext>
            </a:extLst>
          </p:cNvPr>
          <p:cNvGrpSpPr/>
          <p:nvPr/>
        </p:nvGrpSpPr>
        <p:grpSpPr>
          <a:xfrm>
            <a:off x="2410302" y="2981206"/>
            <a:ext cx="7371395" cy="3238904"/>
            <a:chOff x="2410302" y="3313719"/>
            <a:chExt cx="7371395" cy="3238904"/>
          </a:xfrm>
        </p:grpSpPr>
        <p:pic>
          <p:nvPicPr>
            <p:cNvPr id="6" name="image21.png">
              <a:extLst>
                <a:ext uri="{FF2B5EF4-FFF2-40B4-BE49-F238E27FC236}">
                  <a16:creationId xmlns:a16="http://schemas.microsoft.com/office/drawing/2014/main" id="{F840A5B6-CA2B-4288-8929-147CDCE15F5E}"/>
                </a:ext>
              </a:extLst>
            </p:cNvPr>
            <p:cNvPicPr/>
            <p:nvPr/>
          </p:nvPicPr>
          <p:blipFill>
            <a:blip r:embed="rId2"/>
            <a:srcRect/>
            <a:stretch>
              <a:fillRect/>
            </a:stretch>
          </p:blipFill>
          <p:spPr>
            <a:xfrm>
              <a:off x="2410302" y="3313719"/>
              <a:ext cx="7371395" cy="3238904"/>
            </a:xfrm>
            <a:prstGeom prst="rect">
              <a:avLst/>
            </a:prstGeom>
            <a:ln/>
          </p:spPr>
        </p:pic>
        <p:sp>
          <p:nvSpPr>
            <p:cNvPr id="7" name="Ellipse 6">
              <a:extLst>
                <a:ext uri="{FF2B5EF4-FFF2-40B4-BE49-F238E27FC236}">
                  <a16:creationId xmlns:a16="http://schemas.microsoft.com/office/drawing/2014/main" id="{44834CC5-473D-4992-8CA9-8940191D2C83}"/>
                </a:ext>
              </a:extLst>
            </p:cNvPr>
            <p:cNvSpPr/>
            <p:nvPr/>
          </p:nvSpPr>
          <p:spPr>
            <a:xfrm>
              <a:off x="3244433" y="3597710"/>
              <a:ext cx="194092" cy="19324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a:t>1</a:t>
              </a:r>
            </a:p>
          </p:txBody>
        </p:sp>
        <p:sp>
          <p:nvSpPr>
            <p:cNvPr id="8" name="Ellipse 7">
              <a:extLst>
                <a:ext uri="{FF2B5EF4-FFF2-40B4-BE49-F238E27FC236}">
                  <a16:creationId xmlns:a16="http://schemas.microsoft.com/office/drawing/2014/main" id="{AA58F80E-8161-46C4-807C-0A1345F26E73}"/>
                </a:ext>
              </a:extLst>
            </p:cNvPr>
            <p:cNvSpPr/>
            <p:nvPr/>
          </p:nvSpPr>
          <p:spPr>
            <a:xfrm>
              <a:off x="5273258" y="6029741"/>
              <a:ext cx="194092" cy="19324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a:t>2</a:t>
              </a:r>
            </a:p>
          </p:txBody>
        </p:sp>
        <p:sp>
          <p:nvSpPr>
            <p:cNvPr id="9" name="Ellipse 8">
              <a:extLst>
                <a:ext uri="{FF2B5EF4-FFF2-40B4-BE49-F238E27FC236}">
                  <a16:creationId xmlns:a16="http://schemas.microsoft.com/office/drawing/2014/main" id="{01D70A67-9D50-464D-BBF4-35EECBC74CE8}"/>
                </a:ext>
              </a:extLst>
            </p:cNvPr>
            <p:cNvSpPr/>
            <p:nvPr/>
          </p:nvSpPr>
          <p:spPr>
            <a:xfrm>
              <a:off x="6513065" y="3597710"/>
              <a:ext cx="194092" cy="1932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a:t>3</a:t>
              </a:r>
            </a:p>
          </p:txBody>
        </p:sp>
        <p:sp>
          <p:nvSpPr>
            <p:cNvPr id="10" name="Ellipse 9">
              <a:extLst>
                <a:ext uri="{FF2B5EF4-FFF2-40B4-BE49-F238E27FC236}">
                  <a16:creationId xmlns:a16="http://schemas.microsoft.com/office/drawing/2014/main" id="{DD770FFB-9F81-443A-8886-9B4C8C794E00}"/>
                </a:ext>
              </a:extLst>
            </p:cNvPr>
            <p:cNvSpPr/>
            <p:nvPr/>
          </p:nvSpPr>
          <p:spPr>
            <a:xfrm>
              <a:off x="8454608" y="6029741"/>
              <a:ext cx="194092" cy="1932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a:t>4</a:t>
              </a:r>
            </a:p>
          </p:txBody>
        </p:sp>
      </p:grpSp>
    </p:spTree>
    <p:extLst>
      <p:ext uri="{BB962C8B-B14F-4D97-AF65-F5344CB8AC3E}">
        <p14:creationId xmlns:p14="http://schemas.microsoft.com/office/powerpoint/2010/main" val="41505462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B6AF751-7CFD-44E5-B5F2-2D9B1DFFF6BB}"/>
              </a:ext>
            </a:extLst>
          </p:cNvPr>
          <p:cNvSpPr>
            <a:spLocks noGrp="1"/>
          </p:cNvSpPr>
          <p:nvPr>
            <p:ph type="title"/>
          </p:nvPr>
        </p:nvSpPr>
        <p:spPr/>
        <p:txBody>
          <a:bodyPr/>
          <a:lstStyle/>
          <a:p>
            <a:r>
              <a:rPr lang="fr-FR"/>
              <a:t>Méthodologie et jalons 2/2</a:t>
            </a:r>
          </a:p>
        </p:txBody>
      </p:sp>
      <p:graphicFrame>
        <p:nvGraphicFramePr>
          <p:cNvPr id="4" name="Tableau 6">
            <a:extLst>
              <a:ext uri="{FF2B5EF4-FFF2-40B4-BE49-F238E27FC236}">
                <a16:creationId xmlns:a16="http://schemas.microsoft.com/office/drawing/2014/main" id="{E58F2A7C-BF2B-44E8-8C93-3CAC65CC161E}"/>
              </a:ext>
            </a:extLst>
          </p:cNvPr>
          <p:cNvGraphicFramePr>
            <a:graphicFrameLocks noGrp="1"/>
          </p:cNvGraphicFramePr>
          <p:nvPr/>
        </p:nvGraphicFramePr>
        <p:xfrm>
          <a:off x="950706" y="935471"/>
          <a:ext cx="10556556" cy="4738301"/>
        </p:xfrm>
        <a:graphic>
          <a:graphicData uri="http://schemas.openxmlformats.org/drawingml/2006/table">
            <a:tbl>
              <a:tblPr firstRow="1" bandRow="1">
                <a:tableStyleId>{2D5ABB26-0587-4C30-8999-92F81FD0307C}</a:tableStyleId>
              </a:tblPr>
              <a:tblGrid>
                <a:gridCol w="1313577">
                  <a:extLst>
                    <a:ext uri="{9D8B030D-6E8A-4147-A177-3AD203B41FA5}">
                      <a16:colId xmlns:a16="http://schemas.microsoft.com/office/drawing/2014/main" val="1478367483"/>
                    </a:ext>
                  </a:extLst>
                </a:gridCol>
                <a:gridCol w="1361515">
                  <a:extLst>
                    <a:ext uri="{9D8B030D-6E8A-4147-A177-3AD203B41FA5}">
                      <a16:colId xmlns:a16="http://schemas.microsoft.com/office/drawing/2014/main" val="2061772577"/>
                    </a:ext>
                  </a:extLst>
                </a:gridCol>
                <a:gridCol w="1313577">
                  <a:extLst>
                    <a:ext uri="{9D8B030D-6E8A-4147-A177-3AD203B41FA5}">
                      <a16:colId xmlns:a16="http://schemas.microsoft.com/office/drawing/2014/main" val="1719379330"/>
                    </a:ext>
                  </a:extLst>
                </a:gridCol>
                <a:gridCol w="1313577">
                  <a:extLst>
                    <a:ext uri="{9D8B030D-6E8A-4147-A177-3AD203B41FA5}">
                      <a16:colId xmlns:a16="http://schemas.microsoft.com/office/drawing/2014/main" val="1741830528"/>
                    </a:ext>
                  </a:extLst>
                </a:gridCol>
                <a:gridCol w="1313579">
                  <a:extLst>
                    <a:ext uri="{9D8B030D-6E8A-4147-A177-3AD203B41FA5}">
                      <a16:colId xmlns:a16="http://schemas.microsoft.com/office/drawing/2014/main" val="4106332662"/>
                    </a:ext>
                  </a:extLst>
                </a:gridCol>
                <a:gridCol w="1313577">
                  <a:extLst>
                    <a:ext uri="{9D8B030D-6E8A-4147-A177-3AD203B41FA5}">
                      <a16:colId xmlns:a16="http://schemas.microsoft.com/office/drawing/2014/main" val="2928931921"/>
                    </a:ext>
                  </a:extLst>
                </a:gridCol>
                <a:gridCol w="1313577">
                  <a:extLst>
                    <a:ext uri="{9D8B030D-6E8A-4147-A177-3AD203B41FA5}">
                      <a16:colId xmlns:a16="http://schemas.microsoft.com/office/drawing/2014/main" val="3451760617"/>
                    </a:ext>
                  </a:extLst>
                </a:gridCol>
                <a:gridCol w="1313577">
                  <a:extLst>
                    <a:ext uri="{9D8B030D-6E8A-4147-A177-3AD203B41FA5}">
                      <a16:colId xmlns:a16="http://schemas.microsoft.com/office/drawing/2014/main" val="653808967"/>
                    </a:ext>
                  </a:extLst>
                </a:gridCol>
              </a:tblGrid>
              <a:tr h="218665">
                <a:tc gridSpan="8">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100" b="1" i="0" u="none" strike="noStrike" kern="0" cap="none" spc="0" normalizeH="0" baseline="0">
                          <a:ln>
                            <a:noFill/>
                          </a:ln>
                          <a:solidFill>
                            <a:schemeClr val="bg1"/>
                          </a:solidFill>
                          <a:effectLst/>
                          <a:uLnTx/>
                          <a:uFillTx/>
                          <a:latin typeface="+mj-lt"/>
                          <a:ea typeface="MS PGothic" pitchFamily="34" charset="-128"/>
                          <a:sym typeface="Arial"/>
                        </a:rPr>
                        <a:t>8 semain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51000"/>
                      </a:schemeClr>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1" i="0" u="none" strike="noStrike" kern="0" cap="none" spc="0" normalizeH="0" baseline="0">
                        <a:ln>
                          <a:noFill/>
                        </a:ln>
                        <a:solidFill>
                          <a:schemeClr val="tx2"/>
                        </a:solidFill>
                        <a:effectLst/>
                        <a:uLnTx/>
                        <a:uFillTx/>
                        <a:latin typeface="+mj-lt"/>
                        <a:ea typeface="MS PGothic" pitchFamily="34" charset="-128"/>
                        <a:sym typeface="Aria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51000"/>
                      </a:schemeClr>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1" i="0" u="none" strike="noStrike" kern="0" cap="none" spc="0" normalizeH="0" baseline="0">
                        <a:ln>
                          <a:noFill/>
                        </a:ln>
                        <a:solidFill>
                          <a:schemeClr val="tx2"/>
                        </a:solidFill>
                        <a:effectLst/>
                        <a:uLnTx/>
                        <a:uFillTx/>
                        <a:latin typeface="+mj-lt"/>
                        <a:ea typeface="MS PGothic" pitchFamily="34" charset="-128"/>
                        <a:sym typeface="Aria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51000"/>
                      </a:schemeClr>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1" i="0" u="none" strike="noStrike" kern="0" cap="none" spc="0" normalizeH="0" baseline="0">
                        <a:ln>
                          <a:noFill/>
                        </a:ln>
                        <a:solidFill>
                          <a:schemeClr val="tx2"/>
                        </a:solidFill>
                        <a:effectLst/>
                        <a:uLnTx/>
                        <a:uFillTx/>
                        <a:latin typeface="+mj-lt"/>
                        <a:ea typeface="MS PGothic" pitchFamily="34" charset="-128"/>
                        <a:sym typeface="Aria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51000"/>
                      </a:schemeClr>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100" b="1" i="0" u="none" strike="noStrike" kern="0" cap="none" spc="0" normalizeH="0" baseline="0">
                          <a:ln>
                            <a:noFill/>
                          </a:ln>
                          <a:solidFill>
                            <a:schemeClr val="tx2"/>
                          </a:solidFill>
                          <a:effectLst/>
                          <a:uLnTx/>
                          <a:uFillTx/>
                          <a:latin typeface="+mj-lt"/>
                          <a:ea typeface="MS PGothic" pitchFamily="34" charset="-128"/>
                          <a:sym typeface="Arial"/>
                        </a:rPr>
                        <a:t>FÉVRIER</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51000"/>
                      </a:schemeClr>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1" i="0" u="none" strike="noStrike" kern="0" cap="none" spc="0" normalizeH="0" baseline="0">
                        <a:ln>
                          <a:noFill/>
                        </a:ln>
                        <a:solidFill>
                          <a:schemeClr val="tx2"/>
                        </a:solidFill>
                        <a:effectLst/>
                        <a:uLnTx/>
                        <a:uFillTx/>
                        <a:latin typeface="+mj-lt"/>
                        <a:ea typeface="MS PGothic" pitchFamily="34" charset="-128"/>
                        <a:sym typeface="Aria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51000"/>
                      </a:schemeClr>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1" i="0" u="none" strike="noStrike" kern="0" cap="none" spc="0" normalizeH="0" baseline="0">
                        <a:ln>
                          <a:noFill/>
                        </a:ln>
                        <a:solidFill>
                          <a:schemeClr val="tx2"/>
                        </a:solidFill>
                        <a:effectLst/>
                        <a:uLnTx/>
                        <a:uFillTx/>
                        <a:latin typeface="+mj-lt"/>
                        <a:ea typeface="MS PGothic" pitchFamily="34" charset="-128"/>
                        <a:sym typeface="Aria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51000"/>
                      </a:schemeClr>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1" i="0" u="none" strike="noStrike" kern="0" cap="none" spc="0" normalizeH="0" baseline="0">
                        <a:ln>
                          <a:noFill/>
                        </a:ln>
                        <a:solidFill>
                          <a:schemeClr val="tx2"/>
                        </a:solidFill>
                        <a:effectLst/>
                        <a:uLnTx/>
                        <a:uFillTx/>
                        <a:latin typeface="+mj-lt"/>
                        <a:ea typeface="MS PGothic" pitchFamily="34" charset="-128"/>
                        <a:sym typeface="Aria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51000"/>
                      </a:schemeClr>
                    </a:solidFill>
                  </a:tcPr>
                </a:tc>
                <a:extLst>
                  <a:ext uri="{0D108BD9-81ED-4DB2-BD59-A6C34878D82A}">
                    <a16:rowId xmlns:a16="http://schemas.microsoft.com/office/drawing/2014/main" val="1618994840"/>
                  </a:ext>
                </a:extLst>
              </a:tr>
              <a:tr h="157372">
                <a:tc>
                  <a:txBody>
                    <a:bodyPr/>
                    <a:lstStyle/>
                    <a:p>
                      <a:pPr marR="0" algn="l" rtl="0" eaLnBrk="1" hangingPunct="1">
                        <a:lnSpc>
                          <a:spcPct val="100000"/>
                        </a:lnSpc>
                        <a:spcBef>
                          <a:spcPts val="0"/>
                        </a:spcBef>
                        <a:spcAft>
                          <a:spcPts val="0"/>
                        </a:spcAft>
                        <a:buClr>
                          <a:srgbClr val="000000"/>
                        </a:buClr>
                        <a:buFont typeface="Arial"/>
                      </a:pPr>
                      <a:r>
                        <a:rPr lang="fr-FR" sz="800" b="1" i="0" u="none" strike="noStrike" cap="none">
                          <a:solidFill>
                            <a:srgbClr val="595959"/>
                          </a:solidFill>
                          <a:latin typeface="+mj-lt"/>
                          <a:ea typeface="+mn-ea"/>
                          <a:cs typeface="Arial"/>
                          <a:sym typeface="Arial"/>
                        </a:rPr>
                        <a:t>S1</a:t>
                      </a:r>
                    </a:p>
                  </a:txBody>
                  <a:tcPr marL="0" marR="0" marT="0" marB="0" anchor="b">
                    <a:lnL w="3175" cap="flat" cmpd="sng" algn="ctr">
                      <a:noFill/>
                      <a:prstDash val="sysDot"/>
                      <a:round/>
                      <a:headEnd type="none" w="med" len="med"/>
                      <a:tailEnd type="none" w="med" len="med"/>
                    </a:lnL>
                    <a:lnR w="3175" cap="flat" cmpd="sng" algn="ctr">
                      <a:noFill/>
                      <a:prstDash val="sysDot"/>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alpha val="51000"/>
                      </a:schemeClr>
                    </a:solidFill>
                  </a:tcPr>
                </a:tc>
                <a:tc>
                  <a:txBody>
                    <a:bodyPr/>
                    <a:lstStyle/>
                    <a:p>
                      <a:pPr marR="0" algn="l" rtl="0" eaLnBrk="1" hangingPunct="1">
                        <a:lnSpc>
                          <a:spcPct val="100000"/>
                        </a:lnSpc>
                        <a:spcBef>
                          <a:spcPts val="0"/>
                        </a:spcBef>
                        <a:spcAft>
                          <a:spcPts val="0"/>
                        </a:spcAft>
                        <a:buClr>
                          <a:srgbClr val="000000"/>
                        </a:buClr>
                        <a:buFont typeface="Arial"/>
                      </a:pPr>
                      <a:r>
                        <a:rPr lang="fr-FR" sz="800" b="1" i="0" u="none" strike="noStrike" cap="none">
                          <a:solidFill>
                            <a:srgbClr val="595959"/>
                          </a:solidFill>
                          <a:latin typeface="+mj-lt"/>
                          <a:ea typeface="+mn-ea"/>
                          <a:cs typeface="Arial"/>
                          <a:sym typeface="Arial"/>
                        </a:rPr>
                        <a:t>S2</a:t>
                      </a:r>
                    </a:p>
                  </a:txBody>
                  <a:tcPr marL="0" marR="0" marT="0" marB="0" anchor="b">
                    <a:lnL w="3175" cap="flat" cmpd="sng" algn="ctr">
                      <a:noFill/>
                      <a:prstDash val="sysDot"/>
                      <a:round/>
                      <a:headEnd type="none" w="med" len="med"/>
                      <a:tailEnd type="none" w="med" len="med"/>
                    </a:lnL>
                    <a:lnR w="3175" cap="flat" cmpd="sng" algn="ctr">
                      <a:noFill/>
                      <a:prstDash val="sysDot"/>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alpha val="51000"/>
                      </a:schemeClr>
                    </a:solidFill>
                  </a:tcPr>
                </a:tc>
                <a:tc>
                  <a:txBody>
                    <a:bodyPr/>
                    <a:lstStyle/>
                    <a:p>
                      <a:pPr marR="0" algn="l" rtl="0" eaLnBrk="1" hangingPunct="1">
                        <a:lnSpc>
                          <a:spcPct val="100000"/>
                        </a:lnSpc>
                        <a:spcBef>
                          <a:spcPts val="0"/>
                        </a:spcBef>
                        <a:spcAft>
                          <a:spcPts val="0"/>
                        </a:spcAft>
                        <a:buClr>
                          <a:srgbClr val="000000"/>
                        </a:buClr>
                        <a:buFont typeface="Arial"/>
                      </a:pPr>
                      <a:r>
                        <a:rPr lang="fr-FR" sz="800" b="1" i="0" u="none" strike="noStrike" cap="none">
                          <a:solidFill>
                            <a:srgbClr val="595959"/>
                          </a:solidFill>
                          <a:latin typeface="+mj-lt"/>
                          <a:ea typeface="+mn-ea"/>
                          <a:cs typeface="Arial"/>
                          <a:sym typeface="Arial"/>
                        </a:rPr>
                        <a:t>S3</a:t>
                      </a:r>
                    </a:p>
                  </a:txBody>
                  <a:tcPr marL="0" marR="0" marT="0" marB="0" anchor="b">
                    <a:lnL w="3175" cap="flat" cmpd="sng" algn="ctr">
                      <a:noFill/>
                      <a:prstDash val="sysDot"/>
                      <a:round/>
                      <a:headEnd type="none" w="med" len="med"/>
                      <a:tailEnd type="none" w="med" len="med"/>
                    </a:lnL>
                    <a:lnR w="3175" cap="flat" cmpd="sng" algn="ctr">
                      <a:noFill/>
                      <a:prstDash val="sysDot"/>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alpha val="51000"/>
                      </a:schemeClr>
                    </a:solidFill>
                  </a:tcPr>
                </a:tc>
                <a:tc>
                  <a:txBody>
                    <a:bodyPr/>
                    <a:lstStyle/>
                    <a:p>
                      <a:pPr marR="0" algn="l" rtl="0" eaLnBrk="1" hangingPunct="1">
                        <a:lnSpc>
                          <a:spcPct val="100000"/>
                        </a:lnSpc>
                        <a:spcBef>
                          <a:spcPts val="0"/>
                        </a:spcBef>
                        <a:spcAft>
                          <a:spcPts val="0"/>
                        </a:spcAft>
                        <a:buClr>
                          <a:srgbClr val="000000"/>
                        </a:buClr>
                        <a:buFont typeface="Arial"/>
                      </a:pPr>
                      <a:r>
                        <a:rPr lang="fr-FR" sz="800" b="1" i="0" u="none" strike="noStrike" cap="none">
                          <a:solidFill>
                            <a:srgbClr val="595959"/>
                          </a:solidFill>
                          <a:latin typeface="+mj-lt"/>
                          <a:ea typeface="+mn-ea"/>
                          <a:cs typeface="Arial"/>
                          <a:sym typeface="Arial"/>
                        </a:rPr>
                        <a:t>S4</a:t>
                      </a:r>
                    </a:p>
                  </a:txBody>
                  <a:tcPr marL="0" marR="0" marT="0" marB="0" anchor="b">
                    <a:lnL w="3175"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alpha val="51000"/>
                      </a:schemeClr>
                    </a:solidFill>
                  </a:tcPr>
                </a:tc>
                <a:tc>
                  <a:txBody>
                    <a:bodyPr/>
                    <a:lstStyle/>
                    <a:p>
                      <a:pPr marR="0" algn="l" rtl="0" eaLnBrk="1" hangingPunct="1">
                        <a:lnSpc>
                          <a:spcPct val="100000"/>
                        </a:lnSpc>
                        <a:spcBef>
                          <a:spcPts val="0"/>
                        </a:spcBef>
                        <a:spcAft>
                          <a:spcPts val="0"/>
                        </a:spcAft>
                        <a:buClr>
                          <a:srgbClr val="000000"/>
                        </a:buClr>
                        <a:buFont typeface="Arial"/>
                      </a:pPr>
                      <a:r>
                        <a:rPr lang="fr-FR" sz="800" b="1" i="0" u="none" strike="noStrike" cap="none">
                          <a:solidFill>
                            <a:srgbClr val="595959"/>
                          </a:solidFill>
                          <a:latin typeface="+mj-lt"/>
                          <a:ea typeface="+mn-ea"/>
                          <a:cs typeface="Arial"/>
                          <a:sym typeface="Arial"/>
                        </a:rPr>
                        <a:t>S5</a:t>
                      </a:r>
                    </a:p>
                  </a:txBody>
                  <a:tcPr marL="0" marR="0" marT="0" marB="0" anchor="b">
                    <a:lnL w="3175"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alpha val="51000"/>
                      </a:schemeClr>
                    </a:solidFill>
                  </a:tcPr>
                </a:tc>
                <a:tc>
                  <a:txBody>
                    <a:bodyPr/>
                    <a:lstStyle/>
                    <a:p>
                      <a:pPr marR="0" algn="l" rtl="0" eaLnBrk="1" hangingPunct="1">
                        <a:lnSpc>
                          <a:spcPct val="100000"/>
                        </a:lnSpc>
                        <a:spcBef>
                          <a:spcPts val="0"/>
                        </a:spcBef>
                        <a:spcAft>
                          <a:spcPts val="0"/>
                        </a:spcAft>
                        <a:buClr>
                          <a:srgbClr val="000000"/>
                        </a:buClr>
                        <a:buFont typeface="Arial"/>
                      </a:pPr>
                      <a:r>
                        <a:rPr lang="fr-FR" sz="800" b="1" i="0" u="none" strike="noStrike" cap="none">
                          <a:solidFill>
                            <a:srgbClr val="595959"/>
                          </a:solidFill>
                          <a:latin typeface="+mj-lt"/>
                          <a:ea typeface="+mn-ea"/>
                          <a:cs typeface="Arial"/>
                          <a:sym typeface="Arial"/>
                        </a:rPr>
                        <a:t>S6</a:t>
                      </a:r>
                    </a:p>
                  </a:txBody>
                  <a:tcPr marL="0" marR="0" marT="0" marB="0" anchor="b">
                    <a:lnL w="3175"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alpha val="51000"/>
                      </a:schemeClr>
                    </a:solidFill>
                  </a:tcPr>
                </a:tc>
                <a:tc>
                  <a:txBody>
                    <a:bodyPr/>
                    <a:lstStyle/>
                    <a:p>
                      <a:pPr marR="0" algn="l" rtl="0" eaLnBrk="1" hangingPunct="1">
                        <a:lnSpc>
                          <a:spcPct val="100000"/>
                        </a:lnSpc>
                        <a:spcBef>
                          <a:spcPts val="0"/>
                        </a:spcBef>
                        <a:spcAft>
                          <a:spcPts val="0"/>
                        </a:spcAft>
                        <a:buClr>
                          <a:srgbClr val="000000"/>
                        </a:buClr>
                        <a:buFont typeface="Arial"/>
                      </a:pPr>
                      <a:r>
                        <a:rPr lang="fr-FR" sz="800" b="1" i="0" u="none" strike="noStrike" cap="none">
                          <a:solidFill>
                            <a:srgbClr val="595959"/>
                          </a:solidFill>
                          <a:latin typeface="+mj-lt"/>
                          <a:ea typeface="+mn-ea"/>
                          <a:cs typeface="Arial"/>
                          <a:sym typeface="Arial"/>
                        </a:rPr>
                        <a:t>S7</a:t>
                      </a:r>
                    </a:p>
                  </a:txBody>
                  <a:tcPr marL="0" marR="0" marT="0" marB="0" anchor="b">
                    <a:lnL w="3175"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alpha val="51000"/>
                      </a:schemeClr>
                    </a:solidFill>
                  </a:tcPr>
                </a:tc>
                <a:tc>
                  <a:txBody>
                    <a:bodyPr/>
                    <a:lstStyle/>
                    <a:p>
                      <a:pPr marR="0" algn="l" rtl="0" eaLnBrk="1" hangingPunct="1">
                        <a:lnSpc>
                          <a:spcPct val="100000"/>
                        </a:lnSpc>
                        <a:spcBef>
                          <a:spcPts val="0"/>
                        </a:spcBef>
                        <a:spcAft>
                          <a:spcPts val="0"/>
                        </a:spcAft>
                        <a:buClr>
                          <a:srgbClr val="000000"/>
                        </a:buClr>
                        <a:buFont typeface="Arial"/>
                      </a:pPr>
                      <a:r>
                        <a:rPr lang="fr-FR" sz="800" b="1" i="0" u="none" strike="noStrike" cap="none">
                          <a:solidFill>
                            <a:srgbClr val="595959"/>
                          </a:solidFill>
                          <a:latin typeface="+mj-lt"/>
                          <a:ea typeface="+mn-ea"/>
                          <a:cs typeface="Arial"/>
                          <a:sym typeface="Arial"/>
                        </a:rPr>
                        <a:t>S8</a:t>
                      </a:r>
                    </a:p>
                  </a:txBody>
                  <a:tcPr marL="0" marR="0" marT="0" marB="0" anchor="b">
                    <a:lnL w="3175"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alpha val="51000"/>
                      </a:schemeClr>
                    </a:solidFill>
                  </a:tcPr>
                </a:tc>
                <a:extLst>
                  <a:ext uri="{0D108BD9-81ED-4DB2-BD59-A6C34878D82A}">
                    <a16:rowId xmlns:a16="http://schemas.microsoft.com/office/drawing/2014/main" val="689069623"/>
                  </a:ext>
                </a:extLst>
              </a:tr>
              <a:tr h="4321849">
                <a:tc>
                  <a:txBody>
                    <a:bodyPr/>
                    <a:lstStyle/>
                    <a:p>
                      <a:endParaRPr lang="fr-FR">
                        <a:latin typeface="+mj-lt"/>
                      </a:endParaRPr>
                    </a:p>
                    <a:p>
                      <a:endParaRPr lang="fr-FR">
                        <a:latin typeface="+mj-lt"/>
                      </a:endParaRPr>
                    </a:p>
                    <a:p>
                      <a:endParaRPr lang="fr-FR">
                        <a:latin typeface="+mj-lt"/>
                      </a:endParaRPr>
                    </a:p>
                    <a:p>
                      <a:endParaRPr lang="fr-FR">
                        <a:latin typeface="+mj-lt"/>
                      </a:endParaRPr>
                    </a:p>
                    <a:p>
                      <a:endParaRPr lang="fr-FR">
                        <a:latin typeface="+mj-lt"/>
                      </a:endParaRPr>
                    </a:p>
                    <a:p>
                      <a:endParaRPr lang="fr-FR">
                        <a:latin typeface="+mj-lt"/>
                      </a:endParaRPr>
                    </a:p>
                    <a:p>
                      <a:endParaRPr lang="fr-FR">
                        <a:latin typeface="+mj-lt"/>
                      </a:endParaRPr>
                    </a:p>
                    <a:p>
                      <a:endParaRPr lang="fr-FR">
                        <a:latin typeface="+mj-lt"/>
                      </a:endParaRPr>
                    </a:p>
                    <a:p>
                      <a:endParaRPr lang="fr-FR">
                        <a:latin typeface="+mj-lt"/>
                      </a:endParaRPr>
                    </a:p>
                    <a:p>
                      <a:endParaRPr lang="fr-FR">
                        <a:latin typeface="+mj-lt"/>
                      </a:endParaRPr>
                    </a:p>
                    <a:p>
                      <a:endParaRPr lang="fr-FR">
                        <a:latin typeface="+mj-lt"/>
                      </a:endParaRPr>
                    </a:p>
                    <a:p>
                      <a:endParaRPr lang="fr-FR">
                        <a:latin typeface="+mj-lt"/>
                      </a:endParaRPr>
                    </a:p>
                    <a:p>
                      <a:endParaRPr lang="fr-FR">
                        <a:latin typeface="+mj-lt"/>
                      </a:endParaRPr>
                    </a:p>
                    <a:p>
                      <a:endParaRPr lang="fr-FR">
                        <a:latin typeface="+mj-lt"/>
                      </a:endParaRPr>
                    </a:p>
                    <a:p>
                      <a:endParaRPr lang="fr-FR">
                        <a:latin typeface="+mj-lt"/>
                      </a:endParaRPr>
                    </a:p>
                    <a:p>
                      <a:endParaRPr lang="fr-FR">
                        <a:latin typeface="+mj-lt"/>
                      </a:endParaRPr>
                    </a:p>
                    <a:p>
                      <a:endParaRPr lang="fr-FR">
                        <a:latin typeface="+mj-lt"/>
                      </a:endParaRPr>
                    </a:p>
                    <a:p>
                      <a:endParaRPr lang="fr-FR">
                        <a:latin typeface="+mj-lt"/>
                      </a:endParaRPr>
                    </a:p>
                    <a:p>
                      <a:endParaRPr lang="fr-FR">
                        <a:latin typeface="+mj-lt"/>
                      </a:endParaRPr>
                    </a:p>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51000"/>
                      </a:schemeClr>
                    </a:solid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51000"/>
                      </a:schemeClr>
                    </a:solid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51000"/>
                      </a:schemeClr>
                    </a:solid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51000"/>
                      </a:schemeClr>
                    </a:solid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51000"/>
                      </a:schemeClr>
                    </a:solid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51000"/>
                      </a:schemeClr>
                    </a:solid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51000"/>
                      </a:schemeClr>
                    </a:solid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51000"/>
                      </a:schemeClr>
                    </a:solidFill>
                  </a:tcPr>
                </a:tc>
                <a:extLst>
                  <a:ext uri="{0D108BD9-81ED-4DB2-BD59-A6C34878D82A}">
                    <a16:rowId xmlns:a16="http://schemas.microsoft.com/office/drawing/2014/main" val="3464999391"/>
                  </a:ext>
                </a:extLst>
              </a:tr>
            </a:tbl>
          </a:graphicData>
        </a:graphic>
      </p:graphicFrame>
      <p:sp>
        <p:nvSpPr>
          <p:cNvPr id="5" name="Flèche : pentagone 4">
            <a:extLst>
              <a:ext uri="{FF2B5EF4-FFF2-40B4-BE49-F238E27FC236}">
                <a16:creationId xmlns:a16="http://schemas.microsoft.com/office/drawing/2014/main" id="{B2751C1A-1830-408A-93F6-5437AF43B850}"/>
              </a:ext>
            </a:extLst>
          </p:cNvPr>
          <p:cNvSpPr/>
          <p:nvPr/>
        </p:nvSpPr>
        <p:spPr>
          <a:xfrm>
            <a:off x="2823203" y="1681663"/>
            <a:ext cx="6012000" cy="105356"/>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9pPr>
          </a:lstStyle>
          <a:p>
            <a:pPr algn="ctr"/>
            <a:endParaRPr lang="fr-FR" sz="1200">
              <a:latin typeface="Arial" panose="020B0604020202020204" pitchFamily="34" charset="0"/>
            </a:endParaRPr>
          </a:p>
        </p:txBody>
      </p:sp>
      <p:sp>
        <p:nvSpPr>
          <p:cNvPr id="6" name="Shape 224">
            <a:extLst>
              <a:ext uri="{FF2B5EF4-FFF2-40B4-BE49-F238E27FC236}">
                <a16:creationId xmlns:a16="http://schemas.microsoft.com/office/drawing/2014/main" id="{F7B409E8-C049-4F53-8F58-1C4671585596}"/>
              </a:ext>
            </a:extLst>
          </p:cNvPr>
          <p:cNvSpPr/>
          <p:nvPr/>
        </p:nvSpPr>
        <p:spPr>
          <a:xfrm>
            <a:off x="2823203" y="1780246"/>
            <a:ext cx="5601220" cy="283338"/>
          </a:xfrm>
          <a:prstGeom prst="rect">
            <a:avLst/>
          </a:prstGeom>
          <a:noFill/>
          <a:ln>
            <a:noFill/>
          </a:ln>
        </p:spPr>
        <p:txBody>
          <a:bodyPr wrap="square" lIns="0" tIns="0" rIns="0" bIns="405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defTabSz="914400">
              <a:lnSpc>
                <a:spcPct val="90000"/>
              </a:lnSpc>
              <a:buSzPct val="25000"/>
            </a:pPr>
            <a:r>
              <a:rPr lang="fr-FR" sz="1200" b="1" kern="0">
                <a:solidFill>
                  <a:srgbClr val="0070C0"/>
                </a:solidFill>
                <a:latin typeface="Arial" panose="020B0604020202020204" pitchFamily="34" charset="0"/>
                <a:ea typeface="Open Sans Light"/>
                <a:cs typeface="Open Sans Light"/>
                <a:sym typeface="Open Sans Light"/>
              </a:rPr>
              <a:t>Collecte et formalisation</a:t>
            </a:r>
          </a:p>
        </p:txBody>
      </p:sp>
      <p:sp>
        <p:nvSpPr>
          <p:cNvPr id="7" name="Shape 225">
            <a:extLst>
              <a:ext uri="{FF2B5EF4-FFF2-40B4-BE49-F238E27FC236}">
                <a16:creationId xmlns:a16="http://schemas.microsoft.com/office/drawing/2014/main" id="{26DDC05A-243C-4B1D-BCA2-FA4FF2F99A10}"/>
              </a:ext>
            </a:extLst>
          </p:cNvPr>
          <p:cNvSpPr/>
          <p:nvPr/>
        </p:nvSpPr>
        <p:spPr>
          <a:xfrm>
            <a:off x="2823203" y="2108459"/>
            <a:ext cx="3617079" cy="724418"/>
          </a:xfrm>
          <a:prstGeom prst="rect">
            <a:avLst/>
          </a:prstGeom>
          <a:noFill/>
          <a:ln>
            <a:noFill/>
          </a:ln>
        </p:spPr>
        <p:txBody>
          <a:bodyPr wrap="square" lIns="0" tIns="60750" rIns="20250" bIns="0" anchor="t" anchorCtr="0">
            <a:noAutofit/>
          </a:bodyPr>
          <a:lstStyle/>
          <a:p>
            <a:pPr marL="171450" lvl="1" indent="-85725">
              <a:buClr>
                <a:schemeClr val="bg1">
                  <a:lumMod val="50000"/>
                </a:schemeClr>
              </a:buClr>
              <a:buSzPct val="75000"/>
              <a:buFont typeface="Arial" panose="020B0604020202020204" pitchFamily="34" charset="0"/>
              <a:buChar char="•"/>
            </a:pPr>
            <a:r>
              <a:rPr lang="fr-FR" sz="1000">
                <a:solidFill>
                  <a:schemeClr val="bg1">
                    <a:lumMod val="50000"/>
                  </a:schemeClr>
                </a:solidFill>
                <a:latin typeface="Arial" panose="020B0604020202020204" pitchFamily="34" charset="0"/>
                <a:ea typeface="Open Sans Light"/>
                <a:cs typeface="Open Sans Light"/>
                <a:sym typeface="Open Sans Light"/>
              </a:rPr>
              <a:t>Construction d’un répertoire des documents utiles</a:t>
            </a:r>
          </a:p>
          <a:p>
            <a:pPr marL="171450" lvl="1" indent="-85725">
              <a:buClr>
                <a:schemeClr val="bg1">
                  <a:lumMod val="50000"/>
                </a:schemeClr>
              </a:buClr>
              <a:buSzPct val="75000"/>
              <a:buFont typeface="Arial" panose="020B0604020202020204" pitchFamily="34" charset="0"/>
              <a:buChar char="•"/>
            </a:pPr>
            <a:r>
              <a:rPr lang="fr-FR" sz="1000">
                <a:solidFill>
                  <a:schemeClr val="bg1">
                    <a:lumMod val="50000"/>
                  </a:schemeClr>
                </a:solidFill>
                <a:latin typeface="Arial" panose="020B0604020202020204" pitchFamily="34" charset="0"/>
                <a:ea typeface="Open Sans Light"/>
                <a:cs typeface="Open Sans Light"/>
                <a:sym typeface="Open Sans Light"/>
              </a:rPr>
              <a:t>Etat des lieux exhaustif des actions en cours</a:t>
            </a:r>
          </a:p>
          <a:p>
            <a:pPr marL="171450" lvl="1" indent="-85725">
              <a:buClr>
                <a:schemeClr val="bg1">
                  <a:lumMod val="50000"/>
                </a:schemeClr>
              </a:buClr>
              <a:buSzPct val="75000"/>
              <a:buFont typeface="Arial" panose="020B0604020202020204" pitchFamily="34" charset="0"/>
              <a:buChar char="•"/>
            </a:pPr>
            <a:r>
              <a:rPr lang="fr-FR" sz="1000">
                <a:solidFill>
                  <a:schemeClr val="bg1">
                    <a:lumMod val="50000"/>
                  </a:schemeClr>
                </a:solidFill>
                <a:latin typeface="Arial" panose="020B0604020202020204" pitchFamily="34" charset="0"/>
                <a:ea typeface="Open Sans Light"/>
                <a:cs typeface="Open Sans Light"/>
                <a:sym typeface="Open Sans Light"/>
              </a:rPr>
              <a:t>Récapitulatif de l’utilisation des outils projet</a:t>
            </a:r>
          </a:p>
          <a:p>
            <a:pPr marL="171450" lvl="1" indent="-85725">
              <a:buClr>
                <a:schemeClr val="bg1">
                  <a:lumMod val="50000"/>
                </a:schemeClr>
              </a:buClr>
              <a:buSzPct val="75000"/>
              <a:buFont typeface="Arial" panose="020B0604020202020204" pitchFamily="34" charset="0"/>
              <a:buChar char="•"/>
            </a:pPr>
            <a:r>
              <a:rPr lang="fr-FR" sz="1000">
                <a:solidFill>
                  <a:schemeClr val="bg1">
                    <a:lumMod val="50000"/>
                  </a:schemeClr>
                </a:solidFill>
                <a:latin typeface="Arial" panose="020B0604020202020204" pitchFamily="34" charset="0"/>
                <a:ea typeface="Open Sans Light"/>
                <a:cs typeface="Open Sans Light"/>
                <a:sym typeface="Open Sans Light"/>
              </a:rPr>
              <a:t>Préparation des différentes formations de passation</a:t>
            </a:r>
          </a:p>
        </p:txBody>
      </p:sp>
      <p:sp>
        <p:nvSpPr>
          <p:cNvPr id="8" name="Shape 224">
            <a:extLst>
              <a:ext uri="{FF2B5EF4-FFF2-40B4-BE49-F238E27FC236}">
                <a16:creationId xmlns:a16="http://schemas.microsoft.com/office/drawing/2014/main" id="{1877C19E-4E0D-47A7-9B06-7AC985EF2190}"/>
              </a:ext>
            </a:extLst>
          </p:cNvPr>
          <p:cNvSpPr/>
          <p:nvPr/>
        </p:nvSpPr>
        <p:spPr>
          <a:xfrm>
            <a:off x="950707" y="1850781"/>
            <a:ext cx="1872496" cy="397991"/>
          </a:xfrm>
          <a:prstGeom prst="rect">
            <a:avLst/>
          </a:prstGeom>
          <a:noFill/>
          <a:ln>
            <a:noFill/>
          </a:ln>
        </p:spPr>
        <p:txBody>
          <a:bodyPr wrap="square" lIns="0" tIns="0" rIns="0" bIns="405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a:lnSpc>
                <a:spcPts val="1200"/>
              </a:lnSpc>
              <a:buSzPct val="25000"/>
            </a:pPr>
            <a:r>
              <a:rPr lang="fr-FR" sz="1200" b="1">
                <a:solidFill>
                  <a:srgbClr val="0070C0"/>
                </a:solidFill>
                <a:latin typeface="Arial" panose="020B0604020202020204" pitchFamily="34" charset="0"/>
                <a:ea typeface="Open Sans Light"/>
                <a:cs typeface="Open Sans Light"/>
                <a:sym typeface="Open Sans Light"/>
              </a:rPr>
              <a:t>Formalisation du rôle et des responsabilités</a:t>
            </a:r>
          </a:p>
        </p:txBody>
      </p:sp>
      <p:sp>
        <p:nvSpPr>
          <p:cNvPr id="9" name="Flèche : pentagone 8">
            <a:extLst>
              <a:ext uri="{FF2B5EF4-FFF2-40B4-BE49-F238E27FC236}">
                <a16:creationId xmlns:a16="http://schemas.microsoft.com/office/drawing/2014/main" id="{CE97F964-B76F-4B8C-961B-627EF4E523C1}"/>
              </a:ext>
            </a:extLst>
          </p:cNvPr>
          <p:cNvSpPr/>
          <p:nvPr/>
        </p:nvSpPr>
        <p:spPr>
          <a:xfrm>
            <a:off x="950707" y="1674890"/>
            <a:ext cx="1872496" cy="105356"/>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9pPr>
          </a:lstStyle>
          <a:p>
            <a:pPr algn="ctr"/>
            <a:endParaRPr lang="fr-FR" sz="1200">
              <a:latin typeface="Arial" panose="020B0604020202020204" pitchFamily="34" charset="0"/>
            </a:endParaRPr>
          </a:p>
        </p:txBody>
      </p:sp>
      <p:pic>
        <p:nvPicPr>
          <p:cNvPr id="10" name="Graphique 9" descr="Document">
            <a:extLst>
              <a:ext uri="{FF2B5EF4-FFF2-40B4-BE49-F238E27FC236}">
                <a16:creationId xmlns:a16="http://schemas.microsoft.com/office/drawing/2014/main" id="{142DC834-602A-4928-88C1-33A60473835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60118" y="2166035"/>
            <a:ext cx="361915" cy="361915"/>
          </a:xfrm>
          <a:prstGeom prst="rect">
            <a:avLst/>
          </a:prstGeom>
        </p:spPr>
      </p:pic>
      <p:sp>
        <p:nvSpPr>
          <p:cNvPr id="11" name="ZoneTexte 10">
            <a:extLst>
              <a:ext uri="{FF2B5EF4-FFF2-40B4-BE49-F238E27FC236}">
                <a16:creationId xmlns:a16="http://schemas.microsoft.com/office/drawing/2014/main" id="{702DF34E-CE83-43B3-9F1E-650AD5417D69}"/>
              </a:ext>
            </a:extLst>
          </p:cNvPr>
          <p:cNvSpPr txBox="1"/>
          <p:nvPr/>
        </p:nvSpPr>
        <p:spPr>
          <a:xfrm>
            <a:off x="6564535" y="2069987"/>
            <a:ext cx="1863631" cy="784830"/>
          </a:xfrm>
          <a:prstGeom prst="rect">
            <a:avLst/>
          </a:prstGeom>
          <a:noFill/>
        </p:spPr>
        <p:txBody>
          <a:bodyPr wrap="square" rtlCol="0" anchor="ctr">
            <a:spAutoFit/>
          </a:bodyPr>
          <a:lstStyle/>
          <a:p>
            <a:pPr marL="85725" indent="-85725">
              <a:buClrTx/>
              <a:buSzPct val="75000"/>
              <a:buFont typeface="Arial" panose="020B0604020202020204" pitchFamily="34" charset="0"/>
              <a:buChar char="•"/>
            </a:pPr>
            <a:r>
              <a:rPr lang="fr-FR" sz="900">
                <a:solidFill>
                  <a:schemeClr val="bg2">
                    <a:lumMod val="50000"/>
                  </a:schemeClr>
                </a:solidFill>
                <a:latin typeface="Arial" panose="020B0604020202020204" pitchFamily="34" charset="0"/>
              </a:rPr>
              <a:t>Guide du répertoire</a:t>
            </a:r>
          </a:p>
          <a:p>
            <a:pPr marL="85725" indent="-85725">
              <a:buClrTx/>
              <a:buSzPct val="75000"/>
              <a:buFont typeface="Arial" panose="020B0604020202020204" pitchFamily="34" charset="0"/>
              <a:buChar char="•"/>
            </a:pPr>
            <a:r>
              <a:rPr lang="fr-FR" sz="900">
                <a:solidFill>
                  <a:schemeClr val="bg2">
                    <a:lumMod val="50000"/>
                  </a:schemeClr>
                </a:solidFill>
                <a:latin typeface="Arial" panose="020B0604020202020204" pitchFamily="34" charset="0"/>
              </a:rPr>
              <a:t>Synthèse de la méthode de travail</a:t>
            </a:r>
          </a:p>
          <a:p>
            <a:pPr marL="85725" indent="-85725">
              <a:buClrTx/>
              <a:buSzPct val="75000"/>
              <a:buFont typeface="Arial" panose="020B0604020202020204" pitchFamily="34" charset="0"/>
              <a:buChar char="•"/>
            </a:pPr>
            <a:r>
              <a:rPr lang="fr-FR" sz="900">
                <a:solidFill>
                  <a:schemeClr val="bg2">
                    <a:lumMod val="50000"/>
                  </a:schemeClr>
                </a:solidFill>
                <a:latin typeface="Arial" panose="020B0604020202020204" pitchFamily="34" charset="0"/>
              </a:rPr>
              <a:t>Bilan de la prestation et des activités en cours</a:t>
            </a:r>
          </a:p>
        </p:txBody>
      </p:sp>
      <p:sp>
        <p:nvSpPr>
          <p:cNvPr id="12" name="Shape 225">
            <a:extLst>
              <a:ext uri="{FF2B5EF4-FFF2-40B4-BE49-F238E27FC236}">
                <a16:creationId xmlns:a16="http://schemas.microsoft.com/office/drawing/2014/main" id="{8C07BDC0-37E0-4EA0-96AE-D2EFF76A46F1}"/>
              </a:ext>
            </a:extLst>
          </p:cNvPr>
          <p:cNvSpPr/>
          <p:nvPr/>
        </p:nvSpPr>
        <p:spPr>
          <a:xfrm>
            <a:off x="950707" y="2108459"/>
            <a:ext cx="1872496" cy="477069"/>
          </a:xfrm>
          <a:prstGeom prst="rect">
            <a:avLst/>
          </a:prstGeom>
          <a:noFill/>
          <a:ln>
            <a:noFill/>
          </a:ln>
        </p:spPr>
        <p:txBody>
          <a:bodyPr wrap="square" lIns="0" tIns="60750" rIns="2025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marL="171450" lvl="1" indent="-85725">
              <a:buClr>
                <a:schemeClr val="bg1">
                  <a:lumMod val="50000"/>
                </a:schemeClr>
              </a:buClr>
              <a:buSzPct val="75000"/>
              <a:buFont typeface="Arial" panose="020B0604020202020204" pitchFamily="34" charset="0"/>
              <a:buChar char="•"/>
            </a:pPr>
            <a:r>
              <a:rPr lang="fr-FR" sz="1000">
                <a:solidFill>
                  <a:schemeClr val="bg1">
                    <a:lumMod val="50000"/>
                  </a:schemeClr>
                </a:solidFill>
                <a:latin typeface="Arial" panose="020B0604020202020204" pitchFamily="34" charset="0"/>
                <a:ea typeface="Open Sans Light"/>
                <a:cs typeface="Open Sans Light"/>
                <a:sym typeface="Montserrat"/>
              </a:rPr>
              <a:t>Listing et priorisation des sujets par criticité</a:t>
            </a:r>
          </a:p>
          <a:p>
            <a:pPr marL="171450" lvl="1" indent="-85725">
              <a:buClr>
                <a:schemeClr val="bg1">
                  <a:lumMod val="50000"/>
                </a:schemeClr>
              </a:buClr>
              <a:buSzPct val="75000"/>
              <a:buFont typeface="Arial" panose="020B0604020202020204" pitchFamily="34" charset="0"/>
              <a:buChar char="•"/>
            </a:pPr>
            <a:r>
              <a:rPr lang="fr-FR" sz="1000">
                <a:solidFill>
                  <a:schemeClr val="bg1">
                    <a:lumMod val="50000"/>
                  </a:schemeClr>
                </a:solidFill>
                <a:latin typeface="Arial" panose="020B0604020202020204" pitchFamily="34" charset="0"/>
                <a:ea typeface="Open Sans Light"/>
                <a:cs typeface="Open Sans Light"/>
                <a:sym typeface="Montserrat"/>
              </a:rPr>
              <a:t>Initier le planning de transfert et le plan de montée en charge </a:t>
            </a:r>
          </a:p>
          <a:p>
            <a:pPr marL="171450" lvl="1" indent="-85725">
              <a:buClr>
                <a:schemeClr val="bg1">
                  <a:lumMod val="50000"/>
                </a:schemeClr>
              </a:buClr>
              <a:buSzPct val="75000"/>
              <a:buFont typeface="Arial" panose="020B0604020202020204" pitchFamily="34" charset="0"/>
              <a:buChar char="•"/>
            </a:pPr>
            <a:r>
              <a:rPr lang="fr-FR" sz="1000">
                <a:solidFill>
                  <a:schemeClr val="bg1">
                    <a:lumMod val="50000"/>
                  </a:schemeClr>
                </a:solidFill>
                <a:latin typeface="Arial" panose="020B0604020202020204" pitchFamily="34" charset="0"/>
                <a:ea typeface="Open Sans Light"/>
                <a:cs typeface="Open Sans Light"/>
                <a:sym typeface="Montserrat"/>
              </a:rPr>
              <a:t>Identification des intervenants clés et des référents</a:t>
            </a:r>
            <a:endParaRPr lang="fr-FR" sz="1000">
              <a:solidFill>
                <a:schemeClr val="bg1">
                  <a:lumMod val="50000"/>
                </a:schemeClr>
              </a:solidFill>
              <a:latin typeface="Arial" panose="020B0604020202020204" pitchFamily="34" charset="0"/>
              <a:ea typeface="Open Sans Light"/>
              <a:cs typeface="Open Sans Light"/>
            </a:endParaRPr>
          </a:p>
        </p:txBody>
      </p:sp>
      <p:pic>
        <p:nvPicPr>
          <p:cNvPr id="13" name="Graphique 12" descr="Document">
            <a:extLst>
              <a:ext uri="{FF2B5EF4-FFF2-40B4-BE49-F238E27FC236}">
                <a16:creationId xmlns:a16="http://schemas.microsoft.com/office/drawing/2014/main" id="{B190F5E1-7B03-4D37-965C-3897FD4872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50707" y="3455299"/>
            <a:ext cx="361915" cy="361915"/>
          </a:xfrm>
          <a:prstGeom prst="rect">
            <a:avLst/>
          </a:prstGeom>
        </p:spPr>
      </p:pic>
      <p:sp>
        <p:nvSpPr>
          <p:cNvPr id="14" name="ZoneTexte 13">
            <a:extLst>
              <a:ext uri="{FF2B5EF4-FFF2-40B4-BE49-F238E27FC236}">
                <a16:creationId xmlns:a16="http://schemas.microsoft.com/office/drawing/2014/main" id="{5E26087A-A2ED-4691-87A1-37A93298E7B2}"/>
              </a:ext>
            </a:extLst>
          </p:cNvPr>
          <p:cNvSpPr txBox="1"/>
          <p:nvPr/>
        </p:nvSpPr>
        <p:spPr>
          <a:xfrm>
            <a:off x="1179273" y="3422034"/>
            <a:ext cx="1643930" cy="1692771"/>
          </a:xfrm>
          <a:prstGeom prst="rect">
            <a:avLst/>
          </a:prstGeom>
          <a:noFill/>
        </p:spPr>
        <p:txBody>
          <a:bodyPr wrap="square" lIns="91440" tIns="45720" rIns="91440" bIns="45720" rtlCol="0" anchor="t">
            <a:spAutoFit/>
          </a:bodyPr>
          <a:lstStyle/>
          <a:p>
            <a:pPr marL="85725" indent="-85725">
              <a:spcAft>
                <a:spcPts val="300"/>
              </a:spcAft>
              <a:buClrTx/>
              <a:buSzPct val="75000"/>
              <a:buFont typeface="Arial" panose="020B0604020202020204" pitchFamily="34" charset="0"/>
              <a:buChar char="•"/>
            </a:pPr>
            <a:r>
              <a:rPr lang="fr-FR" sz="900">
                <a:solidFill>
                  <a:schemeClr val="bg2">
                    <a:lumMod val="50000"/>
                  </a:schemeClr>
                </a:solidFill>
                <a:latin typeface="Arial" panose="020B0604020202020204" pitchFamily="34" charset="0"/>
              </a:rPr>
              <a:t>Synthèse des responsabilités et des interventions réalisées par chaque ressource du dispositif</a:t>
            </a:r>
          </a:p>
          <a:p>
            <a:pPr marL="85725" lvl="1" indent="-85725">
              <a:spcAft>
                <a:spcPts val="300"/>
              </a:spcAft>
              <a:buClrTx/>
              <a:buSzPct val="75000"/>
              <a:buFont typeface="Arial" panose="020B0604020202020204" pitchFamily="34" charset="0"/>
              <a:buChar char="•"/>
              <a:defRPr/>
            </a:pPr>
            <a:r>
              <a:rPr lang="fr-FR" sz="900">
                <a:solidFill>
                  <a:schemeClr val="bg2">
                    <a:lumMod val="50000"/>
                  </a:schemeClr>
                </a:solidFill>
                <a:latin typeface="Arial" panose="020B0604020202020204" pitchFamily="34" charset="0"/>
                <a:sym typeface="Montserrat"/>
              </a:rPr>
              <a:t>Plan de montée en charge des collaborateurs repreneurs des activités</a:t>
            </a:r>
            <a:endParaRPr lang="fr-FR" sz="900">
              <a:solidFill>
                <a:schemeClr val="bg2">
                  <a:lumMod val="50000"/>
                </a:schemeClr>
              </a:solidFill>
              <a:latin typeface="Arial" panose="020B0604020202020204" pitchFamily="34" charset="0"/>
            </a:endParaRPr>
          </a:p>
          <a:p>
            <a:pPr marL="85725" lvl="1" indent="-85725">
              <a:spcAft>
                <a:spcPts val="300"/>
              </a:spcAft>
              <a:buClrTx/>
              <a:buSzPct val="75000"/>
              <a:buFont typeface="Arial" panose="020B0604020202020204" pitchFamily="34" charset="0"/>
              <a:buChar char="•"/>
              <a:defRPr/>
            </a:pPr>
            <a:r>
              <a:rPr lang="fr-FR" sz="900">
                <a:solidFill>
                  <a:schemeClr val="bg2">
                    <a:lumMod val="50000"/>
                  </a:schemeClr>
                </a:solidFill>
                <a:latin typeface="Arial" panose="020B0604020202020204" pitchFamily="34" charset="0"/>
                <a:sym typeface="Montserrat"/>
              </a:rPr>
              <a:t>Plan de mise à disposition des ressources clés de l’équipe cédante</a:t>
            </a:r>
            <a:endParaRPr lang="fr-FR" sz="900">
              <a:solidFill>
                <a:schemeClr val="bg2">
                  <a:lumMod val="50000"/>
                </a:schemeClr>
              </a:solidFill>
              <a:latin typeface="Arial" panose="020B0604020202020204" pitchFamily="34" charset="0"/>
            </a:endParaRPr>
          </a:p>
        </p:txBody>
      </p:sp>
      <p:sp>
        <p:nvSpPr>
          <p:cNvPr id="15" name="Shape 224">
            <a:extLst>
              <a:ext uri="{FF2B5EF4-FFF2-40B4-BE49-F238E27FC236}">
                <a16:creationId xmlns:a16="http://schemas.microsoft.com/office/drawing/2014/main" id="{0EA714C8-7B68-4478-A472-B960E2C16B55}"/>
              </a:ext>
            </a:extLst>
          </p:cNvPr>
          <p:cNvSpPr/>
          <p:nvPr/>
        </p:nvSpPr>
        <p:spPr>
          <a:xfrm>
            <a:off x="3622094" y="3421868"/>
            <a:ext cx="3711045" cy="361915"/>
          </a:xfrm>
          <a:prstGeom prst="rect">
            <a:avLst/>
          </a:prstGeom>
          <a:noFill/>
          <a:ln>
            <a:noFill/>
          </a:ln>
        </p:spPr>
        <p:txBody>
          <a:bodyPr wrap="square" lIns="0" tIns="0" rIns="0" bIns="405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a:lnSpc>
                <a:spcPct val="90000"/>
              </a:lnSpc>
              <a:buSzPct val="25000"/>
            </a:pPr>
            <a:r>
              <a:rPr lang="fr-FR" sz="1200" b="1">
                <a:solidFill>
                  <a:srgbClr val="0070C0"/>
                </a:solidFill>
                <a:latin typeface="Arial" panose="020B0604020202020204" pitchFamily="34" charset="0"/>
                <a:ea typeface="Open Sans Light"/>
                <a:cs typeface="Open Sans Light"/>
                <a:sym typeface="Open Sans Light"/>
              </a:rPr>
              <a:t>Formation</a:t>
            </a:r>
          </a:p>
        </p:txBody>
      </p:sp>
      <p:sp>
        <p:nvSpPr>
          <p:cNvPr id="16" name="Shape 225">
            <a:extLst>
              <a:ext uri="{FF2B5EF4-FFF2-40B4-BE49-F238E27FC236}">
                <a16:creationId xmlns:a16="http://schemas.microsoft.com/office/drawing/2014/main" id="{1BA45F64-CF6C-4F61-9914-83C9FF7A44DA}"/>
              </a:ext>
            </a:extLst>
          </p:cNvPr>
          <p:cNvSpPr/>
          <p:nvPr/>
        </p:nvSpPr>
        <p:spPr>
          <a:xfrm>
            <a:off x="3622094" y="3521110"/>
            <a:ext cx="3711045" cy="808941"/>
          </a:xfrm>
          <a:prstGeom prst="rect">
            <a:avLst/>
          </a:prstGeom>
          <a:noFill/>
          <a:ln>
            <a:noFill/>
          </a:ln>
        </p:spPr>
        <p:txBody>
          <a:bodyPr wrap="square" lIns="0" tIns="60750" rIns="20250" bIns="0" anchor="t" anchorCtr="0">
            <a:noAutofit/>
          </a:bodyPr>
          <a:lstStyle/>
          <a:p>
            <a:pPr marL="171450" lvl="1" indent="-85725">
              <a:buClr>
                <a:schemeClr val="bg1">
                  <a:lumMod val="50000"/>
                </a:schemeClr>
              </a:buClr>
              <a:buSzPct val="75000"/>
              <a:buFont typeface="Arial" panose="020B0604020202020204" pitchFamily="34" charset="0"/>
              <a:buChar char="•"/>
            </a:pPr>
            <a:r>
              <a:rPr lang="fr-FR" sz="1000">
                <a:solidFill>
                  <a:schemeClr val="bg1">
                    <a:lumMod val="50000"/>
                  </a:schemeClr>
                </a:solidFill>
                <a:latin typeface="Arial" panose="020B0604020202020204" pitchFamily="34" charset="0"/>
                <a:ea typeface="Open Sans Light"/>
                <a:cs typeface="Open Sans Light"/>
                <a:sym typeface="Open Sans Light"/>
              </a:rPr>
              <a:t>Formation sur les outils du projet </a:t>
            </a:r>
          </a:p>
          <a:p>
            <a:pPr marL="171450" lvl="1" indent="-85725">
              <a:buClr>
                <a:schemeClr val="bg1">
                  <a:lumMod val="50000"/>
                </a:schemeClr>
              </a:buClr>
              <a:buSzPct val="75000"/>
              <a:buFont typeface="Arial" panose="020B0604020202020204" pitchFamily="34" charset="0"/>
              <a:buChar char="•"/>
            </a:pPr>
            <a:r>
              <a:rPr lang="fr-FR" sz="1000">
                <a:solidFill>
                  <a:schemeClr val="bg1">
                    <a:lumMod val="50000"/>
                  </a:schemeClr>
                </a:solidFill>
                <a:latin typeface="Arial" panose="020B0604020202020204" pitchFamily="34" charset="0"/>
                <a:ea typeface="Open Sans Light"/>
                <a:cs typeface="Open Sans Light"/>
                <a:sym typeface="Open Sans Light"/>
              </a:rPr>
              <a:t>Formation au répertoire de documents</a:t>
            </a:r>
          </a:p>
          <a:p>
            <a:pPr marL="171450" lvl="1" indent="-85725">
              <a:buClr>
                <a:schemeClr val="bg1">
                  <a:lumMod val="50000"/>
                </a:schemeClr>
              </a:buClr>
              <a:buSzPct val="75000"/>
              <a:buFont typeface="Arial" panose="020B0604020202020204" pitchFamily="34" charset="0"/>
              <a:buChar char="•"/>
            </a:pPr>
            <a:r>
              <a:rPr lang="fr-FR" sz="1000">
                <a:solidFill>
                  <a:schemeClr val="bg1">
                    <a:lumMod val="50000"/>
                  </a:schemeClr>
                </a:solidFill>
                <a:latin typeface="Arial" panose="020B0604020202020204" pitchFamily="34" charset="0"/>
                <a:ea typeface="Open Sans Light"/>
                <a:cs typeface="Open Sans Light"/>
                <a:sym typeface="Open Sans Light"/>
              </a:rPr>
              <a:t>Etat des lieux exhaustif des actions en cours</a:t>
            </a:r>
          </a:p>
        </p:txBody>
      </p:sp>
      <p:sp>
        <p:nvSpPr>
          <p:cNvPr id="17" name="Shape 224">
            <a:extLst>
              <a:ext uri="{FF2B5EF4-FFF2-40B4-BE49-F238E27FC236}">
                <a16:creationId xmlns:a16="http://schemas.microsoft.com/office/drawing/2014/main" id="{3D5E3AB7-5B5D-4312-A08E-E778CFFC52F8}"/>
              </a:ext>
            </a:extLst>
          </p:cNvPr>
          <p:cNvSpPr/>
          <p:nvPr/>
        </p:nvSpPr>
        <p:spPr>
          <a:xfrm>
            <a:off x="8980777" y="4580595"/>
            <a:ext cx="1868400" cy="428531"/>
          </a:xfrm>
          <a:prstGeom prst="rect">
            <a:avLst/>
          </a:prstGeom>
          <a:noFill/>
          <a:ln>
            <a:noFill/>
          </a:ln>
        </p:spPr>
        <p:txBody>
          <a:bodyPr wrap="square" lIns="0" tIns="60750" rIns="2025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lvl="0">
              <a:buClr>
                <a:srgbClr val="FFFFFF"/>
              </a:buClr>
              <a:buSzPts val="800"/>
              <a:defRPr/>
            </a:pPr>
            <a:r>
              <a:rPr lang="fr-FR" sz="1000">
                <a:solidFill>
                  <a:schemeClr val="bg1">
                    <a:lumMod val="50000"/>
                  </a:schemeClr>
                </a:solidFill>
                <a:latin typeface="Arial" panose="020B0604020202020204" pitchFamily="34" charset="0"/>
                <a:ea typeface="Montserrat"/>
                <a:cs typeface="Arial" panose="020B0604020202020204" pitchFamily="34" charset="0"/>
                <a:sym typeface="Montserrat"/>
              </a:rPr>
              <a:t>Réalisation des activités confiées sous contrôle</a:t>
            </a:r>
          </a:p>
        </p:txBody>
      </p:sp>
      <p:sp>
        <p:nvSpPr>
          <p:cNvPr id="18" name="Flèche : pentagone 17">
            <a:extLst>
              <a:ext uri="{FF2B5EF4-FFF2-40B4-BE49-F238E27FC236}">
                <a16:creationId xmlns:a16="http://schemas.microsoft.com/office/drawing/2014/main" id="{663C4DB0-A25C-4E03-88F3-3BBED7C5094A}"/>
              </a:ext>
            </a:extLst>
          </p:cNvPr>
          <p:cNvSpPr/>
          <p:nvPr/>
        </p:nvSpPr>
        <p:spPr>
          <a:xfrm>
            <a:off x="8895714" y="4263732"/>
            <a:ext cx="2592000" cy="105356"/>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9pPr>
          </a:lstStyle>
          <a:p>
            <a:pPr algn="ctr"/>
            <a:endParaRPr lang="fr-FR" sz="1200">
              <a:latin typeface="Arial" panose="020B0604020202020204" pitchFamily="34" charset="0"/>
            </a:endParaRPr>
          </a:p>
        </p:txBody>
      </p:sp>
      <p:sp>
        <p:nvSpPr>
          <p:cNvPr id="19" name="Shape 224">
            <a:extLst>
              <a:ext uri="{FF2B5EF4-FFF2-40B4-BE49-F238E27FC236}">
                <a16:creationId xmlns:a16="http://schemas.microsoft.com/office/drawing/2014/main" id="{56941A3A-F49A-4A3E-B1CF-2293F16C1573}"/>
              </a:ext>
            </a:extLst>
          </p:cNvPr>
          <p:cNvSpPr/>
          <p:nvPr/>
        </p:nvSpPr>
        <p:spPr>
          <a:xfrm>
            <a:off x="6251740" y="4386106"/>
            <a:ext cx="5583110" cy="283338"/>
          </a:xfrm>
          <a:prstGeom prst="rect">
            <a:avLst/>
          </a:prstGeom>
          <a:noFill/>
          <a:ln>
            <a:noFill/>
          </a:ln>
        </p:spPr>
        <p:txBody>
          <a:bodyPr wrap="square" lIns="0" tIns="0" rIns="0" bIns="405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defTabSz="914400">
              <a:lnSpc>
                <a:spcPct val="90000"/>
              </a:lnSpc>
              <a:buSzPct val="25000"/>
            </a:pPr>
            <a:r>
              <a:rPr lang="fr-FR" sz="1200" b="1" kern="0">
                <a:solidFill>
                  <a:srgbClr val="00B050"/>
                </a:solidFill>
                <a:latin typeface="Arial" panose="020B0604020202020204" pitchFamily="34" charset="0"/>
                <a:ea typeface="Open Sans Light"/>
                <a:cs typeface="Open Sans Light"/>
                <a:sym typeface="Open Sans Light"/>
              </a:rPr>
              <a:t>Marche en double</a:t>
            </a:r>
          </a:p>
        </p:txBody>
      </p:sp>
      <p:sp>
        <p:nvSpPr>
          <p:cNvPr id="20" name="Shape 225">
            <a:extLst>
              <a:ext uri="{FF2B5EF4-FFF2-40B4-BE49-F238E27FC236}">
                <a16:creationId xmlns:a16="http://schemas.microsoft.com/office/drawing/2014/main" id="{79D09CD8-2EC7-4EB2-8831-15F6C86EF418}"/>
              </a:ext>
            </a:extLst>
          </p:cNvPr>
          <p:cNvSpPr/>
          <p:nvPr/>
        </p:nvSpPr>
        <p:spPr>
          <a:xfrm>
            <a:off x="6251740" y="4580595"/>
            <a:ext cx="2604869" cy="382318"/>
          </a:xfrm>
          <a:prstGeom prst="rect">
            <a:avLst/>
          </a:prstGeom>
          <a:noFill/>
          <a:ln>
            <a:noFill/>
          </a:ln>
        </p:spPr>
        <p:txBody>
          <a:bodyPr wrap="square" lIns="0" tIns="60750" rIns="2025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marL="171450" indent="-171450">
              <a:buClr>
                <a:schemeClr val="bg1">
                  <a:lumMod val="50000"/>
                </a:schemeClr>
              </a:buClr>
              <a:buSzPct val="75000"/>
              <a:buFont typeface="Arial" panose="020B0604020202020204" pitchFamily="34" charset="0"/>
              <a:buChar char="•"/>
            </a:pPr>
            <a:r>
              <a:rPr lang="fr-FR" sz="1000">
                <a:solidFill>
                  <a:schemeClr val="bg1">
                    <a:lumMod val="50000"/>
                  </a:schemeClr>
                </a:solidFill>
                <a:latin typeface="Arial" panose="020B0604020202020204" pitchFamily="34" charset="0"/>
                <a:sym typeface="Montserrat"/>
              </a:rPr>
              <a:t>Prise en charge de l’activité quotidienne en double par les entrants</a:t>
            </a:r>
            <a:endParaRPr lang="fr-FR" sz="1000">
              <a:solidFill>
                <a:schemeClr val="bg1">
                  <a:lumMod val="50000"/>
                </a:schemeClr>
              </a:solidFill>
              <a:latin typeface="Arial" panose="020B0604020202020204" pitchFamily="34" charset="0"/>
            </a:endParaRPr>
          </a:p>
          <a:p>
            <a:pPr marL="171450" indent="-171450">
              <a:buClr>
                <a:schemeClr val="bg1">
                  <a:lumMod val="50000"/>
                </a:schemeClr>
              </a:buClr>
              <a:buSzPct val="75000"/>
              <a:buFont typeface="Arial" panose="020B0604020202020204" pitchFamily="34" charset="0"/>
              <a:buChar char="•"/>
            </a:pPr>
            <a:r>
              <a:rPr lang="fr-FR" sz="1000">
                <a:solidFill>
                  <a:schemeClr val="bg1">
                    <a:lumMod val="50000"/>
                  </a:schemeClr>
                </a:solidFill>
                <a:latin typeface="Arial" panose="020B0604020202020204" pitchFamily="34" charset="0"/>
                <a:sym typeface="Montserrat"/>
              </a:rPr>
              <a:t>Prise en main des moyens techniques par les entrants</a:t>
            </a:r>
            <a:endParaRPr lang="fr-FR" sz="1000">
              <a:solidFill>
                <a:schemeClr val="bg1">
                  <a:lumMod val="50000"/>
                </a:schemeClr>
              </a:solidFill>
              <a:latin typeface="Arial" panose="020B0604020202020204" pitchFamily="34" charset="0"/>
            </a:endParaRPr>
          </a:p>
          <a:p>
            <a:pPr marL="171450" indent="-171450">
              <a:buClr>
                <a:schemeClr val="bg1">
                  <a:lumMod val="50000"/>
                </a:schemeClr>
              </a:buClr>
              <a:buSzPct val="75000"/>
              <a:buFont typeface="Arial" panose="020B0604020202020204" pitchFamily="34" charset="0"/>
              <a:buChar char="•"/>
            </a:pPr>
            <a:r>
              <a:rPr lang="fr-FR" sz="1000">
                <a:solidFill>
                  <a:schemeClr val="bg1">
                    <a:lumMod val="50000"/>
                  </a:schemeClr>
                </a:solidFill>
                <a:latin typeface="Arial" panose="020B0604020202020204" pitchFamily="34" charset="0"/>
                <a:sym typeface="Montserrat"/>
              </a:rPr>
              <a:t>Bilan quantitatif et qualitatif à demander aux équipes</a:t>
            </a:r>
            <a:endParaRPr lang="fr-FR" sz="1000">
              <a:solidFill>
                <a:schemeClr val="bg1">
                  <a:lumMod val="50000"/>
                </a:schemeClr>
              </a:solidFill>
              <a:latin typeface="Arial" panose="020B0604020202020204" pitchFamily="34" charset="0"/>
            </a:endParaRPr>
          </a:p>
          <a:p>
            <a:pPr marL="238125" lvl="1" indent="-171450">
              <a:buClr>
                <a:schemeClr val="bg1">
                  <a:lumMod val="50000"/>
                </a:schemeClr>
              </a:buClr>
              <a:buSzPct val="75000"/>
              <a:buFont typeface="Arial" panose="020B0604020202020204" pitchFamily="34" charset="0"/>
              <a:buChar char="•"/>
            </a:pPr>
            <a:endParaRPr lang="fr-FR" sz="300">
              <a:solidFill>
                <a:schemeClr val="bg1">
                  <a:lumMod val="50000"/>
                </a:schemeClr>
              </a:solidFill>
              <a:latin typeface="Arial" panose="020B0604020202020204" pitchFamily="34" charset="0"/>
              <a:ea typeface="Open Sans Light"/>
              <a:cs typeface="Open Sans Light"/>
              <a:sym typeface="Open Sans Light"/>
            </a:endParaRPr>
          </a:p>
        </p:txBody>
      </p:sp>
      <p:sp>
        <p:nvSpPr>
          <p:cNvPr id="21" name="Shape 224">
            <a:extLst>
              <a:ext uri="{FF2B5EF4-FFF2-40B4-BE49-F238E27FC236}">
                <a16:creationId xmlns:a16="http://schemas.microsoft.com/office/drawing/2014/main" id="{F34C9B0F-205B-427C-8D04-D1DC151CCB6C}"/>
              </a:ext>
            </a:extLst>
          </p:cNvPr>
          <p:cNvSpPr/>
          <p:nvPr/>
        </p:nvSpPr>
        <p:spPr>
          <a:xfrm>
            <a:off x="8895714" y="4491048"/>
            <a:ext cx="1868320" cy="377358"/>
          </a:xfrm>
          <a:prstGeom prst="rect">
            <a:avLst/>
          </a:prstGeom>
          <a:noFill/>
          <a:ln>
            <a:noFill/>
          </a:ln>
        </p:spPr>
        <p:txBody>
          <a:bodyPr wrap="square" lIns="0" tIns="0" rIns="0" bIns="405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643" b="0" i="0" u="none" strike="noStrike" cap="none">
                <a:solidFill>
                  <a:srgbClr val="000000"/>
                </a:solidFill>
                <a:latin typeface="Arial"/>
                <a:ea typeface="Arial"/>
                <a:cs typeface="Arial"/>
                <a:sym typeface="Arial"/>
              </a:defRPr>
            </a:lvl9pPr>
          </a:lstStyle>
          <a:p>
            <a:pPr>
              <a:lnSpc>
                <a:spcPts val="1200"/>
              </a:lnSpc>
              <a:buSzPct val="25000"/>
            </a:pPr>
            <a:r>
              <a:rPr lang="fr-FR" sz="1200" b="1">
                <a:solidFill>
                  <a:schemeClr val="accent3"/>
                </a:solidFill>
                <a:latin typeface="Arial" panose="020B0604020202020204" pitchFamily="34" charset="0"/>
                <a:ea typeface="Open Sans Light"/>
                <a:cs typeface="Open Sans Light"/>
                <a:sym typeface="Open Sans Light"/>
              </a:rPr>
              <a:t>Marche sous contrôle</a:t>
            </a:r>
          </a:p>
        </p:txBody>
      </p:sp>
      <p:pic>
        <p:nvPicPr>
          <p:cNvPr id="22" name="Graphique 21" descr="Document">
            <a:extLst>
              <a:ext uri="{FF2B5EF4-FFF2-40B4-BE49-F238E27FC236}">
                <a16:creationId xmlns:a16="http://schemas.microsoft.com/office/drawing/2014/main" id="{E0698EFC-E760-4FB2-8F66-65509136A8C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95714" y="5101950"/>
            <a:ext cx="361915" cy="361915"/>
          </a:xfrm>
          <a:prstGeom prst="rect">
            <a:avLst/>
          </a:prstGeom>
        </p:spPr>
      </p:pic>
      <p:sp>
        <p:nvSpPr>
          <p:cNvPr id="23" name="ZoneTexte 22">
            <a:extLst>
              <a:ext uri="{FF2B5EF4-FFF2-40B4-BE49-F238E27FC236}">
                <a16:creationId xmlns:a16="http://schemas.microsoft.com/office/drawing/2014/main" id="{63133E58-D4C0-4D1D-ABC3-6C7AEC43A20A}"/>
              </a:ext>
            </a:extLst>
          </p:cNvPr>
          <p:cNvSpPr txBox="1"/>
          <p:nvPr/>
        </p:nvSpPr>
        <p:spPr>
          <a:xfrm>
            <a:off x="9257629" y="5098241"/>
            <a:ext cx="1506405" cy="369332"/>
          </a:xfrm>
          <a:prstGeom prst="rect">
            <a:avLst/>
          </a:prstGeom>
          <a:noFill/>
        </p:spPr>
        <p:txBody>
          <a:bodyPr wrap="square" rtlCol="0">
            <a:spAutoFit/>
          </a:bodyPr>
          <a:lstStyle/>
          <a:p>
            <a:pPr>
              <a:buClrTx/>
              <a:buSzPct val="75000"/>
            </a:pPr>
            <a:r>
              <a:rPr lang="fr-FR" sz="900">
                <a:solidFill>
                  <a:schemeClr val="bg2">
                    <a:lumMod val="50000"/>
                  </a:schemeClr>
                </a:solidFill>
                <a:latin typeface="Arial" panose="020B0604020202020204" pitchFamily="34" charset="0"/>
              </a:rPr>
              <a:t>Bilan du transfert de compétences</a:t>
            </a:r>
          </a:p>
        </p:txBody>
      </p:sp>
      <p:sp>
        <p:nvSpPr>
          <p:cNvPr id="24" name="Flèche : pentagone 23">
            <a:extLst>
              <a:ext uri="{FF2B5EF4-FFF2-40B4-BE49-F238E27FC236}">
                <a16:creationId xmlns:a16="http://schemas.microsoft.com/office/drawing/2014/main" id="{0F743891-DE6D-4A16-9BAE-A925CF58E5FC}"/>
              </a:ext>
            </a:extLst>
          </p:cNvPr>
          <p:cNvSpPr/>
          <p:nvPr/>
        </p:nvSpPr>
        <p:spPr>
          <a:xfrm>
            <a:off x="3622093" y="3275859"/>
            <a:ext cx="3960000" cy="105356"/>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9pPr>
          </a:lstStyle>
          <a:p>
            <a:pPr algn="ctr"/>
            <a:endParaRPr lang="fr-FR" sz="1200">
              <a:latin typeface="Arial" panose="020B0604020202020204" pitchFamily="34" charset="0"/>
            </a:endParaRPr>
          </a:p>
        </p:txBody>
      </p:sp>
      <p:sp>
        <p:nvSpPr>
          <p:cNvPr id="25" name="Flèche : pentagone 24">
            <a:extLst>
              <a:ext uri="{FF2B5EF4-FFF2-40B4-BE49-F238E27FC236}">
                <a16:creationId xmlns:a16="http://schemas.microsoft.com/office/drawing/2014/main" id="{CB0BF4C7-6F52-493D-B08C-25E2A547533E}"/>
              </a:ext>
            </a:extLst>
          </p:cNvPr>
          <p:cNvSpPr/>
          <p:nvPr/>
        </p:nvSpPr>
        <p:spPr>
          <a:xfrm>
            <a:off x="6251740" y="4263663"/>
            <a:ext cx="2628000" cy="105356"/>
          </a:xfrm>
          <a:prstGeom prst="homePlat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643" b="0" i="0" u="none" strike="noStrike" cap="none">
                <a:solidFill>
                  <a:schemeClr val="lt1"/>
                </a:solidFill>
                <a:latin typeface="+mn-lt"/>
                <a:ea typeface="+mn-ea"/>
                <a:cs typeface="+mn-cs"/>
                <a:sym typeface="Arial"/>
              </a:defRPr>
            </a:lvl9pPr>
          </a:lstStyle>
          <a:p>
            <a:pPr algn="ctr"/>
            <a:endParaRPr lang="fr-FR" sz="1200">
              <a:latin typeface="Arial" panose="020B0604020202020204" pitchFamily="34" charset="0"/>
            </a:endParaRPr>
          </a:p>
        </p:txBody>
      </p:sp>
      <p:sp>
        <p:nvSpPr>
          <p:cNvPr id="26" name="object 46">
            <a:extLst>
              <a:ext uri="{FF2B5EF4-FFF2-40B4-BE49-F238E27FC236}">
                <a16:creationId xmlns:a16="http://schemas.microsoft.com/office/drawing/2014/main" id="{C5A5162C-CB6B-44F9-A3D6-D49674B01B03}"/>
              </a:ext>
            </a:extLst>
          </p:cNvPr>
          <p:cNvSpPr txBox="1"/>
          <p:nvPr/>
        </p:nvSpPr>
        <p:spPr>
          <a:xfrm>
            <a:off x="1229482" y="5754317"/>
            <a:ext cx="9992451" cy="636487"/>
          </a:xfrm>
          <a:prstGeom prst="roundRect">
            <a:avLst/>
          </a:prstGeom>
          <a:solidFill>
            <a:srgbClr val="44388A"/>
          </a:solidFill>
          <a:ln w="12700">
            <a:solidFill>
              <a:srgbClr val="2A00B1"/>
            </a:solidFill>
          </a:ln>
        </p:spPr>
        <p:txBody>
          <a:bodyPr vert="horz" wrap="square" lIns="0" tIns="3810" rIns="0" bIns="0" rtlCol="0" anchor="ctr">
            <a:noAutofit/>
          </a:bodyPr>
          <a:lstStyle/>
          <a:p>
            <a:pPr algn="ctr">
              <a:lnSpc>
                <a:spcPct val="100000"/>
              </a:lnSpc>
            </a:pPr>
            <a:r>
              <a:rPr lang="fr-FR" sz="1050" spc="-5">
                <a:solidFill>
                  <a:srgbClr val="FFFFFF"/>
                </a:solidFill>
                <a:latin typeface="+mj-lt"/>
                <a:cs typeface="Verdana"/>
              </a:rPr>
              <a:t>Tout au long de la mission, nos consultants s'attacheront à partager le plus possible la documentation produite sur le SharePoint du programme, dans une arborescente la plus intuitive possible. </a:t>
            </a:r>
          </a:p>
          <a:p>
            <a:pPr algn="ctr">
              <a:lnSpc>
                <a:spcPct val="100000"/>
              </a:lnSpc>
            </a:pPr>
            <a:r>
              <a:rPr lang="fr-FR" sz="1050" spc="-5">
                <a:solidFill>
                  <a:srgbClr val="FFFFFF"/>
                </a:solidFill>
                <a:latin typeface="+mj-lt"/>
                <a:cs typeface="Verdana"/>
              </a:rPr>
              <a:t>Par ailleurs, les travaux et prises de décisions sont réalisés de façon collective, afin de garantir la circulation et le partage de l'information.  </a:t>
            </a:r>
          </a:p>
        </p:txBody>
      </p:sp>
    </p:spTree>
    <p:extLst>
      <p:ext uri="{BB962C8B-B14F-4D97-AF65-F5344CB8AC3E}">
        <p14:creationId xmlns:p14="http://schemas.microsoft.com/office/powerpoint/2010/main" val="28604664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EC726EFD-207E-D242-96A7-386378208842}"/>
              </a:ext>
            </a:extLst>
          </p:cNvPr>
          <p:cNvSpPr>
            <a:spLocks noGrp="1"/>
          </p:cNvSpPr>
          <p:nvPr>
            <p:ph type="title"/>
          </p:nvPr>
        </p:nvSpPr>
        <p:spPr/>
        <p:txBody>
          <a:bodyPr/>
          <a:lstStyle/>
          <a:p>
            <a:r>
              <a:rPr lang="fr-FR"/>
              <a:t>Livrables envisagés pour la mission et indicateurs</a:t>
            </a:r>
          </a:p>
        </p:txBody>
      </p:sp>
      <p:sp>
        <p:nvSpPr>
          <p:cNvPr id="3" name="Espace réservé du pied de page 2">
            <a:extLst>
              <a:ext uri="{FF2B5EF4-FFF2-40B4-BE49-F238E27FC236}">
                <a16:creationId xmlns:a16="http://schemas.microsoft.com/office/drawing/2014/main" id="{5143277C-8A2D-274A-88DA-45F78F8B01D0}"/>
              </a:ext>
            </a:extLst>
          </p:cNvPr>
          <p:cNvSpPr>
            <a:spLocks noGrp="1"/>
          </p:cNvSpPr>
          <p:nvPr>
            <p:ph type="ftr" idx="11"/>
          </p:nvPr>
        </p:nvSpPr>
        <p:spPr/>
        <p:txBody>
          <a:bodyPr/>
          <a:lstStyle/>
          <a:p>
            <a:endParaRPr lang="fr-FR"/>
          </a:p>
        </p:txBody>
      </p:sp>
    </p:spTree>
    <p:extLst>
      <p:ext uri="{BB962C8B-B14F-4D97-AF65-F5344CB8AC3E}">
        <p14:creationId xmlns:p14="http://schemas.microsoft.com/office/powerpoint/2010/main" val="27494529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1">
            <a:extLst>
              <a:ext uri="{FF2B5EF4-FFF2-40B4-BE49-F238E27FC236}">
                <a16:creationId xmlns:a16="http://schemas.microsoft.com/office/drawing/2014/main" id="{B1D764E1-3BDB-3442-095C-D35FC116C602}"/>
              </a:ext>
            </a:extLst>
          </p:cNvPr>
          <p:cNvSpPr>
            <a:spLocks noGrp="1"/>
          </p:cNvSpPr>
          <p:nvPr>
            <p:ph type="title"/>
          </p:nvPr>
        </p:nvSpPr>
        <p:spPr>
          <a:xfrm>
            <a:off x="396655" y="292153"/>
            <a:ext cx="9907072" cy="407795"/>
          </a:xfrm>
        </p:spPr>
        <p:txBody>
          <a:bodyPr/>
          <a:lstStyle/>
          <a:p>
            <a:r>
              <a:rPr lang="fr-FR" sz="1600"/>
              <a:t>1. ORGANISER ET PILOTER LES FORMATIONS ET L’APPROPRIATION</a:t>
            </a:r>
            <a:br>
              <a:rPr lang="fr-FR" sz="1600"/>
            </a:br>
            <a:r>
              <a:rPr lang="fr-FR" sz="1600"/>
              <a:t>Exemples de livrables et indicateurs</a:t>
            </a:r>
            <a:endParaRPr lang="fr-FR"/>
          </a:p>
        </p:txBody>
      </p:sp>
      <p:pic>
        <p:nvPicPr>
          <p:cNvPr id="10" name="Image 9">
            <a:extLst>
              <a:ext uri="{FF2B5EF4-FFF2-40B4-BE49-F238E27FC236}">
                <a16:creationId xmlns:a16="http://schemas.microsoft.com/office/drawing/2014/main" id="{15F60516-506D-49D9-E494-4C22DD299EE4}"/>
              </a:ext>
            </a:extLst>
          </p:cNvPr>
          <p:cNvPicPr>
            <a:picLocks noChangeAspect="1"/>
          </p:cNvPicPr>
          <p:nvPr/>
        </p:nvPicPr>
        <p:blipFill>
          <a:blip r:embed="rId2"/>
          <a:stretch>
            <a:fillRect/>
          </a:stretch>
        </p:blipFill>
        <p:spPr>
          <a:xfrm>
            <a:off x="5604703" y="1779080"/>
            <a:ext cx="5791993" cy="2858338"/>
          </a:xfrm>
          <a:prstGeom prst="rect">
            <a:avLst/>
          </a:prstGeom>
          <a:ln>
            <a:noFill/>
          </a:ln>
          <a:effectLst>
            <a:outerShdw blurRad="292100" dist="139700" dir="2700000" algn="tl" rotWithShape="0">
              <a:srgbClr val="333333">
                <a:alpha val="65000"/>
              </a:srgbClr>
            </a:outerShdw>
          </a:effectLst>
        </p:spPr>
      </p:pic>
      <p:sp>
        <p:nvSpPr>
          <p:cNvPr id="12" name="ZoneTexte 11">
            <a:extLst>
              <a:ext uri="{FF2B5EF4-FFF2-40B4-BE49-F238E27FC236}">
                <a16:creationId xmlns:a16="http://schemas.microsoft.com/office/drawing/2014/main" id="{6119C6BA-2AB4-E701-C1B1-72263835FDF4}"/>
              </a:ext>
            </a:extLst>
          </p:cNvPr>
          <p:cNvSpPr txBox="1"/>
          <p:nvPr/>
        </p:nvSpPr>
        <p:spPr>
          <a:xfrm>
            <a:off x="5589137" y="1356457"/>
            <a:ext cx="5823126" cy="461665"/>
          </a:xfrm>
          <a:prstGeom prst="rect">
            <a:avLst/>
          </a:prstGeom>
          <a:noFill/>
        </p:spPr>
        <p:txBody>
          <a:bodyPr wrap="square" rtlCol="0">
            <a:spAutoFit/>
          </a:bodyPr>
          <a:lstStyle>
            <a:defPPr marR="0" lvl="0" algn="l" rtl="0">
              <a:lnSpc>
                <a:spcPct val="100000"/>
              </a:lnSpc>
              <a:spcBef>
                <a:spcPts val="0"/>
              </a:spcBef>
              <a:spcAft>
                <a:spcPts val="0"/>
              </a:spcAft>
            </a:defPPr>
            <a:lvl1pPr marL="0" indent="0" defTabSz="914400" eaLnBrk="1" fontAlgn="auto" latinLnBrk="0" hangingPunct="1">
              <a:buSzTx/>
              <a:buNone/>
              <a:tabLst/>
              <a:defRPr sz="1600" i="1">
                <a:solidFill>
                  <a:srgbClr val="000000">
                    <a:lumMod val="60000"/>
                    <a:lumOff val="40000"/>
                  </a:srgbClr>
                </a:solidFill>
              </a:defRPr>
            </a:lvl1pPr>
          </a:lstStyle>
          <a:p>
            <a:pPr algn="ctr"/>
            <a:r>
              <a:rPr lang="fr-FR" sz="1200"/>
              <a:t>Le baromètre ICAP - Mesure des niveaux d’Information, de Compréhension, d’Adhésion et de Participation</a:t>
            </a:r>
          </a:p>
        </p:txBody>
      </p:sp>
      <p:sp>
        <p:nvSpPr>
          <p:cNvPr id="13" name="ZoneTexte 12">
            <a:extLst>
              <a:ext uri="{FF2B5EF4-FFF2-40B4-BE49-F238E27FC236}">
                <a16:creationId xmlns:a16="http://schemas.microsoft.com/office/drawing/2014/main" id="{4D3430F3-826E-7FCC-722A-3961E5CF58D2}"/>
              </a:ext>
            </a:extLst>
          </p:cNvPr>
          <p:cNvSpPr txBox="1"/>
          <p:nvPr/>
        </p:nvSpPr>
        <p:spPr>
          <a:xfrm>
            <a:off x="1257813" y="5256060"/>
            <a:ext cx="3009140" cy="646331"/>
          </a:xfrm>
          <a:prstGeom prst="rect">
            <a:avLst/>
          </a:prstGeom>
          <a:noFill/>
        </p:spPr>
        <p:txBody>
          <a:bodyPr wrap="square" rtlCol="0">
            <a:spAutoFit/>
          </a:bodyPr>
          <a:lstStyle>
            <a:defPPr marR="0" lvl="0" algn="l" rtl="0">
              <a:lnSpc>
                <a:spcPct val="100000"/>
              </a:lnSpc>
              <a:spcBef>
                <a:spcPts val="0"/>
              </a:spcBef>
              <a:spcAft>
                <a:spcPts val="0"/>
              </a:spcAft>
            </a:defPPr>
            <a:lvl1pPr marL="0" indent="0" defTabSz="914400" eaLnBrk="1" fontAlgn="auto" latinLnBrk="0" hangingPunct="1">
              <a:buSzTx/>
              <a:buNone/>
              <a:tabLst/>
              <a:defRPr sz="1600" i="1">
                <a:solidFill>
                  <a:srgbClr val="000000">
                    <a:lumMod val="60000"/>
                    <a:lumOff val="40000"/>
                  </a:srgbClr>
                </a:solidFill>
              </a:defRPr>
            </a:lvl1pPr>
          </a:lstStyle>
          <a:p>
            <a:pPr algn="r"/>
            <a:r>
              <a:rPr lang="fr-FR" sz="1200"/>
              <a:t>Avancement du déroulé de l’avancement des formations et des évaluations par ligne, par module et par population</a:t>
            </a:r>
          </a:p>
        </p:txBody>
      </p:sp>
      <p:pic>
        <p:nvPicPr>
          <p:cNvPr id="16" name="Image 15">
            <a:extLst>
              <a:ext uri="{FF2B5EF4-FFF2-40B4-BE49-F238E27FC236}">
                <a16:creationId xmlns:a16="http://schemas.microsoft.com/office/drawing/2014/main" id="{A0A2335B-ABD3-00E1-2275-769D42F405D3}"/>
              </a:ext>
            </a:extLst>
          </p:cNvPr>
          <p:cNvPicPr>
            <a:picLocks noChangeAspect="1"/>
          </p:cNvPicPr>
          <p:nvPr/>
        </p:nvPicPr>
        <p:blipFill>
          <a:blip r:embed="rId3"/>
          <a:stretch>
            <a:fillRect/>
          </a:stretch>
        </p:blipFill>
        <p:spPr>
          <a:xfrm>
            <a:off x="4333670" y="4767389"/>
            <a:ext cx="2916989" cy="1468307"/>
          </a:xfrm>
          <a:prstGeom prst="rect">
            <a:avLst/>
          </a:prstGeom>
          <a:ln>
            <a:noFill/>
          </a:ln>
          <a:effectLst>
            <a:outerShdw blurRad="292100" dist="139700" dir="2700000" algn="tl" rotWithShape="0">
              <a:srgbClr val="333333">
                <a:alpha val="65000"/>
              </a:srgbClr>
            </a:outerShdw>
          </a:effectLst>
        </p:spPr>
      </p:pic>
      <p:sp>
        <p:nvSpPr>
          <p:cNvPr id="19" name="ZoneTexte 18">
            <a:extLst>
              <a:ext uri="{FF2B5EF4-FFF2-40B4-BE49-F238E27FC236}">
                <a16:creationId xmlns:a16="http://schemas.microsoft.com/office/drawing/2014/main" id="{59771979-E362-5502-1EB8-F416F8860057}"/>
              </a:ext>
            </a:extLst>
          </p:cNvPr>
          <p:cNvSpPr txBox="1"/>
          <p:nvPr/>
        </p:nvSpPr>
        <p:spPr>
          <a:xfrm>
            <a:off x="668179" y="4024032"/>
            <a:ext cx="4507363" cy="461665"/>
          </a:xfrm>
          <a:prstGeom prst="rect">
            <a:avLst/>
          </a:prstGeom>
          <a:noFill/>
        </p:spPr>
        <p:txBody>
          <a:bodyPr wrap="square" rtlCol="0">
            <a:spAutoFit/>
          </a:bodyPr>
          <a:lstStyle>
            <a:defPPr marR="0" lvl="0" algn="l" rtl="0">
              <a:lnSpc>
                <a:spcPct val="100000"/>
              </a:lnSpc>
              <a:spcBef>
                <a:spcPts val="0"/>
              </a:spcBef>
              <a:spcAft>
                <a:spcPts val="0"/>
              </a:spcAft>
            </a:defPPr>
            <a:lvl1pPr marL="0" indent="0" defTabSz="914400" eaLnBrk="1" fontAlgn="auto" latinLnBrk="0" hangingPunct="1">
              <a:buSzTx/>
              <a:buNone/>
              <a:tabLst/>
              <a:defRPr sz="1600" i="1">
                <a:solidFill>
                  <a:srgbClr val="000000">
                    <a:lumMod val="60000"/>
                    <a:lumOff val="40000"/>
                  </a:srgbClr>
                </a:solidFill>
              </a:defRPr>
            </a:lvl1pPr>
          </a:lstStyle>
          <a:p>
            <a:pPr algn="ctr"/>
            <a:r>
              <a:rPr lang="fr-FR" sz="1200"/>
              <a:t>Plan de formation qui prend en compte les lignes, les phases de déploiement, les modules et les sessions à animer</a:t>
            </a:r>
          </a:p>
        </p:txBody>
      </p:sp>
      <p:pic>
        <p:nvPicPr>
          <p:cNvPr id="21" name="Image 20">
            <a:extLst>
              <a:ext uri="{FF2B5EF4-FFF2-40B4-BE49-F238E27FC236}">
                <a16:creationId xmlns:a16="http://schemas.microsoft.com/office/drawing/2014/main" id="{D78B97C5-3381-3736-0449-CEDE6B46C9B6}"/>
              </a:ext>
            </a:extLst>
          </p:cNvPr>
          <p:cNvPicPr>
            <a:picLocks noChangeAspect="1"/>
          </p:cNvPicPr>
          <p:nvPr/>
        </p:nvPicPr>
        <p:blipFill>
          <a:blip r:embed="rId4"/>
          <a:stretch>
            <a:fillRect/>
          </a:stretch>
        </p:blipFill>
        <p:spPr>
          <a:xfrm>
            <a:off x="699908" y="1471340"/>
            <a:ext cx="4443907" cy="23946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370920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Chart Placeholder 15">
            <a:extLst>
              <a:ext uri="{FF2B5EF4-FFF2-40B4-BE49-F238E27FC236}">
                <a16:creationId xmlns:a16="http://schemas.microsoft.com/office/drawing/2014/main" id="{E5AF960F-DC31-A037-BDB4-3FFE1F3C0BEB}"/>
              </a:ext>
            </a:extLst>
          </p:cNvPr>
          <p:cNvGraphicFramePr>
            <a:graphicFrameLocks/>
          </p:cNvGraphicFramePr>
          <p:nvPr>
            <p:extLst>
              <p:ext uri="{D42A27DB-BD31-4B8C-83A1-F6EECF244321}">
                <p14:modId xmlns:p14="http://schemas.microsoft.com/office/powerpoint/2010/main" val="3030864270"/>
              </p:ext>
            </p:extLst>
          </p:nvPr>
        </p:nvGraphicFramePr>
        <p:xfrm>
          <a:off x="6798114" y="4658884"/>
          <a:ext cx="1499034" cy="22978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3" name="Chart Placeholder 15">
            <a:extLst>
              <a:ext uri="{FF2B5EF4-FFF2-40B4-BE49-F238E27FC236}">
                <a16:creationId xmlns:a16="http://schemas.microsoft.com/office/drawing/2014/main" id="{54434CC1-C10C-3803-7B30-B73447BF7C14}"/>
              </a:ext>
            </a:extLst>
          </p:cNvPr>
          <p:cNvGraphicFramePr>
            <a:graphicFrameLocks/>
          </p:cNvGraphicFramePr>
          <p:nvPr>
            <p:extLst>
              <p:ext uri="{D42A27DB-BD31-4B8C-83A1-F6EECF244321}">
                <p14:modId xmlns:p14="http://schemas.microsoft.com/office/powerpoint/2010/main" val="1863575103"/>
              </p:ext>
            </p:extLst>
          </p:nvPr>
        </p:nvGraphicFramePr>
        <p:xfrm>
          <a:off x="6609210" y="4557687"/>
          <a:ext cx="1499034" cy="2297861"/>
        </p:xfrm>
        <a:graphic>
          <a:graphicData uri="http://schemas.openxmlformats.org/drawingml/2006/chart">
            <c:chart xmlns:c="http://schemas.openxmlformats.org/drawingml/2006/chart" xmlns:r="http://schemas.openxmlformats.org/officeDocument/2006/relationships" r:id="rId4"/>
          </a:graphicData>
        </a:graphic>
      </p:graphicFrame>
      <p:sp>
        <p:nvSpPr>
          <p:cNvPr id="7" name="Titre 1">
            <a:extLst>
              <a:ext uri="{FF2B5EF4-FFF2-40B4-BE49-F238E27FC236}">
                <a16:creationId xmlns:a16="http://schemas.microsoft.com/office/drawing/2014/main" id="{B1D764E1-3BDB-3442-095C-D35FC116C602}"/>
              </a:ext>
            </a:extLst>
          </p:cNvPr>
          <p:cNvSpPr>
            <a:spLocks noGrp="1"/>
          </p:cNvSpPr>
          <p:nvPr>
            <p:ph type="title"/>
          </p:nvPr>
        </p:nvSpPr>
        <p:spPr>
          <a:xfrm>
            <a:off x="396655" y="292153"/>
            <a:ext cx="9907072" cy="407795"/>
          </a:xfrm>
        </p:spPr>
        <p:txBody>
          <a:bodyPr/>
          <a:lstStyle/>
          <a:p>
            <a:r>
              <a:rPr lang="fr-FR" sz="1600"/>
              <a:t>2. PRÉPARER ET ANIMER LES FORMATIONS</a:t>
            </a:r>
            <a:br>
              <a:rPr lang="fr-FR" sz="1600"/>
            </a:br>
            <a:r>
              <a:rPr lang="fr-FR" sz="1600"/>
              <a:t>Exemples de livrables et indicateurs</a:t>
            </a:r>
            <a:endParaRPr lang="fr-FR"/>
          </a:p>
        </p:txBody>
      </p:sp>
      <p:pic>
        <p:nvPicPr>
          <p:cNvPr id="16" name="Picture 4" descr="Klaxoon : un outil de formation en ligne ? – L'atelier du formateur">
            <a:extLst>
              <a:ext uri="{FF2B5EF4-FFF2-40B4-BE49-F238E27FC236}">
                <a16:creationId xmlns:a16="http://schemas.microsoft.com/office/drawing/2014/main" id="{83A8800E-F78B-00D4-BFB4-41AF7C9E9D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608" y="1193346"/>
            <a:ext cx="1940246" cy="1456926"/>
          </a:xfrm>
          <a:prstGeom prst="rect">
            <a:avLst/>
          </a:prstGeom>
          <a:noFill/>
          <a:ln>
            <a:solidFill>
              <a:schemeClr val="bg1">
                <a:lumMod val="7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9" name="Image 28">
            <a:extLst>
              <a:ext uri="{FF2B5EF4-FFF2-40B4-BE49-F238E27FC236}">
                <a16:creationId xmlns:a16="http://schemas.microsoft.com/office/drawing/2014/main" id="{5A1FE5AC-D7BE-64DB-0A7C-88E1B3372E28}"/>
              </a:ext>
            </a:extLst>
          </p:cNvPr>
          <p:cNvPicPr>
            <a:picLocks noChangeAspect="1"/>
          </p:cNvPicPr>
          <p:nvPr/>
        </p:nvPicPr>
        <p:blipFill>
          <a:blip r:embed="rId6"/>
          <a:stretch>
            <a:fillRect/>
          </a:stretch>
        </p:blipFill>
        <p:spPr>
          <a:xfrm>
            <a:off x="1478853" y="3570731"/>
            <a:ext cx="2130362" cy="2749532"/>
          </a:xfrm>
          <a:prstGeom prst="rect">
            <a:avLst/>
          </a:prstGeom>
          <a:ln>
            <a:noFill/>
          </a:ln>
          <a:effectLst>
            <a:outerShdw blurRad="292100" dist="139700" dir="2700000" algn="tl" rotWithShape="0">
              <a:srgbClr val="333333">
                <a:alpha val="65000"/>
              </a:srgbClr>
            </a:outerShdw>
          </a:effectLst>
        </p:spPr>
      </p:pic>
      <p:graphicFrame>
        <p:nvGraphicFramePr>
          <p:cNvPr id="30" name="Chart Placeholder 15">
            <a:extLst>
              <a:ext uri="{FF2B5EF4-FFF2-40B4-BE49-F238E27FC236}">
                <a16:creationId xmlns:a16="http://schemas.microsoft.com/office/drawing/2014/main" id="{0653095D-D675-1794-BB3C-2D6FBC2C9B7C}"/>
              </a:ext>
            </a:extLst>
          </p:cNvPr>
          <p:cNvGraphicFramePr>
            <a:graphicFrameLocks/>
          </p:cNvGraphicFramePr>
          <p:nvPr>
            <p:extLst>
              <p:ext uri="{D42A27DB-BD31-4B8C-83A1-F6EECF244321}">
                <p14:modId xmlns:p14="http://schemas.microsoft.com/office/powerpoint/2010/main" val="1959604667"/>
              </p:ext>
            </p:extLst>
          </p:nvPr>
        </p:nvGraphicFramePr>
        <p:xfrm>
          <a:off x="6408427" y="1126296"/>
          <a:ext cx="1491862" cy="22978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1" name="Chart Placeholder 15">
            <a:extLst>
              <a:ext uri="{FF2B5EF4-FFF2-40B4-BE49-F238E27FC236}">
                <a16:creationId xmlns:a16="http://schemas.microsoft.com/office/drawing/2014/main" id="{D4C9B5F3-22CB-5C02-8122-6E93BE133F49}"/>
              </a:ext>
            </a:extLst>
          </p:cNvPr>
          <p:cNvGraphicFramePr>
            <a:graphicFrameLocks/>
          </p:cNvGraphicFramePr>
          <p:nvPr>
            <p:extLst>
              <p:ext uri="{D42A27DB-BD31-4B8C-83A1-F6EECF244321}">
                <p14:modId xmlns:p14="http://schemas.microsoft.com/office/powerpoint/2010/main" val="1096726238"/>
              </p:ext>
            </p:extLst>
          </p:nvPr>
        </p:nvGraphicFramePr>
        <p:xfrm>
          <a:off x="6401255" y="2788218"/>
          <a:ext cx="1499034" cy="229786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2" name="Chart Placeholder 15">
            <a:extLst>
              <a:ext uri="{FF2B5EF4-FFF2-40B4-BE49-F238E27FC236}">
                <a16:creationId xmlns:a16="http://schemas.microsoft.com/office/drawing/2014/main" id="{A4A10369-4892-88B0-D298-CA956E36D1E3}"/>
              </a:ext>
            </a:extLst>
          </p:cNvPr>
          <p:cNvGraphicFramePr>
            <a:graphicFrameLocks/>
          </p:cNvGraphicFramePr>
          <p:nvPr>
            <p:extLst>
              <p:ext uri="{D42A27DB-BD31-4B8C-83A1-F6EECF244321}">
                <p14:modId xmlns:p14="http://schemas.microsoft.com/office/powerpoint/2010/main" val="1360589599"/>
              </p:ext>
            </p:extLst>
          </p:nvPr>
        </p:nvGraphicFramePr>
        <p:xfrm>
          <a:off x="6408427" y="4450140"/>
          <a:ext cx="1491862" cy="2297861"/>
        </p:xfrm>
        <a:graphic>
          <a:graphicData uri="http://schemas.openxmlformats.org/drawingml/2006/chart">
            <c:chart xmlns:c="http://schemas.openxmlformats.org/drawingml/2006/chart" xmlns:r="http://schemas.openxmlformats.org/officeDocument/2006/relationships" r:id="rId9"/>
          </a:graphicData>
        </a:graphic>
      </p:graphicFrame>
      <p:sp>
        <p:nvSpPr>
          <p:cNvPr id="45" name="Ellipse 44">
            <a:extLst>
              <a:ext uri="{FF2B5EF4-FFF2-40B4-BE49-F238E27FC236}">
                <a16:creationId xmlns:a16="http://schemas.microsoft.com/office/drawing/2014/main" id="{2F2DD741-43E3-EC5E-889C-ECC9F8098E61}"/>
              </a:ext>
            </a:extLst>
          </p:cNvPr>
          <p:cNvSpPr/>
          <p:nvPr/>
        </p:nvSpPr>
        <p:spPr>
          <a:xfrm>
            <a:off x="6654800" y="4856487"/>
            <a:ext cx="990600" cy="9734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extBox 18">
            <a:extLst>
              <a:ext uri="{FF2B5EF4-FFF2-40B4-BE49-F238E27FC236}">
                <a16:creationId xmlns:a16="http://schemas.microsoft.com/office/drawing/2014/main" id="{E5E017AF-5130-87DD-AEE0-62A3B14F1572}"/>
              </a:ext>
            </a:extLst>
          </p:cNvPr>
          <p:cNvSpPr txBox="1"/>
          <p:nvPr/>
        </p:nvSpPr>
        <p:spPr bwMode="gray">
          <a:xfrm>
            <a:off x="6758308" y="1886749"/>
            <a:ext cx="806903" cy="307777"/>
          </a:xfrm>
          <a:prstGeom prst="rect">
            <a:avLst/>
          </a:prstGeom>
          <a:noFill/>
        </p:spPr>
        <p:txBody>
          <a:bodyPr wrap="square" lIns="0" tIns="0" rIns="0" bIns="0" rtlCol="0" anchor="ctr">
            <a:spAutoFit/>
          </a:bodyPr>
          <a:lstStyle/>
          <a:p>
            <a:pPr algn="ctr"/>
            <a:r>
              <a:rPr lang="en-US" sz="2000">
                <a:solidFill>
                  <a:schemeClr val="accent2"/>
                </a:solidFill>
              </a:rPr>
              <a:t>68%</a:t>
            </a:r>
          </a:p>
        </p:txBody>
      </p:sp>
      <p:sp>
        <p:nvSpPr>
          <p:cNvPr id="34" name="TextBox 19">
            <a:extLst>
              <a:ext uri="{FF2B5EF4-FFF2-40B4-BE49-F238E27FC236}">
                <a16:creationId xmlns:a16="http://schemas.microsoft.com/office/drawing/2014/main" id="{226391AC-8199-24EF-F086-6532C4A4836A}"/>
              </a:ext>
            </a:extLst>
          </p:cNvPr>
          <p:cNvSpPr txBox="1"/>
          <p:nvPr/>
        </p:nvSpPr>
        <p:spPr bwMode="gray">
          <a:xfrm>
            <a:off x="6758308" y="3526366"/>
            <a:ext cx="806903" cy="307777"/>
          </a:xfrm>
          <a:prstGeom prst="rect">
            <a:avLst/>
          </a:prstGeom>
          <a:noFill/>
        </p:spPr>
        <p:txBody>
          <a:bodyPr wrap="square" lIns="0" tIns="0" rIns="0" bIns="0" rtlCol="0" anchor="ctr">
            <a:spAutoFit/>
          </a:bodyPr>
          <a:lstStyle/>
          <a:p>
            <a:pPr algn="ctr"/>
            <a:r>
              <a:rPr lang="en-US" sz="2000">
                <a:solidFill>
                  <a:schemeClr val="accent4"/>
                </a:solidFill>
              </a:rPr>
              <a:t>32%</a:t>
            </a:r>
          </a:p>
        </p:txBody>
      </p:sp>
      <p:sp>
        <p:nvSpPr>
          <p:cNvPr id="35" name="TextBox 20">
            <a:extLst>
              <a:ext uri="{FF2B5EF4-FFF2-40B4-BE49-F238E27FC236}">
                <a16:creationId xmlns:a16="http://schemas.microsoft.com/office/drawing/2014/main" id="{FA9835E0-ED4E-92B7-FBE1-8CEC28094123}"/>
              </a:ext>
            </a:extLst>
          </p:cNvPr>
          <p:cNvSpPr txBox="1"/>
          <p:nvPr/>
        </p:nvSpPr>
        <p:spPr bwMode="gray">
          <a:xfrm>
            <a:off x="6758308" y="5205750"/>
            <a:ext cx="806903" cy="307777"/>
          </a:xfrm>
          <a:prstGeom prst="rect">
            <a:avLst/>
          </a:prstGeom>
          <a:noFill/>
        </p:spPr>
        <p:txBody>
          <a:bodyPr wrap="square" lIns="0" tIns="0" rIns="0" bIns="0" rtlCol="0" anchor="ctr">
            <a:spAutoFit/>
          </a:bodyPr>
          <a:lstStyle/>
          <a:p>
            <a:pPr algn="ctr"/>
            <a:r>
              <a:rPr lang="en-US" sz="2000">
                <a:solidFill>
                  <a:schemeClr val="accent2"/>
                </a:solidFill>
              </a:rPr>
              <a:t>18%</a:t>
            </a:r>
          </a:p>
        </p:txBody>
      </p:sp>
      <p:sp>
        <p:nvSpPr>
          <p:cNvPr id="36" name="ZoneTexte 35">
            <a:extLst>
              <a:ext uri="{FF2B5EF4-FFF2-40B4-BE49-F238E27FC236}">
                <a16:creationId xmlns:a16="http://schemas.microsoft.com/office/drawing/2014/main" id="{AE792E10-F664-DB8A-7941-7E986E6491BA}"/>
              </a:ext>
            </a:extLst>
          </p:cNvPr>
          <p:cNvSpPr txBox="1"/>
          <p:nvPr/>
        </p:nvSpPr>
        <p:spPr>
          <a:xfrm>
            <a:off x="8367678" y="1324906"/>
            <a:ext cx="3060000" cy="1548000"/>
          </a:xfrm>
          <a:prstGeom prst="rect">
            <a:avLst/>
          </a:prstGeom>
          <a:noFill/>
        </p:spPr>
        <p:txBody>
          <a:bodyPr wrap="square" rtlCol="0">
            <a:noAutofit/>
          </a:bodyPr>
          <a:lstStyle>
            <a:defPPr marR="0" lvl="0" algn="l" rtl="0">
              <a:lnSpc>
                <a:spcPct val="100000"/>
              </a:lnSpc>
              <a:spcBef>
                <a:spcPts val="0"/>
              </a:spcBef>
              <a:spcAft>
                <a:spcPts val="0"/>
              </a:spcAft>
            </a:defPPr>
            <a:lvl1pPr marL="0" indent="0" defTabSz="914400" eaLnBrk="1" fontAlgn="auto" latinLnBrk="0" hangingPunct="1">
              <a:buSzTx/>
              <a:buNone/>
              <a:tabLst/>
              <a:defRPr sz="1600" i="1">
                <a:solidFill>
                  <a:srgbClr val="000000">
                    <a:lumMod val="60000"/>
                    <a:lumOff val="40000"/>
                  </a:srgbClr>
                </a:solidFill>
              </a:defRPr>
            </a:lvl1pPr>
          </a:lstStyle>
          <a:p>
            <a:r>
              <a:rPr lang="fr-FR" sz="1200"/>
              <a:t>Taux de présence des stagiaires prévus en session</a:t>
            </a:r>
          </a:p>
          <a:p>
            <a:pPr marL="171450" indent="-171450">
              <a:buFont typeface="Wingdings" panose="05000000000000000000" pitchFamily="2" charset="2"/>
              <a:buChar char="à"/>
            </a:pPr>
            <a:r>
              <a:rPr lang="fr-FR" sz="1200">
                <a:sym typeface="Wingdings" panose="05000000000000000000" pitchFamily="2" charset="2"/>
              </a:rPr>
              <a:t>Qualification de l’absentéisme</a:t>
            </a:r>
          </a:p>
          <a:p>
            <a:r>
              <a:rPr lang="fr-FR" sz="1200">
                <a:sym typeface="Wingdings" panose="05000000000000000000" pitchFamily="2" charset="2"/>
              </a:rPr>
              <a:t>Afin de mesurer l’adhésion, la bonté de la démarche et l’éventuelle nécessité de lancer des actions pour réussir à tenir le planning</a:t>
            </a:r>
            <a:endParaRPr lang="fr-FR" sz="1200"/>
          </a:p>
        </p:txBody>
      </p:sp>
      <p:sp>
        <p:nvSpPr>
          <p:cNvPr id="37" name="ZoneTexte 36">
            <a:extLst>
              <a:ext uri="{FF2B5EF4-FFF2-40B4-BE49-F238E27FC236}">
                <a16:creationId xmlns:a16="http://schemas.microsoft.com/office/drawing/2014/main" id="{602B46CA-C3D7-39F0-E8B7-F889003583F8}"/>
              </a:ext>
            </a:extLst>
          </p:cNvPr>
          <p:cNvSpPr txBox="1"/>
          <p:nvPr/>
        </p:nvSpPr>
        <p:spPr>
          <a:xfrm>
            <a:off x="8367678" y="3012101"/>
            <a:ext cx="3060000" cy="1548000"/>
          </a:xfrm>
          <a:prstGeom prst="rect">
            <a:avLst/>
          </a:prstGeom>
          <a:noFill/>
        </p:spPr>
        <p:txBody>
          <a:bodyPr wrap="square" rtlCol="0">
            <a:noAutofit/>
          </a:bodyPr>
          <a:lstStyle>
            <a:defPPr marR="0" lvl="0" algn="l" rtl="0">
              <a:lnSpc>
                <a:spcPct val="100000"/>
              </a:lnSpc>
              <a:spcBef>
                <a:spcPts val="0"/>
              </a:spcBef>
              <a:spcAft>
                <a:spcPts val="0"/>
              </a:spcAft>
            </a:defPPr>
            <a:lvl1pPr marL="0" indent="0" defTabSz="914400" eaLnBrk="1" fontAlgn="auto" latinLnBrk="0" hangingPunct="1">
              <a:buSzTx/>
              <a:buNone/>
              <a:tabLst/>
              <a:defRPr sz="1600" i="1">
                <a:solidFill>
                  <a:srgbClr val="000000">
                    <a:lumMod val="60000"/>
                    <a:lumOff val="40000"/>
                  </a:srgbClr>
                </a:solidFill>
              </a:defRPr>
            </a:lvl1pPr>
          </a:lstStyle>
          <a:p>
            <a:r>
              <a:rPr lang="fr-FR" sz="1200"/>
              <a:t>Taux de remplissage des sessions</a:t>
            </a:r>
          </a:p>
          <a:p>
            <a:pPr marL="171450" indent="-171450">
              <a:buFont typeface="Wingdings" panose="05000000000000000000" pitchFamily="2" charset="2"/>
              <a:buChar char="à"/>
            </a:pPr>
            <a:r>
              <a:rPr lang="fr-FR" sz="1200">
                <a:sym typeface="Wingdings" panose="05000000000000000000" pitchFamily="2" charset="2"/>
              </a:rPr>
              <a:t>Qualification de la « rentabilité » des sessions </a:t>
            </a:r>
          </a:p>
          <a:p>
            <a:r>
              <a:rPr lang="fr-FR" sz="1200">
                <a:sym typeface="Wingdings" panose="05000000000000000000" pitchFamily="2" charset="2"/>
              </a:rPr>
              <a:t>Afin de mesurer le ROI de la démarche et d’identifier des éventuelles optimisations à mener</a:t>
            </a:r>
            <a:endParaRPr lang="fr-FR" sz="1200"/>
          </a:p>
        </p:txBody>
      </p:sp>
      <p:sp>
        <p:nvSpPr>
          <p:cNvPr id="40" name="ZoneTexte 39">
            <a:extLst>
              <a:ext uri="{FF2B5EF4-FFF2-40B4-BE49-F238E27FC236}">
                <a16:creationId xmlns:a16="http://schemas.microsoft.com/office/drawing/2014/main" id="{B10AE217-4602-8E8E-2268-1219A47BCF6E}"/>
              </a:ext>
            </a:extLst>
          </p:cNvPr>
          <p:cNvSpPr txBox="1"/>
          <p:nvPr/>
        </p:nvSpPr>
        <p:spPr>
          <a:xfrm>
            <a:off x="8367678" y="4699296"/>
            <a:ext cx="3060000" cy="1548000"/>
          </a:xfrm>
          <a:prstGeom prst="rect">
            <a:avLst/>
          </a:prstGeom>
          <a:noFill/>
        </p:spPr>
        <p:txBody>
          <a:bodyPr wrap="square" rtlCol="0">
            <a:noAutofit/>
          </a:bodyPr>
          <a:lstStyle>
            <a:defPPr marR="0" lvl="0" algn="l" rtl="0">
              <a:lnSpc>
                <a:spcPct val="100000"/>
              </a:lnSpc>
              <a:spcBef>
                <a:spcPts val="0"/>
              </a:spcBef>
              <a:spcAft>
                <a:spcPts val="0"/>
              </a:spcAft>
            </a:defPPr>
            <a:lvl1pPr marL="0" indent="0" defTabSz="914400" eaLnBrk="1" fontAlgn="auto" latinLnBrk="0" hangingPunct="1">
              <a:buSzTx/>
              <a:buNone/>
              <a:tabLst/>
              <a:defRPr sz="1600" i="1">
                <a:solidFill>
                  <a:srgbClr val="000000">
                    <a:lumMod val="60000"/>
                    <a:lumOff val="40000"/>
                  </a:srgbClr>
                </a:solidFill>
              </a:defRPr>
            </a:lvl1pPr>
          </a:lstStyle>
          <a:p>
            <a:r>
              <a:rPr lang="fr-FR" sz="1200"/>
              <a:t>Taux de satisfaction « à chaud » de la formation</a:t>
            </a:r>
          </a:p>
          <a:p>
            <a:r>
              <a:rPr lang="fr-FR" sz="1200"/>
              <a:t>A décliner (Moyens, Formateurs, Pédagogie, …)</a:t>
            </a:r>
          </a:p>
          <a:p>
            <a:pPr marL="171450" indent="-171450">
              <a:buFont typeface="Wingdings" panose="05000000000000000000" pitchFamily="2" charset="2"/>
              <a:buChar char="à"/>
            </a:pPr>
            <a:r>
              <a:rPr lang="fr-FR" sz="1200">
                <a:sym typeface="Wingdings" panose="05000000000000000000" pitchFamily="2" charset="2"/>
              </a:rPr>
              <a:t>Qualification de la perception de la démarche par les stagiaires</a:t>
            </a:r>
          </a:p>
          <a:p>
            <a:r>
              <a:rPr lang="fr-FR" sz="1200">
                <a:sym typeface="Wingdings" panose="05000000000000000000" pitchFamily="2" charset="2"/>
              </a:rPr>
              <a:t>Afin d’amener des améliorations continues sur le déroulé des sessions</a:t>
            </a:r>
            <a:endParaRPr lang="fr-FR" sz="1200"/>
          </a:p>
        </p:txBody>
      </p:sp>
      <p:pic>
        <p:nvPicPr>
          <p:cNvPr id="49" name="Picture 6" descr="Kahoot : Le questionnaire interactif ludique !">
            <a:extLst>
              <a:ext uri="{FF2B5EF4-FFF2-40B4-BE49-F238E27FC236}">
                <a16:creationId xmlns:a16="http://schemas.microsoft.com/office/drawing/2014/main" id="{2F82F4F1-78D5-D7CE-82F7-9D75BDDA319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46905" y="1981064"/>
            <a:ext cx="2611799" cy="1295506"/>
          </a:xfrm>
          <a:prstGeom prst="rect">
            <a:avLst/>
          </a:prstGeom>
          <a:noFill/>
          <a:ln>
            <a:solidFill>
              <a:schemeClr val="bg1">
                <a:lumMod val="7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0" name="ZoneTexte 49">
            <a:extLst>
              <a:ext uri="{FF2B5EF4-FFF2-40B4-BE49-F238E27FC236}">
                <a16:creationId xmlns:a16="http://schemas.microsoft.com/office/drawing/2014/main" id="{BDBF30B0-BAFC-6906-CC97-ADC7EF287E52}"/>
              </a:ext>
            </a:extLst>
          </p:cNvPr>
          <p:cNvSpPr txBox="1"/>
          <p:nvPr/>
        </p:nvSpPr>
        <p:spPr>
          <a:xfrm>
            <a:off x="2738642" y="1458550"/>
            <a:ext cx="3662614" cy="780178"/>
          </a:xfrm>
          <a:prstGeom prst="rect">
            <a:avLst/>
          </a:prstGeom>
          <a:noFill/>
        </p:spPr>
        <p:txBody>
          <a:bodyPr wrap="square" rtlCol="0">
            <a:noAutofit/>
          </a:bodyPr>
          <a:lstStyle>
            <a:defPPr marR="0" lvl="0" algn="l" rtl="0">
              <a:lnSpc>
                <a:spcPct val="100000"/>
              </a:lnSpc>
              <a:spcBef>
                <a:spcPts val="0"/>
              </a:spcBef>
              <a:spcAft>
                <a:spcPts val="0"/>
              </a:spcAft>
            </a:defPPr>
            <a:lvl1pPr marL="0" indent="0" defTabSz="914400" eaLnBrk="1" fontAlgn="auto" latinLnBrk="0" hangingPunct="1">
              <a:buSzTx/>
              <a:buNone/>
              <a:tabLst/>
              <a:defRPr sz="1600" i="1">
                <a:solidFill>
                  <a:srgbClr val="000000">
                    <a:lumMod val="60000"/>
                    <a:lumOff val="40000"/>
                  </a:srgbClr>
                </a:solidFill>
              </a:defRPr>
            </a:lvl1pPr>
          </a:lstStyle>
          <a:p>
            <a:r>
              <a:rPr lang="fr-FR" sz="1200"/>
              <a:t>Enrichissement des formations par des moments interactifs (Aventures Klaxoon, Quizz…)</a:t>
            </a:r>
          </a:p>
          <a:p>
            <a:pPr marL="808038">
              <a:buFont typeface="Wingdings" panose="05000000000000000000" pitchFamily="2" charset="2"/>
              <a:buChar char="à"/>
            </a:pPr>
            <a:r>
              <a:rPr lang="fr-FR" sz="1200">
                <a:sym typeface="Wingdings" panose="05000000000000000000" pitchFamily="2" charset="2"/>
              </a:rPr>
              <a:t>Ajout d’une dimension ludique et diversification des activités</a:t>
            </a:r>
          </a:p>
          <a:p>
            <a:pPr marL="808038"/>
            <a:r>
              <a:rPr lang="fr-FR" sz="1200">
                <a:sym typeface="Wingdings" panose="05000000000000000000" pitchFamily="2" charset="2"/>
              </a:rPr>
              <a:t>Afin de mieux embarquer les stagiaires</a:t>
            </a:r>
            <a:endParaRPr lang="fr-FR" sz="1200"/>
          </a:p>
        </p:txBody>
      </p:sp>
      <p:sp>
        <p:nvSpPr>
          <p:cNvPr id="52" name="ZoneTexte 51">
            <a:extLst>
              <a:ext uri="{FF2B5EF4-FFF2-40B4-BE49-F238E27FC236}">
                <a16:creationId xmlns:a16="http://schemas.microsoft.com/office/drawing/2014/main" id="{533903FF-65D4-56AC-7C8C-60D836D2C118}"/>
              </a:ext>
            </a:extLst>
          </p:cNvPr>
          <p:cNvSpPr txBox="1"/>
          <p:nvPr/>
        </p:nvSpPr>
        <p:spPr>
          <a:xfrm>
            <a:off x="3798120" y="4309207"/>
            <a:ext cx="2476012" cy="780178"/>
          </a:xfrm>
          <a:prstGeom prst="rect">
            <a:avLst/>
          </a:prstGeom>
          <a:noFill/>
        </p:spPr>
        <p:txBody>
          <a:bodyPr wrap="square" rtlCol="0">
            <a:noAutofit/>
          </a:bodyPr>
          <a:lstStyle>
            <a:defPPr marR="0" lvl="0" algn="l" rtl="0">
              <a:lnSpc>
                <a:spcPct val="100000"/>
              </a:lnSpc>
              <a:spcBef>
                <a:spcPts val="0"/>
              </a:spcBef>
              <a:spcAft>
                <a:spcPts val="0"/>
              </a:spcAft>
            </a:defPPr>
            <a:lvl1pPr marL="0" indent="0" defTabSz="914400" eaLnBrk="1" fontAlgn="auto" latinLnBrk="0" hangingPunct="1">
              <a:buSzTx/>
              <a:buNone/>
              <a:tabLst/>
              <a:defRPr sz="1600" i="1">
                <a:solidFill>
                  <a:srgbClr val="000000">
                    <a:lumMod val="60000"/>
                    <a:lumOff val="40000"/>
                  </a:srgbClr>
                </a:solidFill>
              </a:defRPr>
            </a:lvl1pPr>
          </a:lstStyle>
          <a:p>
            <a:r>
              <a:rPr lang="fr-FR" sz="1200"/>
              <a:t>Questionnaire à chaud</a:t>
            </a:r>
          </a:p>
          <a:p>
            <a:pPr marL="171450" indent="-171450">
              <a:buFont typeface="Wingdings" panose="05000000000000000000" pitchFamily="2" charset="2"/>
              <a:buChar char="à"/>
            </a:pPr>
            <a:r>
              <a:rPr lang="fr-FR" sz="1200">
                <a:sym typeface="Wingdings" panose="05000000000000000000" pitchFamily="2" charset="2"/>
              </a:rPr>
              <a:t>Évaluation de la part de stagiaires de la formation </a:t>
            </a:r>
          </a:p>
          <a:p>
            <a:r>
              <a:rPr lang="fr-FR" sz="1200">
                <a:sym typeface="Wingdings" panose="05000000000000000000" pitchFamily="2" charset="2"/>
              </a:rPr>
              <a:t>Afin d’identifier les axes d’amélioration du dispositif</a:t>
            </a:r>
            <a:endParaRPr lang="fr-FR" sz="1200"/>
          </a:p>
        </p:txBody>
      </p:sp>
    </p:spTree>
    <p:extLst>
      <p:ext uri="{BB962C8B-B14F-4D97-AF65-F5344CB8AC3E}">
        <p14:creationId xmlns:p14="http://schemas.microsoft.com/office/powerpoint/2010/main" val="42573433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1">
            <a:extLst>
              <a:ext uri="{FF2B5EF4-FFF2-40B4-BE49-F238E27FC236}">
                <a16:creationId xmlns:a16="http://schemas.microsoft.com/office/drawing/2014/main" id="{B1D764E1-3BDB-3442-095C-D35FC116C602}"/>
              </a:ext>
            </a:extLst>
          </p:cNvPr>
          <p:cNvSpPr>
            <a:spLocks noGrp="1"/>
          </p:cNvSpPr>
          <p:nvPr>
            <p:ph type="title"/>
          </p:nvPr>
        </p:nvSpPr>
        <p:spPr>
          <a:xfrm>
            <a:off x="396655" y="292153"/>
            <a:ext cx="9907072" cy="407795"/>
          </a:xfrm>
        </p:spPr>
        <p:txBody>
          <a:bodyPr/>
          <a:lstStyle/>
          <a:p>
            <a:r>
              <a:rPr lang="fr-FR" sz="1600"/>
              <a:t>3. ÉVALUER ET AMÉLIORER LE DISPOSITIF</a:t>
            </a:r>
            <a:br>
              <a:rPr lang="fr-FR" sz="1600"/>
            </a:br>
            <a:r>
              <a:rPr lang="fr-FR" sz="1600"/>
              <a:t>Exemples de livrables et indicateurs</a:t>
            </a:r>
            <a:endParaRPr lang="fr-FR"/>
          </a:p>
        </p:txBody>
      </p:sp>
      <p:grpSp>
        <p:nvGrpSpPr>
          <p:cNvPr id="8" name="Groupe 7">
            <a:extLst>
              <a:ext uri="{FF2B5EF4-FFF2-40B4-BE49-F238E27FC236}">
                <a16:creationId xmlns:a16="http://schemas.microsoft.com/office/drawing/2014/main" id="{820C00CD-CA3F-00AA-DF96-5B86BA432EFD}"/>
              </a:ext>
            </a:extLst>
          </p:cNvPr>
          <p:cNvGrpSpPr/>
          <p:nvPr/>
        </p:nvGrpSpPr>
        <p:grpSpPr>
          <a:xfrm>
            <a:off x="494262" y="1441675"/>
            <a:ext cx="2111286" cy="2144348"/>
            <a:chOff x="4789098" y="4755564"/>
            <a:chExt cx="1572363" cy="1841376"/>
          </a:xfrm>
        </p:grpSpPr>
        <p:sp>
          <p:nvSpPr>
            <p:cNvPr id="9" name="TextBox 41">
              <a:extLst>
                <a:ext uri="{FF2B5EF4-FFF2-40B4-BE49-F238E27FC236}">
                  <a16:creationId xmlns:a16="http://schemas.microsoft.com/office/drawing/2014/main" id="{7D7ADF77-1066-48ED-9CF9-5DE8AD191EB4}"/>
                </a:ext>
              </a:extLst>
            </p:cNvPr>
            <p:cNvSpPr txBox="1"/>
            <p:nvPr/>
          </p:nvSpPr>
          <p:spPr>
            <a:xfrm>
              <a:off x="4789098" y="6200503"/>
              <a:ext cx="1572363" cy="39643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1200" i="1">
                  <a:solidFill>
                    <a:srgbClr val="000000">
                      <a:lumMod val="60000"/>
                      <a:lumOff val="40000"/>
                    </a:srgbClr>
                  </a:solidFill>
                </a:rPr>
                <a:t>Guide d’entretien et questionnaires pour les REX</a:t>
              </a:r>
            </a:p>
          </p:txBody>
        </p:sp>
        <p:pic>
          <p:nvPicPr>
            <p:cNvPr id="10" name="Image 9">
              <a:extLst>
                <a:ext uri="{FF2B5EF4-FFF2-40B4-BE49-F238E27FC236}">
                  <a16:creationId xmlns:a16="http://schemas.microsoft.com/office/drawing/2014/main" id="{CF4E0449-7D74-49B3-900A-AC25AF314C97}"/>
                </a:ext>
              </a:extLst>
            </p:cNvPr>
            <p:cNvPicPr>
              <a:picLocks noChangeAspect="1"/>
            </p:cNvPicPr>
            <p:nvPr/>
          </p:nvPicPr>
          <p:blipFill rotWithShape="1">
            <a:blip r:embed="rId2"/>
            <a:srcRect l="3473" t="5352" r="4013"/>
            <a:stretch/>
          </p:blipFill>
          <p:spPr>
            <a:xfrm>
              <a:off x="5077484" y="4755564"/>
              <a:ext cx="995590" cy="1379176"/>
            </a:xfrm>
            <a:prstGeom prst="rect">
              <a:avLst/>
            </a:prstGeom>
            <a:ln>
              <a:solidFill>
                <a:schemeClr val="bg1">
                  <a:lumMod val="65000"/>
                </a:schemeClr>
              </a:solidFill>
            </a:ln>
            <a:effectLst>
              <a:outerShdw blurRad="50800" dist="38100" dir="2700000" algn="tl" rotWithShape="0">
                <a:prstClr val="black">
                  <a:alpha val="40000"/>
                </a:prstClr>
              </a:outerShdw>
            </a:effectLst>
          </p:spPr>
        </p:pic>
      </p:grpSp>
      <p:grpSp>
        <p:nvGrpSpPr>
          <p:cNvPr id="11" name="Groupe 10">
            <a:extLst>
              <a:ext uri="{FF2B5EF4-FFF2-40B4-BE49-F238E27FC236}">
                <a16:creationId xmlns:a16="http://schemas.microsoft.com/office/drawing/2014/main" id="{D6D0E32A-1407-432E-727C-5EC6C9903D8A}"/>
              </a:ext>
            </a:extLst>
          </p:cNvPr>
          <p:cNvGrpSpPr/>
          <p:nvPr/>
        </p:nvGrpSpPr>
        <p:grpSpPr>
          <a:xfrm>
            <a:off x="1239295" y="3801095"/>
            <a:ext cx="2648047" cy="1400168"/>
            <a:chOff x="7715594" y="4534583"/>
            <a:chExt cx="1798760" cy="827907"/>
          </a:xfrm>
        </p:grpSpPr>
        <p:pic>
          <p:nvPicPr>
            <p:cNvPr id="13" name="Image 12">
              <a:extLst>
                <a:ext uri="{FF2B5EF4-FFF2-40B4-BE49-F238E27FC236}">
                  <a16:creationId xmlns:a16="http://schemas.microsoft.com/office/drawing/2014/main" id="{C8489428-E36D-F79A-BFE7-52E5A2CEC875}"/>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293900" y="4534583"/>
              <a:ext cx="1220454" cy="570846"/>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14" name="Image 13">
              <a:extLst>
                <a:ext uri="{FF2B5EF4-FFF2-40B4-BE49-F238E27FC236}">
                  <a16:creationId xmlns:a16="http://schemas.microsoft.com/office/drawing/2014/main" id="{D3887AFA-D8D8-2A93-0F20-B54F450B58CB}"/>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715594" y="4791644"/>
              <a:ext cx="1053248" cy="570846"/>
            </a:xfrm>
            <a:prstGeom prst="rect">
              <a:avLst/>
            </a:prstGeom>
            <a:ln>
              <a:solidFill>
                <a:schemeClr val="bg1">
                  <a:lumMod val="65000"/>
                </a:schemeClr>
              </a:solidFill>
            </a:ln>
            <a:effectLst>
              <a:outerShdw blurRad="50800" dist="38100" dir="2700000" algn="tl" rotWithShape="0">
                <a:prstClr val="black">
                  <a:alpha val="40000"/>
                </a:prstClr>
              </a:outerShdw>
            </a:effectLst>
          </p:spPr>
        </p:pic>
      </p:grpSp>
      <p:sp>
        <p:nvSpPr>
          <p:cNvPr id="15" name="ZoneTexte 14">
            <a:extLst>
              <a:ext uri="{FF2B5EF4-FFF2-40B4-BE49-F238E27FC236}">
                <a16:creationId xmlns:a16="http://schemas.microsoft.com/office/drawing/2014/main" id="{FB571FE2-F015-3F08-AC48-4672F23D47F3}"/>
              </a:ext>
            </a:extLst>
          </p:cNvPr>
          <p:cNvSpPr txBox="1"/>
          <p:nvPr/>
        </p:nvSpPr>
        <p:spPr>
          <a:xfrm>
            <a:off x="3788494" y="5005165"/>
            <a:ext cx="2476012" cy="780178"/>
          </a:xfrm>
          <a:prstGeom prst="rect">
            <a:avLst/>
          </a:prstGeom>
          <a:noFill/>
        </p:spPr>
        <p:txBody>
          <a:bodyPr wrap="square" rtlCol="0">
            <a:noAutofit/>
          </a:bodyPr>
          <a:lstStyle>
            <a:defPPr marR="0" lvl="0" algn="l" rtl="0">
              <a:lnSpc>
                <a:spcPct val="100000"/>
              </a:lnSpc>
              <a:spcBef>
                <a:spcPts val="0"/>
              </a:spcBef>
              <a:spcAft>
                <a:spcPts val="0"/>
              </a:spcAft>
            </a:defPPr>
            <a:lvl1pPr marL="0" indent="0" defTabSz="914400" eaLnBrk="1" fontAlgn="auto" latinLnBrk="0" hangingPunct="1">
              <a:buSzTx/>
              <a:buNone/>
              <a:tabLst/>
              <a:defRPr sz="1600" i="1">
                <a:solidFill>
                  <a:srgbClr val="000000">
                    <a:lumMod val="60000"/>
                    <a:lumOff val="40000"/>
                  </a:srgbClr>
                </a:solidFill>
              </a:defRPr>
            </a:lvl1pPr>
          </a:lstStyle>
          <a:p>
            <a:r>
              <a:rPr lang="fr-FR" sz="1200"/>
              <a:t>Evaluation à froid de l’acquisition des connaissances</a:t>
            </a:r>
          </a:p>
          <a:p>
            <a:pPr marL="171450" indent="-171450">
              <a:buFont typeface="Wingdings" panose="05000000000000000000" pitchFamily="2" charset="2"/>
              <a:buChar char="à"/>
            </a:pPr>
            <a:r>
              <a:rPr lang="fr-FR" sz="1200">
                <a:sym typeface="Wingdings" panose="05000000000000000000" pitchFamily="2" charset="2"/>
              </a:rPr>
              <a:t>Évaluation de la part de stagiaires de la formation afin de remonter les acquis et les éventuelles difficultés à l’équipe projet</a:t>
            </a:r>
            <a:endParaRPr lang="fr-FR" sz="1200"/>
          </a:p>
        </p:txBody>
      </p:sp>
      <p:grpSp>
        <p:nvGrpSpPr>
          <p:cNvPr id="16" name="Groupe 15">
            <a:extLst>
              <a:ext uri="{FF2B5EF4-FFF2-40B4-BE49-F238E27FC236}">
                <a16:creationId xmlns:a16="http://schemas.microsoft.com/office/drawing/2014/main" id="{8869DADA-F57C-68B3-EB2F-153CEC01923D}"/>
              </a:ext>
            </a:extLst>
          </p:cNvPr>
          <p:cNvGrpSpPr/>
          <p:nvPr/>
        </p:nvGrpSpPr>
        <p:grpSpPr>
          <a:xfrm>
            <a:off x="1749548" y="5110488"/>
            <a:ext cx="2080574" cy="1657727"/>
            <a:chOff x="6600117" y="4547294"/>
            <a:chExt cx="2080574" cy="1657727"/>
          </a:xfrm>
        </p:grpSpPr>
        <p:sp>
          <p:nvSpPr>
            <p:cNvPr id="17" name="TextBox 41">
              <a:extLst>
                <a:ext uri="{FF2B5EF4-FFF2-40B4-BE49-F238E27FC236}">
                  <a16:creationId xmlns:a16="http://schemas.microsoft.com/office/drawing/2014/main" id="{8A2BD540-9701-4EEE-1C35-D2A1527A0C96}"/>
                </a:ext>
              </a:extLst>
            </p:cNvPr>
            <p:cNvSpPr txBox="1"/>
            <p:nvPr/>
          </p:nvSpPr>
          <p:spPr>
            <a:xfrm>
              <a:off x="6600117" y="5943411"/>
              <a:ext cx="2080574"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0" i="0" u="none" strike="noStrike" kern="0" cap="none" spc="0" normalizeH="0" baseline="0" noProof="0">
                <a:ln>
                  <a:noFill/>
                </a:ln>
                <a:solidFill>
                  <a:srgbClr val="000000"/>
                </a:solidFill>
                <a:effectLst/>
                <a:uLnTx/>
                <a:uFillTx/>
                <a:latin typeface="Montserrat" panose="02000505000000020004" pitchFamily="2" charset="0"/>
                <a:cs typeface="Arial"/>
                <a:sym typeface="Arial"/>
              </a:endParaRPr>
            </a:p>
          </p:txBody>
        </p:sp>
        <p:pic>
          <p:nvPicPr>
            <p:cNvPr id="18" name="Picture 2" descr="image">
              <a:extLst>
                <a:ext uri="{FF2B5EF4-FFF2-40B4-BE49-F238E27FC236}">
                  <a16:creationId xmlns:a16="http://schemas.microsoft.com/office/drawing/2014/main" id="{66C2F5D4-6CB7-586F-05F6-B96E53392FE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6738" t="55419" r="12422" b="3019"/>
            <a:stretch/>
          </p:blipFill>
          <p:spPr bwMode="auto">
            <a:xfrm>
              <a:off x="6741377" y="4547294"/>
              <a:ext cx="1094272" cy="1140284"/>
            </a:xfrm>
            <a:prstGeom prst="rect">
              <a:avLst/>
            </a:prstGeom>
            <a:noFill/>
            <a:ln>
              <a:solidFill>
                <a:schemeClr val="bg1">
                  <a:lumMod val="6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9" name="Picture 4" descr="image">
              <a:extLst>
                <a:ext uri="{FF2B5EF4-FFF2-40B4-BE49-F238E27FC236}">
                  <a16:creationId xmlns:a16="http://schemas.microsoft.com/office/drawing/2014/main" id="{CD574568-C7B3-8267-C2E5-F1C351AF5E5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111" t="62729" r="47552" b="1137"/>
            <a:stretch/>
          </p:blipFill>
          <p:spPr bwMode="auto">
            <a:xfrm>
              <a:off x="7431801" y="4633534"/>
              <a:ext cx="1090972" cy="1252471"/>
            </a:xfrm>
            <a:prstGeom prst="rect">
              <a:avLst/>
            </a:prstGeom>
            <a:noFill/>
            <a:ln>
              <a:solidFill>
                <a:schemeClr val="bg1">
                  <a:lumMod val="6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24" name="Groupe 23">
            <a:extLst>
              <a:ext uri="{FF2B5EF4-FFF2-40B4-BE49-F238E27FC236}">
                <a16:creationId xmlns:a16="http://schemas.microsoft.com/office/drawing/2014/main" id="{F4E926FF-1353-4DBC-11B5-3F8481CD1FCE}"/>
              </a:ext>
            </a:extLst>
          </p:cNvPr>
          <p:cNvGrpSpPr/>
          <p:nvPr/>
        </p:nvGrpSpPr>
        <p:grpSpPr>
          <a:xfrm>
            <a:off x="3166672" y="1631400"/>
            <a:ext cx="3097834" cy="1738763"/>
            <a:chOff x="7938083" y="4747635"/>
            <a:chExt cx="2826786" cy="1480101"/>
          </a:xfrm>
        </p:grpSpPr>
        <p:sp>
          <p:nvSpPr>
            <p:cNvPr id="25" name="TextBox 41">
              <a:extLst>
                <a:ext uri="{FF2B5EF4-FFF2-40B4-BE49-F238E27FC236}">
                  <a16:creationId xmlns:a16="http://schemas.microsoft.com/office/drawing/2014/main" id="{6E20A9CB-B2A4-92C2-F7C5-FAC373DBB2E8}"/>
                </a:ext>
              </a:extLst>
            </p:cNvPr>
            <p:cNvSpPr txBox="1"/>
            <p:nvPr/>
          </p:nvSpPr>
          <p:spPr>
            <a:xfrm>
              <a:off x="7938083" y="5991944"/>
              <a:ext cx="2826786" cy="235792"/>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1200" i="1">
                  <a:solidFill>
                    <a:srgbClr val="000000">
                      <a:lumMod val="60000"/>
                      <a:lumOff val="40000"/>
                    </a:srgbClr>
                  </a:solidFill>
                </a:rPr>
                <a:t>Préconisation plan d’actions</a:t>
              </a:r>
            </a:p>
          </p:txBody>
        </p:sp>
        <p:grpSp>
          <p:nvGrpSpPr>
            <p:cNvPr id="26" name="Groupe 25">
              <a:extLst>
                <a:ext uri="{FF2B5EF4-FFF2-40B4-BE49-F238E27FC236}">
                  <a16:creationId xmlns:a16="http://schemas.microsoft.com/office/drawing/2014/main" id="{5A72244F-B610-40B4-ABAA-6E85F39DE8A6}"/>
                </a:ext>
              </a:extLst>
            </p:cNvPr>
            <p:cNvGrpSpPr/>
            <p:nvPr/>
          </p:nvGrpSpPr>
          <p:grpSpPr>
            <a:xfrm>
              <a:off x="8267700" y="4747635"/>
              <a:ext cx="2015617" cy="1182105"/>
              <a:chOff x="638133" y="1413839"/>
              <a:chExt cx="3233092" cy="1891402"/>
            </a:xfrm>
            <a:effectLst>
              <a:outerShdw blurRad="50800" dist="38100" dir="2700000" algn="tl" rotWithShape="0">
                <a:prstClr val="black">
                  <a:alpha val="40000"/>
                </a:prstClr>
              </a:outerShdw>
            </a:effectLst>
          </p:grpSpPr>
          <p:pic>
            <p:nvPicPr>
              <p:cNvPr id="27" name="Image 26">
                <a:extLst>
                  <a:ext uri="{FF2B5EF4-FFF2-40B4-BE49-F238E27FC236}">
                    <a16:creationId xmlns:a16="http://schemas.microsoft.com/office/drawing/2014/main" id="{EA435F88-CFC9-C4D6-5A63-FD1B84FEBCA5}"/>
                  </a:ext>
                </a:extLst>
              </p:cNvPr>
              <p:cNvPicPr>
                <a:picLocks noChangeAspect="1"/>
              </p:cNvPicPr>
              <p:nvPr/>
            </p:nvPicPr>
            <p:blipFill>
              <a:blip r:embed="rId6"/>
              <a:stretch>
                <a:fillRect/>
              </a:stretch>
            </p:blipFill>
            <p:spPr>
              <a:xfrm>
                <a:off x="1380155" y="1413839"/>
                <a:ext cx="2491070" cy="1409025"/>
              </a:xfrm>
              <a:prstGeom prst="rect">
                <a:avLst/>
              </a:prstGeom>
              <a:ln>
                <a:solidFill>
                  <a:schemeClr val="bg1">
                    <a:lumMod val="65000"/>
                  </a:schemeClr>
                </a:solidFill>
              </a:ln>
            </p:spPr>
          </p:pic>
          <p:pic>
            <p:nvPicPr>
              <p:cNvPr id="28" name="Image 27">
                <a:extLst>
                  <a:ext uri="{FF2B5EF4-FFF2-40B4-BE49-F238E27FC236}">
                    <a16:creationId xmlns:a16="http://schemas.microsoft.com/office/drawing/2014/main" id="{57C740C3-1D23-907C-5544-00A5F9375421}"/>
                  </a:ext>
                </a:extLst>
              </p:cNvPr>
              <p:cNvPicPr>
                <a:picLocks noChangeAspect="1"/>
              </p:cNvPicPr>
              <p:nvPr/>
            </p:nvPicPr>
            <p:blipFill>
              <a:blip r:embed="rId7"/>
              <a:stretch>
                <a:fillRect/>
              </a:stretch>
            </p:blipFill>
            <p:spPr>
              <a:xfrm>
                <a:off x="638133" y="1894999"/>
                <a:ext cx="2491070" cy="1410242"/>
              </a:xfrm>
              <a:prstGeom prst="rect">
                <a:avLst/>
              </a:prstGeom>
              <a:ln>
                <a:solidFill>
                  <a:schemeClr val="bg1">
                    <a:lumMod val="65000"/>
                  </a:schemeClr>
                </a:solidFill>
              </a:ln>
            </p:spPr>
          </p:pic>
        </p:grpSp>
      </p:grpSp>
      <p:graphicFrame>
        <p:nvGraphicFramePr>
          <p:cNvPr id="29" name="Chart Placeholder 15">
            <a:extLst>
              <a:ext uri="{FF2B5EF4-FFF2-40B4-BE49-F238E27FC236}">
                <a16:creationId xmlns:a16="http://schemas.microsoft.com/office/drawing/2014/main" id="{73C9A651-998E-5F2E-998B-E04969936B28}"/>
              </a:ext>
            </a:extLst>
          </p:cNvPr>
          <p:cNvGraphicFramePr>
            <a:graphicFrameLocks/>
          </p:cNvGraphicFramePr>
          <p:nvPr>
            <p:extLst>
              <p:ext uri="{D42A27DB-BD31-4B8C-83A1-F6EECF244321}">
                <p14:modId xmlns:p14="http://schemas.microsoft.com/office/powerpoint/2010/main" val="147019746"/>
              </p:ext>
            </p:extLst>
          </p:nvPr>
        </p:nvGraphicFramePr>
        <p:xfrm>
          <a:off x="6616382" y="3684851"/>
          <a:ext cx="1499034" cy="229786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0" name="Chart Placeholder 15">
            <a:extLst>
              <a:ext uri="{FF2B5EF4-FFF2-40B4-BE49-F238E27FC236}">
                <a16:creationId xmlns:a16="http://schemas.microsoft.com/office/drawing/2014/main" id="{F5BD1937-749D-CEE4-4DA7-63433DDE18BD}"/>
              </a:ext>
            </a:extLst>
          </p:cNvPr>
          <p:cNvGraphicFramePr>
            <a:graphicFrameLocks/>
          </p:cNvGraphicFramePr>
          <p:nvPr>
            <p:extLst>
              <p:ext uri="{D42A27DB-BD31-4B8C-83A1-F6EECF244321}">
                <p14:modId xmlns:p14="http://schemas.microsoft.com/office/powerpoint/2010/main" val="3372789710"/>
              </p:ext>
            </p:extLst>
          </p:nvPr>
        </p:nvGraphicFramePr>
        <p:xfrm>
          <a:off x="6408427" y="1126296"/>
          <a:ext cx="1491862" cy="229786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1" name="Chart Placeholder 15">
            <a:extLst>
              <a:ext uri="{FF2B5EF4-FFF2-40B4-BE49-F238E27FC236}">
                <a16:creationId xmlns:a16="http://schemas.microsoft.com/office/drawing/2014/main" id="{F2087616-FE98-2CB3-7396-4B834502E325}"/>
              </a:ext>
            </a:extLst>
          </p:cNvPr>
          <p:cNvGraphicFramePr>
            <a:graphicFrameLocks/>
          </p:cNvGraphicFramePr>
          <p:nvPr>
            <p:extLst>
              <p:ext uri="{D42A27DB-BD31-4B8C-83A1-F6EECF244321}">
                <p14:modId xmlns:p14="http://schemas.microsoft.com/office/powerpoint/2010/main" val="3496147419"/>
              </p:ext>
            </p:extLst>
          </p:nvPr>
        </p:nvGraphicFramePr>
        <p:xfrm>
          <a:off x="6408427" y="1915382"/>
          <a:ext cx="1499034" cy="229786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2" name="Chart Placeholder 15">
            <a:extLst>
              <a:ext uri="{FF2B5EF4-FFF2-40B4-BE49-F238E27FC236}">
                <a16:creationId xmlns:a16="http://schemas.microsoft.com/office/drawing/2014/main" id="{0C2E1953-84B8-F6E3-B88D-FEA5A233547B}"/>
              </a:ext>
            </a:extLst>
          </p:cNvPr>
          <p:cNvGraphicFramePr>
            <a:graphicFrameLocks/>
          </p:cNvGraphicFramePr>
          <p:nvPr>
            <p:extLst>
              <p:ext uri="{D42A27DB-BD31-4B8C-83A1-F6EECF244321}">
                <p14:modId xmlns:p14="http://schemas.microsoft.com/office/powerpoint/2010/main" val="578611077"/>
              </p:ext>
            </p:extLst>
          </p:nvPr>
        </p:nvGraphicFramePr>
        <p:xfrm>
          <a:off x="6415599" y="3577304"/>
          <a:ext cx="1491862" cy="2297861"/>
        </p:xfrm>
        <a:graphic>
          <a:graphicData uri="http://schemas.openxmlformats.org/drawingml/2006/chart">
            <c:chart xmlns:c="http://schemas.openxmlformats.org/drawingml/2006/chart" xmlns:r="http://schemas.openxmlformats.org/officeDocument/2006/relationships" r:id="rId11"/>
          </a:graphicData>
        </a:graphic>
      </p:graphicFrame>
      <p:sp>
        <p:nvSpPr>
          <p:cNvPr id="33" name="Ellipse 32">
            <a:extLst>
              <a:ext uri="{FF2B5EF4-FFF2-40B4-BE49-F238E27FC236}">
                <a16:creationId xmlns:a16="http://schemas.microsoft.com/office/drawing/2014/main" id="{B3B8A20E-4835-A378-462D-15F8D7FC87BC}"/>
              </a:ext>
            </a:extLst>
          </p:cNvPr>
          <p:cNvSpPr/>
          <p:nvPr/>
        </p:nvSpPr>
        <p:spPr>
          <a:xfrm>
            <a:off x="6661972" y="3983651"/>
            <a:ext cx="990600" cy="9734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TextBox 19">
            <a:extLst>
              <a:ext uri="{FF2B5EF4-FFF2-40B4-BE49-F238E27FC236}">
                <a16:creationId xmlns:a16="http://schemas.microsoft.com/office/drawing/2014/main" id="{80395EBC-CD7B-37BE-2EB3-026FF499427F}"/>
              </a:ext>
            </a:extLst>
          </p:cNvPr>
          <p:cNvSpPr txBox="1"/>
          <p:nvPr/>
        </p:nvSpPr>
        <p:spPr bwMode="gray">
          <a:xfrm>
            <a:off x="6765480" y="2653530"/>
            <a:ext cx="806903" cy="307777"/>
          </a:xfrm>
          <a:prstGeom prst="rect">
            <a:avLst/>
          </a:prstGeom>
          <a:noFill/>
        </p:spPr>
        <p:txBody>
          <a:bodyPr wrap="square" lIns="0" tIns="0" rIns="0" bIns="0" rtlCol="0" anchor="ctr">
            <a:spAutoFit/>
          </a:bodyPr>
          <a:lstStyle/>
          <a:p>
            <a:pPr algn="ctr"/>
            <a:r>
              <a:rPr lang="en-US" sz="2000">
                <a:solidFill>
                  <a:schemeClr val="accent4"/>
                </a:solidFill>
              </a:rPr>
              <a:t>57</a:t>
            </a:r>
          </a:p>
        </p:txBody>
      </p:sp>
      <p:sp>
        <p:nvSpPr>
          <p:cNvPr id="36" name="TextBox 20">
            <a:extLst>
              <a:ext uri="{FF2B5EF4-FFF2-40B4-BE49-F238E27FC236}">
                <a16:creationId xmlns:a16="http://schemas.microsoft.com/office/drawing/2014/main" id="{8728CC67-6926-31C8-18FA-03F7E71C7BD5}"/>
              </a:ext>
            </a:extLst>
          </p:cNvPr>
          <p:cNvSpPr txBox="1"/>
          <p:nvPr/>
        </p:nvSpPr>
        <p:spPr bwMode="gray">
          <a:xfrm>
            <a:off x="6765480" y="4332914"/>
            <a:ext cx="806903" cy="307777"/>
          </a:xfrm>
          <a:prstGeom prst="rect">
            <a:avLst/>
          </a:prstGeom>
          <a:noFill/>
        </p:spPr>
        <p:txBody>
          <a:bodyPr wrap="square" lIns="0" tIns="0" rIns="0" bIns="0" rtlCol="0" anchor="ctr">
            <a:spAutoFit/>
          </a:bodyPr>
          <a:lstStyle/>
          <a:p>
            <a:pPr algn="ctr"/>
            <a:r>
              <a:rPr lang="en-US" sz="2000">
                <a:solidFill>
                  <a:schemeClr val="accent2"/>
                </a:solidFill>
              </a:rPr>
              <a:t>8/10</a:t>
            </a:r>
          </a:p>
        </p:txBody>
      </p:sp>
      <p:sp>
        <p:nvSpPr>
          <p:cNvPr id="38" name="ZoneTexte 37">
            <a:extLst>
              <a:ext uri="{FF2B5EF4-FFF2-40B4-BE49-F238E27FC236}">
                <a16:creationId xmlns:a16="http://schemas.microsoft.com/office/drawing/2014/main" id="{9F0495C2-023F-C3BB-3207-29EF76B5B1CB}"/>
              </a:ext>
            </a:extLst>
          </p:cNvPr>
          <p:cNvSpPr txBox="1"/>
          <p:nvPr/>
        </p:nvSpPr>
        <p:spPr>
          <a:xfrm>
            <a:off x="8374850" y="2139265"/>
            <a:ext cx="3060000" cy="1548000"/>
          </a:xfrm>
          <a:prstGeom prst="rect">
            <a:avLst/>
          </a:prstGeom>
          <a:noFill/>
        </p:spPr>
        <p:txBody>
          <a:bodyPr wrap="square" rtlCol="0">
            <a:noAutofit/>
          </a:bodyPr>
          <a:lstStyle>
            <a:defPPr marR="0" lvl="0" algn="l" rtl="0">
              <a:lnSpc>
                <a:spcPct val="100000"/>
              </a:lnSpc>
              <a:spcBef>
                <a:spcPts val="0"/>
              </a:spcBef>
              <a:spcAft>
                <a:spcPts val="0"/>
              </a:spcAft>
            </a:defPPr>
            <a:lvl1pPr marL="0" indent="0" defTabSz="914400" eaLnBrk="1" fontAlgn="auto" latinLnBrk="0" hangingPunct="1">
              <a:buSzTx/>
              <a:buNone/>
              <a:tabLst/>
              <a:defRPr sz="1600" i="1">
                <a:solidFill>
                  <a:srgbClr val="000000">
                    <a:lumMod val="60000"/>
                    <a:lumOff val="40000"/>
                  </a:srgbClr>
                </a:solidFill>
              </a:defRPr>
            </a:lvl1pPr>
          </a:lstStyle>
          <a:p>
            <a:r>
              <a:rPr lang="fr-FR" sz="1200"/>
              <a:t>Back-log des remontées terrain et des décisions prises </a:t>
            </a:r>
          </a:p>
        </p:txBody>
      </p:sp>
      <p:sp>
        <p:nvSpPr>
          <p:cNvPr id="39" name="ZoneTexte 38">
            <a:extLst>
              <a:ext uri="{FF2B5EF4-FFF2-40B4-BE49-F238E27FC236}">
                <a16:creationId xmlns:a16="http://schemas.microsoft.com/office/drawing/2014/main" id="{515BE997-C33C-A623-3F97-031D5B368319}"/>
              </a:ext>
            </a:extLst>
          </p:cNvPr>
          <p:cNvSpPr txBox="1"/>
          <p:nvPr/>
        </p:nvSpPr>
        <p:spPr>
          <a:xfrm>
            <a:off x="8374850" y="3826460"/>
            <a:ext cx="3060000" cy="1548000"/>
          </a:xfrm>
          <a:prstGeom prst="rect">
            <a:avLst/>
          </a:prstGeom>
          <a:noFill/>
        </p:spPr>
        <p:txBody>
          <a:bodyPr wrap="square" rtlCol="0">
            <a:noAutofit/>
          </a:bodyPr>
          <a:lstStyle>
            <a:defPPr marR="0" lvl="0" algn="l" rtl="0">
              <a:lnSpc>
                <a:spcPct val="100000"/>
              </a:lnSpc>
              <a:spcBef>
                <a:spcPts val="0"/>
              </a:spcBef>
              <a:spcAft>
                <a:spcPts val="0"/>
              </a:spcAft>
            </a:defPPr>
            <a:lvl1pPr marL="0" indent="0" defTabSz="914400" eaLnBrk="1" fontAlgn="auto" latinLnBrk="0" hangingPunct="1">
              <a:buSzTx/>
              <a:buNone/>
              <a:tabLst/>
              <a:defRPr sz="1600" i="1">
                <a:solidFill>
                  <a:srgbClr val="000000">
                    <a:lumMod val="60000"/>
                    <a:lumOff val="40000"/>
                  </a:srgbClr>
                </a:solidFill>
              </a:defRPr>
            </a:lvl1pPr>
          </a:lstStyle>
          <a:p>
            <a:r>
              <a:rPr lang="fr-FR" sz="1200"/>
              <a:t>Evaluation « à froid » des compétences acquises </a:t>
            </a:r>
          </a:p>
          <a:p>
            <a:pPr marL="171450" indent="-171450">
              <a:buFont typeface="Wingdings" panose="05000000000000000000" pitchFamily="2" charset="2"/>
              <a:buChar char="à"/>
            </a:pPr>
            <a:r>
              <a:rPr lang="fr-FR" sz="1200">
                <a:sym typeface="Wingdings" panose="05000000000000000000" pitchFamily="2" charset="2"/>
              </a:rPr>
              <a:t>Système d’auto-évaluation sur les fonctionnalités et le niveau d’usage </a:t>
            </a:r>
          </a:p>
          <a:p>
            <a:r>
              <a:rPr lang="fr-FR" sz="1200">
                <a:sym typeface="Wingdings" panose="05000000000000000000" pitchFamily="2" charset="2"/>
              </a:rPr>
              <a:t>Afin de tirer un bilan global et d’identifier des personnes en difficultés</a:t>
            </a:r>
            <a:endParaRPr lang="fr-FR" sz="1200"/>
          </a:p>
        </p:txBody>
      </p:sp>
    </p:spTree>
    <p:extLst>
      <p:ext uri="{BB962C8B-B14F-4D97-AF65-F5344CB8AC3E}">
        <p14:creationId xmlns:p14="http://schemas.microsoft.com/office/powerpoint/2010/main" val="20771013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2">
            <a:extLst>
              <a:ext uri="{FF2B5EF4-FFF2-40B4-BE49-F238E27FC236}">
                <a16:creationId xmlns:a16="http://schemas.microsoft.com/office/drawing/2014/main" id="{AEBC0999-258A-4C10-A90A-751177DA8163}"/>
              </a:ext>
            </a:extLst>
          </p:cNvPr>
          <p:cNvSpPr>
            <a:spLocks noGrp="1"/>
          </p:cNvSpPr>
          <p:nvPr>
            <p:ph type="title"/>
          </p:nvPr>
        </p:nvSpPr>
        <p:spPr>
          <a:xfrm>
            <a:off x="167733" y="597600"/>
            <a:ext cx="3240000" cy="960000"/>
          </a:xfrm>
        </p:spPr>
        <p:txBody>
          <a:bodyPr/>
          <a:lstStyle/>
          <a:p>
            <a:r>
              <a:rPr lang="fr-FR" sz="2400"/>
              <a:t>SOMMAIRE</a:t>
            </a:r>
          </a:p>
        </p:txBody>
      </p:sp>
      <p:sp>
        <p:nvSpPr>
          <p:cNvPr id="7" name="Espace réservé du texte 4">
            <a:extLst>
              <a:ext uri="{FF2B5EF4-FFF2-40B4-BE49-F238E27FC236}">
                <a16:creationId xmlns:a16="http://schemas.microsoft.com/office/drawing/2014/main" id="{8FFDA8EC-8B79-4111-9A54-1FBA6FF78689}"/>
              </a:ext>
            </a:extLst>
          </p:cNvPr>
          <p:cNvSpPr>
            <a:spLocks noGrp="1"/>
          </p:cNvSpPr>
          <p:nvPr>
            <p:ph type="body" idx="1"/>
          </p:nvPr>
        </p:nvSpPr>
        <p:spPr>
          <a:xfrm>
            <a:off x="3726000" y="597600"/>
            <a:ext cx="8245600" cy="5581067"/>
          </a:xfrm>
        </p:spPr>
        <p:txBody>
          <a:bodyPr anchor="ctr"/>
          <a:lstStyle/>
          <a:p>
            <a:pPr marL="342900" indent="-342900">
              <a:spcBef>
                <a:spcPts val="600"/>
              </a:spcBef>
              <a:spcAft>
                <a:spcPts val="600"/>
              </a:spcAft>
              <a:buSzPct val="100000"/>
              <a:buFont typeface="+mj-lt"/>
              <a:buAutoNum type="arabicPeriod"/>
            </a:pPr>
            <a:r>
              <a:rPr lang="fr-FR" sz="1800"/>
              <a:t>Note de synthèse</a:t>
            </a:r>
          </a:p>
          <a:p>
            <a:pPr marL="342900" indent="-342900">
              <a:spcBef>
                <a:spcPts val="600"/>
              </a:spcBef>
              <a:spcAft>
                <a:spcPts val="600"/>
              </a:spcAft>
              <a:buSzPct val="100000"/>
              <a:buFont typeface="+mj-lt"/>
              <a:buAutoNum type="arabicPeriod"/>
            </a:pPr>
            <a:r>
              <a:rPr lang="fr-FR" sz="1800"/>
              <a:t>Compréhension du contexte et des enjeux</a:t>
            </a:r>
          </a:p>
          <a:p>
            <a:pPr marL="342900" indent="-342900">
              <a:spcBef>
                <a:spcPts val="600"/>
              </a:spcBef>
              <a:spcAft>
                <a:spcPts val="600"/>
              </a:spcAft>
              <a:buSzPct val="100000"/>
              <a:buFont typeface="+mj-lt"/>
              <a:buAutoNum type="arabicPeriod"/>
            </a:pPr>
            <a:r>
              <a:rPr lang="fr-FR" sz="1800"/>
              <a:t>Présentation Talan Consulting et références</a:t>
            </a:r>
          </a:p>
          <a:p>
            <a:pPr marL="342900" indent="-342900">
              <a:spcBef>
                <a:spcPts val="600"/>
              </a:spcBef>
              <a:spcAft>
                <a:spcPts val="600"/>
              </a:spcAft>
              <a:buSzPct val="100000"/>
              <a:buFont typeface="+mj-lt"/>
              <a:buAutoNum type="arabicPeriod"/>
            </a:pPr>
            <a:r>
              <a:rPr lang="fr-FR" sz="1800"/>
              <a:t>Planning de réalisation de la mission</a:t>
            </a:r>
          </a:p>
          <a:p>
            <a:pPr marL="342900" indent="-342900">
              <a:spcBef>
                <a:spcPts val="600"/>
              </a:spcBef>
              <a:spcAft>
                <a:spcPts val="600"/>
              </a:spcAft>
              <a:buSzPct val="100000"/>
              <a:buFont typeface="+mj-lt"/>
              <a:buAutoNum type="arabicPeriod"/>
            </a:pPr>
            <a:r>
              <a:rPr lang="fr-FR" sz="1800"/>
              <a:t>Proposition de démarche </a:t>
            </a:r>
          </a:p>
          <a:p>
            <a:pPr marL="342900" indent="-342900">
              <a:spcBef>
                <a:spcPts val="600"/>
              </a:spcBef>
              <a:spcAft>
                <a:spcPts val="600"/>
              </a:spcAft>
              <a:buSzPct val="100000"/>
              <a:buFont typeface="+mj-lt"/>
              <a:buAutoNum type="arabicPeriod"/>
            </a:pPr>
            <a:r>
              <a:rPr lang="fr-FR" sz="1800"/>
              <a:t>Dispositif Talan proposé</a:t>
            </a:r>
          </a:p>
          <a:p>
            <a:pPr marL="342900" indent="-342900">
              <a:spcBef>
                <a:spcPts val="600"/>
              </a:spcBef>
              <a:spcAft>
                <a:spcPts val="600"/>
              </a:spcAft>
              <a:buSzPct val="100000"/>
              <a:buFont typeface="+mj-lt"/>
              <a:buAutoNum type="arabicPeriod"/>
            </a:pPr>
            <a:r>
              <a:rPr lang="fr-FR" sz="1800"/>
              <a:t>Modalités d’appropriation et de transfert de compétences</a:t>
            </a:r>
          </a:p>
          <a:p>
            <a:pPr marL="342900" indent="-342900">
              <a:spcBef>
                <a:spcPts val="600"/>
              </a:spcBef>
              <a:spcAft>
                <a:spcPts val="600"/>
              </a:spcAft>
              <a:buSzPct val="100000"/>
              <a:buFont typeface="+mj-lt"/>
              <a:buAutoNum type="arabicPeriod"/>
            </a:pPr>
            <a:r>
              <a:rPr lang="fr-FR" sz="1800"/>
              <a:t>Livrables envisagés et indicateurs</a:t>
            </a:r>
          </a:p>
        </p:txBody>
      </p:sp>
      <p:sp>
        <p:nvSpPr>
          <p:cNvPr id="8" name="Espace réservé du texte 4">
            <a:extLst>
              <a:ext uri="{FF2B5EF4-FFF2-40B4-BE49-F238E27FC236}">
                <a16:creationId xmlns:a16="http://schemas.microsoft.com/office/drawing/2014/main" id="{7EE3A62C-16BD-4386-A32F-A24CCFC7199D}"/>
              </a:ext>
            </a:extLst>
          </p:cNvPr>
          <p:cNvSpPr txBox="1">
            <a:spLocks/>
          </p:cNvSpPr>
          <p:nvPr/>
        </p:nvSpPr>
        <p:spPr>
          <a:xfrm>
            <a:off x="8458619" y="597600"/>
            <a:ext cx="2120773" cy="558106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242888" marR="0" lvl="0" indent="-242888" algn="l" rtl="0" eaLnBrk="1" hangingPunct="1">
              <a:lnSpc>
                <a:spcPct val="100000"/>
              </a:lnSpc>
              <a:spcBef>
                <a:spcPts val="0"/>
              </a:spcBef>
              <a:spcAft>
                <a:spcPts val="0"/>
              </a:spcAft>
              <a:buClr>
                <a:schemeClr val="tx2"/>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eaLnBrk="1" hangingPunct="1">
              <a:lnSpc>
                <a:spcPct val="100000"/>
              </a:lnSpc>
              <a:spcBef>
                <a:spcPts val="0"/>
              </a:spcBef>
              <a:spcAft>
                <a:spcPts val="0"/>
              </a:spcAft>
              <a:buClr>
                <a:schemeClr val="tx2"/>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eaLnBrk="1" hangingPunct="1">
              <a:lnSpc>
                <a:spcPct val="100000"/>
              </a:lnSpc>
              <a:spcBef>
                <a:spcPts val="0"/>
              </a:spcBef>
              <a:spcAft>
                <a:spcPts val="0"/>
              </a:spcAft>
              <a:buClr>
                <a:schemeClr val="tx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eaLnBrk="1" hangingPunct="1">
              <a:lnSpc>
                <a:spcPct val="100000"/>
              </a:lnSpc>
              <a:spcBef>
                <a:spcPts val="0"/>
              </a:spcBef>
              <a:spcAft>
                <a:spcPts val="0"/>
              </a:spcAft>
              <a:buClr>
                <a:schemeClr val="tx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marL="0" indent="0" algn="r">
              <a:spcBef>
                <a:spcPts val="600"/>
              </a:spcBef>
              <a:spcAft>
                <a:spcPts val="600"/>
              </a:spcAft>
              <a:buNone/>
            </a:pPr>
            <a:r>
              <a:rPr lang="fr-FR" sz="1800"/>
              <a:t>….…</a:t>
            </a:r>
          </a:p>
          <a:p>
            <a:pPr marL="0" indent="0" algn="r">
              <a:spcBef>
                <a:spcPts val="600"/>
              </a:spcBef>
              <a:spcAft>
                <a:spcPts val="600"/>
              </a:spcAft>
              <a:buNone/>
            </a:pPr>
            <a:r>
              <a:rPr lang="fr-FR" sz="1800"/>
              <a:t>….…</a:t>
            </a:r>
          </a:p>
          <a:p>
            <a:pPr marL="0" indent="0" algn="r">
              <a:spcBef>
                <a:spcPts val="600"/>
              </a:spcBef>
              <a:spcAft>
                <a:spcPts val="600"/>
              </a:spcAft>
              <a:buNone/>
            </a:pPr>
            <a:r>
              <a:rPr lang="fr-FR" sz="1800"/>
              <a:t>….…</a:t>
            </a:r>
          </a:p>
          <a:p>
            <a:pPr marL="0" indent="0" algn="r">
              <a:spcBef>
                <a:spcPts val="600"/>
              </a:spcBef>
              <a:spcAft>
                <a:spcPts val="600"/>
              </a:spcAft>
              <a:buNone/>
            </a:pPr>
            <a:r>
              <a:rPr lang="fr-FR" sz="1800"/>
              <a:t>….…</a:t>
            </a:r>
          </a:p>
          <a:p>
            <a:pPr marL="0" indent="0" algn="r">
              <a:spcBef>
                <a:spcPts val="600"/>
              </a:spcBef>
              <a:spcAft>
                <a:spcPts val="600"/>
              </a:spcAft>
              <a:buNone/>
            </a:pPr>
            <a:r>
              <a:rPr lang="fr-FR" sz="1800"/>
              <a:t>….…</a:t>
            </a:r>
          </a:p>
          <a:p>
            <a:pPr marL="0" indent="0" algn="r">
              <a:spcBef>
                <a:spcPts val="600"/>
              </a:spcBef>
              <a:spcAft>
                <a:spcPts val="600"/>
              </a:spcAft>
              <a:buNone/>
            </a:pPr>
            <a:r>
              <a:rPr lang="fr-FR" sz="1800"/>
              <a:t>….…</a:t>
            </a:r>
          </a:p>
          <a:p>
            <a:pPr marL="0" indent="0" algn="r">
              <a:spcBef>
                <a:spcPts val="600"/>
              </a:spcBef>
              <a:spcAft>
                <a:spcPts val="600"/>
              </a:spcAft>
              <a:buNone/>
            </a:pPr>
            <a:r>
              <a:rPr lang="fr-FR" sz="1800"/>
              <a:t>….…</a:t>
            </a:r>
          </a:p>
          <a:p>
            <a:pPr marL="0" indent="0" algn="r">
              <a:spcBef>
                <a:spcPts val="600"/>
              </a:spcBef>
              <a:spcAft>
                <a:spcPts val="600"/>
              </a:spcAft>
              <a:buNone/>
            </a:pPr>
            <a:r>
              <a:rPr lang="fr-FR" sz="1800"/>
              <a:t>….…</a:t>
            </a:r>
          </a:p>
        </p:txBody>
      </p:sp>
      <p:sp>
        <p:nvSpPr>
          <p:cNvPr id="9" name="Espace réservé du texte 4">
            <a:extLst>
              <a:ext uri="{FF2B5EF4-FFF2-40B4-BE49-F238E27FC236}">
                <a16:creationId xmlns:a16="http://schemas.microsoft.com/office/drawing/2014/main" id="{BD6433EC-D9EB-4716-B094-2038D14B5EE7}"/>
              </a:ext>
            </a:extLst>
          </p:cNvPr>
          <p:cNvSpPr txBox="1">
            <a:spLocks/>
          </p:cNvSpPr>
          <p:nvPr/>
        </p:nvSpPr>
        <p:spPr>
          <a:xfrm>
            <a:off x="10579395" y="597600"/>
            <a:ext cx="1392205" cy="558106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242888" marR="0" lvl="0" indent="-242888" algn="l" rtl="0" eaLnBrk="1" hangingPunct="1">
              <a:lnSpc>
                <a:spcPct val="100000"/>
              </a:lnSpc>
              <a:spcBef>
                <a:spcPts val="0"/>
              </a:spcBef>
              <a:spcAft>
                <a:spcPts val="0"/>
              </a:spcAft>
              <a:buClr>
                <a:schemeClr val="tx2"/>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eaLnBrk="1" hangingPunct="1">
              <a:lnSpc>
                <a:spcPct val="100000"/>
              </a:lnSpc>
              <a:spcBef>
                <a:spcPts val="0"/>
              </a:spcBef>
              <a:spcAft>
                <a:spcPts val="0"/>
              </a:spcAft>
              <a:buClr>
                <a:schemeClr val="tx2"/>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eaLnBrk="1" hangingPunct="1">
              <a:lnSpc>
                <a:spcPct val="100000"/>
              </a:lnSpc>
              <a:spcBef>
                <a:spcPts val="0"/>
              </a:spcBef>
              <a:spcAft>
                <a:spcPts val="0"/>
              </a:spcAft>
              <a:buClr>
                <a:schemeClr val="tx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eaLnBrk="1" hangingPunct="1">
              <a:lnSpc>
                <a:spcPct val="100000"/>
              </a:lnSpc>
              <a:spcBef>
                <a:spcPts val="0"/>
              </a:spcBef>
              <a:spcAft>
                <a:spcPts val="0"/>
              </a:spcAft>
              <a:buClr>
                <a:schemeClr val="tx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marL="0" indent="0">
              <a:spcBef>
                <a:spcPts val="600"/>
              </a:spcBef>
              <a:spcAft>
                <a:spcPts val="600"/>
              </a:spcAft>
              <a:buNone/>
            </a:pPr>
            <a:r>
              <a:rPr lang="fr-FR" sz="1800">
                <a:highlight>
                  <a:srgbClr val="FFFF00"/>
                </a:highlight>
              </a:rPr>
              <a:t>04</a:t>
            </a:r>
          </a:p>
          <a:p>
            <a:pPr marL="0" indent="0">
              <a:spcBef>
                <a:spcPts val="600"/>
              </a:spcBef>
              <a:spcAft>
                <a:spcPts val="600"/>
              </a:spcAft>
              <a:buNone/>
            </a:pPr>
            <a:r>
              <a:rPr lang="fr-FR" sz="1800">
                <a:highlight>
                  <a:srgbClr val="FFFF00"/>
                </a:highlight>
              </a:rPr>
              <a:t>06</a:t>
            </a:r>
          </a:p>
          <a:p>
            <a:pPr marL="0" indent="0">
              <a:spcBef>
                <a:spcPts val="600"/>
              </a:spcBef>
              <a:spcAft>
                <a:spcPts val="600"/>
              </a:spcAft>
              <a:buNone/>
            </a:pPr>
            <a:r>
              <a:rPr lang="fr-FR" sz="1800">
                <a:highlight>
                  <a:srgbClr val="FFFF00"/>
                </a:highlight>
              </a:rPr>
              <a:t>09</a:t>
            </a:r>
          </a:p>
          <a:p>
            <a:pPr marL="0" indent="0">
              <a:spcBef>
                <a:spcPts val="600"/>
              </a:spcBef>
              <a:spcAft>
                <a:spcPts val="600"/>
              </a:spcAft>
              <a:buNone/>
            </a:pPr>
            <a:r>
              <a:rPr lang="fr-FR" sz="1800">
                <a:highlight>
                  <a:srgbClr val="FFFF00"/>
                </a:highlight>
              </a:rPr>
              <a:t>17</a:t>
            </a:r>
          </a:p>
          <a:p>
            <a:pPr marL="0" indent="0">
              <a:spcBef>
                <a:spcPts val="600"/>
              </a:spcBef>
              <a:spcAft>
                <a:spcPts val="600"/>
              </a:spcAft>
              <a:buNone/>
            </a:pPr>
            <a:r>
              <a:rPr lang="fr-FR" sz="1800">
                <a:highlight>
                  <a:srgbClr val="FFFF00"/>
                </a:highlight>
              </a:rPr>
              <a:t>19</a:t>
            </a:r>
          </a:p>
          <a:p>
            <a:pPr marL="0" indent="0">
              <a:spcBef>
                <a:spcPts val="600"/>
              </a:spcBef>
              <a:spcAft>
                <a:spcPts val="600"/>
              </a:spcAft>
              <a:buNone/>
            </a:pPr>
            <a:r>
              <a:rPr lang="fr-FR" sz="1800" dirty="0">
                <a:highlight>
                  <a:srgbClr val="FFFF00"/>
                </a:highlight>
              </a:rPr>
              <a:t>33</a:t>
            </a:r>
          </a:p>
          <a:p>
            <a:pPr marL="0" indent="0">
              <a:spcBef>
                <a:spcPts val="600"/>
              </a:spcBef>
              <a:spcAft>
                <a:spcPts val="600"/>
              </a:spcAft>
              <a:buNone/>
            </a:pPr>
            <a:r>
              <a:rPr lang="fr-FR" sz="1800" dirty="0">
                <a:highlight>
                  <a:srgbClr val="FFFF00"/>
                </a:highlight>
              </a:rPr>
              <a:t>42</a:t>
            </a:r>
          </a:p>
          <a:p>
            <a:pPr marL="0" indent="0">
              <a:spcBef>
                <a:spcPts val="600"/>
              </a:spcBef>
              <a:spcAft>
                <a:spcPts val="600"/>
              </a:spcAft>
              <a:buNone/>
            </a:pPr>
            <a:r>
              <a:rPr lang="fr-FR" sz="1800" dirty="0">
                <a:highlight>
                  <a:srgbClr val="FFFF00"/>
                </a:highlight>
              </a:rPr>
              <a:t>46</a:t>
            </a:r>
            <a:endParaRPr lang="fr-FR" sz="1800">
              <a:highlight>
                <a:srgbClr val="FFFF00"/>
              </a:highlight>
            </a:endParaRPr>
          </a:p>
        </p:txBody>
      </p:sp>
    </p:spTree>
    <p:extLst>
      <p:ext uri="{BB962C8B-B14F-4D97-AF65-F5344CB8AC3E}">
        <p14:creationId xmlns:p14="http://schemas.microsoft.com/office/powerpoint/2010/main" val="13016486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C5E6956-A15D-4B0C-879A-780E301A6FD2}"/>
              </a:ext>
            </a:extLst>
          </p:cNvPr>
          <p:cNvSpPr>
            <a:spLocks noGrp="1"/>
          </p:cNvSpPr>
          <p:nvPr>
            <p:ph type="title"/>
          </p:nvPr>
        </p:nvSpPr>
        <p:spPr/>
        <p:txBody>
          <a:bodyPr/>
          <a:lstStyle/>
          <a:p>
            <a:r>
              <a:rPr lang="fr-FR" sz="2400"/>
              <a:t>NOTRE COMPRÉHENSION DU </a:t>
            </a:r>
            <a:r>
              <a:rPr lang="fr-FR"/>
              <a:t>CONTEXTE ET DES ENJEUX</a:t>
            </a:r>
          </a:p>
        </p:txBody>
      </p:sp>
    </p:spTree>
    <p:extLst>
      <p:ext uri="{BB962C8B-B14F-4D97-AF65-F5344CB8AC3E}">
        <p14:creationId xmlns:p14="http://schemas.microsoft.com/office/powerpoint/2010/main" val="16567687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Espace réservé du contenu 7">
            <a:extLst>
              <a:ext uri="{FF2B5EF4-FFF2-40B4-BE49-F238E27FC236}">
                <a16:creationId xmlns:a16="http://schemas.microsoft.com/office/drawing/2014/main" id="{613F941B-E09F-4E91-9C75-F074E7D538F6}"/>
              </a:ext>
            </a:extLst>
          </p:cNvPr>
          <p:cNvSpPr txBox="1">
            <a:spLocks/>
          </p:cNvSpPr>
          <p:nvPr/>
        </p:nvSpPr>
        <p:spPr bwMode="gray">
          <a:xfrm>
            <a:off x="589392" y="5299101"/>
            <a:ext cx="5208302" cy="707886"/>
          </a:xfrm>
          <a:prstGeom prst="rect">
            <a:avLst/>
          </a:prstGeom>
          <a:solidFill>
            <a:srgbClr val="E3E1EE"/>
          </a:solidFill>
          <a:ln w="12700">
            <a:noFill/>
          </a:ln>
        </p:spPr>
        <p:txBody>
          <a:bodyPr vert="horz" wrap="square" lIns="72000" tIns="3810" rIns="72000" bIns="0" rtlCol="0" anchor="ctr">
            <a:noAutofit/>
          </a:bodyPr>
          <a:lstStyle>
            <a:defPPr marR="0" lvl="0" algn="l" rtl="0">
              <a:lnSpc>
                <a:spcPct val="100000"/>
              </a:lnSpc>
              <a:spcBef>
                <a:spcPts val="0"/>
              </a:spcBef>
              <a:spcAft>
                <a:spcPts val="0"/>
              </a:spcAft>
            </a:defPPr>
            <a:lvl1pPr algn="ctr">
              <a:defRPr sz="1200" spc="-5">
                <a:solidFill>
                  <a:srgbClr val="FFFFFF"/>
                </a:solidFill>
                <a:latin typeface="+mj-lt"/>
                <a:cs typeface="Verdana"/>
              </a:defRPr>
            </a:lvl1pPr>
            <a:lvl2pPr marL="0" indent="0" algn="l" defTabSz="1072866" rtl="0" eaLnBrk="1" fontAlgn="base" latinLnBrk="0" hangingPunct="1">
              <a:lnSpc>
                <a:spcPct val="100000"/>
              </a:lnSpc>
              <a:spcBef>
                <a:spcPts val="0"/>
              </a:spcBef>
              <a:spcAft>
                <a:spcPct val="0"/>
              </a:spcAft>
              <a:buFont typeface="Arial" pitchFamily="34" charset="0"/>
              <a:buNone/>
              <a:defRPr lang="fr-FR" sz="1400" kern="1200" dirty="0" smtClean="0">
                <a:solidFill>
                  <a:schemeClr val="tx1"/>
                </a:solidFill>
                <a:latin typeface="Avenir LT Std 55 Roman" pitchFamily="34" charset="0"/>
                <a:ea typeface="+mn-ea"/>
                <a:cs typeface="+mn-cs"/>
              </a:defRPr>
            </a:lvl2pPr>
            <a:lvl3pPr marL="168955" indent="-168955" algn="l" defTabSz="1072866" rtl="0" eaLnBrk="1" fontAlgn="base" latinLnBrk="0" hangingPunct="1">
              <a:lnSpc>
                <a:spcPct val="100000"/>
              </a:lnSpc>
              <a:spcBef>
                <a:spcPts val="0"/>
              </a:spcBef>
              <a:spcAft>
                <a:spcPct val="0"/>
              </a:spcAft>
              <a:buClr>
                <a:schemeClr val="accent1"/>
              </a:buClr>
              <a:buSzPct val="100000"/>
              <a:buFont typeface="Avenir LT Std 65 Medium" pitchFamily="34" charset="0"/>
              <a:buChar char="+"/>
              <a:defRPr lang="fr-FR" sz="1400" kern="1200" dirty="0" smtClean="0">
                <a:solidFill>
                  <a:schemeClr val="tx1"/>
                </a:solidFill>
                <a:latin typeface="Avenir LT Std 55 Roman" pitchFamily="34" charset="0"/>
                <a:ea typeface="+mn-ea"/>
                <a:cs typeface="+mn-cs"/>
              </a:defRPr>
            </a:lvl3pPr>
            <a:lvl4pPr marL="253433" indent="-84478" algn="l" defTabSz="1072866" rtl="0" eaLnBrk="1" fontAlgn="base" latinLnBrk="0" hangingPunct="1">
              <a:lnSpc>
                <a:spcPct val="100000"/>
              </a:lnSpc>
              <a:spcBef>
                <a:spcPts val="0"/>
              </a:spcBef>
              <a:spcAft>
                <a:spcPct val="0"/>
              </a:spcAft>
              <a:buClr>
                <a:schemeClr val="tx1"/>
              </a:buClr>
              <a:buSzPct val="75000"/>
              <a:buFont typeface="Arial" pitchFamily="34" charset="0"/>
              <a:buChar char="•"/>
              <a:defRPr lang="fr-FR" sz="1400" kern="1200" dirty="0" smtClean="0">
                <a:solidFill>
                  <a:schemeClr val="tx1"/>
                </a:solidFill>
                <a:latin typeface="Avenir LT Std 55 Roman" pitchFamily="34" charset="0"/>
                <a:ea typeface="+mn-ea"/>
                <a:cs typeface="+mn-cs"/>
              </a:defRPr>
            </a:lvl4pPr>
            <a:lvl5pPr marL="253433" indent="0" algn="l" defTabSz="1072866" rtl="0" eaLnBrk="1" fontAlgn="base" latinLnBrk="0" hangingPunct="1">
              <a:lnSpc>
                <a:spcPct val="100000"/>
              </a:lnSpc>
              <a:spcBef>
                <a:spcPts val="0"/>
              </a:spcBef>
              <a:spcAft>
                <a:spcPct val="0"/>
              </a:spcAft>
              <a:buSzPct val="100000"/>
              <a:buFont typeface="Arial" pitchFamily="34" charset="0"/>
              <a:buNone/>
              <a:defRPr lang="fr-FR" sz="1400" kern="1200" dirty="0">
                <a:solidFill>
                  <a:schemeClr val="tx1"/>
                </a:solidFill>
                <a:latin typeface="Avenir LT Std 55 Roman" pitchFamily="34" charset="0"/>
                <a:ea typeface="+mn-ea"/>
                <a:cs typeface="+mn-cs"/>
              </a:defRPr>
            </a:lvl5pPr>
            <a:lvl6pPr marL="2950380"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6813"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3246"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59678"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fr-FR" sz="900">
                <a:solidFill>
                  <a:schemeClr val="tx1"/>
                </a:solidFill>
              </a:rPr>
              <a:t>Dans un contexte d’ouverture à la concurrence, SNCF Transilien doit maintenir voire améliorer sa qualité de service en se transformant notamment autour de la production et du pilotage des ressources de l’entreprise. Là où NET est le projet d’amélioration de l’exploitation du matériel et des agents de conduite, POGS Transilien est le projet de transformation de l’utilisation des sédentaires.</a:t>
            </a:r>
          </a:p>
        </p:txBody>
      </p:sp>
      <p:sp>
        <p:nvSpPr>
          <p:cNvPr id="15" name="Espace réservé du texte 3">
            <a:extLst>
              <a:ext uri="{FF2B5EF4-FFF2-40B4-BE49-F238E27FC236}">
                <a16:creationId xmlns:a16="http://schemas.microsoft.com/office/drawing/2014/main" id="{2790E4C7-0DD8-4A44-94D9-064E930B105C}"/>
              </a:ext>
            </a:extLst>
          </p:cNvPr>
          <p:cNvSpPr txBox="1">
            <a:spLocks/>
          </p:cNvSpPr>
          <p:nvPr/>
        </p:nvSpPr>
        <p:spPr>
          <a:xfrm>
            <a:off x="325772" y="509279"/>
            <a:ext cx="11063508" cy="60085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9525" marR="0" lvl="0" indent="0" algn="l" rtl="0" eaLnBrk="1" hangingPunct="1">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eaLnBrk="1" hangingPunct="1">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marL="0"/>
            <a:r>
              <a:rPr lang="fr-FR">
                <a:solidFill>
                  <a:schemeClr val="bg2">
                    <a:lumMod val="60000"/>
                    <a:lumOff val="40000"/>
                  </a:schemeClr>
                </a:solidFill>
                <a:latin typeface="+mn-lt"/>
              </a:rPr>
              <a:t>Notre vision du projet POGS Transilien</a:t>
            </a:r>
          </a:p>
        </p:txBody>
      </p:sp>
      <p:sp>
        <p:nvSpPr>
          <p:cNvPr id="22" name="Titre 1">
            <a:extLst>
              <a:ext uri="{FF2B5EF4-FFF2-40B4-BE49-F238E27FC236}">
                <a16:creationId xmlns:a16="http://schemas.microsoft.com/office/drawing/2014/main" id="{C7CC6788-B652-4050-B5A6-94FDA2B7F361}"/>
              </a:ext>
            </a:extLst>
          </p:cNvPr>
          <p:cNvSpPr txBox="1">
            <a:spLocks/>
          </p:cNvSpPr>
          <p:nvPr/>
        </p:nvSpPr>
        <p:spPr>
          <a:xfrm>
            <a:off x="325772" y="194956"/>
            <a:ext cx="9907072" cy="40779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Compréhension du contexte et des enjeux</a:t>
            </a:r>
          </a:p>
        </p:txBody>
      </p:sp>
      <p:grpSp>
        <p:nvGrpSpPr>
          <p:cNvPr id="4" name="Groupe 3">
            <a:extLst>
              <a:ext uri="{FF2B5EF4-FFF2-40B4-BE49-F238E27FC236}">
                <a16:creationId xmlns:a16="http://schemas.microsoft.com/office/drawing/2014/main" id="{40F084C2-B9E4-EF5C-D3B8-B44115748AD4}"/>
              </a:ext>
            </a:extLst>
          </p:cNvPr>
          <p:cNvGrpSpPr/>
          <p:nvPr/>
        </p:nvGrpSpPr>
        <p:grpSpPr>
          <a:xfrm>
            <a:off x="392447" y="2131342"/>
            <a:ext cx="5558672" cy="2650172"/>
            <a:chOff x="1114645" y="1084826"/>
            <a:chExt cx="10042715" cy="4788000"/>
          </a:xfrm>
        </p:grpSpPr>
        <p:sp>
          <p:nvSpPr>
            <p:cNvPr id="23" name="Triangle rectangle 22">
              <a:extLst>
                <a:ext uri="{FF2B5EF4-FFF2-40B4-BE49-F238E27FC236}">
                  <a16:creationId xmlns:a16="http://schemas.microsoft.com/office/drawing/2014/main" id="{E1114F1F-1C91-4E34-AC47-135CE4A8B3F5}"/>
                </a:ext>
              </a:extLst>
            </p:cNvPr>
            <p:cNvSpPr>
              <a:spLocks noChangeAspect="1"/>
            </p:cNvSpPr>
            <p:nvPr/>
          </p:nvSpPr>
          <p:spPr>
            <a:xfrm rot="16200000">
              <a:off x="2937147" y="1117102"/>
              <a:ext cx="4471409" cy="4680000"/>
            </a:xfrm>
            <a:prstGeom prst="rtTriangle">
              <a:avLst/>
            </a:prstGeom>
            <a:solidFill>
              <a:srgbClr val="E3E1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00"/>
            </a:p>
          </p:txBody>
        </p:sp>
        <p:sp>
          <p:nvSpPr>
            <p:cNvPr id="7" name="Arc partiel 6">
              <a:extLst>
                <a:ext uri="{FF2B5EF4-FFF2-40B4-BE49-F238E27FC236}">
                  <a16:creationId xmlns:a16="http://schemas.microsoft.com/office/drawing/2014/main" id="{75642BAA-E008-43F4-AF5E-933D0F2B6D1F}"/>
                </a:ext>
              </a:extLst>
            </p:cNvPr>
            <p:cNvSpPr>
              <a:spLocks noChangeAspect="1"/>
            </p:cNvSpPr>
            <p:nvPr/>
          </p:nvSpPr>
          <p:spPr>
            <a:xfrm rot="5400000">
              <a:off x="2648391" y="973140"/>
              <a:ext cx="4788000" cy="5011372"/>
            </a:xfrm>
            <a:prstGeom prst="pie">
              <a:avLst>
                <a:gd name="adj1" fmla="val 2725989"/>
                <a:gd name="adj2" fmla="val 13629943"/>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00"/>
            </a:p>
          </p:txBody>
        </p:sp>
        <p:sp>
          <p:nvSpPr>
            <p:cNvPr id="11" name="ZoneTexte 10">
              <a:extLst>
                <a:ext uri="{FF2B5EF4-FFF2-40B4-BE49-F238E27FC236}">
                  <a16:creationId xmlns:a16="http://schemas.microsoft.com/office/drawing/2014/main" id="{1D6431AA-35A9-4FBF-8DB6-C40CEE84C234}"/>
                </a:ext>
              </a:extLst>
            </p:cNvPr>
            <p:cNvSpPr txBox="1"/>
            <p:nvPr/>
          </p:nvSpPr>
          <p:spPr>
            <a:xfrm>
              <a:off x="6907321" y="1245270"/>
              <a:ext cx="4250039" cy="611657"/>
            </a:xfrm>
            <a:prstGeom prst="rect">
              <a:avLst/>
            </a:prstGeom>
            <a:noFill/>
          </p:spPr>
          <p:txBody>
            <a:bodyPr wrap="square" rtlCol="0">
              <a:spAutoFit/>
            </a:bodyPr>
            <a:lstStyle/>
            <a:p>
              <a:pPr marL="176213" indent="-176213" algn="just">
                <a:buFont typeface="Arial" panose="020B0604020202020204" pitchFamily="34" charset="0"/>
                <a:buChar char="•"/>
              </a:pPr>
              <a:r>
                <a:rPr lang="fr-FR" sz="800" b="1"/>
                <a:t>Evolution constante des besoins et des attentes voyageurs </a:t>
              </a:r>
            </a:p>
          </p:txBody>
        </p:sp>
        <p:sp>
          <p:nvSpPr>
            <p:cNvPr id="12" name="ZoneTexte 11">
              <a:extLst>
                <a:ext uri="{FF2B5EF4-FFF2-40B4-BE49-F238E27FC236}">
                  <a16:creationId xmlns:a16="http://schemas.microsoft.com/office/drawing/2014/main" id="{61D6BD56-42EB-4AAC-A2D4-5CBA2AD98308}"/>
                </a:ext>
              </a:extLst>
            </p:cNvPr>
            <p:cNvSpPr txBox="1"/>
            <p:nvPr/>
          </p:nvSpPr>
          <p:spPr>
            <a:xfrm>
              <a:off x="6043566" y="1983392"/>
              <a:ext cx="5075431" cy="1501342"/>
            </a:xfrm>
            <a:prstGeom prst="rect">
              <a:avLst/>
            </a:prstGeom>
            <a:noFill/>
          </p:spPr>
          <p:txBody>
            <a:bodyPr wrap="square" rtlCol="0">
              <a:spAutoFit/>
            </a:bodyPr>
            <a:lstStyle/>
            <a:p>
              <a:pPr marL="176213" indent="-176213" algn="just">
                <a:buFont typeface="Arial" panose="020B0604020202020204" pitchFamily="34" charset="0"/>
                <a:buChar char="•"/>
              </a:pPr>
              <a:r>
                <a:rPr lang="fr-FR" sz="800" b="1"/>
                <a:t>Exigences et ambitions d’Île de France Mobilités : dans un contexte économique incertain, les autorités organisatrices souhaitent piloter leur dépense. À ce titre, le contrat IDFM présentent des perspectives d’évolutions fortes notamment en matière de distribution</a:t>
              </a:r>
            </a:p>
          </p:txBody>
        </p:sp>
        <p:sp>
          <p:nvSpPr>
            <p:cNvPr id="13" name="ZoneTexte 12">
              <a:extLst>
                <a:ext uri="{FF2B5EF4-FFF2-40B4-BE49-F238E27FC236}">
                  <a16:creationId xmlns:a16="http://schemas.microsoft.com/office/drawing/2014/main" id="{E21103B8-F1DC-484A-96A2-36CAE3D4C83F}"/>
                </a:ext>
              </a:extLst>
            </p:cNvPr>
            <p:cNvSpPr txBox="1"/>
            <p:nvPr/>
          </p:nvSpPr>
          <p:spPr>
            <a:xfrm>
              <a:off x="4915732" y="3676684"/>
              <a:ext cx="6055957" cy="834079"/>
            </a:xfrm>
            <a:prstGeom prst="rect">
              <a:avLst/>
            </a:prstGeom>
            <a:noFill/>
          </p:spPr>
          <p:txBody>
            <a:bodyPr wrap="square" rtlCol="0">
              <a:spAutoFit/>
            </a:bodyPr>
            <a:lstStyle/>
            <a:p>
              <a:pPr marL="176213" indent="-176213" algn="just">
                <a:buFont typeface="Arial" panose="020B0604020202020204" pitchFamily="34" charset="0"/>
                <a:buChar char="•"/>
              </a:pPr>
              <a:r>
                <a:rPr lang="fr-FR" sz="800" b="1"/>
                <a:t>Concurrence intra modale  : l’ouverture à la concurrence impose d’offrir des services adaptés afin de répondre au mieux aux dossiers de consultation des entreprises (DCE)</a:t>
              </a:r>
            </a:p>
          </p:txBody>
        </p:sp>
        <p:sp>
          <p:nvSpPr>
            <p:cNvPr id="16" name="ZoneTexte 15">
              <a:extLst>
                <a:ext uri="{FF2B5EF4-FFF2-40B4-BE49-F238E27FC236}">
                  <a16:creationId xmlns:a16="http://schemas.microsoft.com/office/drawing/2014/main" id="{1A2C2A87-EAFC-41FD-8BEA-82841040AAA1}"/>
                </a:ext>
              </a:extLst>
            </p:cNvPr>
            <p:cNvSpPr txBox="1"/>
            <p:nvPr/>
          </p:nvSpPr>
          <p:spPr>
            <a:xfrm>
              <a:off x="2224022" y="1996953"/>
              <a:ext cx="4105484" cy="621211"/>
            </a:xfrm>
            <a:prstGeom prst="rect">
              <a:avLst/>
            </a:prstGeom>
            <a:noFill/>
          </p:spPr>
          <p:txBody>
            <a:bodyPr wrap="square">
              <a:spAutoFit/>
            </a:bodyPr>
            <a:lstStyle/>
            <a:p>
              <a:pPr marL="180975" indent="-180975">
                <a:buClrTx/>
                <a:buFont typeface="Arial" panose="020B0604020202020204" pitchFamily="34" charset="0"/>
                <a:buChar char="•"/>
              </a:pPr>
              <a:r>
                <a:rPr lang="fr-FR" sz="800">
                  <a:solidFill>
                    <a:schemeClr val="tx1"/>
                  </a:solidFill>
                </a:rPr>
                <a:t>Suivre, au plus près du réalisé, les services attendus, </a:t>
              </a:r>
            </a:p>
          </p:txBody>
        </p:sp>
        <p:sp>
          <p:nvSpPr>
            <p:cNvPr id="17" name="ZoneTexte 16">
              <a:extLst>
                <a:ext uri="{FF2B5EF4-FFF2-40B4-BE49-F238E27FC236}">
                  <a16:creationId xmlns:a16="http://schemas.microsoft.com/office/drawing/2014/main" id="{B65662DE-B27D-49F8-BCB6-8CE698D7A879}"/>
                </a:ext>
              </a:extLst>
            </p:cNvPr>
            <p:cNvSpPr txBox="1"/>
            <p:nvPr/>
          </p:nvSpPr>
          <p:spPr>
            <a:xfrm>
              <a:off x="1510863" y="2593299"/>
              <a:ext cx="4169714" cy="834079"/>
            </a:xfrm>
            <a:prstGeom prst="rect">
              <a:avLst/>
            </a:prstGeom>
            <a:noFill/>
          </p:spPr>
          <p:txBody>
            <a:bodyPr wrap="square">
              <a:spAutoFit/>
            </a:bodyPr>
            <a:lstStyle/>
            <a:p>
              <a:pPr marL="180975" indent="-180975">
                <a:buClrTx/>
                <a:buFont typeface="Arial" panose="020B0604020202020204" pitchFamily="34" charset="0"/>
                <a:buChar char="•"/>
              </a:pPr>
              <a:r>
                <a:rPr lang="fr-FR" sz="800">
                  <a:solidFill>
                    <a:schemeClr val="tx1"/>
                  </a:solidFill>
                </a:rPr>
                <a:t>Industrialiser une gestion aujourd’hui très manuelle, avec de nombreux pointages et peu d’outils connectés entre eux, </a:t>
              </a:r>
            </a:p>
          </p:txBody>
        </p:sp>
        <p:sp>
          <p:nvSpPr>
            <p:cNvPr id="18" name="ZoneTexte 17">
              <a:extLst>
                <a:ext uri="{FF2B5EF4-FFF2-40B4-BE49-F238E27FC236}">
                  <a16:creationId xmlns:a16="http://schemas.microsoft.com/office/drawing/2014/main" id="{D186E9D9-91CF-44C5-AEE2-E05BBCA6AC9C}"/>
                </a:ext>
              </a:extLst>
            </p:cNvPr>
            <p:cNvSpPr txBox="1"/>
            <p:nvPr/>
          </p:nvSpPr>
          <p:spPr>
            <a:xfrm>
              <a:off x="1114645" y="3475529"/>
              <a:ext cx="3506861" cy="1278920"/>
            </a:xfrm>
            <a:prstGeom prst="rect">
              <a:avLst/>
            </a:prstGeom>
            <a:noFill/>
          </p:spPr>
          <p:txBody>
            <a:bodyPr wrap="square">
              <a:spAutoFit/>
            </a:bodyPr>
            <a:lstStyle/>
            <a:p>
              <a:pPr marL="180975" indent="-180975">
                <a:buClrTx/>
                <a:buFont typeface="Arial" panose="020B0604020202020204" pitchFamily="34" charset="0"/>
                <a:buChar char="•"/>
              </a:pPr>
              <a:r>
                <a:rPr lang="fr-FR" sz="800">
                  <a:solidFill>
                    <a:schemeClr val="tx1"/>
                  </a:solidFill>
                </a:rPr>
                <a:t>Prévoir l’obsolescence programmée des outils des gestionnaires d’utilisation (GU) principalement orientés paie et refacturation budgétaire.</a:t>
              </a:r>
            </a:p>
          </p:txBody>
        </p:sp>
        <p:sp>
          <p:nvSpPr>
            <p:cNvPr id="19" name="ZoneTexte 18">
              <a:extLst>
                <a:ext uri="{FF2B5EF4-FFF2-40B4-BE49-F238E27FC236}">
                  <a16:creationId xmlns:a16="http://schemas.microsoft.com/office/drawing/2014/main" id="{71C2FDFE-0CF7-43A3-AC02-C559E03F471C}"/>
                </a:ext>
              </a:extLst>
            </p:cNvPr>
            <p:cNvSpPr txBox="1"/>
            <p:nvPr/>
          </p:nvSpPr>
          <p:spPr>
            <a:xfrm>
              <a:off x="3765724" y="1335957"/>
              <a:ext cx="3027165" cy="389779"/>
            </a:xfrm>
            <a:prstGeom prst="rect">
              <a:avLst/>
            </a:prstGeom>
            <a:noFill/>
          </p:spPr>
          <p:txBody>
            <a:bodyPr wrap="square" rtlCol="0">
              <a:spAutoFit/>
            </a:bodyPr>
            <a:lstStyle/>
            <a:p>
              <a:r>
                <a:rPr lang="fr-FR" sz="1000" b="1">
                  <a:solidFill>
                    <a:srgbClr val="44388A"/>
                  </a:solidFill>
                </a:rPr>
                <a:t>Contraintes endogènes</a:t>
              </a:r>
            </a:p>
          </p:txBody>
        </p:sp>
        <p:sp>
          <p:nvSpPr>
            <p:cNvPr id="20" name="ZoneTexte 19">
              <a:extLst>
                <a:ext uri="{FF2B5EF4-FFF2-40B4-BE49-F238E27FC236}">
                  <a16:creationId xmlns:a16="http://schemas.microsoft.com/office/drawing/2014/main" id="{0E484EC2-FE6B-40BD-8354-6464E8555F45}"/>
                </a:ext>
              </a:extLst>
            </p:cNvPr>
            <p:cNvSpPr txBox="1"/>
            <p:nvPr/>
          </p:nvSpPr>
          <p:spPr>
            <a:xfrm>
              <a:off x="4587124" y="5313253"/>
              <a:ext cx="2389298" cy="389779"/>
            </a:xfrm>
            <a:prstGeom prst="rect">
              <a:avLst/>
            </a:prstGeom>
            <a:noFill/>
          </p:spPr>
          <p:txBody>
            <a:bodyPr wrap="square" rtlCol="0">
              <a:spAutoFit/>
            </a:bodyPr>
            <a:lstStyle/>
            <a:p>
              <a:r>
                <a:rPr lang="fr-FR" sz="1000" b="1">
                  <a:solidFill>
                    <a:srgbClr val="44388A"/>
                  </a:solidFill>
                </a:rPr>
                <a:t>Contraintes exogènes</a:t>
              </a:r>
            </a:p>
          </p:txBody>
        </p:sp>
        <p:sp>
          <p:nvSpPr>
            <p:cNvPr id="26" name="ZoneTexte 25">
              <a:extLst>
                <a:ext uri="{FF2B5EF4-FFF2-40B4-BE49-F238E27FC236}">
                  <a16:creationId xmlns:a16="http://schemas.microsoft.com/office/drawing/2014/main" id="{B6EC0E25-6939-4A2E-B56C-5E2F44FE6572}"/>
                </a:ext>
              </a:extLst>
            </p:cNvPr>
            <p:cNvSpPr txBox="1"/>
            <p:nvPr/>
          </p:nvSpPr>
          <p:spPr>
            <a:xfrm>
              <a:off x="3913055" y="4558911"/>
              <a:ext cx="7058635" cy="834079"/>
            </a:xfrm>
            <a:prstGeom prst="rect">
              <a:avLst/>
            </a:prstGeom>
            <a:noFill/>
          </p:spPr>
          <p:txBody>
            <a:bodyPr wrap="square">
              <a:spAutoFit/>
            </a:bodyPr>
            <a:lstStyle/>
            <a:p>
              <a:pPr marL="171450" indent="-171450" algn="just">
                <a:buFont typeface="Arial" panose="020B0604020202020204" pitchFamily="34" charset="0"/>
                <a:buChar char="•"/>
              </a:pPr>
              <a:r>
                <a:rPr lang="fr-FR" sz="800" b="1"/>
                <a:t>Paris 2024 : les Jeux Olympiques sont un événement à forte visibilité à l’échelle mondiale et ils nécessiteront une vigilance particulière sur la qualité du service rendu</a:t>
              </a:r>
            </a:p>
          </p:txBody>
        </p:sp>
      </p:grpSp>
      <p:sp>
        <p:nvSpPr>
          <p:cNvPr id="5" name="Triangle isocèle 4">
            <a:extLst>
              <a:ext uri="{FF2B5EF4-FFF2-40B4-BE49-F238E27FC236}">
                <a16:creationId xmlns:a16="http://schemas.microsoft.com/office/drawing/2014/main" id="{D7D4DCE0-2343-6614-8F45-84741A063779}"/>
              </a:ext>
            </a:extLst>
          </p:cNvPr>
          <p:cNvSpPr/>
          <p:nvPr/>
        </p:nvSpPr>
        <p:spPr>
          <a:xfrm rot="5400000">
            <a:off x="6098072" y="1320190"/>
            <a:ext cx="450739" cy="330878"/>
          </a:xfrm>
          <a:prstGeom prst="triangle">
            <a:avLst/>
          </a:prstGeom>
          <a:solidFill>
            <a:srgbClr val="4439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ZoneTexte 7">
            <a:extLst>
              <a:ext uri="{FF2B5EF4-FFF2-40B4-BE49-F238E27FC236}">
                <a16:creationId xmlns:a16="http://schemas.microsoft.com/office/drawing/2014/main" id="{A398E915-1539-876E-30E1-71A2403955F6}"/>
              </a:ext>
            </a:extLst>
          </p:cNvPr>
          <p:cNvSpPr txBox="1"/>
          <p:nvPr/>
        </p:nvSpPr>
        <p:spPr>
          <a:xfrm>
            <a:off x="6716999" y="1750788"/>
            <a:ext cx="5208302" cy="1615827"/>
          </a:xfrm>
          <a:prstGeom prst="rect">
            <a:avLst/>
          </a:prstGeom>
          <a:noFill/>
        </p:spPr>
        <p:txBody>
          <a:bodyPr wrap="square">
            <a:spAutoFit/>
          </a:bodyPr>
          <a:lstStyle/>
          <a:p>
            <a:pPr algn="just"/>
            <a:r>
              <a:rPr lang="fr-FR" sz="900">
                <a:latin typeface="+mj-lt"/>
              </a:rPr>
              <a:t>POGS Transilien, c’est :</a:t>
            </a:r>
          </a:p>
          <a:p>
            <a:pPr marL="171450" indent="-171450" algn="just">
              <a:buFont typeface="Arial" panose="020B0604020202020204" pitchFamily="34" charset="0"/>
              <a:buChar char="•"/>
            </a:pPr>
            <a:r>
              <a:rPr lang="fr-FR" sz="900" b="1">
                <a:latin typeface="+mj-lt"/>
              </a:rPr>
              <a:t>un projet nécessaire, qui transforme les métiers de la gestion des sédentaires</a:t>
            </a:r>
            <a:r>
              <a:rPr lang="fr-FR" sz="900">
                <a:latin typeface="+mj-lt"/>
              </a:rPr>
              <a:t>, avec pour priorité la modernisation de l’organisation de l’exploitation, le remplacement des outils obsolètes par un outil unique de type APS, nommé ORION (à l’instar de l’ensemble des Entreprises Ferroviaires avec pour résultat une meilleure compétitivité), et la revue du processus de commande du personnel,</a:t>
            </a:r>
          </a:p>
          <a:p>
            <a:pPr marL="171450" indent="-171450" algn="just">
              <a:buFont typeface="Arial" panose="020B0604020202020204" pitchFamily="34" charset="0"/>
              <a:buChar char="•"/>
            </a:pPr>
            <a:r>
              <a:rPr lang="fr-FR" sz="900">
                <a:latin typeface="+mj-lt"/>
              </a:rPr>
              <a:t>un </a:t>
            </a:r>
            <a:r>
              <a:rPr lang="fr-FR" sz="900" b="1">
                <a:latin typeface="+mj-lt"/>
              </a:rPr>
              <a:t>projet à l’échelle de l’Île-de-France, intégrant donc les enjeux de mass transit et la nécessité du respect des obligations vis-à-vis d’Île-de-France Mobilités</a:t>
            </a:r>
            <a:r>
              <a:rPr lang="fr-FR" sz="900">
                <a:latin typeface="+mj-lt"/>
              </a:rPr>
              <a:t>,</a:t>
            </a:r>
          </a:p>
          <a:p>
            <a:pPr marL="171450" indent="-171450" algn="just">
              <a:buFont typeface="Arial" panose="020B0604020202020204" pitchFamily="34" charset="0"/>
              <a:buChar char="•"/>
            </a:pPr>
            <a:r>
              <a:rPr lang="fr-FR" sz="900">
                <a:latin typeface="+mj-lt"/>
              </a:rPr>
              <a:t>une prise en compte incontournable des </a:t>
            </a:r>
            <a:r>
              <a:rPr lang="fr-FR" sz="900" b="1">
                <a:latin typeface="+mj-lt"/>
              </a:rPr>
              <a:t>spécificités locales, avec la contribution de TN-DMS, TN-IE, TN-RH</a:t>
            </a:r>
            <a:r>
              <a:rPr lang="fr-FR" sz="900">
                <a:latin typeface="+mj-lt"/>
              </a:rPr>
              <a:t>,…, compte tenu des complexités et des forces de chaque Direction de Lignes.</a:t>
            </a:r>
          </a:p>
        </p:txBody>
      </p:sp>
      <p:sp>
        <p:nvSpPr>
          <p:cNvPr id="9" name="Rectangle 8">
            <a:extLst>
              <a:ext uri="{FF2B5EF4-FFF2-40B4-BE49-F238E27FC236}">
                <a16:creationId xmlns:a16="http://schemas.microsoft.com/office/drawing/2014/main" id="{70BEE6C8-B520-4BEC-A1B4-A7A98941AA3C}"/>
              </a:ext>
            </a:extLst>
          </p:cNvPr>
          <p:cNvSpPr/>
          <p:nvPr/>
        </p:nvSpPr>
        <p:spPr>
          <a:xfrm>
            <a:off x="6819347" y="3427951"/>
            <a:ext cx="5105954" cy="2579036"/>
          </a:xfrm>
          <a:prstGeom prst="rect">
            <a:avLst/>
          </a:prstGeom>
          <a:solidFill>
            <a:srgbClr val="E3E1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spcBef>
                <a:spcPts val="1600"/>
              </a:spcBef>
              <a:spcAft>
                <a:spcPts val="800"/>
              </a:spcAft>
            </a:pPr>
            <a:r>
              <a:rPr lang="fr-FR" sz="900" b="1">
                <a:solidFill>
                  <a:schemeClr val="tx1"/>
                </a:solidFill>
                <a:latin typeface="+mj-lt"/>
                <a:ea typeface="Calibri" panose="020F0502020204030204" pitchFamily="34" charset="0"/>
                <a:cs typeface="Times New Roman" panose="02020603050405020304" pitchFamily="18" charset="0"/>
              </a:rPr>
              <a:t>POGS Transilien</a:t>
            </a:r>
            <a:r>
              <a:rPr lang="fr-FR" sz="900">
                <a:solidFill>
                  <a:schemeClr val="tx1"/>
                </a:solidFill>
                <a:latin typeface="+mj-lt"/>
                <a:ea typeface="Calibri" panose="020F0502020204030204" pitchFamily="34" charset="0"/>
                <a:cs typeface="Times New Roman" panose="02020603050405020304" pitchFamily="18" charset="0"/>
              </a:rPr>
              <a:t> vise un équilibre entre </a:t>
            </a:r>
            <a:r>
              <a:rPr lang="fr-FR" sz="900" b="1">
                <a:solidFill>
                  <a:schemeClr val="tx1"/>
                </a:solidFill>
                <a:latin typeface="+mj-lt"/>
                <a:ea typeface="Calibri" panose="020F0502020204030204" pitchFamily="34" charset="0"/>
                <a:cs typeface="Times New Roman" panose="02020603050405020304" pitchFamily="18" charset="0"/>
              </a:rPr>
              <a:t>la nécessité d’une production performante </a:t>
            </a:r>
            <a:r>
              <a:rPr lang="fr-FR" sz="900">
                <a:solidFill>
                  <a:schemeClr val="tx1"/>
                </a:solidFill>
                <a:latin typeface="+mj-lt"/>
                <a:ea typeface="Calibri" panose="020F0502020204030204" pitchFamily="34" charset="0"/>
                <a:cs typeface="Times New Roman" panose="02020603050405020304" pitchFamily="18" charset="0"/>
              </a:rPr>
              <a:t>pour répondre aux exigences et </a:t>
            </a:r>
            <a:r>
              <a:rPr lang="fr-FR" sz="900" b="1">
                <a:solidFill>
                  <a:schemeClr val="tx1"/>
                </a:solidFill>
                <a:latin typeface="+mj-lt"/>
                <a:ea typeface="Calibri" panose="020F0502020204030204" pitchFamily="34" charset="0"/>
                <a:cs typeface="Times New Roman" panose="02020603050405020304" pitchFamily="18" charset="0"/>
              </a:rPr>
              <a:t>l’amélioration combinée des conditions de travail, de la qualité de service et de la performance des organisations </a:t>
            </a:r>
            <a:r>
              <a:rPr lang="fr-FR" sz="900">
                <a:solidFill>
                  <a:schemeClr val="tx1"/>
                </a:solidFill>
                <a:latin typeface="+mj-lt"/>
                <a:ea typeface="Calibri" panose="020F0502020204030204" pitchFamily="34" charset="0"/>
                <a:cs typeface="Times New Roman" panose="02020603050405020304" pitchFamily="18" charset="0"/>
              </a:rPr>
              <a:t>:  </a:t>
            </a:r>
          </a:p>
          <a:p>
            <a:pPr marL="336542" indent="-336542" algn="just">
              <a:spcBef>
                <a:spcPts val="0"/>
              </a:spcBef>
              <a:buFont typeface="Calibri" panose="020F0502020204030204" pitchFamily="34" charset="0"/>
              <a:buChar char="-"/>
            </a:pPr>
            <a:r>
              <a:rPr lang="fr-FR" sz="900" b="1">
                <a:solidFill>
                  <a:schemeClr val="tx1"/>
                </a:solidFill>
                <a:latin typeface="+mj-lt"/>
                <a:ea typeface="Calibri" panose="020F0502020204030204" pitchFamily="34" charset="0"/>
                <a:cs typeface="Times New Roman" panose="02020603050405020304" pitchFamily="18" charset="0"/>
              </a:rPr>
              <a:t>Performance du processus</a:t>
            </a:r>
            <a:r>
              <a:rPr lang="fr-FR" sz="900">
                <a:solidFill>
                  <a:schemeClr val="tx1"/>
                </a:solidFill>
                <a:latin typeface="+mj-lt"/>
                <a:ea typeface="Calibri" panose="020F0502020204030204" pitchFamily="34" charset="0"/>
                <a:cs typeface="Times New Roman" panose="02020603050405020304" pitchFamily="18" charset="0"/>
              </a:rPr>
              <a:t> au travers d’un outil permettant :</a:t>
            </a:r>
          </a:p>
          <a:p>
            <a:pPr marL="601118" lvl="1" indent="-268811" algn="just">
              <a:spcBef>
                <a:spcPts val="0"/>
              </a:spcBef>
              <a:buFont typeface="Courier New" panose="02070309020205020404" pitchFamily="49" charset="0"/>
              <a:buChar char="o"/>
            </a:pPr>
            <a:r>
              <a:rPr lang="fr-FR" sz="900">
                <a:solidFill>
                  <a:schemeClr val="tx1"/>
                </a:solidFill>
                <a:latin typeface="+mj-lt"/>
                <a:ea typeface="Calibri" panose="020F0502020204030204" pitchFamily="34" charset="0"/>
                <a:cs typeface="Times New Roman" panose="02020603050405020304" pitchFamily="18" charset="0"/>
              </a:rPr>
              <a:t>la simulation et la planification </a:t>
            </a:r>
            <a:r>
              <a:rPr lang="fr-FR" sz="900" b="0">
                <a:solidFill>
                  <a:schemeClr val="tx1"/>
                </a:solidFill>
                <a:latin typeface="+mj-lt"/>
                <a:ea typeface="Calibri" panose="020F0502020204030204" pitchFamily="34" charset="0"/>
                <a:cs typeface="Times New Roman" panose="02020603050405020304" pitchFamily="18" charset="0"/>
              </a:rPr>
              <a:t>via des scénarios ad hoc, le meilleur usage des ressources, l’homogénéisation </a:t>
            </a:r>
            <a:br>
              <a:rPr lang="fr-FR" sz="900" b="0">
                <a:solidFill>
                  <a:schemeClr val="tx1"/>
                </a:solidFill>
                <a:latin typeface="+mj-lt"/>
                <a:ea typeface="Calibri" panose="020F0502020204030204" pitchFamily="34" charset="0"/>
                <a:cs typeface="Times New Roman" panose="02020603050405020304" pitchFamily="18" charset="0"/>
              </a:rPr>
            </a:br>
            <a:r>
              <a:rPr lang="fr-FR" sz="900" b="0">
                <a:solidFill>
                  <a:schemeClr val="tx1"/>
                </a:solidFill>
                <a:latin typeface="+mj-lt"/>
                <a:ea typeface="Calibri" panose="020F0502020204030204" pitchFamily="34" charset="0"/>
                <a:cs typeface="Times New Roman" panose="02020603050405020304" pitchFamily="18" charset="0"/>
              </a:rPr>
              <a:t>des outils, la cohérence et la synchronisation des données - dans une meilleure agilité, simplicité et robustesse,</a:t>
            </a:r>
          </a:p>
          <a:p>
            <a:pPr marL="601118" lvl="1" indent="-268811">
              <a:spcBef>
                <a:spcPts val="0"/>
              </a:spcBef>
              <a:spcAft>
                <a:spcPts val="1067"/>
              </a:spcAft>
              <a:buFont typeface="Courier New" panose="02070309020205020404" pitchFamily="49" charset="0"/>
              <a:buChar char="o"/>
            </a:pPr>
            <a:r>
              <a:rPr lang="fr-FR" sz="900">
                <a:solidFill>
                  <a:schemeClr val="tx1"/>
                </a:solidFill>
                <a:latin typeface="+mj-lt"/>
                <a:ea typeface="Calibri" panose="020F0502020204030204" pitchFamily="34" charset="0"/>
                <a:cs typeface="Times New Roman" panose="02020603050405020304" pitchFamily="18" charset="0"/>
              </a:rPr>
              <a:t>la sécurisation des interfaces </a:t>
            </a:r>
            <a:r>
              <a:rPr lang="fr-FR" sz="900" b="0">
                <a:solidFill>
                  <a:schemeClr val="tx1"/>
                </a:solidFill>
                <a:latin typeface="+mj-lt"/>
                <a:ea typeface="Calibri" panose="020F0502020204030204" pitchFamily="34" charset="0"/>
                <a:cs typeface="Times New Roman" panose="02020603050405020304" pitchFamily="18" charset="0"/>
              </a:rPr>
              <a:t>avec les partenaires internes comme avec les partenaires externes</a:t>
            </a:r>
          </a:p>
          <a:p>
            <a:pPr marL="361950" indent="-361950" algn="just">
              <a:buFont typeface="Arial" panose="020B0604020202020204" pitchFamily="34" charset="0"/>
              <a:buChar char="-"/>
            </a:pPr>
            <a:r>
              <a:rPr lang="fr-FR" sz="900" b="1">
                <a:solidFill>
                  <a:schemeClr val="tx1"/>
                </a:solidFill>
                <a:latin typeface="+mj-lt"/>
                <a:cs typeface="Times New Roman" panose="02020603050405020304" pitchFamily="18" charset="0"/>
              </a:rPr>
              <a:t>Améliorer la qualité de service </a:t>
            </a:r>
            <a:r>
              <a:rPr lang="fr-FR" sz="900">
                <a:solidFill>
                  <a:schemeClr val="tx1"/>
                </a:solidFill>
                <a:latin typeface="+mj-lt"/>
                <a:cs typeface="Times New Roman" panose="02020603050405020304" pitchFamily="18" charset="0"/>
              </a:rPr>
              <a:t>perçue par les voyageurs en employant les agents au bon endroit, au bon moment</a:t>
            </a:r>
          </a:p>
          <a:p>
            <a:pPr marL="361950" indent="-361950" algn="just">
              <a:buFont typeface="Arial" panose="020B0604020202020204" pitchFamily="34" charset="0"/>
              <a:buChar char="-"/>
            </a:pPr>
            <a:endParaRPr lang="fr-FR" sz="900">
              <a:solidFill>
                <a:schemeClr val="tx1"/>
              </a:solidFill>
              <a:latin typeface="+mj-lt"/>
              <a:cs typeface="Times New Roman" panose="02020603050405020304" pitchFamily="18" charset="0"/>
            </a:endParaRPr>
          </a:p>
          <a:p>
            <a:pPr marL="361950" indent="-361950" algn="just">
              <a:buFont typeface="Arial" panose="020B0604020202020204" pitchFamily="34" charset="0"/>
              <a:buChar char="-"/>
            </a:pPr>
            <a:r>
              <a:rPr lang="fr-FR" sz="900" b="1">
                <a:solidFill>
                  <a:schemeClr val="tx1"/>
                </a:solidFill>
                <a:latin typeface="+mj-lt"/>
                <a:ea typeface="Calibri" panose="020F0502020204030204" pitchFamily="34" charset="0"/>
                <a:cs typeface="Times New Roman" panose="02020603050405020304" pitchFamily="18" charset="0"/>
              </a:rPr>
              <a:t>Satisfaction</a:t>
            </a:r>
            <a:r>
              <a:rPr lang="fr-FR" sz="900">
                <a:solidFill>
                  <a:schemeClr val="tx1"/>
                </a:solidFill>
                <a:latin typeface="+mj-lt"/>
                <a:ea typeface="Calibri" panose="020F0502020204030204" pitchFamily="34" charset="0"/>
                <a:cs typeface="Times New Roman" panose="02020603050405020304" pitchFamily="18" charset="0"/>
              </a:rPr>
              <a:t>, </a:t>
            </a:r>
            <a:r>
              <a:rPr lang="fr-FR" sz="900" b="1">
                <a:solidFill>
                  <a:schemeClr val="tx1"/>
                </a:solidFill>
                <a:latin typeface="+mj-lt"/>
                <a:ea typeface="Calibri" panose="020F0502020204030204" pitchFamily="34" charset="0"/>
                <a:cs typeface="Times New Roman" panose="02020603050405020304" pitchFamily="18" charset="0"/>
              </a:rPr>
              <a:t>l'engagement des agents et le renfort de la ligne managériale</a:t>
            </a:r>
            <a:r>
              <a:rPr lang="fr-FR" sz="900">
                <a:solidFill>
                  <a:schemeClr val="tx1"/>
                </a:solidFill>
                <a:latin typeface="+mj-lt"/>
                <a:ea typeface="Calibri" panose="020F0502020204030204" pitchFamily="34" charset="0"/>
                <a:cs typeface="Times New Roman" panose="02020603050405020304" pitchFamily="18" charset="0"/>
              </a:rPr>
              <a:t>, en simplifiant le choix entre production et QVT, en intégrant une plus grande maîtrise de l’organisation dans le rôle managérial et en offrant la possibilité d'outiller et de garantir l'équité et la transparence de la gestion de la préférence.</a:t>
            </a:r>
            <a:endParaRPr lang="fr-FR" sz="900">
              <a:solidFill>
                <a:schemeClr val="tx1"/>
              </a:solidFill>
              <a:latin typeface="+mj-lt"/>
              <a:cs typeface="Times New Roman" panose="02020603050405020304" pitchFamily="18" charset="0"/>
            </a:endParaRPr>
          </a:p>
        </p:txBody>
      </p:sp>
      <p:sp>
        <p:nvSpPr>
          <p:cNvPr id="10" name="Espace réservé du contenu 7">
            <a:extLst>
              <a:ext uri="{FF2B5EF4-FFF2-40B4-BE49-F238E27FC236}">
                <a16:creationId xmlns:a16="http://schemas.microsoft.com/office/drawing/2014/main" id="{63362135-6F3C-0E04-008E-E38CFE0E62A4}"/>
              </a:ext>
            </a:extLst>
          </p:cNvPr>
          <p:cNvSpPr txBox="1">
            <a:spLocks/>
          </p:cNvSpPr>
          <p:nvPr/>
        </p:nvSpPr>
        <p:spPr bwMode="gray">
          <a:xfrm>
            <a:off x="589392" y="1260256"/>
            <a:ext cx="5208302" cy="407795"/>
          </a:xfrm>
          <a:prstGeom prst="rect">
            <a:avLst/>
          </a:prstGeom>
          <a:solidFill>
            <a:schemeClr val="bg2"/>
          </a:solidFill>
          <a:ln w="12700">
            <a:solidFill>
              <a:schemeClr val="bg2"/>
            </a:solidFill>
          </a:ln>
        </p:spPr>
        <p:txBody>
          <a:bodyPr vert="horz" wrap="square" lIns="72000" tIns="3810" rIns="72000" bIns="0" rtlCol="0" anchor="ctr">
            <a:noAutofit/>
          </a:bodyPr>
          <a:lstStyle>
            <a:defPPr marR="0" lvl="0" algn="l" rtl="0">
              <a:lnSpc>
                <a:spcPct val="100000"/>
              </a:lnSpc>
              <a:spcBef>
                <a:spcPts val="0"/>
              </a:spcBef>
              <a:spcAft>
                <a:spcPts val="0"/>
              </a:spcAft>
            </a:defPPr>
            <a:lvl1pPr algn="ctr">
              <a:defRPr sz="1200" spc="-5">
                <a:solidFill>
                  <a:srgbClr val="FFFFFF"/>
                </a:solidFill>
                <a:latin typeface="+mj-lt"/>
                <a:cs typeface="Verdana"/>
              </a:defRPr>
            </a:lvl1pPr>
            <a:lvl2pPr marL="0" indent="0" algn="l" defTabSz="1072866" rtl="0" eaLnBrk="1" fontAlgn="base" latinLnBrk="0" hangingPunct="1">
              <a:lnSpc>
                <a:spcPct val="100000"/>
              </a:lnSpc>
              <a:spcBef>
                <a:spcPts val="0"/>
              </a:spcBef>
              <a:spcAft>
                <a:spcPct val="0"/>
              </a:spcAft>
              <a:buFont typeface="Arial" pitchFamily="34" charset="0"/>
              <a:buNone/>
              <a:defRPr lang="fr-FR" sz="1400" kern="1200" dirty="0" smtClean="0">
                <a:solidFill>
                  <a:schemeClr val="tx1"/>
                </a:solidFill>
                <a:latin typeface="Avenir LT Std 55 Roman" pitchFamily="34" charset="0"/>
                <a:ea typeface="+mn-ea"/>
                <a:cs typeface="+mn-cs"/>
              </a:defRPr>
            </a:lvl2pPr>
            <a:lvl3pPr marL="168955" indent="-168955" algn="l" defTabSz="1072866" rtl="0" eaLnBrk="1" fontAlgn="base" latinLnBrk="0" hangingPunct="1">
              <a:lnSpc>
                <a:spcPct val="100000"/>
              </a:lnSpc>
              <a:spcBef>
                <a:spcPts val="0"/>
              </a:spcBef>
              <a:spcAft>
                <a:spcPct val="0"/>
              </a:spcAft>
              <a:buClr>
                <a:schemeClr val="accent1"/>
              </a:buClr>
              <a:buSzPct val="100000"/>
              <a:buFont typeface="Avenir LT Std 65 Medium" pitchFamily="34" charset="0"/>
              <a:buChar char="+"/>
              <a:defRPr lang="fr-FR" sz="1400" kern="1200" dirty="0" smtClean="0">
                <a:solidFill>
                  <a:schemeClr val="tx1"/>
                </a:solidFill>
                <a:latin typeface="Avenir LT Std 55 Roman" pitchFamily="34" charset="0"/>
                <a:ea typeface="+mn-ea"/>
                <a:cs typeface="+mn-cs"/>
              </a:defRPr>
            </a:lvl3pPr>
            <a:lvl4pPr marL="253433" indent="-84478" algn="l" defTabSz="1072866" rtl="0" eaLnBrk="1" fontAlgn="base" latinLnBrk="0" hangingPunct="1">
              <a:lnSpc>
                <a:spcPct val="100000"/>
              </a:lnSpc>
              <a:spcBef>
                <a:spcPts val="0"/>
              </a:spcBef>
              <a:spcAft>
                <a:spcPct val="0"/>
              </a:spcAft>
              <a:buClr>
                <a:schemeClr val="tx1"/>
              </a:buClr>
              <a:buSzPct val="75000"/>
              <a:buFont typeface="Arial" pitchFamily="34" charset="0"/>
              <a:buChar char="•"/>
              <a:defRPr lang="fr-FR" sz="1400" kern="1200" dirty="0" smtClean="0">
                <a:solidFill>
                  <a:schemeClr val="tx1"/>
                </a:solidFill>
                <a:latin typeface="Avenir LT Std 55 Roman" pitchFamily="34" charset="0"/>
                <a:ea typeface="+mn-ea"/>
                <a:cs typeface="+mn-cs"/>
              </a:defRPr>
            </a:lvl4pPr>
            <a:lvl5pPr marL="253433" indent="0" algn="l" defTabSz="1072866" rtl="0" eaLnBrk="1" fontAlgn="base" latinLnBrk="0" hangingPunct="1">
              <a:lnSpc>
                <a:spcPct val="100000"/>
              </a:lnSpc>
              <a:spcBef>
                <a:spcPts val="0"/>
              </a:spcBef>
              <a:spcAft>
                <a:spcPct val="0"/>
              </a:spcAft>
              <a:buSzPct val="100000"/>
              <a:buFont typeface="Arial" pitchFamily="34" charset="0"/>
              <a:buNone/>
              <a:defRPr lang="fr-FR" sz="1400" kern="1200" dirty="0">
                <a:solidFill>
                  <a:schemeClr val="tx1"/>
                </a:solidFill>
                <a:latin typeface="Avenir LT Std 55 Roman" pitchFamily="34" charset="0"/>
                <a:ea typeface="+mn-ea"/>
                <a:cs typeface="+mn-cs"/>
              </a:defRPr>
            </a:lvl5pPr>
            <a:lvl6pPr marL="2950380"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6813"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3246"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59678"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fr-FR" sz="1100"/>
              <a:t>Environnement Transilien</a:t>
            </a:r>
          </a:p>
        </p:txBody>
      </p:sp>
      <p:sp>
        <p:nvSpPr>
          <p:cNvPr id="14" name="Espace réservé du contenu 7">
            <a:extLst>
              <a:ext uri="{FF2B5EF4-FFF2-40B4-BE49-F238E27FC236}">
                <a16:creationId xmlns:a16="http://schemas.microsoft.com/office/drawing/2014/main" id="{99DD9790-030F-DA9F-82E1-134E50533EC6}"/>
              </a:ext>
            </a:extLst>
          </p:cNvPr>
          <p:cNvSpPr txBox="1">
            <a:spLocks/>
          </p:cNvSpPr>
          <p:nvPr/>
        </p:nvSpPr>
        <p:spPr bwMode="gray">
          <a:xfrm>
            <a:off x="6716999" y="1260256"/>
            <a:ext cx="5208302" cy="407795"/>
          </a:xfrm>
          <a:prstGeom prst="rect">
            <a:avLst/>
          </a:prstGeom>
          <a:solidFill>
            <a:schemeClr val="bg2"/>
          </a:solidFill>
          <a:ln w="12700">
            <a:solidFill>
              <a:schemeClr val="bg2"/>
            </a:solidFill>
          </a:ln>
        </p:spPr>
        <p:txBody>
          <a:bodyPr vert="horz" wrap="square" lIns="72000" tIns="3810" rIns="72000" bIns="0" rtlCol="0" anchor="ctr">
            <a:noAutofit/>
          </a:bodyPr>
          <a:lstStyle>
            <a:defPPr marR="0" lvl="0" algn="l" rtl="0">
              <a:lnSpc>
                <a:spcPct val="100000"/>
              </a:lnSpc>
              <a:spcBef>
                <a:spcPts val="0"/>
              </a:spcBef>
              <a:spcAft>
                <a:spcPts val="0"/>
              </a:spcAft>
            </a:defPPr>
            <a:lvl1pPr algn="ctr">
              <a:defRPr sz="1200" spc="-5">
                <a:solidFill>
                  <a:srgbClr val="FFFFFF"/>
                </a:solidFill>
                <a:latin typeface="+mj-lt"/>
                <a:cs typeface="Verdana"/>
              </a:defRPr>
            </a:lvl1pPr>
            <a:lvl2pPr marL="0" indent="0" algn="l" defTabSz="1072866" rtl="0" eaLnBrk="1" fontAlgn="base" latinLnBrk="0" hangingPunct="1">
              <a:lnSpc>
                <a:spcPct val="100000"/>
              </a:lnSpc>
              <a:spcBef>
                <a:spcPts val="0"/>
              </a:spcBef>
              <a:spcAft>
                <a:spcPct val="0"/>
              </a:spcAft>
              <a:buFont typeface="Arial" pitchFamily="34" charset="0"/>
              <a:buNone/>
              <a:defRPr lang="fr-FR" sz="1400" kern="1200" dirty="0" smtClean="0">
                <a:solidFill>
                  <a:schemeClr val="tx1"/>
                </a:solidFill>
                <a:latin typeface="Avenir LT Std 55 Roman" pitchFamily="34" charset="0"/>
                <a:ea typeface="+mn-ea"/>
                <a:cs typeface="+mn-cs"/>
              </a:defRPr>
            </a:lvl2pPr>
            <a:lvl3pPr marL="168955" indent="-168955" algn="l" defTabSz="1072866" rtl="0" eaLnBrk="1" fontAlgn="base" latinLnBrk="0" hangingPunct="1">
              <a:lnSpc>
                <a:spcPct val="100000"/>
              </a:lnSpc>
              <a:spcBef>
                <a:spcPts val="0"/>
              </a:spcBef>
              <a:spcAft>
                <a:spcPct val="0"/>
              </a:spcAft>
              <a:buClr>
                <a:schemeClr val="accent1"/>
              </a:buClr>
              <a:buSzPct val="100000"/>
              <a:buFont typeface="Avenir LT Std 65 Medium" pitchFamily="34" charset="0"/>
              <a:buChar char="+"/>
              <a:defRPr lang="fr-FR" sz="1400" kern="1200" dirty="0" smtClean="0">
                <a:solidFill>
                  <a:schemeClr val="tx1"/>
                </a:solidFill>
                <a:latin typeface="Avenir LT Std 55 Roman" pitchFamily="34" charset="0"/>
                <a:ea typeface="+mn-ea"/>
                <a:cs typeface="+mn-cs"/>
              </a:defRPr>
            </a:lvl3pPr>
            <a:lvl4pPr marL="253433" indent="-84478" algn="l" defTabSz="1072866" rtl="0" eaLnBrk="1" fontAlgn="base" latinLnBrk="0" hangingPunct="1">
              <a:lnSpc>
                <a:spcPct val="100000"/>
              </a:lnSpc>
              <a:spcBef>
                <a:spcPts val="0"/>
              </a:spcBef>
              <a:spcAft>
                <a:spcPct val="0"/>
              </a:spcAft>
              <a:buClr>
                <a:schemeClr val="tx1"/>
              </a:buClr>
              <a:buSzPct val="75000"/>
              <a:buFont typeface="Arial" pitchFamily="34" charset="0"/>
              <a:buChar char="•"/>
              <a:defRPr lang="fr-FR" sz="1400" kern="1200" dirty="0" smtClean="0">
                <a:solidFill>
                  <a:schemeClr val="tx1"/>
                </a:solidFill>
                <a:latin typeface="Avenir LT Std 55 Roman" pitchFamily="34" charset="0"/>
                <a:ea typeface="+mn-ea"/>
                <a:cs typeface="+mn-cs"/>
              </a:defRPr>
            </a:lvl4pPr>
            <a:lvl5pPr marL="253433" indent="0" algn="l" defTabSz="1072866" rtl="0" eaLnBrk="1" fontAlgn="base" latinLnBrk="0" hangingPunct="1">
              <a:lnSpc>
                <a:spcPct val="100000"/>
              </a:lnSpc>
              <a:spcBef>
                <a:spcPts val="0"/>
              </a:spcBef>
              <a:spcAft>
                <a:spcPct val="0"/>
              </a:spcAft>
              <a:buSzPct val="100000"/>
              <a:buFont typeface="Arial" pitchFamily="34" charset="0"/>
              <a:buNone/>
              <a:defRPr lang="fr-FR" sz="1400" kern="1200" dirty="0">
                <a:solidFill>
                  <a:schemeClr val="tx1"/>
                </a:solidFill>
                <a:latin typeface="Avenir LT Std 55 Roman" pitchFamily="34" charset="0"/>
                <a:ea typeface="+mn-ea"/>
                <a:cs typeface="+mn-cs"/>
              </a:defRPr>
            </a:lvl5pPr>
            <a:lvl6pPr marL="2950380"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6813"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3246"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59678"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fr-FR" sz="1100"/>
              <a:t>Notre vision du projet POGS Transilien</a:t>
            </a:r>
          </a:p>
        </p:txBody>
      </p:sp>
    </p:spTree>
    <p:extLst>
      <p:ext uri="{BB962C8B-B14F-4D97-AF65-F5344CB8AC3E}">
        <p14:creationId xmlns:p14="http://schemas.microsoft.com/office/powerpoint/2010/main" val="29901605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9E04204-AE45-4668-AAC4-25EFEE7BD311}"/>
              </a:ext>
            </a:extLst>
          </p:cNvPr>
          <p:cNvSpPr>
            <a:spLocks noGrp="1"/>
          </p:cNvSpPr>
          <p:nvPr>
            <p:ph type="title"/>
          </p:nvPr>
        </p:nvSpPr>
        <p:spPr>
          <a:xfrm>
            <a:off x="392292" y="204649"/>
            <a:ext cx="11574945" cy="407795"/>
          </a:xfrm>
        </p:spPr>
        <p:txBody>
          <a:bodyPr/>
          <a:lstStyle/>
          <a:p>
            <a:r>
              <a:rPr lang="fr-FR"/>
              <a:t>Compréhension du contexte et des enjeux</a:t>
            </a:r>
            <a:br>
              <a:rPr lang="fr-FR"/>
            </a:br>
            <a:r>
              <a:rPr lang="fr-FR" sz="1600" b="0">
                <a:solidFill>
                  <a:schemeClr val="bg2">
                    <a:lumMod val="60000"/>
                    <a:lumOff val="40000"/>
                  </a:schemeClr>
                </a:solidFill>
                <a:latin typeface="+mn-lt"/>
                <a:cs typeface="Arial" panose="020B0604020202020204" pitchFamily="34" charset="0"/>
              </a:rPr>
              <a:t>Les éléments structurants pour mener les formations POGS Transilien</a:t>
            </a:r>
          </a:p>
        </p:txBody>
      </p:sp>
      <p:sp>
        <p:nvSpPr>
          <p:cNvPr id="5" name="Rectangle : coins arrondis 4">
            <a:extLst>
              <a:ext uri="{FF2B5EF4-FFF2-40B4-BE49-F238E27FC236}">
                <a16:creationId xmlns:a16="http://schemas.microsoft.com/office/drawing/2014/main" id="{4E4728DD-21CD-4200-BE79-08386F368118}"/>
              </a:ext>
            </a:extLst>
          </p:cNvPr>
          <p:cNvSpPr/>
          <p:nvPr/>
        </p:nvSpPr>
        <p:spPr>
          <a:xfrm>
            <a:off x="6370261" y="4283577"/>
            <a:ext cx="5364000" cy="2016000"/>
          </a:xfrm>
          <a:prstGeom prst="roundRect">
            <a:avLst>
              <a:gd name="adj" fmla="val 981"/>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latin typeface="Arial" panose="020B0604020202020204" pitchFamily="34" charset="0"/>
              <a:cs typeface="Arial" panose="020B0604020202020204" pitchFamily="34" charset="0"/>
            </a:endParaRPr>
          </a:p>
        </p:txBody>
      </p:sp>
      <p:sp>
        <p:nvSpPr>
          <p:cNvPr id="6" name="Google Shape;576;p17">
            <a:extLst>
              <a:ext uri="{FF2B5EF4-FFF2-40B4-BE49-F238E27FC236}">
                <a16:creationId xmlns:a16="http://schemas.microsoft.com/office/drawing/2014/main" id="{88075F28-79E6-4C99-8843-988B37880ABF}"/>
              </a:ext>
            </a:extLst>
          </p:cNvPr>
          <p:cNvSpPr/>
          <p:nvPr/>
        </p:nvSpPr>
        <p:spPr>
          <a:xfrm>
            <a:off x="6509961" y="4082410"/>
            <a:ext cx="4680000" cy="615482"/>
          </a:xfrm>
          <a:prstGeom prst="rect">
            <a:avLst/>
          </a:prstGeom>
          <a:solidFill>
            <a:schemeClr val="bg1"/>
          </a:solidFill>
          <a:ln>
            <a:noFill/>
          </a:ln>
        </p:spPr>
        <p:txBody>
          <a:bodyPr spcFirstLastPara="1" wrap="square" lIns="121900" tIns="60925" rIns="121900" bIns="60925" anchor="t" anchorCtr="0">
            <a:spAutoFit/>
          </a:bodyPr>
          <a:lstStyle/>
          <a:p>
            <a:r>
              <a:rPr lang="fr-FR" sz="1600" b="1">
                <a:solidFill>
                  <a:schemeClr val="accent6"/>
                </a:solidFill>
                <a:latin typeface="Arial Black" panose="020B0604020202020204" pitchFamily="34" charset="0"/>
                <a:cs typeface="Arial Black" panose="020B0604020202020204" pitchFamily="34" charset="0"/>
                <a:sym typeface="Wingdings" panose="05000000000000000000" pitchFamily="2" charset="2"/>
              </a:rPr>
              <a:t>Le déploiement d’un nouvel outil pour accompagner cette transformation</a:t>
            </a:r>
            <a:endParaRPr lang="fr-FR" sz="1200" b="1">
              <a:solidFill>
                <a:schemeClr val="accent6"/>
              </a:solidFill>
              <a:latin typeface="Arial Black" panose="020B0604020202020204" pitchFamily="34" charset="0"/>
              <a:cs typeface="Arial Black" panose="020B0604020202020204" pitchFamily="34" charset="0"/>
              <a:sym typeface="Wingdings" panose="05000000000000000000" pitchFamily="2" charset="2"/>
            </a:endParaRPr>
          </a:p>
        </p:txBody>
      </p:sp>
      <p:sp>
        <p:nvSpPr>
          <p:cNvPr id="7" name="Rectangle : coins arrondis 6">
            <a:extLst>
              <a:ext uri="{FF2B5EF4-FFF2-40B4-BE49-F238E27FC236}">
                <a16:creationId xmlns:a16="http://schemas.microsoft.com/office/drawing/2014/main" id="{94BB8232-AD7E-462F-BE56-241969B26E05}"/>
              </a:ext>
            </a:extLst>
          </p:cNvPr>
          <p:cNvSpPr/>
          <p:nvPr/>
        </p:nvSpPr>
        <p:spPr>
          <a:xfrm>
            <a:off x="479513" y="1829674"/>
            <a:ext cx="5364000" cy="2016000"/>
          </a:xfrm>
          <a:prstGeom prst="roundRect">
            <a:avLst>
              <a:gd name="adj" fmla="val 981"/>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solidFill>
                <a:schemeClr val="bg1"/>
              </a:solidFill>
              <a:latin typeface="Arial" panose="020B0604020202020204" pitchFamily="34" charset="0"/>
              <a:cs typeface="Arial" panose="020B0604020202020204" pitchFamily="34" charset="0"/>
            </a:endParaRPr>
          </a:p>
        </p:txBody>
      </p:sp>
      <p:sp>
        <p:nvSpPr>
          <p:cNvPr id="8" name="Google Shape;576;p17">
            <a:extLst>
              <a:ext uri="{FF2B5EF4-FFF2-40B4-BE49-F238E27FC236}">
                <a16:creationId xmlns:a16="http://schemas.microsoft.com/office/drawing/2014/main" id="{1DA7F924-50C4-433E-8798-9A79950F0BFC}"/>
              </a:ext>
            </a:extLst>
          </p:cNvPr>
          <p:cNvSpPr/>
          <p:nvPr/>
        </p:nvSpPr>
        <p:spPr>
          <a:xfrm>
            <a:off x="616304" y="1635276"/>
            <a:ext cx="4680000" cy="615482"/>
          </a:xfrm>
          <a:prstGeom prst="rect">
            <a:avLst/>
          </a:prstGeom>
          <a:solidFill>
            <a:schemeClr val="bg1"/>
          </a:solidFill>
          <a:ln>
            <a:noFill/>
          </a:ln>
        </p:spPr>
        <p:txBody>
          <a:bodyPr spcFirstLastPara="1" wrap="square" lIns="121900" tIns="60925" rIns="121900" bIns="60925" anchor="t" anchorCtr="0">
            <a:spAutoFit/>
          </a:bodyPr>
          <a:lstStyle/>
          <a:p>
            <a:r>
              <a:rPr lang="fr-FR" sz="1600" b="1">
                <a:solidFill>
                  <a:schemeClr val="tx2"/>
                </a:solidFill>
                <a:latin typeface="Arial Black" panose="020B0604020202020204" pitchFamily="34" charset="0"/>
                <a:cs typeface="Arial Black" panose="020B0604020202020204" pitchFamily="34" charset="0"/>
                <a:sym typeface="Wingdings" panose="05000000000000000000" pitchFamily="2" charset="2"/>
              </a:rPr>
              <a:t>Une population multiple à former en priorité</a:t>
            </a:r>
          </a:p>
        </p:txBody>
      </p:sp>
      <p:sp>
        <p:nvSpPr>
          <p:cNvPr id="10" name="Rectangle : coins arrondis 9">
            <a:extLst>
              <a:ext uri="{FF2B5EF4-FFF2-40B4-BE49-F238E27FC236}">
                <a16:creationId xmlns:a16="http://schemas.microsoft.com/office/drawing/2014/main" id="{CD23EDCE-8175-411C-B90B-1361B7A32D02}"/>
              </a:ext>
            </a:extLst>
          </p:cNvPr>
          <p:cNvSpPr/>
          <p:nvPr/>
        </p:nvSpPr>
        <p:spPr>
          <a:xfrm>
            <a:off x="6373169" y="1829674"/>
            <a:ext cx="5364000" cy="2016000"/>
          </a:xfrm>
          <a:prstGeom prst="roundRect">
            <a:avLst>
              <a:gd name="adj" fmla="val 981"/>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latin typeface="Arial" panose="020B0604020202020204" pitchFamily="34" charset="0"/>
              <a:cs typeface="Arial" panose="020B0604020202020204" pitchFamily="34" charset="0"/>
            </a:endParaRPr>
          </a:p>
        </p:txBody>
      </p:sp>
      <p:sp>
        <p:nvSpPr>
          <p:cNvPr id="11" name="Google Shape;576;p17">
            <a:extLst>
              <a:ext uri="{FF2B5EF4-FFF2-40B4-BE49-F238E27FC236}">
                <a16:creationId xmlns:a16="http://schemas.microsoft.com/office/drawing/2014/main" id="{8159CABA-9735-4133-82FC-81C28BB0336F}"/>
              </a:ext>
            </a:extLst>
          </p:cNvPr>
          <p:cNvSpPr/>
          <p:nvPr/>
        </p:nvSpPr>
        <p:spPr>
          <a:xfrm>
            <a:off x="6509961" y="1635276"/>
            <a:ext cx="4680000" cy="615482"/>
          </a:xfrm>
          <a:prstGeom prst="rect">
            <a:avLst/>
          </a:prstGeom>
          <a:solidFill>
            <a:schemeClr val="bg1"/>
          </a:solidFill>
          <a:ln>
            <a:noFill/>
          </a:ln>
        </p:spPr>
        <p:txBody>
          <a:bodyPr spcFirstLastPara="1" wrap="square" lIns="121900" tIns="60925" rIns="121900" bIns="60925" anchor="t" anchorCtr="0">
            <a:spAutoFit/>
          </a:bodyPr>
          <a:lstStyle/>
          <a:p>
            <a:r>
              <a:rPr lang="fr-FR" sz="1600" b="1">
                <a:solidFill>
                  <a:schemeClr val="accent5"/>
                </a:solidFill>
                <a:latin typeface="Arial Black" panose="020B0604020202020204" pitchFamily="34" charset="0"/>
                <a:cs typeface="Arial Black" panose="020B0604020202020204" pitchFamily="34" charset="0"/>
                <a:sym typeface="Wingdings" panose="05000000000000000000" pitchFamily="2" charset="2"/>
              </a:rPr>
              <a:t>Des acteurs répartis sur l’ensemble de l’Île-de-France</a:t>
            </a:r>
            <a:endParaRPr lang="fr-FR" sz="1200">
              <a:solidFill>
                <a:schemeClr val="accent5"/>
              </a:solidFill>
              <a:latin typeface="Arial" panose="020B0604020202020204" pitchFamily="34" charset="0"/>
              <a:cs typeface="Arial" panose="020B0604020202020204" pitchFamily="34" charset="0"/>
              <a:sym typeface="Wingdings" panose="05000000000000000000" pitchFamily="2" charset="2"/>
            </a:endParaRPr>
          </a:p>
        </p:txBody>
      </p:sp>
      <p:sp>
        <p:nvSpPr>
          <p:cNvPr id="13" name="Rectangle : coins arrondis 12">
            <a:extLst>
              <a:ext uri="{FF2B5EF4-FFF2-40B4-BE49-F238E27FC236}">
                <a16:creationId xmlns:a16="http://schemas.microsoft.com/office/drawing/2014/main" id="{1431A8CB-96CA-472B-BFAE-522A78876FF7}"/>
              </a:ext>
            </a:extLst>
          </p:cNvPr>
          <p:cNvSpPr/>
          <p:nvPr/>
        </p:nvSpPr>
        <p:spPr>
          <a:xfrm>
            <a:off x="479513" y="4283576"/>
            <a:ext cx="5364000" cy="2016000"/>
          </a:xfrm>
          <a:prstGeom prst="roundRect">
            <a:avLst>
              <a:gd name="adj" fmla="val 981"/>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latin typeface="Arial" panose="020B0604020202020204" pitchFamily="34" charset="0"/>
              <a:cs typeface="Arial" panose="020B0604020202020204" pitchFamily="34" charset="0"/>
            </a:endParaRPr>
          </a:p>
        </p:txBody>
      </p:sp>
      <p:sp>
        <p:nvSpPr>
          <p:cNvPr id="14" name="Google Shape;576;p17">
            <a:extLst>
              <a:ext uri="{FF2B5EF4-FFF2-40B4-BE49-F238E27FC236}">
                <a16:creationId xmlns:a16="http://schemas.microsoft.com/office/drawing/2014/main" id="{F577D0F2-DB0B-4393-8BF5-DA50867BA23A}"/>
              </a:ext>
            </a:extLst>
          </p:cNvPr>
          <p:cNvSpPr/>
          <p:nvPr/>
        </p:nvSpPr>
        <p:spPr>
          <a:xfrm>
            <a:off x="616304" y="4082410"/>
            <a:ext cx="4680000" cy="615482"/>
          </a:xfrm>
          <a:prstGeom prst="rect">
            <a:avLst/>
          </a:prstGeom>
          <a:solidFill>
            <a:schemeClr val="bg1"/>
          </a:solidFill>
          <a:ln>
            <a:noFill/>
          </a:ln>
        </p:spPr>
        <p:txBody>
          <a:bodyPr spcFirstLastPara="1" wrap="square" lIns="121900" tIns="60925" rIns="121900" bIns="60925" anchor="t" anchorCtr="0">
            <a:spAutoFit/>
          </a:bodyPr>
          <a:lstStyle/>
          <a:p>
            <a:r>
              <a:rPr lang="fr-FR" sz="1600" b="1">
                <a:solidFill>
                  <a:schemeClr val="accent4"/>
                </a:solidFill>
                <a:latin typeface="Arial Black" panose="020B0604020202020204" pitchFamily="34" charset="0"/>
                <a:cs typeface="Arial Black" panose="020B0604020202020204" pitchFamily="34" charset="0"/>
                <a:sym typeface="Wingdings" panose="05000000000000000000" pitchFamily="2" charset="2"/>
              </a:rPr>
              <a:t>Une maturité hétérogène et des besoins spécifiques</a:t>
            </a:r>
            <a:endParaRPr lang="fr-FR" sz="1200">
              <a:solidFill>
                <a:schemeClr val="accent4"/>
              </a:solidFill>
              <a:latin typeface="Arial" panose="020B0604020202020204" pitchFamily="34" charset="0"/>
              <a:cs typeface="Arial" panose="020B0604020202020204" pitchFamily="34" charset="0"/>
              <a:sym typeface="Wingdings" panose="05000000000000000000" pitchFamily="2" charset="2"/>
            </a:endParaRPr>
          </a:p>
        </p:txBody>
      </p:sp>
      <p:pic>
        <p:nvPicPr>
          <p:cNvPr id="15" name="Picture 2">
            <a:extLst>
              <a:ext uri="{FF2B5EF4-FFF2-40B4-BE49-F238E27FC236}">
                <a16:creationId xmlns:a16="http://schemas.microsoft.com/office/drawing/2014/main" id="{A49DD30B-FC40-49A9-9CF0-C09BC7D1EB5F}"/>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t="12133"/>
          <a:stretch/>
        </p:blipFill>
        <p:spPr bwMode="auto">
          <a:xfrm>
            <a:off x="4440238" y="4890966"/>
            <a:ext cx="1136023" cy="822625"/>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6" name="Google Shape;576;p17">
            <a:extLst>
              <a:ext uri="{FF2B5EF4-FFF2-40B4-BE49-F238E27FC236}">
                <a16:creationId xmlns:a16="http://schemas.microsoft.com/office/drawing/2014/main" id="{7541CBD0-325B-4294-8AF4-D726AC34B380}"/>
              </a:ext>
            </a:extLst>
          </p:cNvPr>
          <p:cNvSpPr/>
          <p:nvPr/>
        </p:nvSpPr>
        <p:spPr>
          <a:xfrm>
            <a:off x="454831" y="2292113"/>
            <a:ext cx="4145519" cy="1415702"/>
          </a:xfrm>
          <a:prstGeom prst="rect">
            <a:avLst/>
          </a:prstGeom>
          <a:noFill/>
          <a:ln>
            <a:noFill/>
          </a:ln>
        </p:spPr>
        <p:txBody>
          <a:bodyPr spcFirstLastPara="1" wrap="square" lIns="121900" tIns="60925" rIns="121900" bIns="60925" anchor="t" anchorCtr="0">
            <a:spAutoFit/>
          </a:bodyPr>
          <a:lstStyle/>
          <a:p>
            <a:pPr marL="171450" indent="-171450">
              <a:buClrTx/>
              <a:buFont typeface="Arial" panose="020B0604020202020204" pitchFamily="34" charset="0"/>
              <a:buChar char="•"/>
            </a:pPr>
            <a:r>
              <a:rPr lang="fr-FR" sz="1200">
                <a:solidFill>
                  <a:schemeClr val="tx1"/>
                </a:solidFill>
                <a:latin typeface="Arial" panose="020B0604020202020204" pitchFamily="34" charset="0"/>
                <a:cs typeface="Arial" panose="020B0604020202020204" pitchFamily="34" charset="0"/>
                <a:sym typeface="Wingdings" panose="05000000000000000000" pitchFamily="2" charset="2"/>
              </a:rPr>
              <a:t>Fonctions support (directions, managers, agents des centres opérationnels Transilien…)</a:t>
            </a:r>
          </a:p>
          <a:p>
            <a:pPr marL="171450" indent="-171450">
              <a:buClrTx/>
              <a:buFont typeface="Arial" panose="020B0604020202020204" pitchFamily="34" charset="0"/>
              <a:buChar char="•"/>
            </a:pPr>
            <a:r>
              <a:rPr lang="fr-FR" sz="1200">
                <a:solidFill>
                  <a:schemeClr val="tx1"/>
                </a:solidFill>
                <a:latin typeface="Arial" panose="020B0604020202020204" pitchFamily="34" charset="0"/>
                <a:cs typeface="Arial" panose="020B0604020202020204" pitchFamily="34" charset="0"/>
                <a:sym typeface="Wingdings" panose="05000000000000000000" pitchFamily="2" charset="2"/>
              </a:rPr>
              <a:t>Agents commerciaux des gares</a:t>
            </a:r>
          </a:p>
          <a:p>
            <a:pPr marL="171450" indent="-171450">
              <a:buClrTx/>
              <a:buFont typeface="Arial" panose="020B0604020202020204" pitchFamily="34" charset="0"/>
              <a:buChar char="•"/>
            </a:pPr>
            <a:r>
              <a:rPr lang="fr-FR" sz="1200">
                <a:solidFill>
                  <a:schemeClr val="tx1"/>
                </a:solidFill>
                <a:latin typeface="Arial" panose="020B0604020202020204" pitchFamily="34" charset="0"/>
                <a:cs typeface="Arial" panose="020B0604020202020204" pitchFamily="34" charset="0"/>
                <a:sym typeface="Wingdings" panose="05000000000000000000" pitchFamily="2" charset="2"/>
              </a:rPr>
              <a:t>Agents des </a:t>
            </a:r>
            <a:r>
              <a:rPr lang="fr-FR" sz="1200" err="1">
                <a:solidFill>
                  <a:schemeClr val="tx1"/>
                </a:solidFill>
                <a:latin typeface="Arial" panose="020B0604020202020204" pitchFamily="34" charset="0"/>
                <a:cs typeface="Arial" panose="020B0604020202020204" pitchFamily="34" charset="0"/>
                <a:sym typeface="Wingdings" panose="05000000000000000000" pitchFamily="2" charset="2"/>
              </a:rPr>
              <a:t>technicentres</a:t>
            </a:r>
            <a:r>
              <a:rPr lang="fr-FR" sz="1200">
                <a:solidFill>
                  <a:schemeClr val="tx1"/>
                </a:solidFill>
                <a:latin typeface="Arial" panose="020B0604020202020204" pitchFamily="34" charset="0"/>
                <a:cs typeface="Arial" panose="020B0604020202020204" pitchFamily="34" charset="0"/>
                <a:sym typeface="Wingdings" panose="05000000000000000000" pitchFamily="2" charset="2"/>
              </a:rPr>
              <a:t> de maintenance</a:t>
            </a:r>
          </a:p>
          <a:p>
            <a:pPr marL="171450" indent="-171450">
              <a:buClrTx/>
              <a:buFont typeface="Arial" panose="020B0604020202020204" pitchFamily="34" charset="0"/>
              <a:buChar char="•"/>
            </a:pPr>
            <a:r>
              <a:rPr lang="fr-FR" sz="1200">
                <a:solidFill>
                  <a:schemeClr val="tx1"/>
                </a:solidFill>
                <a:latin typeface="Arial" panose="020B0604020202020204" pitchFamily="34" charset="0"/>
                <a:cs typeface="Arial" panose="020B0604020202020204" pitchFamily="34" charset="0"/>
                <a:sym typeface="Wingdings" panose="05000000000000000000" pitchFamily="2" charset="2"/>
              </a:rPr>
              <a:t>Agents de contrôle (métier trains)</a:t>
            </a:r>
          </a:p>
          <a:p>
            <a:pPr marL="171450" indent="-171450">
              <a:buClrTx/>
              <a:buFont typeface="Arial" panose="020B0604020202020204" pitchFamily="34" charset="0"/>
              <a:buChar char="•"/>
            </a:pPr>
            <a:r>
              <a:rPr lang="fr-FR" sz="1200">
                <a:solidFill>
                  <a:schemeClr val="tx1"/>
                </a:solidFill>
                <a:latin typeface="Arial" panose="020B0604020202020204" pitchFamily="34" charset="0"/>
                <a:cs typeface="Arial" panose="020B0604020202020204" pitchFamily="34" charset="0"/>
                <a:sym typeface="Wingdings" panose="05000000000000000000" pitchFamily="2" charset="2"/>
              </a:rPr>
              <a:t>Agents du produit train</a:t>
            </a:r>
          </a:p>
          <a:p>
            <a:pPr marL="171450" indent="-171450">
              <a:buClrTx/>
              <a:buFont typeface="Arial" panose="020B0604020202020204" pitchFamily="34" charset="0"/>
              <a:buChar char="•"/>
            </a:pPr>
            <a:r>
              <a:rPr lang="fr-FR" sz="1200">
                <a:solidFill>
                  <a:schemeClr val="tx1"/>
                </a:solidFill>
                <a:latin typeface="Arial" panose="020B0604020202020204" pitchFamily="34" charset="0"/>
                <a:cs typeface="Arial" panose="020B0604020202020204" pitchFamily="34" charset="0"/>
                <a:sym typeface="Wingdings" panose="05000000000000000000" pitchFamily="2" charset="2"/>
              </a:rPr>
              <a:t>Agents de l’information voyageurs</a:t>
            </a:r>
          </a:p>
        </p:txBody>
      </p:sp>
      <p:sp>
        <p:nvSpPr>
          <p:cNvPr id="17" name="Google Shape;576;p17">
            <a:extLst>
              <a:ext uri="{FF2B5EF4-FFF2-40B4-BE49-F238E27FC236}">
                <a16:creationId xmlns:a16="http://schemas.microsoft.com/office/drawing/2014/main" id="{4D63FED0-E0B3-479A-81F0-33323B7319B8}"/>
              </a:ext>
            </a:extLst>
          </p:cNvPr>
          <p:cNvSpPr/>
          <p:nvPr/>
        </p:nvSpPr>
        <p:spPr>
          <a:xfrm>
            <a:off x="6370261" y="2187421"/>
            <a:ext cx="4259639" cy="1600367"/>
          </a:xfrm>
          <a:prstGeom prst="rect">
            <a:avLst/>
          </a:prstGeom>
          <a:noFill/>
          <a:ln>
            <a:noFill/>
          </a:ln>
        </p:spPr>
        <p:txBody>
          <a:bodyPr spcFirstLastPara="1" wrap="square" lIns="121900" tIns="60925" rIns="121900" bIns="60925" anchor="t" anchorCtr="0">
            <a:spAutoFit/>
          </a:bodyPr>
          <a:lstStyle/>
          <a:p>
            <a:pPr marL="171450" indent="-171450">
              <a:buClrTx/>
              <a:buFont typeface="Arial" panose="020B0604020202020204" pitchFamily="34" charset="0"/>
              <a:buChar char="•"/>
            </a:pPr>
            <a:r>
              <a:rPr lang="fr-FR" sz="1200">
                <a:solidFill>
                  <a:schemeClr val="tx1"/>
                </a:solidFill>
                <a:latin typeface="Arial" panose="020B0604020202020204" pitchFamily="34" charset="0"/>
                <a:cs typeface="Arial" panose="020B0604020202020204" pitchFamily="34" charset="0"/>
                <a:sym typeface="Wingdings" panose="05000000000000000000" pitchFamily="2" charset="2"/>
              </a:rPr>
              <a:t>Les populations à accompagner sur le projet POGS sont </a:t>
            </a:r>
            <a:br>
              <a:rPr lang="fr-FR" sz="1200">
                <a:solidFill>
                  <a:schemeClr val="tx1"/>
                </a:solidFill>
                <a:latin typeface="Arial" panose="020B0604020202020204" pitchFamily="34" charset="0"/>
                <a:cs typeface="Arial" panose="020B0604020202020204" pitchFamily="34" charset="0"/>
                <a:sym typeface="Wingdings" panose="05000000000000000000" pitchFamily="2" charset="2"/>
              </a:rPr>
            </a:br>
            <a:r>
              <a:rPr lang="fr-FR" sz="1200">
                <a:solidFill>
                  <a:schemeClr val="tx1"/>
                </a:solidFill>
                <a:latin typeface="Arial" panose="020B0604020202020204" pitchFamily="34" charset="0"/>
                <a:cs typeface="Arial" panose="020B0604020202020204" pitchFamily="34" charset="0"/>
                <a:sym typeface="Wingdings" panose="05000000000000000000" pitchFamily="2" charset="2"/>
              </a:rPr>
              <a:t>répartis au sein de 9 périmètres (LAJ, HK, DR, C,…). </a:t>
            </a:r>
          </a:p>
          <a:p>
            <a:pPr marL="171450" indent="-171450">
              <a:buClrTx/>
              <a:buFont typeface="Arial" panose="020B0604020202020204" pitchFamily="34" charset="0"/>
              <a:buChar char="•"/>
            </a:pPr>
            <a:r>
              <a:rPr lang="fr-FR" sz="1200">
                <a:solidFill>
                  <a:schemeClr val="tx1"/>
                </a:solidFill>
                <a:latin typeface="Arial" panose="020B0604020202020204" pitchFamily="34" charset="0"/>
                <a:cs typeface="Arial" panose="020B0604020202020204" pitchFamily="34" charset="0"/>
                <a:sym typeface="Wingdings" panose="05000000000000000000" pitchFamily="2" charset="2"/>
              </a:rPr>
              <a:t>Chacun comprend un et/ou plusieurs établissement(s), voire des établissements « imbriqués », en charge d’une partie des activités relatives à la gestion des personnels</a:t>
            </a:r>
          </a:p>
          <a:p>
            <a:pPr marL="171450" indent="-171450">
              <a:buClrTx/>
              <a:buFont typeface="Arial" panose="020B0604020202020204" pitchFamily="34" charset="0"/>
              <a:buChar char="•"/>
            </a:pPr>
            <a:r>
              <a:rPr lang="fr-FR" sz="1200">
                <a:solidFill>
                  <a:schemeClr val="tx1"/>
                </a:solidFill>
                <a:latin typeface="Arial" panose="020B0604020202020204" pitchFamily="34" charset="0"/>
                <a:cs typeface="Arial" panose="020B0604020202020204" pitchFamily="34" charset="0"/>
                <a:sym typeface="Wingdings" panose="05000000000000000000" pitchFamily="2" charset="2"/>
              </a:rPr>
              <a:t>Les complexités des périmètres ne sont pas uniformes et ne permettent pas de dupliquer l’ensemble des actions de conduite du changement</a:t>
            </a:r>
          </a:p>
        </p:txBody>
      </p:sp>
      <p:sp>
        <p:nvSpPr>
          <p:cNvPr id="18" name="Google Shape;576;p17">
            <a:extLst>
              <a:ext uri="{FF2B5EF4-FFF2-40B4-BE49-F238E27FC236}">
                <a16:creationId xmlns:a16="http://schemas.microsoft.com/office/drawing/2014/main" id="{EA39920B-A700-47FE-9EDF-B36F1EF4A762}"/>
              </a:ext>
            </a:extLst>
          </p:cNvPr>
          <p:cNvSpPr/>
          <p:nvPr/>
        </p:nvSpPr>
        <p:spPr>
          <a:xfrm>
            <a:off x="476605" y="4629710"/>
            <a:ext cx="3979371" cy="1415702"/>
          </a:xfrm>
          <a:prstGeom prst="rect">
            <a:avLst/>
          </a:prstGeom>
          <a:noFill/>
          <a:ln>
            <a:noFill/>
          </a:ln>
        </p:spPr>
        <p:txBody>
          <a:bodyPr spcFirstLastPara="1" wrap="square" lIns="121900" tIns="60925" rIns="121900" bIns="60925" anchor="t" anchorCtr="0">
            <a:spAutoFit/>
          </a:bodyPr>
          <a:lstStyle/>
          <a:p>
            <a:pPr marL="171450" indent="-171450">
              <a:buClrTx/>
              <a:buFont typeface="Arial" panose="020B0604020202020204" pitchFamily="34" charset="0"/>
              <a:buChar char="•"/>
            </a:pPr>
            <a:r>
              <a:rPr lang="fr-FR" sz="1200">
                <a:solidFill>
                  <a:schemeClr val="tx1"/>
                </a:solidFill>
                <a:latin typeface="Arial" panose="020B0604020202020204" pitchFamily="34" charset="0"/>
                <a:cs typeface="Arial" panose="020B0604020202020204" pitchFamily="34" charset="0"/>
                <a:sym typeface="Wingdings" panose="05000000000000000000" pitchFamily="2" charset="2"/>
              </a:rPr>
              <a:t>Les acteurs de ce projet ont des niveaux de maturité différents entre les Directions et parfois même au sein d’une même équipe sur l’utilisation des outils numériques et de l’outil ORION</a:t>
            </a:r>
          </a:p>
          <a:p>
            <a:pPr marL="171450" indent="-171450">
              <a:buClrTx/>
              <a:buFont typeface="Arial" panose="020B0604020202020204" pitchFamily="34" charset="0"/>
              <a:buChar char="•"/>
            </a:pPr>
            <a:r>
              <a:rPr lang="fr-FR" sz="1200">
                <a:solidFill>
                  <a:schemeClr val="tx1"/>
                </a:solidFill>
                <a:latin typeface="Arial" panose="020B0604020202020204" pitchFamily="34" charset="0"/>
                <a:cs typeface="Arial" panose="020B0604020202020204" pitchFamily="34" charset="0"/>
                <a:sym typeface="Wingdings" panose="05000000000000000000" pitchFamily="2" charset="2"/>
              </a:rPr>
              <a:t>Les besoins de formation des acteurs sont très divers et nécessitent une approche quasi-personnalisée des acteurs du projet</a:t>
            </a:r>
          </a:p>
        </p:txBody>
      </p:sp>
      <p:sp>
        <p:nvSpPr>
          <p:cNvPr id="19" name="Google Shape;576;p17">
            <a:extLst>
              <a:ext uri="{FF2B5EF4-FFF2-40B4-BE49-F238E27FC236}">
                <a16:creationId xmlns:a16="http://schemas.microsoft.com/office/drawing/2014/main" id="{7D75C2EF-6907-4662-B03B-A2432E874B7A}"/>
              </a:ext>
            </a:extLst>
          </p:cNvPr>
          <p:cNvSpPr/>
          <p:nvPr/>
        </p:nvSpPr>
        <p:spPr>
          <a:xfrm>
            <a:off x="6370261" y="4629710"/>
            <a:ext cx="5197852" cy="1415702"/>
          </a:xfrm>
          <a:prstGeom prst="rect">
            <a:avLst/>
          </a:prstGeom>
          <a:noFill/>
          <a:ln>
            <a:noFill/>
          </a:ln>
        </p:spPr>
        <p:txBody>
          <a:bodyPr spcFirstLastPara="1" wrap="square" lIns="121900" tIns="60925" rIns="121900" bIns="60925" anchor="t" anchorCtr="0">
            <a:spAutoFit/>
          </a:bodyPr>
          <a:lstStyle/>
          <a:p>
            <a:pPr marL="228600" indent="-228600">
              <a:buClrTx/>
              <a:buFont typeface="Arial" panose="020B0604020202020204" pitchFamily="34" charset="0"/>
              <a:buChar char="•"/>
            </a:pPr>
            <a:r>
              <a:rPr lang="fr-FR" sz="1200">
                <a:solidFill>
                  <a:schemeClr val="tx1"/>
                </a:solidFill>
                <a:latin typeface="Arial" panose="020B0604020202020204" pitchFamily="34" charset="0"/>
                <a:cs typeface="Arial" panose="020B0604020202020204" pitchFamily="34" charset="0"/>
                <a:sym typeface="Wingdings" panose="05000000000000000000" pitchFamily="2" charset="2"/>
              </a:rPr>
              <a:t>Le déploiement d’un outil stable capable d’adresser les cas métiers complexes est un enjeu fort pour obtenir l’adhésion des populations impactées par le projet. A ce jour, l’outil ORION n’est pas totalement stable (reste à stabiliser le lien planification – ordonnancement, les interfaces de bout en bout et les performances)</a:t>
            </a:r>
          </a:p>
          <a:p>
            <a:pPr marL="228600" indent="-228600">
              <a:buClrTx/>
              <a:buFont typeface="Arial" panose="020B0604020202020204" pitchFamily="34" charset="0"/>
              <a:buChar char="•"/>
            </a:pPr>
            <a:r>
              <a:rPr lang="fr-FR" sz="1200">
                <a:solidFill>
                  <a:schemeClr val="tx1"/>
                </a:solidFill>
                <a:latin typeface="Arial" panose="020B0604020202020204" pitchFamily="34" charset="0"/>
                <a:cs typeface="Arial" panose="020B0604020202020204" pitchFamily="34" charset="0"/>
                <a:sym typeface="Wingdings" panose="05000000000000000000" pitchFamily="2" charset="2"/>
              </a:rPr>
              <a:t>La structuration de la formation s’articule avec le déploiement des fonctionnalités dans l’outil </a:t>
            </a:r>
          </a:p>
        </p:txBody>
      </p:sp>
      <p:sp>
        <p:nvSpPr>
          <p:cNvPr id="20" name="Espace réservé du texte 3">
            <a:extLst>
              <a:ext uri="{FF2B5EF4-FFF2-40B4-BE49-F238E27FC236}">
                <a16:creationId xmlns:a16="http://schemas.microsoft.com/office/drawing/2014/main" id="{13D1B09E-2F79-402D-A8DD-25C8D1B0DC6A}"/>
              </a:ext>
            </a:extLst>
          </p:cNvPr>
          <p:cNvSpPr txBox="1">
            <a:spLocks/>
          </p:cNvSpPr>
          <p:nvPr/>
        </p:nvSpPr>
        <p:spPr>
          <a:xfrm>
            <a:off x="392292" y="974651"/>
            <a:ext cx="11341969" cy="600858"/>
          </a:xfrm>
          <a:prstGeom prst="rect">
            <a:avLst/>
          </a:prstGeom>
          <a:solidFill>
            <a:srgbClr val="44388A"/>
          </a:solidFill>
          <a:ln w="12700">
            <a:solidFill>
              <a:srgbClr val="2A00B1"/>
            </a:solidFill>
          </a:ln>
        </p:spPr>
        <p:txBody>
          <a:bodyPr vert="horz" wrap="square" lIns="0" tIns="3810" rIns="0" bIns="0" rtlCol="0" anchor="ctr">
            <a:noAutofit/>
          </a:bodyPr>
          <a:lstStyle>
            <a:defPPr marR="0" lvl="0" algn="l" rtl="0">
              <a:lnSpc>
                <a:spcPct val="100000"/>
              </a:lnSpc>
              <a:spcBef>
                <a:spcPts val="0"/>
              </a:spcBef>
              <a:spcAft>
                <a:spcPts val="0"/>
              </a:spcAft>
            </a:defPPr>
            <a:lvl1pPr algn="ctr">
              <a:defRPr sz="1200" spc="-5">
                <a:solidFill>
                  <a:srgbClr val="FFFFFF"/>
                </a:solidFill>
                <a:latin typeface="+mj-lt"/>
                <a:cs typeface="Verdana"/>
              </a:defRPr>
            </a:lvl1pPr>
            <a:lvl2pPr marL="1219170" marR="0" lvl="1" indent="-423323" algn="l" rtl="0" eaLnBrk="1" hangingPunct="1">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sz="1400"/>
              <a:t>Afin de réussir la mise en œuvre de POGS Transilien, l’entreprise souhaite être accompagné par un prestataire </a:t>
            </a:r>
          </a:p>
          <a:p>
            <a:r>
              <a:rPr lang="fr-FR" sz="1400"/>
              <a:t>externe pour délivrer la formation ORION auprès de l’ensemble des populations impactées.</a:t>
            </a:r>
          </a:p>
        </p:txBody>
      </p:sp>
      <p:pic>
        <p:nvPicPr>
          <p:cNvPr id="4" name="Image 3">
            <a:extLst>
              <a:ext uri="{FF2B5EF4-FFF2-40B4-BE49-F238E27FC236}">
                <a16:creationId xmlns:a16="http://schemas.microsoft.com/office/drawing/2014/main" id="{1EAEE416-3627-08B7-2D34-29B31C0CCA58}"/>
              </a:ext>
            </a:extLst>
          </p:cNvPr>
          <p:cNvPicPr>
            <a:picLocks noChangeAspect="1"/>
          </p:cNvPicPr>
          <p:nvPr/>
        </p:nvPicPr>
        <p:blipFill>
          <a:blip r:embed="rId4"/>
          <a:stretch>
            <a:fillRect/>
          </a:stretch>
        </p:blipFill>
        <p:spPr>
          <a:xfrm>
            <a:off x="10702830" y="2031000"/>
            <a:ext cx="961408" cy="877419"/>
          </a:xfrm>
          <a:prstGeom prst="rect">
            <a:avLst/>
          </a:prstGeom>
        </p:spPr>
      </p:pic>
    </p:spTree>
    <p:extLst>
      <p:ext uri="{BB962C8B-B14F-4D97-AF65-F5344CB8AC3E}">
        <p14:creationId xmlns:p14="http://schemas.microsoft.com/office/powerpoint/2010/main" val="416624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C5E6956-A15D-4B0C-879A-780E301A6FD2}"/>
              </a:ext>
            </a:extLst>
          </p:cNvPr>
          <p:cNvSpPr>
            <a:spLocks noGrp="1"/>
          </p:cNvSpPr>
          <p:nvPr>
            <p:ph type="title"/>
          </p:nvPr>
        </p:nvSpPr>
        <p:spPr/>
        <p:txBody>
          <a:bodyPr/>
          <a:lstStyle/>
          <a:p>
            <a:r>
              <a:rPr lang="fr-FR" sz="2400"/>
              <a:t>PRÉSENTATION TALAN CONSULTING ET RÉFÉRENCES</a:t>
            </a:r>
            <a:endParaRPr lang="fr-FR"/>
          </a:p>
        </p:txBody>
      </p:sp>
    </p:spTree>
    <p:extLst>
      <p:ext uri="{BB962C8B-B14F-4D97-AF65-F5344CB8AC3E}">
        <p14:creationId xmlns:p14="http://schemas.microsoft.com/office/powerpoint/2010/main" val="14576059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WOCbf_TS06A0Es55mks8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IxPcKKmS9.xDl3TWpsOy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7cHvzBmQBaGAUuPlno_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iLRgW32SQmuhii8fJS6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PpfttXKREeGSB.PUdTQ5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WOCbf_TS06A0Es55mks8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Y5vp7oMTFu7QAW01x7_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WOCbf_TS06A0Es55mks8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uxtHHaTR1K0sp5AM79m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WOCbf_TS06A0Es55mks8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WOCbf_TS06A0Es55mks8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asque Siège 2021">
  <a:themeElements>
    <a:clrScheme name="Personnalisé 25">
      <a:dk1>
        <a:srgbClr val="000000"/>
      </a:dk1>
      <a:lt1>
        <a:srgbClr val="FFFFFF"/>
      </a:lt1>
      <a:dk2>
        <a:srgbClr val="44398A"/>
      </a:dk2>
      <a:lt2>
        <a:srgbClr val="203F8D"/>
      </a:lt2>
      <a:accent1>
        <a:srgbClr val="2C64A4"/>
      </a:accent1>
      <a:accent2>
        <a:srgbClr val="257A9D"/>
      </a:accent2>
      <a:accent3>
        <a:srgbClr val="F79616"/>
      </a:accent3>
      <a:accent4>
        <a:srgbClr val="45D1D7"/>
      </a:accent4>
      <a:accent5>
        <a:srgbClr val="45D896"/>
      </a:accent5>
      <a:accent6>
        <a:srgbClr val="29898D"/>
      </a:accent6>
      <a:hlink>
        <a:srgbClr val="2162C1"/>
      </a:hlink>
      <a:folHlink>
        <a:srgbClr val="954E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asques_Powerpoint_Consulting" id="{F1688057-980C-524F-9645-54B610855BBA}" vid="{A4A8D160-2254-2F49-95AC-4FD6EAED2359}"/>
    </a:ext>
  </a:extLst>
</a:theme>
</file>

<file path=ppt/theme/theme2.xml><?xml version="1.0" encoding="utf-8"?>
<a:theme xmlns:a="http://schemas.openxmlformats.org/drawingml/2006/main" name="Talan Consulting">
  <a:themeElements>
    <a:clrScheme name="TalanCouleurs2">
      <a:dk1>
        <a:srgbClr val="000000"/>
      </a:dk1>
      <a:lt1>
        <a:srgbClr val="FFFFFF"/>
      </a:lt1>
      <a:dk2>
        <a:srgbClr val="595959"/>
      </a:dk2>
      <a:lt2>
        <a:srgbClr val="EEEEEE"/>
      </a:lt2>
      <a:accent1>
        <a:srgbClr val="3D00F2"/>
      </a:accent1>
      <a:accent2>
        <a:srgbClr val="0062FF"/>
      </a:accent2>
      <a:accent3>
        <a:srgbClr val="00B1F7"/>
      </a:accent3>
      <a:accent4>
        <a:srgbClr val="00D2D9"/>
      </a:accent4>
      <a:accent5>
        <a:srgbClr val="00D998"/>
      </a:accent5>
      <a:accent6>
        <a:srgbClr val="0029CC"/>
      </a:accent6>
      <a:hlink>
        <a:srgbClr val="0097A7"/>
      </a:hlink>
      <a:folHlink>
        <a:srgbClr val="0097A7"/>
      </a:folHlink>
    </a:clrScheme>
    <a:fontScheme name="TalanConsulting2018">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accent2">
              <a:lumMod val="75000"/>
            </a:schemeClr>
          </a:solidFill>
        </a:ln>
      </a:spPr>
      <a:bodyPr lIns="72000" tIns="36000" rIns="72000" bIns="36000" rtlCol="0" anchor="ctr"/>
      <a:lstStyle>
        <a:defPPr algn="ctr">
          <a:defRPr sz="1400"/>
        </a:defPPr>
      </a:lstStyle>
      <a:style>
        <a:lnRef idx="2">
          <a:schemeClr val="accent1">
            <a:shade val="50000"/>
          </a:schemeClr>
        </a:lnRef>
        <a:fillRef idx="1">
          <a:schemeClr val="accent1"/>
        </a:fillRef>
        <a:effectRef idx="0">
          <a:schemeClr val="accent1"/>
        </a:effectRef>
        <a:fontRef idx="minor">
          <a:schemeClr val="lt1"/>
        </a:fontRef>
      </a:style>
    </a:spDef>
    <a:lnDef>
      <a:spPr>
        <a:ln w="9525">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spAutoFit/>
      </a:bodyPr>
      <a:lstStyle>
        <a:defPPr algn="l">
          <a:defRPr sz="1200" dirty="0">
            <a:latin typeface="+mn-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2B9C19B591D994EBC8A2669784C23FF" ma:contentTypeVersion="24" ma:contentTypeDescription="Crée un document." ma:contentTypeScope="" ma:versionID="d3949bb5cf4f1d900e13dc303d56e5dd">
  <xsd:schema xmlns:xsd="http://www.w3.org/2001/XMLSchema" xmlns:xs="http://www.w3.org/2001/XMLSchema" xmlns:p="http://schemas.microsoft.com/office/2006/metadata/properties" xmlns:ns2="02e6de94-908f-4934-beba-2e2c54d6e01c" xmlns:ns3="d04f2a86-103e-41f8-8ea1-74e96e6b3884" targetNamespace="http://schemas.microsoft.com/office/2006/metadata/properties" ma:root="true" ma:fieldsID="a8ec672d5808060554a634d3321eafbe" ns2:_="" ns3:_="">
    <xsd:import namespace="02e6de94-908f-4934-beba-2e2c54d6e01c"/>
    <xsd:import namespace="d04f2a86-103e-41f8-8ea1-74e96e6b388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lcf76f155ced4ddcb4097134ff3c332f" minOccurs="0"/>
                <xsd:element ref="ns3:TaxCatchAll" minOccurs="0"/>
                <xsd:element ref="ns2:Affectation" minOccurs="0"/>
                <xsd:element ref="ns2:Done" minOccurs="0"/>
                <xsd:element ref="ns2:Lecture" minOccurs="0"/>
                <xsd:element ref="ns2:MediaServiceObjectDetectorVersions" minOccurs="0"/>
                <xsd:element ref="ns2:Trait_x00e9_"/>
                <xsd:element ref="ns2:_Flow_SignoffStatu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e6de94-908f-4934-beba-2e2c54d6e0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b33823e1-7006-446b-af26-4f3e04a5b216" ma:termSetId="09814cd3-568e-fe90-9814-8d621ff8fb84" ma:anchorId="fba54fb3-c3e1-fe81-a776-ca4b69148c4d" ma:open="true" ma:isKeyword="false">
      <xsd:complexType>
        <xsd:sequence>
          <xsd:element ref="pc:Terms" minOccurs="0" maxOccurs="1"/>
        </xsd:sequence>
      </xsd:complexType>
    </xsd:element>
    <xsd:element name="Affectation" ma:index="24" nillable="true" ma:displayName="Affectation" ma:description="Cette colonne représente les affectations pour les annotations des RC" ma:format="Dropdown" ma:internalName="Affectation">
      <xsd:simpleType>
        <xsd:union memberTypes="dms:Text">
          <xsd:simpleType>
            <xsd:restriction base="dms:Choice">
              <xsd:enumeration value="Fatoumata"/>
              <xsd:enumeration value="Mozart"/>
            </xsd:restriction>
          </xsd:simpleType>
        </xsd:union>
      </xsd:simpleType>
    </xsd:element>
    <xsd:element name="Done" ma:index="25" nillable="true" ma:displayName="Progression " ma:default="to do" ma:format="Dropdown" ma:internalName="Done">
      <xsd:simpleType>
        <xsd:union memberTypes="dms:Text">
          <xsd:simpleType>
            <xsd:restriction base="dms:Choice">
              <xsd:enumeration value="in progress"/>
              <xsd:enumeration value="to do"/>
              <xsd:enumeration value="Blocking"/>
              <xsd:enumeration value="✓"/>
            </xsd:restriction>
          </xsd:simpleType>
        </xsd:union>
      </xsd:simpleType>
    </xsd:element>
    <xsd:element name="Lecture" ma:index="26" nillable="true" ma:displayName="Lecture" ma:description="Identifiez-vous sur l'article que vous avez lu." ma:format="Dropdown" ma:list="UserInfo" ma:SharePointGroup="0" ma:internalName="Lectur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element name="Trait_x00e9_" ma:index="28" ma:displayName="Traité" ma:default="0" ma:format="Dropdown" ma:internalName="Trait_x00e9_">
      <xsd:simpleType>
        <xsd:restriction base="dms:Boolean"/>
      </xsd:simpleType>
    </xsd:element>
    <xsd:element name="_Flow_SignoffStatus" ma:index="29" nillable="true" ma:displayName="Sign-off status" ma:internalName="Sign_x002d_off_x0020_status">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04f2a86-103e-41f8-8ea1-74e96e6b3884"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e7b9bd46-a292-496d-8733-299f46527b11}" ma:internalName="TaxCatchAll" ma:showField="CatchAllData" ma:web="d04f2a86-103e-41f8-8ea1-74e96e6b38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d04f2a86-103e-41f8-8ea1-74e96e6b3884">
      <UserInfo>
        <DisplayName>Ianis BAHRAOUI</DisplayName>
        <AccountId>14</AccountId>
        <AccountType/>
      </UserInfo>
      <UserInfo>
        <DisplayName>Martin BAREL</DisplayName>
        <AccountId>15</AccountId>
        <AccountType/>
      </UserInfo>
      <UserInfo>
        <DisplayName>Charlotte JACQUEMIN</DisplayName>
        <AccountId>33</AccountId>
        <AccountType/>
      </UserInfo>
      <UserInfo>
        <DisplayName>Jean GRANDEMANGE</DisplayName>
        <AccountId>18</AccountId>
        <AccountType/>
      </UserInfo>
      <UserInfo>
        <DisplayName>Thomas BEGUIN</DisplayName>
        <AccountId>67</AccountId>
        <AccountType/>
      </UserInfo>
      <UserInfo>
        <DisplayName>Pierre CARON</DisplayName>
        <AccountId>145</AccountId>
        <AccountType/>
      </UserInfo>
      <UserInfo>
        <DisplayName>Kawtar SADIQ</DisplayName>
        <AccountId>62</AccountId>
        <AccountType/>
      </UserInfo>
      <UserInfo>
        <DisplayName>Hissam EL BARKAOUI</DisplayName>
        <AccountId>121</AccountId>
        <AccountType/>
      </UserInfo>
      <UserInfo>
        <DisplayName>Arnaud CIRILLE</DisplayName>
        <AccountId>111</AccountId>
        <AccountType/>
      </UserInfo>
      <UserInfo>
        <DisplayName>Olivier DOUBLET</DisplayName>
        <AccountId>42</AccountId>
        <AccountType/>
      </UserInfo>
      <UserInfo>
        <DisplayName>Oriane LE GAVRIAN</DisplayName>
        <AccountId>243</AccountId>
        <AccountType/>
      </UserInfo>
      <UserInfo>
        <DisplayName>Amélie LE LEVREUR</DisplayName>
        <AccountId>266</AccountId>
        <AccountType/>
      </UserInfo>
      <UserInfo>
        <DisplayName>Benoit NUSSBAUMER</DisplayName>
        <AccountId>297</AccountId>
        <AccountType/>
      </UserInfo>
    </SharedWithUsers>
    <lcf76f155ced4ddcb4097134ff3c332f xmlns="02e6de94-908f-4934-beba-2e2c54d6e01c">
      <Terms xmlns="http://schemas.microsoft.com/office/infopath/2007/PartnerControls"/>
    </lcf76f155ced4ddcb4097134ff3c332f>
    <TaxCatchAll xmlns="d04f2a86-103e-41f8-8ea1-74e96e6b3884" xsi:nil="true"/>
    <Done xmlns="02e6de94-908f-4934-beba-2e2c54d6e01c">to do</Done>
    <_Flow_SignoffStatus xmlns="02e6de94-908f-4934-beba-2e2c54d6e01c" xsi:nil="true"/>
    <Lecture xmlns="02e6de94-908f-4934-beba-2e2c54d6e01c">
      <UserInfo>
        <DisplayName/>
        <AccountId xsi:nil="true"/>
        <AccountType/>
      </UserInfo>
    </Lecture>
    <Trait_x00e9_ xmlns="02e6de94-908f-4934-beba-2e2c54d6e01c">false</Trait_x00e9_>
    <Affectation xmlns="02e6de94-908f-4934-beba-2e2c54d6e01c" xsi:nil="true"/>
  </documentManagement>
</p:properties>
</file>

<file path=customXml/itemProps1.xml><?xml version="1.0" encoding="utf-8"?>
<ds:datastoreItem xmlns:ds="http://schemas.openxmlformats.org/officeDocument/2006/customXml" ds:itemID="{2C84E0EA-822B-4109-B206-1E73B5E2E3B2}"/>
</file>

<file path=customXml/itemProps2.xml><?xml version="1.0" encoding="utf-8"?>
<ds:datastoreItem xmlns:ds="http://schemas.openxmlformats.org/officeDocument/2006/customXml" ds:itemID="{F419DEB1-3BDC-4E50-8CCD-9321689B5705}">
  <ds:schemaRefs>
    <ds:schemaRef ds:uri="http://schemas.microsoft.com/sharepoint/v3/contenttype/forms"/>
  </ds:schemaRefs>
</ds:datastoreItem>
</file>

<file path=customXml/itemProps3.xml><?xml version="1.0" encoding="utf-8"?>
<ds:datastoreItem xmlns:ds="http://schemas.openxmlformats.org/officeDocument/2006/customXml" ds:itemID="{784856EE-7A3E-4BD6-A435-88CED1953D9A}">
  <ds:schemaRefs>
    <ds:schemaRef ds:uri="http://purl.org/dc/dcmitype/"/>
    <ds:schemaRef ds:uri="http://www.w3.org/XML/1998/namespace"/>
    <ds:schemaRef ds:uri="http://schemas.microsoft.com/office/2006/documentManagement/types"/>
    <ds:schemaRef ds:uri="c33dccb8-c21a-4333-911e-096fd6da32f8"/>
    <ds:schemaRef ds:uri="http://purl.org/dc/terms/"/>
    <ds:schemaRef ds:uri="http://schemas.microsoft.com/office/2006/metadata/properties"/>
    <ds:schemaRef ds:uri="http://schemas.microsoft.com/office/infopath/2007/PartnerControls"/>
    <ds:schemaRef ds:uri="http://schemas.openxmlformats.org/package/2006/metadata/core-properties"/>
    <ds:schemaRef ds:uri="2da55e51-a82e-41bf-b547-d8667f015abf"/>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0</TotalTime>
  <Words>9121</Words>
  <Application>Microsoft Office PowerPoint</Application>
  <PresentationFormat>Grand écran</PresentationFormat>
  <Paragraphs>1056</Paragraphs>
  <Slides>49</Slides>
  <Notes>21</Notes>
  <HiddenSlides>0</HiddenSlides>
  <MMClips>0</MMClips>
  <ScaleCrop>false</ScaleCrop>
  <HeadingPairs>
    <vt:vector size="8" baseType="variant">
      <vt:variant>
        <vt:lpstr>Polices utilisées</vt:lpstr>
      </vt:variant>
      <vt:variant>
        <vt:i4>12</vt:i4>
      </vt:variant>
      <vt:variant>
        <vt:lpstr>Thème</vt:lpstr>
      </vt:variant>
      <vt:variant>
        <vt:i4>2</vt:i4>
      </vt:variant>
      <vt:variant>
        <vt:lpstr>Serveurs OLE incorporés</vt:lpstr>
      </vt:variant>
      <vt:variant>
        <vt:i4>1</vt:i4>
      </vt:variant>
      <vt:variant>
        <vt:lpstr>Titres des diapositives</vt:lpstr>
      </vt:variant>
      <vt:variant>
        <vt:i4>49</vt:i4>
      </vt:variant>
    </vt:vector>
  </HeadingPairs>
  <TitlesOfParts>
    <vt:vector size="64" baseType="lpstr">
      <vt:lpstr>Montserrat</vt:lpstr>
      <vt:lpstr>Noto Sans Symbols,Sans-Serif</vt:lpstr>
      <vt:lpstr>Wingdings</vt:lpstr>
      <vt:lpstr>Open Sans Light</vt:lpstr>
      <vt:lpstr>Arial</vt:lpstr>
      <vt:lpstr>Calibri</vt:lpstr>
      <vt:lpstr>Courier New</vt:lpstr>
      <vt:lpstr>Arial</vt:lpstr>
      <vt:lpstr>Police système Courant</vt:lpstr>
      <vt:lpstr>-apple-system</vt:lpstr>
      <vt:lpstr>Wingdings 2</vt:lpstr>
      <vt:lpstr>Arial Black</vt:lpstr>
      <vt:lpstr>1_Masque Siège 2021</vt:lpstr>
      <vt:lpstr>Talan Consulting</vt:lpstr>
      <vt:lpstr>Diapositive think-cell</vt:lpstr>
      <vt:lpstr>SNCF TRANSILIEN FORMATIONS A L’OUTIL ORION DANS LE CADRE DU PROGRAMME POGS TRANSILIEN  Consultation : 2023RFQ0133873</vt:lpstr>
      <vt:lpstr>SUIVI DES VERSIONS</vt:lpstr>
      <vt:lpstr>PRÉAMBULE</vt:lpstr>
      <vt:lpstr>NOTE DE SYNTHÈSE </vt:lpstr>
      <vt:lpstr>SOMMAIRE</vt:lpstr>
      <vt:lpstr>NOTRE COMPRÉHENSION DU CONTEXTE ET DES ENJEUX</vt:lpstr>
      <vt:lpstr>Présentation PowerPoint</vt:lpstr>
      <vt:lpstr>Compréhension du contexte et des enjeux Les éléments structurants pour mener les formations POGS Transilien</vt:lpstr>
      <vt:lpstr>PRÉSENTATION TALAN CONSULTING ET RÉFÉRENCES</vt:lpstr>
      <vt:lpstr>TALAN CONSULTING EST LE CABINET DE CONSEIL EN MANAGEMENT DU GROUPE TALAN </vt:lpstr>
      <vt:lpstr>ACCOMPAGNER NOS CLIENTS DANS LEURS TRANSFORMATIONS</vt:lpstr>
      <vt:lpstr>RÉFÉRENCE PERTINENTE : SNCF TRANSILIEN Création et déploiement d’un parcours de E-learning portant sur un progiciel de planification</vt:lpstr>
      <vt:lpstr>RÉFÉRENCE PERTINENTE : Fret SNCF Pour 800 utilisateurs, formation et déploiement RUS Convoi : outil de planification des ressources ferroviaires</vt:lpstr>
      <vt:lpstr>RÉFÉRENCE PERTINENTE : KEOLIS RENNES Accompagnement à la montée en compétences HASTUS</vt:lpstr>
      <vt:lpstr>KEOLIS RENNES - Illustration Accompagnement à la montée en compétences HASTUS</vt:lpstr>
      <vt:lpstr>AUTRES RÉFÉRENCES PERTINENTES</vt:lpstr>
      <vt:lpstr>PLANNING D’INTERVENTION</vt:lpstr>
      <vt:lpstr>Planning d’intervention</vt:lpstr>
      <vt:lpstr>NOTRE PROPOSITION DE DÉMARCHE ET LIVRABLES ASSOCIÉS</vt:lpstr>
      <vt:lpstr>SYNTHÈSE DE LA DÉMARCHE PROPOSÉE </vt:lpstr>
      <vt:lpstr>0. PRÉREQUIS Contraintes convictions et facteurs clés de succès</vt:lpstr>
      <vt:lpstr>0. PRÉREQUIS Adresser les freins actuels à la dynamique de formation</vt:lpstr>
      <vt:lpstr>0. PRÉREQUIS Démarche proposée en même temps que la préparation des formations</vt:lpstr>
      <vt:lpstr>1. ORGANISER ET PILOTER LES FORMATIONS ET L’APPROPRIATION Démarche proposée</vt:lpstr>
      <vt:lpstr>2. PRÉPARER ET ANIMER LES FORMATIONS Démarche proposée</vt:lpstr>
      <vt:lpstr>2. PRÉPARER ET ANIMER LES FORMATIONS – « Focus » Montée en compétence Démarche proposée</vt:lpstr>
      <vt:lpstr>2. PRÉPARER ET ANIMER LES FORMATIONS – « Focus » Déroulé cyclique des formations Démarche proposée</vt:lpstr>
      <vt:lpstr>2. PRÉPARER ET ANIMER LES FORMATIONS – « Focus » Concevoir et préparer des tutoriels Démarche proposée</vt:lpstr>
      <vt:lpstr>3. ÉVALUER ET AMÉLIORER LE DISPOSITIF Démarche proposée </vt:lpstr>
      <vt:lpstr>Présentation PowerPoint</vt:lpstr>
      <vt:lpstr>Présentation PowerPoint</vt:lpstr>
      <vt:lpstr>Présentation PowerPoint</vt:lpstr>
      <vt:lpstr>DISPOSITIF TALAN PROPOSÉ</vt:lpstr>
      <vt:lpstr>NOS ATOUTS POUR VOUS ACCOMPAGNER</vt:lpstr>
      <vt:lpstr>NOS ATOUTS POUR VOUS ACCOMPAGNER</vt:lpstr>
      <vt:lpstr>L’offre APS de Transports et Mobilités</vt:lpstr>
      <vt:lpstr>Les expertises de People &amp; Culture</vt:lpstr>
      <vt:lpstr>Le dispositif proposé</vt:lpstr>
      <vt:lpstr>Le dispositif proposé</vt:lpstr>
      <vt:lpstr>Continuité de service</vt:lpstr>
      <vt:lpstr>Disponibilité des profils et comitologie</vt:lpstr>
      <vt:lpstr>MODALITÉS D’APPROPRIATION ET DE TRANSFERT DE COMPÉTENCES  AUX ÉQUIPES SNCF</vt:lpstr>
      <vt:lpstr>Organisation et moyens </vt:lpstr>
      <vt:lpstr>Méthodologie et jalons 1/2</vt:lpstr>
      <vt:lpstr>Méthodologie et jalons 2/2</vt:lpstr>
      <vt:lpstr>Livrables envisagés pour la mission et indicateurs</vt:lpstr>
      <vt:lpstr>1. ORGANISER ET PILOTER LES FORMATIONS ET L’APPROPRIATION Exemples de livrables et indicateurs</vt:lpstr>
      <vt:lpstr>2. PRÉPARER ET ANIMER LES FORMATIONS Exemples de livrables et indicateurs</vt:lpstr>
      <vt:lpstr>3. ÉVALUER ET AMÉLIORER LE DISPOSITIF Exemples de livrables et indicateu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DOUBLET Olivier (EXT TalanConsulting)</dc:creator>
  <cp:lastModifiedBy>Jean GRANDEMANGE</cp:lastModifiedBy>
  <cp:revision>1</cp:revision>
  <cp:lastPrinted>2023-03-02T17:35:52Z</cp:lastPrinted>
  <dcterms:created xsi:type="dcterms:W3CDTF">2022-06-21T12:27:13Z</dcterms:created>
  <dcterms:modified xsi:type="dcterms:W3CDTF">2023-03-20T22:0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B9C19B591D994EBC8A2669784C23FF</vt:lpwstr>
  </property>
  <property fmtid="{D5CDD505-2E9C-101B-9397-08002B2CF9AE}" pid="3" name="Order">
    <vt:r8>3400</vt:r8>
  </property>
  <property fmtid="{D5CDD505-2E9C-101B-9397-08002B2CF9AE}" pid="4" name="ComplianceAssetId">
    <vt:lpwstr/>
  </property>
  <property fmtid="{D5CDD505-2E9C-101B-9397-08002B2CF9AE}" pid="5" name="MediaServiceImageTags">
    <vt:lpwstr/>
  </property>
  <property fmtid="{D5CDD505-2E9C-101B-9397-08002B2CF9AE}" pid="6" name="MSIP_Label_c8d3f7c8-5c4b-4ab6-9486-a0a9eb08efa7_Enabled">
    <vt:lpwstr>true</vt:lpwstr>
  </property>
  <property fmtid="{D5CDD505-2E9C-101B-9397-08002B2CF9AE}" pid="7" name="MSIP_Label_c8d3f7c8-5c4b-4ab6-9486-a0a9eb08efa7_SetDate">
    <vt:lpwstr>2023-01-18T15:15:46Z</vt:lpwstr>
  </property>
  <property fmtid="{D5CDD505-2E9C-101B-9397-08002B2CF9AE}" pid="8" name="MSIP_Label_c8d3f7c8-5c4b-4ab6-9486-a0a9eb08efa7_Method">
    <vt:lpwstr>Standard</vt:lpwstr>
  </property>
  <property fmtid="{D5CDD505-2E9C-101B-9397-08002B2CF9AE}" pid="9" name="MSIP_Label_c8d3f7c8-5c4b-4ab6-9486-a0a9eb08efa7_Name">
    <vt:lpwstr>Interne - Groupe</vt:lpwstr>
  </property>
  <property fmtid="{D5CDD505-2E9C-101B-9397-08002B2CF9AE}" pid="10" name="MSIP_Label_c8d3f7c8-5c4b-4ab6-9486-a0a9eb08efa7_SiteId">
    <vt:lpwstr>4a7c8238-5799-4b16-9fc6-9ad8fce5a7d9</vt:lpwstr>
  </property>
  <property fmtid="{D5CDD505-2E9C-101B-9397-08002B2CF9AE}" pid="11" name="MSIP_Label_c8d3f7c8-5c4b-4ab6-9486-a0a9eb08efa7_ActionId">
    <vt:lpwstr>c5c0e9f3-d04f-4d9d-a66a-4bda77f19d21</vt:lpwstr>
  </property>
  <property fmtid="{D5CDD505-2E9C-101B-9397-08002B2CF9AE}" pid="12" name="MSIP_Label_c8d3f7c8-5c4b-4ab6-9486-a0a9eb08efa7_ContentBits">
    <vt:lpwstr>2</vt:lpwstr>
  </property>
</Properties>
</file>